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21"/>
  </p:notesMasterIdLst>
  <p:sldIdLst>
    <p:sldId id="2147472032" r:id="rId3"/>
    <p:sldId id="2147472028" r:id="rId4"/>
    <p:sldId id="257" r:id="rId5"/>
    <p:sldId id="258" r:id="rId6"/>
    <p:sldId id="2147472034" r:id="rId7"/>
    <p:sldId id="2147472020" r:id="rId8"/>
    <p:sldId id="2147472021" r:id="rId9"/>
    <p:sldId id="2147472023" r:id="rId10"/>
    <p:sldId id="2147472024" r:id="rId11"/>
    <p:sldId id="2147472025" r:id="rId12"/>
    <p:sldId id="2147472026" r:id="rId13"/>
    <p:sldId id="2147472027" r:id="rId14"/>
    <p:sldId id="2147472030" r:id="rId15"/>
    <p:sldId id="421" r:id="rId16"/>
    <p:sldId id="1836" r:id="rId17"/>
    <p:sldId id="424" r:id="rId18"/>
    <p:sldId id="380" r:id="rId19"/>
    <p:sldId id="458"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856" autoAdjust="0"/>
  </p:normalViewPr>
  <p:slideViewPr>
    <p:cSldViewPr snapToGrid="0">
      <p:cViewPr varScale="1">
        <p:scale>
          <a:sx n="96" d="100"/>
          <a:sy n="96" d="100"/>
        </p:scale>
        <p:origin x="36" y="12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B2607C-A2E5-4A91-90D2-99709E482A1A}" type="datetimeFigureOut">
              <a:rPr lang="en-US" smtClean="0"/>
              <a:t>4/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0628B5-FAD9-4498-ACAB-D789CC9AA83F}" type="slidenum">
              <a:rPr lang="en-US" smtClean="0"/>
              <a:t>‹#›</a:t>
            </a:fld>
            <a:endParaRPr lang="en-US"/>
          </a:p>
        </p:txBody>
      </p:sp>
    </p:spTree>
    <p:extLst>
      <p:ext uri="{BB962C8B-B14F-4D97-AF65-F5344CB8AC3E}">
        <p14:creationId xmlns:p14="http://schemas.microsoft.com/office/powerpoint/2010/main" val="503493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282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799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28299"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a:ln>
                  <a:noFill/>
                </a:ln>
                <a:solidFill>
                  <a:prstClr val="black"/>
                </a:solidFill>
                <a:effectLst/>
                <a:uLnTx/>
                <a:uFillTx/>
              </a:rPr>
              <a:pPr marL="0" marR="0" lvl="0" indent="0" defTabSz="928299" eaLnBrk="1" fontAlgn="auto" latinLnBrk="0" hangingPunct="1">
                <a:lnSpc>
                  <a:spcPct val="100000"/>
                </a:lnSpc>
                <a:spcBef>
                  <a:spcPts val="0"/>
                </a:spcBef>
                <a:spcAft>
                  <a:spcPts val="0"/>
                </a:spcAft>
                <a:buClrTx/>
                <a:buSzTx/>
                <a:buFontTx/>
                <a:buNone/>
                <a:tabLst/>
                <a:defRPr/>
              </a:pPr>
              <a:t>4/20/2022 1:38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28299"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rPr>
              <a:pPr marL="0" marR="0" lvl="0" indent="0" defTabSz="928299"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97735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0/2022 1: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95971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often describe IoT Central as going from “proof of concept”… to “proof of valu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0/2022 1: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1828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let’s talk a bit more about what this “ready made environment” is… more and more the industry refers to platforms like IoT Central as aPaa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0/2022 1: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77540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8802CAE5-8326-4CA3-8EEE-9B26871DF679}" type="slidenum">
              <a:rPr lang="en-US" smtClean="0"/>
              <a:t>14</a:t>
            </a:fld>
            <a:endParaRPr lang="en-US"/>
          </a:p>
        </p:txBody>
      </p:sp>
    </p:spTree>
    <p:extLst>
      <p:ext uri="{BB962C8B-B14F-4D97-AF65-F5344CB8AC3E}">
        <p14:creationId xmlns:p14="http://schemas.microsoft.com/office/powerpoint/2010/main" val="4136719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Tree>
    <p:extLst>
      <p:ext uri="{BB962C8B-B14F-4D97-AF65-F5344CB8AC3E}">
        <p14:creationId xmlns:p14="http://schemas.microsoft.com/office/powerpoint/2010/main" val="4128251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8802CAE5-8326-4CA3-8EEE-9B26871DF679}" type="slidenum">
              <a:rPr lang="en-US" smtClean="0"/>
              <a:t>16</a:t>
            </a:fld>
            <a:endParaRPr lang="en-US"/>
          </a:p>
        </p:txBody>
      </p:sp>
    </p:spTree>
    <p:extLst>
      <p:ext uri="{BB962C8B-B14F-4D97-AF65-F5344CB8AC3E}">
        <p14:creationId xmlns:p14="http://schemas.microsoft.com/office/powerpoint/2010/main" val="3551444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b="1" dirty="0"/>
          </a:p>
        </p:txBody>
      </p:sp>
      <p:sp>
        <p:nvSpPr>
          <p:cNvPr id="4" name="Header Placeholder 3"/>
          <p:cNvSpPr>
            <a:spLocks noGrp="1"/>
          </p:cNvSpPr>
          <p:nvPr>
            <p:ph type="hdr" sz="quarter" idx="10"/>
          </p:nvPr>
        </p:nvSpPr>
        <p:spPr/>
        <p:txBody>
          <a:bodyPr/>
          <a:lstStyle/>
          <a:p>
            <a:pPr marL="0" marR="0" lvl="0" indent="0" algn="l" defTabSz="92829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2799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28299" rtl="0" eaLnBrk="1" fontAlgn="auto" latinLnBrk="0" hangingPunct="1">
                <a:lnSpc>
                  <a:spcPct val="100000"/>
                </a:lnSpc>
                <a:spcBef>
                  <a:spcPts val="0"/>
                </a:spcBef>
                <a:spcAft>
                  <a:spcPts val="0"/>
                </a:spcAft>
                <a:buClrTx/>
                <a:buSzTx/>
                <a:buFontTx/>
                <a:buNone/>
                <a:tabLst/>
                <a:defRPr/>
              </a:pPr>
              <a:t>4/20/2022 10:42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28299"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4081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282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799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28299"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a:ln>
                  <a:noFill/>
                </a:ln>
                <a:solidFill>
                  <a:prstClr val="black"/>
                </a:solidFill>
                <a:effectLst/>
                <a:uLnTx/>
                <a:uFillTx/>
              </a:rPr>
              <a:pPr marL="0" marR="0" lvl="0" indent="0" defTabSz="928299" eaLnBrk="1" fontAlgn="auto" latinLnBrk="0" hangingPunct="1">
                <a:lnSpc>
                  <a:spcPct val="100000"/>
                </a:lnSpc>
                <a:spcBef>
                  <a:spcPts val="0"/>
                </a:spcBef>
                <a:spcAft>
                  <a:spcPts val="0"/>
                </a:spcAft>
                <a:buClrTx/>
                <a:buSzTx/>
                <a:buFontTx/>
                <a:buNone/>
                <a:tabLst/>
                <a:defRPr/>
              </a:pPr>
              <a:t>4/20/2022 1:32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28299"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rPr>
              <a:pPr marL="0" marR="0" lvl="0" indent="0" defTabSz="928299"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036337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2.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2.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17C6D-15A2-E1B7-431F-A07A2ABF7C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8E1516E-3E00-AE47-18D6-E5CDB1E780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D53EDAB-3AA4-F38E-5660-FFCB809B68D3}"/>
              </a:ext>
            </a:extLst>
          </p:cNvPr>
          <p:cNvSpPr>
            <a:spLocks noGrp="1"/>
          </p:cNvSpPr>
          <p:nvPr>
            <p:ph type="dt" sz="half" idx="10"/>
          </p:nvPr>
        </p:nvSpPr>
        <p:spPr/>
        <p:txBody>
          <a:bodyPr/>
          <a:lstStyle/>
          <a:p>
            <a:fld id="{F92D8033-5092-4689-9ABF-05D80541BEA7}" type="datetimeFigureOut">
              <a:rPr lang="en-US" smtClean="0"/>
              <a:t>4/20/2022</a:t>
            </a:fld>
            <a:endParaRPr lang="en-US"/>
          </a:p>
        </p:txBody>
      </p:sp>
      <p:sp>
        <p:nvSpPr>
          <p:cNvPr id="5" name="Footer Placeholder 4">
            <a:extLst>
              <a:ext uri="{FF2B5EF4-FFF2-40B4-BE49-F238E27FC236}">
                <a16:creationId xmlns:a16="http://schemas.microsoft.com/office/drawing/2014/main" id="{88335689-145A-E5AE-BE6A-C2CEB93265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7818AF-301C-5538-EC9D-AD74177008E7}"/>
              </a:ext>
            </a:extLst>
          </p:cNvPr>
          <p:cNvSpPr>
            <a:spLocks noGrp="1"/>
          </p:cNvSpPr>
          <p:nvPr>
            <p:ph type="sldNum" sz="quarter" idx="12"/>
          </p:nvPr>
        </p:nvSpPr>
        <p:spPr/>
        <p:txBody>
          <a:bodyPr/>
          <a:lstStyle/>
          <a:p>
            <a:fld id="{94614835-264B-43A4-BFC9-FB58BE77347A}" type="slidenum">
              <a:rPr lang="en-US" smtClean="0"/>
              <a:t>‹#›</a:t>
            </a:fld>
            <a:endParaRPr lang="en-US"/>
          </a:p>
        </p:txBody>
      </p:sp>
    </p:spTree>
    <p:extLst>
      <p:ext uri="{BB962C8B-B14F-4D97-AF65-F5344CB8AC3E}">
        <p14:creationId xmlns:p14="http://schemas.microsoft.com/office/powerpoint/2010/main" val="12046662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FE7D8-7C5A-C8AE-BA48-8B1FA8F30B7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5EF8884-0D61-5424-1682-15FF6C7147A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8291BC-8133-E588-0410-BC94EC73EC9D}"/>
              </a:ext>
            </a:extLst>
          </p:cNvPr>
          <p:cNvSpPr>
            <a:spLocks noGrp="1"/>
          </p:cNvSpPr>
          <p:nvPr>
            <p:ph type="dt" sz="half" idx="10"/>
          </p:nvPr>
        </p:nvSpPr>
        <p:spPr/>
        <p:txBody>
          <a:bodyPr/>
          <a:lstStyle/>
          <a:p>
            <a:fld id="{F92D8033-5092-4689-9ABF-05D80541BEA7}" type="datetimeFigureOut">
              <a:rPr lang="en-US" smtClean="0"/>
              <a:t>4/20/2022</a:t>
            </a:fld>
            <a:endParaRPr lang="en-US"/>
          </a:p>
        </p:txBody>
      </p:sp>
      <p:sp>
        <p:nvSpPr>
          <p:cNvPr id="5" name="Footer Placeholder 4">
            <a:extLst>
              <a:ext uri="{FF2B5EF4-FFF2-40B4-BE49-F238E27FC236}">
                <a16:creationId xmlns:a16="http://schemas.microsoft.com/office/drawing/2014/main" id="{A5E26E33-92ED-A7F7-32A8-463F216346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49ADCD-4924-B047-3382-4742F126866E}"/>
              </a:ext>
            </a:extLst>
          </p:cNvPr>
          <p:cNvSpPr>
            <a:spLocks noGrp="1"/>
          </p:cNvSpPr>
          <p:nvPr>
            <p:ph type="sldNum" sz="quarter" idx="12"/>
          </p:nvPr>
        </p:nvSpPr>
        <p:spPr/>
        <p:txBody>
          <a:bodyPr/>
          <a:lstStyle/>
          <a:p>
            <a:fld id="{94614835-264B-43A4-BFC9-FB58BE77347A}" type="slidenum">
              <a:rPr lang="en-US" smtClean="0"/>
              <a:t>‹#›</a:t>
            </a:fld>
            <a:endParaRPr lang="en-US"/>
          </a:p>
        </p:txBody>
      </p:sp>
    </p:spTree>
    <p:extLst>
      <p:ext uri="{BB962C8B-B14F-4D97-AF65-F5344CB8AC3E}">
        <p14:creationId xmlns:p14="http://schemas.microsoft.com/office/powerpoint/2010/main" val="113132409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Large Number Divider 2 Dar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1717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457200"/>
            <a:ext cx="6667230" cy="714094"/>
          </a:xfrm>
          <a:noFill/>
        </p:spPr>
        <p:txBody>
          <a:bodyPr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056303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arge Number Divider 3 Dar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1717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457200"/>
            <a:ext cx="6667230" cy="714094"/>
          </a:xfrm>
          <a:noFill/>
        </p:spPr>
        <p:txBody>
          <a:bodyPr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249398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Number Divider 4 Dar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1717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457200"/>
            <a:ext cx="6667230" cy="714094"/>
          </a:xfrm>
          <a:noFill/>
        </p:spPr>
        <p:txBody>
          <a:bodyPr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10972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arge Number Divider 5 Dar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1717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457200"/>
            <a:ext cx="6667230" cy="714094"/>
          </a:xfrm>
          <a:noFill/>
        </p:spPr>
        <p:txBody>
          <a:bodyPr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881455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arge Number Divider 1 Light">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1717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457200"/>
            <a:ext cx="6667230" cy="714094"/>
          </a:xfrm>
          <a:noFill/>
        </p:spPr>
        <p:txBody>
          <a:bodyPr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533521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Large Number Divider 2 Light">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1717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457200"/>
            <a:ext cx="6667230" cy="714094"/>
          </a:xfrm>
          <a:noFill/>
        </p:spPr>
        <p:txBody>
          <a:bodyPr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73655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Large Number Divider 3 Light">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1717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457200"/>
            <a:ext cx="6667230" cy="714094"/>
          </a:xfrm>
          <a:noFill/>
        </p:spPr>
        <p:txBody>
          <a:bodyPr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189554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arge Number Divider 4 Light">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1717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457200"/>
            <a:ext cx="6667230" cy="714094"/>
          </a:xfrm>
          <a:noFill/>
        </p:spPr>
        <p:txBody>
          <a:bodyPr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16035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arge Number Divider 5 Light">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1717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457200"/>
            <a:ext cx="6667230" cy="714094"/>
          </a:xfrm>
          <a:noFill/>
        </p:spPr>
        <p:txBody>
          <a:bodyPr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482883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84708575"/>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FD49B68-2248-FC07-8D1B-3DC49D068AB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33C7F1B-CBCA-F2FB-81D5-29E24CDEEF6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6E046F-2B49-EC8D-8E13-F59413CAD107}"/>
              </a:ext>
            </a:extLst>
          </p:cNvPr>
          <p:cNvSpPr>
            <a:spLocks noGrp="1"/>
          </p:cNvSpPr>
          <p:nvPr>
            <p:ph type="dt" sz="half" idx="10"/>
          </p:nvPr>
        </p:nvSpPr>
        <p:spPr/>
        <p:txBody>
          <a:bodyPr/>
          <a:lstStyle/>
          <a:p>
            <a:fld id="{F92D8033-5092-4689-9ABF-05D80541BEA7}" type="datetimeFigureOut">
              <a:rPr lang="en-US" smtClean="0"/>
              <a:t>4/20/2022</a:t>
            </a:fld>
            <a:endParaRPr lang="en-US"/>
          </a:p>
        </p:txBody>
      </p:sp>
      <p:sp>
        <p:nvSpPr>
          <p:cNvPr id="5" name="Footer Placeholder 4">
            <a:extLst>
              <a:ext uri="{FF2B5EF4-FFF2-40B4-BE49-F238E27FC236}">
                <a16:creationId xmlns:a16="http://schemas.microsoft.com/office/drawing/2014/main" id="{4095C54D-7358-7409-7140-8B3BECBE1A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337059-8C3B-52AF-706F-7B4568D1E07E}"/>
              </a:ext>
            </a:extLst>
          </p:cNvPr>
          <p:cNvSpPr>
            <a:spLocks noGrp="1"/>
          </p:cNvSpPr>
          <p:nvPr>
            <p:ph type="sldNum" sz="quarter" idx="12"/>
          </p:nvPr>
        </p:nvSpPr>
        <p:spPr/>
        <p:txBody>
          <a:bodyPr/>
          <a:lstStyle/>
          <a:p>
            <a:fld id="{94614835-264B-43A4-BFC9-FB58BE77347A}" type="slidenum">
              <a:rPr lang="en-US" smtClean="0"/>
              <a:t>‹#›</a:t>
            </a:fld>
            <a:endParaRPr lang="en-US"/>
          </a:p>
        </p:txBody>
      </p:sp>
    </p:spTree>
    <p:extLst>
      <p:ext uri="{BB962C8B-B14F-4D97-AF65-F5344CB8AC3E}">
        <p14:creationId xmlns:p14="http://schemas.microsoft.com/office/powerpoint/2010/main" val="11773330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2465473"/>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440161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291857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45336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214279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73430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3265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214252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92962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Divide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83176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1028960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Divider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89026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71327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828247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81620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12 Column Dark Bk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48636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pendix Blue Bk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56072B-EB8B-41FB-A6B6-39940EC161B5}"/>
              </a:ext>
            </a:extLst>
          </p:cNvPr>
          <p:cNvSpPr>
            <a:spLocks noGrp="1"/>
          </p:cNvSpPr>
          <p:nvPr>
            <p:ph type="title" hasCustomPrompt="1"/>
          </p:nvPr>
        </p:nvSpPr>
        <p:spPr>
          <a:xfrm>
            <a:off x="588263" y="5715040"/>
            <a:ext cx="5367338" cy="553998"/>
          </a:xfrm>
        </p:spPr>
        <p:txBody>
          <a:bodyPr anchor="b" anchorCtr="0"/>
          <a:lstStyle>
            <a:lvl1pPr>
              <a:defRPr/>
            </a:lvl1pPr>
          </a:lstStyle>
          <a:p>
            <a:r>
              <a:rPr lang="en-US"/>
              <a:t>Appendix</a:t>
            </a:r>
          </a:p>
        </p:txBody>
      </p:sp>
    </p:spTree>
    <p:extLst>
      <p:ext uri="{BB962C8B-B14F-4D97-AF65-F5344CB8AC3E}">
        <p14:creationId xmlns:p14="http://schemas.microsoft.com/office/powerpoint/2010/main" val="1986383067"/>
      </p:ext>
    </p:extLst>
  </p:cSld>
  <p:clrMapOvr>
    <a:masterClrMapping/>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2014465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3216042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59193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EF9CE6-FE95-427E-A137-ABB510E1E7C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8" b="1970"/>
          <a:stretch/>
        </p:blipFill>
        <p:spPr>
          <a:xfrm>
            <a:off x="9053195" y="1261"/>
            <a:ext cx="3383280" cy="6856739"/>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94492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a:extLst>
              <a:ext uri="{FF2B5EF4-FFF2-40B4-BE49-F238E27FC236}">
                <a16:creationId xmlns:a16="http://schemas.microsoft.com/office/drawing/2014/main" id="{1FA046E0-5E86-4DB6-8B57-32239D2050DC}"/>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8" b="1970"/>
          <a:stretch/>
        </p:blipFill>
        <p:spPr>
          <a:xfrm>
            <a:off x="9053195" y="1261"/>
            <a:ext cx="3383280" cy="6856739"/>
          </a:xfrm>
          <a:prstGeom prst="rect">
            <a:avLst/>
          </a:prstGeom>
        </p:spPr>
      </p:pic>
    </p:spTree>
    <p:extLst>
      <p:ext uri="{BB962C8B-B14F-4D97-AF65-F5344CB8AC3E}">
        <p14:creationId xmlns:p14="http://schemas.microsoft.com/office/powerpoint/2010/main" val="2179821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a:extLst>
              <a:ext uri="{FF2B5EF4-FFF2-40B4-BE49-F238E27FC236}">
                <a16:creationId xmlns:a16="http://schemas.microsoft.com/office/drawing/2014/main" id="{24357763-AE52-46BB-84D1-0E7D9D60FBC7}"/>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8" b="1970"/>
          <a:stretch/>
        </p:blipFill>
        <p:spPr>
          <a:xfrm>
            <a:off x="9053195" y="1261"/>
            <a:ext cx="3383280" cy="6856739"/>
          </a:xfrm>
          <a:prstGeom prst="rect">
            <a:avLst/>
          </a:prstGeom>
        </p:spPr>
      </p:pic>
    </p:spTree>
    <p:extLst>
      <p:ext uri="{BB962C8B-B14F-4D97-AF65-F5344CB8AC3E}">
        <p14:creationId xmlns:p14="http://schemas.microsoft.com/office/powerpoint/2010/main" val="11474604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a:extLst>
              <a:ext uri="{FF2B5EF4-FFF2-40B4-BE49-F238E27FC236}">
                <a16:creationId xmlns:a16="http://schemas.microsoft.com/office/drawing/2014/main" id="{4781143E-59B8-4FFE-BBB1-54E1347F99EC}"/>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8" b="1970"/>
          <a:stretch/>
        </p:blipFill>
        <p:spPr>
          <a:xfrm>
            <a:off x="9053195" y="1261"/>
            <a:ext cx="3383280" cy="6856739"/>
          </a:xfrm>
          <a:prstGeom prst="rect">
            <a:avLst/>
          </a:prstGeom>
        </p:spPr>
      </p:pic>
    </p:spTree>
    <p:extLst>
      <p:ext uri="{BB962C8B-B14F-4D97-AF65-F5344CB8AC3E}">
        <p14:creationId xmlns:p14="http://schemas.microsoft.com/office/powerpoint/2010/main" val="420294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3967383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Slide Color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0750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8217E-21ED-0FAB-C7C2-FC736779A8B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4B85C2-E96D-702D-071A-BF7D0E12307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3515E2-A3F3-623B-D1D9-AB7A9DA348B7}"/>
              </a:ext>
            </a:extLst>
          </p:cNvPr>
          <p:cNvSpPr>
            <a:spLocks noGrp="1"/>
          </p:cNvSpPr>
          <p:nvPr>
            <p:ph type="dt" sz="half" idx="10"/>
          </p:nvPr>
        </p:nvSpPr>
        <p:spPr/>
        <p:txBody>
          <a:bodyPr/>
          <a:lstStyle/>
          <a:p>
            <a:fld id="{F92D8033-5092-4689-9ABF-05D80541BEA7}" type="datetimeFigureOut">
              <a:rPr lang="en-US" smtClean="0"/>
              <a:t>4/20/2022</a:t>
            </a:fld>
            <a:endParaRPr lang="en-US"/>
          </a:p>
        </p:txBody>
      </p:sp>
      <p:sp>
        <p:nvSpPr>
          <p:cNvPr id="5" name="Footer Placeholder 4">
            <a:extLst>
              <a:ext uri="{FF2B5EF4-FFF2-40B4-BE49-F238E27FC236}">
                <a16:creationId xmlns:a16="http://schemas.microsoft.com/office/drawing/2014/main" id="{BF28BE0A-1517-868E-7E37-749674E857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141394-8E4C-CF80-F72F-BC14A7556C3F}"/>
              </a:ext>
            </a:extLst>
          </p:cNvPr>
          <p:cNvSpPr>
            <a:spLocks noGrp="1"/>
          </p:cNvSpPr>
          <p:nvPr>
            <p:ph type="sldNum" sz="quarter" idx="12"/>
          </p:nvPr>
        </p:nvSpPr>
        <p:spPr/>
        <p:txBody>
          <a:bodyPr/>
          <a:lstStyle/>
          <a:p>
            <a:fld id="{94614835-264B-43A4-BFC9-FB58BE77347A}" type="slidenum">
              <a:rPr lang="en-US" smtClean="0"/>
              <a:t>‹#›</a:t>
            </a:fld>
            <a:endParaRPr lang="en-US"/>
          </a:p>
        </p:txBody>
      </p:sp>
    </p:spTree>
    <p:extLst>
      <p:ext uri="{BB962C8B-B14F-4D97-AF65-F5344CB8AC3E}">
        <p14:creationId xmlns:p14="http://schemas.microsoft.com/office/powerpoint/2010/main" val="33527615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Slide Black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8671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2826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1001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24908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01401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72616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20886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974217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3734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63431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FE4F9B-BA0D-49B4-1266-7E1B27C05E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05B3ED4-0D24-226A-96D1-41FDDF072A6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A89E37E-D83D-A1E6-84C8-E480D0C5A7FB}"/>
              </a:ext>
            </a:extLst>
          </p:cNvPr>
          <p:cNvSpPr>
            <a:spLocks noGrp="1"/>
          </p:cNvSpPr>
          <p:nvPr>
            <p:ph type="dt" sz="half" idx="10"/>
          </p:nvPr>
        </p:nvSpPr>
        <p:spPr/>
        <p:txBody>
          <a:bodyPr/>
          <a:lstStyle/>
          <a:p>
            <a:fld id="{F92D8033-5092-4689-9ABF-05D80541BEA7}" type="datetimeFigureOut">
              <a:rPr lang="en-US" smtClean="0"/>
              <a:t>4/20/2022</a:t>
            </a:fld>
            <a:endParaRPr lang="en-US"/>
          </a:p>
        </p:txBody>
      </p:sp>
      <p:sp>
        <p:nvSpPr>
          <p:cNvPr id="5" name="Footer Placeholder 4">
            <a:extLst>
              <a:ext uri="{FF2B5EF4-FFF2-40B4-BE49-F238E27FC236}">
                <a16:creationId xmlns:a16="http://schemas.microsoft.com/office/drawing/2014/main" id="{93212B7A-6BEB-E53F-80A4-F4EA4BF60D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F86118-48EF-45B5-5F2E-0A9E288AEF70}"/>
              </a:ext>
            </a:extLst>
          </p:cNvPr>
          <p:cNvSpPr>
            <a:spLocks noGrp="1"/>
          </p:cNvSpPr>
          <p:nvPr>
            <p:ph type="sldNum" sz="quarter" idx="12"/>
          </p:nvPr>
        </p:nvSpPr>
        <p:spPr/>
        <p:txBody>
          <a:bodyPr/>
          <a:lstStyle/>
          <a:p>
            <a:fld id="{94614835-264B-43A4-BFC9-FB58BE77347A}" type="slidenum">
              <a:rPr lang="en-US" smtClean="0"/>
              <a:t>‹#›</a:t>
            </a:fld>
            <a:endParaRPr lang="en-US"/>
          </a:p>
        </p:txBody>
      </p:sp>
    </p:spTree>
    <p:extLst>
      <p:ext uri="{BB962C8B-B14F-4D97-AF65-F5344CB8AC3E}">
        <p14:creationId xmlns:p14="http://schemas.microsoft.com/office/powerpoint/2010/main" val="2775704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15290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63942D36-D69A-4CE2-9B55-D0FAEAF1672C}"/>
              </a:ext>
            </a:extLst>
          </p:cNvPr>
          <p:cNvSpPr/>
          <p:nvPr userDrawn="1"/>
        </p:nvSpPr>
        <p:spPr bwMode="auto">
          <a:xfrm>
            <a:off x="0" y="1367758"/>
            <a:ext cx="12192000" cy="5490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34943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63942D36-D69A-4CE2-9B55-D0FAEAF1672C}"/>
              </a:ext>
            </a:extLst>
          </p:cNvPr>
          <p:cNvSpPr/>
          <p:nvPr userDrawn="1"/>
        </p:nvSpPr>
        <p:spPr bwMode="auto">
          <a:xfrm>
            <a:off x="0" y="1367758"/>
            <a:ext cx="12192000" cy="5490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0E49C15-850C-413A-8BD2-2FCECCDA883B}"/>
              </a:ext>
            </a:extLst>
          </p:cNvPr>
          <p:cNvSpPr/>
          <p:nvPr userDrawn="1"/>
        </p:nvSpPr>
        <p:spPr bwMode="auto">
          <a:xfrm>
            <a:off x="579120" y="5542404"/>
            <a:ext cx="3147060" cy="5029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1D3134C0-8D07-4D21-9B92-10A34C3D487A}"/>
              </a:ext>
            </a:extLst>
          </p:cNvPr>
          <p:cNvGrpSpPr/>
          <p:nvPr userDrawn="1"/>
        </p:nvGrpSpPr>
        <p:grpSpPr>
          <a:xfrm>
            <a:off x="-15240" y="1367758"/>
            <a:ext cx="11650980" cy="4865402"/>
            <a:chOff x="297180" y="1367758"/>
            <a:chExt cx="11650980" cy="4865402"/>
          </a:xfrm>
        </p:grpSpPr>
        <p:grpSp>
          <p:nvGrpSpPr>
            <p:cNvPr id="16" name="Group 15">
              <a:extLst>
                <a:ext uri="{FF2B5EF4-FFF2-40B4-BE49-F238E27FC236}">
                  <a16:creationId xmlns:a16="http://schemas.microsoft.com/office/drawing/2014/main" id="{3AAFD6D0-3292-4B3D-A1A0-734C7F2E7C05}"/>
                </a:ext>
              </a:extLst>
            </p:cNvPr>
            <p:cNvGrpSpPr/>
            <p:nvPr userDrawn="1"/>
          </p:nvGrpSpPr>
          <p:grpSpPr>
            <a:xfrm>
              <a:off x="675018" y="1996161"/>
              <a:ext cx="10653724" cy="3968028"/>
              <a:chOff x="675018" y="1996161"/>
              <a:chExt cx="10653724" cy="3968028"/>
            </a:xfrm>
          </p:grpSpPr>
          <p:pic>
            <p:nvPicPr>
              <p:cNvPr id="19" name="Picture 18">
                <a:extLst>
                  <a:ext uri="{FF2B5EF4-FFF2-40B4-BE49-F238E27FC236}">
                    <a16:creationId xmlns:a16="http://schemas.microsoft.com/office/drawing/2014/main" id="{87581752-3ED0-41F2-B674-A51B7B4FE7B8}"/>
                  </a:ext>
                </a:extLst>
              </p:cNvPr>
              <p:cNvPicPr>
                <a:picLocks noChangeAspect="1"/>
              </p:cNvPicPr>
              <p:nvPr/>
            </p:nvPicPr>
            <p:blipFill>
              <a:blip r:embed="rId2"/>
              <a:stretch>
                <a:fillRect/>
              </a:stretch>
            </p:blipFill>
            <p:spPr>
              <a:xfrm>
                <a:off x="675018" y="1996161"/>
                <a:ext cx="10653724" cy="3968028"/>
              </a:xfrm>
              <a:prstGeom prst="rect">
                <a:avLst/>
              </a:prstGeom>
            </p:spPr>
          </p:pic>
          <p:sp>
            <p:nvSpPr>
              <p:cNvPr id="20" name="Rectangle 19">
                <a:extLst>
                  <a:ext uri="{FF2B5EF4-FFF2-40B4-BE49-F238E27FC236}">
                    <a16:creationId xmlns:a16="http://schemas.microsoft.com/office/drawing/2014/main" id="{8D13C798-7980-486B-8F15-6AB0138DB21B}"/>
                  </a:ext>
                </a:extLst>
              </p:cNvPr>
              <p:cNvSpPr/>
              <p:nvPr/>
            </p:nvSpPr>
            <p:spPr bwMode="auto">
              <a:xfrm>
                <a:off x="3903077" y="2098824"/>
                <a:ext cx="656649" cy="14114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8312FE22-F60E-47A0-A826-3EB29D84B5DF}"/>
                  </a:ext>
                </a:extLst>
              </p:cNvPr>
              <p:cNvSpPr/>
              <p:nvPr/>
            </p:nvSpPr>
            <p:spPr bwMode="auto">
              <a:xfrm>
                <a:off x="796777" y="2098824"/>
                <a:ext cx="656649" cy="14114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7190F804-CF54-4384-A8DD-55BBA136CF9B}"/>
                  </a:ext>
                </a:extLst>
              </p:cNvPr>
              <p:cNvSpPr/>
              <p:nvPr/>
            </p:nvSpPr>
            <p:spPr bwMode="auto">
              <a:xfrm>
                <a:off x="3903076" y="5411734"/>
                <a:ext cx="656649" cy="14114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7" name="Rectangle 16">
              <a:extLst>
                <a:ext uri="{FF2B5EF4-FFF2-40B4-BE49-F238E27FC236}">
                  <a16:creationId xmlns:a16="http://schemas.microsoft.com/office/drawing/2014/main" id="{A96AE4E4-6E14-4F65-8B84-3A6614420F10}"/>
                </a:ext>
              </a:extLst>
            </p:cNvPr>
            <p:cNvSpPr/>
            <p:nvPr userDrawn="1"/>
          </p:nvSpPr>
          <p:spPr bwMode="auto">
            <a:xfrm>
              <a:off x="297180" y="1539240"/>
              <a:ext cx="3147060" cy="46939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3D5CC2B0-7D32-4841-AB49-23D8028D1E77}"/>
                </a:ext>
              </a:extLst>
            </p:cNvPr>
            <p:cNvSpPr/>
            <p:nvPr userDrawn="1"/>
          </p:nvSpPr>
          <p:spPr bwMode="auto">
            <a:xfrm>
              <a:off x="9380220" y="1367758"/>
              <a:ext cx="2567940" cy="46939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283776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095375" y="457200"/>
            <a:ext cx="2700538" cy="738664"/>
          </a:xfrm>
        </p:spPr>
        <p:txBody>
          <a:bodyPr/>
          <a:lstStyle>
            <a:lvl1pPr>
              <a:defRPr sz="2400"/>
            </a:lvl1pPr>
          </a:lstStyle>
          <a:p>
            <a:r>
              <a:rPr lang="en-US"/>
              <a:t>Click to edit Master title style</a:t>
            </a:r>
          </a:p>
        </p:txBody>
      </p:sp>
      <p:sp>
        <p:nvSpPr>
          <p:cNvPr id="3" name="Rectangle 2">
            <a:extLst>
              <a:ext uri="{FF2B5EF4-FFF2-40B4-BE49-F238E27FC236}">
                <a16:creationId xmlns:a16="http://schemas.microsoft.com/office/drawing/2014/main" id="{63942D36-D69A-4CE2-9B55-D0FAEAF1672C}"/>
              </a:ext>
            </a:extLst>
          </p:cNvPr>
          <p:cNvSpPr/>
          <p:nvPr userDrawn="1"/>
        </p:nvSpPr>
        <p:spPr bwMode="auto">
          <a:xfrm>
            <a:off x="4172430" y="0"/>
            <a:ext cx="801957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205375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095810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001802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9175407"/>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vert="horz" wrap="square" lIns="0" tIns="0" rIns="0" bIns="0" rtlCol="0" anchor="ctr">
            <a:spAutoFit/>
          </a:bodyPr>
          <a:lstStyle>
            <a:lvl1pPr>
              <a:defRPr lang="en-US" dirty="0">
                <a:solidFill>
                  <a:schemeClr val="bg1"/>
                </a:solidFill>
              </a:defRPr>
            </a:lvl1pPr>
          </a:lstStyle>
          <a:p>
            <a:pPr lvl="0"/>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8721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wrap="square" lIns="0" tIns="0" rIns="0" bIns="0" rtlCol="0" anchor="ctr">
            <a:spAutoFit/>
          </a:bodyPr>
          <a:lstStyle>
            <a:lvl1pPr>
              <a:defRPr lang="en-US" dirty="0">
                <a:solidFill>
                  <a:schemeClr val="bg1"/>
                </a:solidFill>
              </a:defRPr>
            </a:lvl1pPr>
          </a:lstStyle>
          <a:p>
            <a:pPr lvl="0"/>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57940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wrap="square" lIns="0" tIns="0" rIns="0" bIns="0" rtlCol="0" anchor="ctr">
            <a:spAutoFit/>
          </a:bodyPr>
          <a:lstStyle>
            <a:lvl1pPr>
              <a:defRPr lang="en-US" dirty="0">
                <a:solidFill>
                  <a:schemeClr val="bg1"/>
                </a:solidFill>
              </a:defRPr>
            </a:lvl1pPr>
          </a:lstStyle>
          <a:p>
            <a:pPr lvl="0"/>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4346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6EB78-59B4-8012-9E0C-A489F4BF9B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7E06CD-9107-7C86-29AE-D0949BBF8FC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6D2ABE3-93FD-2A0F-2226-C9015D534FE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8D8C569-81B5-AF36-7A42-75C9C9F59D6B}"/>
              </a:ext>
            </a:extLst>
          </p:cNvPr>
          <p:cNvSpPr>
            <a:spLocks noGrp="1"/>
          </p:cNvSpPr>
          <p:nvPr>
            <p:ph type="dt" sz="half" idx="10"/>
          </p:nvPr>
        </p:nvSpPr>
        <p:spPr/>
        <p:txBody>
          <a:bodyPr/>
          <a:lstStyle/>
          <a:p>
            <a:fld id="{F92D8033-5092-4689-9ABF-05D80541BEA7}" type="datetimeFigureOut">
              <a:rPr lang="en-US" smtClean="0"/>
              <a:t>4/20/2022</a:t>
            </a:fld>
            <a:endParaRPr lang="en-US"/>
          </a:p>
        </p:txBody>
      </p:sp>
      <p:sp>
        <p:nvSpPr>
          <p:cNvPr id="6" name="Footer Placeholder 5">
            <a:extLst>
              <a:ext uri="{FF2B5EF4-FFF2-40B4-BE49-F238E27FC236}">
                <a16:creationId xmlns:a16="http://schemas.microsoft.com/office/drawing/2014/main" id="{4E642AE5-7D6A-5A6A-B340-BBB90F12E4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38B3C6B-EB30-F9C5-AB47-462F7607B50F}"/>
              </a:ext>
            </a:extLst>
          </p:cNvPr>
          <p:cNvSpPr>
            <a:spLocks noGrp="1"/>
          </p:cNvSpPr>
          <p:nvPr>
            <p:ph type="sldNum" sz="quarter" idx="12"/>
          </p:nvPr>
        </p:nvSpPr>
        <p:spPr/>
        <p:txBody>
          <a:bodyPr/>
          <a:lstStyle/>
          <a:p>
            <a:fld id="{94614835-264B-43A4-BFC9-FB58BE77347A}" type="slidenum">
              <a:rPr lang="en-US" smtClean="0"/>
              <a:t>‹#›</a:t>
            </a:fld>
            <a:endParaRPr lang="en-US"/>
          </a:p>
        </p:txBody>
      </p:sp>
    </p:spTree>
    <p:extLst>
      <p:ext uri="{BB962C8B-B14F-4D97-AF65-F5344CB8AC3E}">
        <p14:creationId xmlns:p14="http://schemas.microsoft.com/office/powerpoint/2010/main" val="760840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vert="horz" wrap="square" lIns="0" tIns="0" rIns="0" bIns="0" rtlCol="0" anchor="ctr">
            <a:spAutoFit/>
          </a:bodyPr>
          <a:lstStyle>
            <a:lvl1pPr>
              <a:defRPr lang="en-US" dirty="0">
                <a:solidFill>
                  <a:schemeClr val="bg1"/>
                </a:solidFill>
              </a:defRPr>
            </a:lvl1pPr>
          </a:lstStyle>
          <a:p>
            <a:pPr lvl="0"/>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107698"/>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wrap="square" lIns="0" tIns="0" rIns="0" bIns="0" rtlCol="0" anchor="ctr">
            <a:spAutoFit/>
          </a:bodyPr>
          <a:lstStyle>
            <a:lvl1pPr>
              <a:defRPr lang="en-US" dirty="0">
                <a:solidFill>
                  <a:schemeClr val="bg1"/>
                </a:solidFill>
              </a:defRPr>
            </a:lvl1pPr>
          </a:lstStyle>
          <a:p>
            <a:pPr lvl="0"/>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217445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6399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53285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11381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67231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70207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70721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56537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0706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5FEF5-00C0-4FC2-5D1F-D8ECDC86059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214F5F4-44C5-6FE0-8955-1D5E027741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D44E512-3F7E-4DF9-2087-4C34FDC5FE8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0B847E4-8E21-2A57-B178-965AF93DC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192526-47B0-C0C0-0174-28A170543FA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95F91E6-C163-079A-BB87-07209821E5E5}"/>
              </a:ext>
            </a:extLst>
          </p:cNvPr>
          <p:cNvSpPr>
            <a:spLocks noGrp="1"/>
          </p:cNvSpPr>
          <p:nvPr>
            <p:ph type="dt" sz="half" idx="10"/>
          </p:nvPr>
        </p:nvSpPr>
        <p:spPr/>
        <p:txBody>
          <a:bodyPr/>
          <a:lstStyle/>
          <a:p>
            <a:fld id="{F92D8033-5092-4689-9ABF-05D80541BEA7}" type="datetimeFigureOut">
              <a:rPr lang="en-US" smtClean="0"/>
              <a:t>4/20/2022</a:t>
            </a:fld>
            <a:endParaRPr lang="en-US"/>
          </a:p>
        </p:txBody>
      </p:sp>
      <p:sp>
        <p:nvSpPr>
          <p:cNvPr id="8" name="Footer Placeholder 7">
            <a:extLst>
              <a:ext uri="{FF2B5EF4-FFF2-40B4-BE49-F238E27FC236}">
                <a16:creationId xmlns:a16="http://schemas.microsoft.com/office/drawing/2014/main" id="{0B0681E8-3669-824E-7728-EDA7FD095BC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5789A6F-1572-D3E6-D151-D71F0F1995FE}"/>
              </a:ext>
            </a:extLst>
          </p:cNvPr>
          <p:cNvSpPr>
            <a:spLocks noGrp="1"/>
          </p:cNvSpPr>
          <p:nvPr>
            <p:ph type="sldNum" sz="quarter" idx="12"/>
          </p:nvPr>
        </p:nvSpPr>
        <p:spPr/>
        <p:txBody>
          <a:bodyPr/>
          <a:lstStyle/>
          <a:p>
            <a:fld id="{94614835-264B-43A4-BFC9-FB58BE77347A}" type="slidenum">
              <a:rPr lang="en-US" smtClean="0"/>
              <a:t>‹#›</a:t>
            </a:fld>
            <a:endParaRPr lang="en-US"/>
          </a:p>
        </p:txBody>
      </p:sp>
    </p:spTree>
    <p:extLst>
      <p:ext uri="{BB962C8B-B14F-4D97-AF65-F5344CB8AC3E}">
        <p14:creationId xmlns:p14="http://schemas.microsoft.com/office/powerpoint/2010/main" val="15165096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20195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15309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90426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3_Header Line 12 Months">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42548894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2825233767"/>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4_Header Line 12 Month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bg1"/>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65163186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56232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80222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70613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Square Photo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4864520"/>
      </p:ext>
    </p:extLst>
  </p:cSld>
  <p:clrMapOvr>
    <a:masterClrMapping/>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853C5-9D40-CF7C-7CE8-391DF7B63F7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6C40EC1-EC51-4697-6488-43A470B68BDB}"/>
              </a:ext>
            </a:extLst>
          </p:cNvPr>
          <p:cNvSpPr>
            <a:spLocks noGrp="1"/>
          </p:cNvSpPr>
          <p:nvPr>
            <p:ph type="dt" sz="half" idx="10"/>
          </p:nvPr>
        </p:nvSpPr>
        <p:spPr/>
        <p:txBody>
          <a:bodyPr/>
          <a:lstStyle/>
          <a:p>
            <a:fld id="{F92D8033-5092-4689-9ABF-05D80541BEA7}" type="datetimeFigureOut">
              <a:rPr lang="en-US" smtClean="0"/>
              <a:t>4/20/2022</a:t>
            </a:fld>
            <a:endParaRPr lang="en-US"/>
          </a:p>
        </p:txBody>
      </p:sp>
      <p:sp>
        <p:nvSpPr>
          <p:cNvPr id="4" name="Footer Placeholder 3">
            <a:extLst>
              <a:ext uri="{FF2B5EF4-FFF2-40B4-BE49-F238E27FC236}">
                <a16:creationId xmlns:a16="http://schemas.microsoft.com/office/drawing/2014/main" id="{0B95D6A9-C769-4B88-0BAA-6C9511B979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CCC4004-CED1-A838-0C81-0848C55941AD}"/>
              </a:ext>
            </a:extLst>
          </p:cNvPr>
          <p:cNvSpPr>
            <a:spLocks noGrp="1"/>
          </p:cNvSpPr>
          <p:nvPr>
            <p:ph type="sldNum" sz="quarter" idx="12"/>
          </p:nvPr>
        </p:nvSpPr>
        <p:spPr/>
        <p:txBody>
          <a:bodyPr/>
          <a:lstStyle/>
          <a:p>
            <a:fld id="{94614835-264B-43A4-BFC9-FB58BE77347A}" type="slidenum">
              <a:rPr lang="en-US" smtClean="0"/>
              <a:t>‹#›</a:t>
            </a:fld>
            <a:endParaRPr lang="en-US"/>
          </a:p>
        </p:txBody>
      </p:sp>
    </p:spTree>
    <p:extLst>
      <p:ext uri="{BB962C8B-B14F-4D97-AF65-F5344CB8AC3E}">
        <p14:creationId xmlns:p14="http://schemas.microsoft.com/office/powerpoint/2010/main" val="16906352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 Square Photo Righ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9433011"/>
      </p:ext>
    </p:extLst>
  </p:cSld>
  <p:clrMapOvr>
    <a:masterClrMapping/>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inv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213461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inv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012021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inv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327238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2" name="Rectangle 1">
            <a:extLst>
              <a:ext uri="{FF2B5EF4-FFF2-40B4-BE49-F238E27FC236}">
                <a16:creationId xmlns:a16="http://schemas.microsoft.com/office/drawing/2014/main" id="{549E178E-52AD-4285-95B4-8A6719B6A649}"/>
              </a:ext>
              <a:ext uri="{C183D7F6-B498-43B3-948B-1728B52AA6E4}">
                <adec:decorative xmlns:adec="http://schemas.microsoft.com/office/drawing/2017/decorative" val="1"/>
              </a:ext>
            </a:extLst>
          </p:cNvPr>
          <p:cNvSpPr/>
          <p:nvPr userDrawn="1"/>
        </p:nvSpPr>
        <p:spPr bwMode="auto">
          <a:xfrm>
            <a:off x="0" y="0"/>
            <a:ext cx="5656082" cy="6858000"/>
          </a:xfrm>
          <a:prstGeom prst="rect">
            <a:avLst/>
          </a:prstGeom>
          <a:gradFill>
            <a:gsLst>
              <a:gs pos="50000">
                <a:srgbClr val="000000">
                  <a:alpha val="70000"/>
                </a:srgbClr>
              </a:gs>
              <a:gs pos="100000">
                <a:srgbClr val="000000">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10" name="Title 1">
            <a:extLst>
              <a:ext uri="{FF2B5EF4-FFF2-40B4-BE49-F238E27FC236}">
                <a16:creationId xmlns:a16="http://schemas.microsoft.com/office/drawing/2014/main" id="{90234D26-B117-4327-B20B-D3A4D34FCF4C}"/>
              </a:ext>
            </a:extLst>
          </p:cNvPr>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Tree>
    <p:extLst>
      <p:ext uri="{BB962C8B-B14F-4D97-AF65-F5344CB8AC3E}">
        <p14:creationId xmlns:p14="http://schemas.microsoft.com/office/powerpoint/2010/main" val="163902503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inv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325711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04914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00024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489604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31317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8D2C1F-99E6-B808-7BB8-D1CE0E140574}"/>
              </a:ext>
            </a:extLst>
          </p:cNvPr>
          <p:cNvSpPr>
            <a:spLocks noGrp="1"/>
          </p:cNvSpPr>
          <p:nvPr>
            <p:ph type="dt" sz="half" idx="10"/>
          </p:nvPr>
        </p:nvSpPr>
        <p:spPr/>
        <p:txBody>
          <a:bodyPr/>
          <a:lstStyle/>
          <a:p>
            <a:fld id="{F92D8033-5092-4689-9ABF-05D80541BEA7}" type="datetimeFigureOut">
              <a:rPr lang="en-US" smtClean="0"/>
              <a:t>4/20/2022</a:t>
            </a:fld>
            <a:endParaRPr lang="en-US"/>
          </a:p>
        </p:txBody>
      </p:sp>
      <p:sp>
        <p:nvSpPr>
          <p:cNvPr id="3" name="Footer Placeholder 2">
            <a:extLst>
              <a:ext uri="{FF2B5EF4-FFF2-40B4-BE49-F238E27FC236}">
                <a16:creationId xmlns:a16="http://schemas.microsoft.com/office/drawing/2014/main" id="{A072313D-A548-A96E-AE46-FA98453C874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97785A5-293B-88EB-B82A-9F86762C0F7C}"/>
              </a:ext>
            </a:extLst>
          </p:cNvPr>
          <p:cNvSpPr>
            <a:spLocks noGrp="1"/>
          </p:cNvSpPr>
          <p:nvPr>
            <p:ph type="sldNum" sz="quarter" idx="12"/>
          </p:nvPr>
        </p:nvSpPr>
        <p:spPr/>
        <p:txBody>
          <a:bodyPr/>
          <a:lstStyle/>
          <a:p>
            <a:fld id="{94614835-264B-43A4-BFC9-FB58BE77347A}" type="slidenum">
              <a:rPr lang="en-US" smtClean="0"/>
              <a:t>‹#›</a:t>
            </a:fld>
            <a:endParaRPr lang="en-US"/>
          </a:p>
        </p:txBody>
      </p:sp>
    </p:spTree>
    <p:extLst>
      <p:ext uri="{BB962C8B-B14F-4D97-AF65-F5344CB8AC3E}">
        <p14:creationId xmlns:p14="http://schemas.microsoft.com/office/powerpoint/2010/main" val="21905242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721081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662016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58716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66745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73300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62873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35199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45130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76413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slide 1b">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83284448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607CE-0250-F827-45E4-9B9C03F73A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15FBB6-8ACC-46CE-0D4D-C8ECFF4BFF6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FFAEA6-9E1F-A948-7747-DB515B1014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E6D0D4-B44A-4B93-D687-5C8EFEB244EF}"/>
              </a:ext>
            </a:extLst>
          </p:cNvPr>
          <p:cNvSpPr>
            <a:spLocks noGrp="1"/>
          </p:cNvSpPr>
          <p:nvPr>
            <p:ph type="dt" sz="half" idx="10"/>
          </p:nvPr>
        </p:nvSpPr>
        <p:spPr/>
        <p:txBody>
          <a:bodyPr/>
          <a:lstStyle/>
          <a:p>
            <a:fld id="{F92D8033-5092-4689-9ABF-05D80541BEA7}" type="datetimeFigureOut">
              <a:rPr lang="en-US" smtClean="0"/>
              <a:t>4/20/2022</a:t>
            </a:fld>
            <a:endParaRPr lang="en-US"/>
          </a:p>
        </p:txBody>
      </p:sp>
      <p:sp>
        <p:nvSpPr>
          <p:cNvPr id="6" name="Footer Placeholder 5">
            <a:extLst>
              <a:ext uri="{FF2B5EF4-FFF2-40B4-BE49-F238E27FC236}">
                <a16:creationId xmlns:a16="http://schemas.microsoft.com/office/drawing/2014/main" id="{2B1C5657-7501-72BF-640E-A7FF983422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AB785A-E8A4-C283-D2BE-39505C1978DD}"/>
              </a:ext>
            </a:extLst>
          </p:cNvPr>
          <p:cNvSpPr>
            <a:spLocks noGrp="1"/>
          </p:cNvSpPr>
          <p:nvPr>
            <p:ph type="sldNum" sz="quarter" idx="12"/>
          </p:nvPr>
        </p:nvSpPr>
        <p:spPr/>
        <p:txBody>
          <a:bodyPr/>
          <a:lstStyle/>
          <a:p>
            <a:fld id="{94614835-264B-43A4-BFC9-FB58BE77347A}" type="slidenum">
              <a:rPr lang="en-US" smtClean="0"/>
              <a:t>‹#›</a:t>
            </a:fld>
            <a:endParaRPr lang="en-US"/>
          </a:p>
        </p:txBody>
      </p:sp>
    </p:spTree>
    <p:extLst>
      <p:ext uri="{BB962C8B-B14F-4D97-AF65-F5344CB8AC3E}">
        <p14:creationId xmlns:p14="http://schemas.microsoft.com/office/powerpoint/2010/main" val="30401580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slide 2b">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lumMod val="20000"/>
                    <a:lumOff val="80000"/>
                  </a:schemeClr>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bg1"/>
                </a:solidFill>
              </a:defRPr>
            </a:lvl1pPr>
          </a:lstStyle>
          <a:p>
            <a:r>
              <a:rPr lang="en-US"/>
              <a:t>Add quote text here</a:t>
            </a:r>
          </a:p>
        </p:txBody>
      </p:sp>
    </p:spTree>
    <p:extLst>
      <p:ext uri="{BB962C8B-B14F-4D97-AF65-F5344CB8AC3E}">
        <p14:creationId xmlns:p14="http://schemas.microsoft.com/office/powerpoint/2010/main" val="264461863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lumMod val="20000"/>
                    <a:lumOff val="80000"/>
                  </a:schemeClr>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lumMod val="20000"/>
                    <a:lumOff val="80000"/>
                  </a:schemeClr>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948635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90536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43779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0884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39703680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eft Title 3 Colum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1521030"/>
      </p:ext>
    </p:extLst>
  </p:cSld>
  <p:clrMapOvr>
    <a:masterClrMapping/>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457200"/>
            <a:ext cx="3182027" cy="3118624"/>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457200"/>
            <a:ext cx="6667500" cy="5811838"/>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79210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457200"/>
            <a:ext cx="3182027" cy="3118624"/>
          </a:xfrm>
        </p:spPr>
        <p:txBody>
          <a:bodyPr vert="horz" wrap="square" lIns="0" tIns="0" rIns="0" bIns="0" rtlCol="0" anchor="t">
            <a:noAutofit/>
          </a:bodyPr>
          <a:lstStyle>
            <a:lvl1pPr>
              <a:defRPr lang="en-US" dirty="0">
                <a:solidFill>
                  <a:schemeClr val="bg1"/>
                </a:solidFill>
              </a:defRPr>
            </a:lvl1pPr>
          </a:lstStyle>
          <a:p>
            <a:pPr lvl="0"/>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lumMod val="20000"/>
                    <a:lumOff val="80000"/>
                  </a:schemeClr>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lumMod val="20000"/>
                    <a:lumOff val="80000"/>
                  </a:schemeClr>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lumMod val="20000"/>
                    <a:lumOff val="80000"/>
                  </a:schemeClr>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lumMod val="20000"/>
                    <a:lumOff val="80000"/>
                  </a:schemeClr>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lumMod val="20000"/>
                    <a:lumOff val="80000"/>
                  </a:schemeClr>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lumMod val="20000"/>
                    <a:lumOff val="80000"/>
                  </a:schemeClr>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7680793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457200"/>
            <a:ext cx="3182027" cy="3118624"/>
          </a:xfrm>
        </p:spPr>
        <p:txBody>
          <a:bodyPr vert="horz" wrap="square" lIns="0" tIns="0" rIns="0" bIns="0" rtlCol="0" anchor="t">
            <a:noAutofit/>
          </a:bodyPr>
          <a:lstStyle>
            <a:lvl1pPr>
              <a:defRPr lang="en-US" dirty="0">
                <a:solidFill>
                  <a:schemeClr val="bg1"/>
                </a:solidFill>
              </a:defRPr>
            </a:lvl1pPr>
          </a:lstStyle>
          <a:p>
            <a:pPr lvl="0"/>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lumMod val="20000"/>
                    <a:lumOff val="80000"/>
                  </a:schemeClr>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lumMod val="20000"/>
                    <a:lumOff val="80000"/>
                  </a:schemeClr>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lumMod val="20000"/>
                    <a:lumOff val="80000"/>
                  </a:schemeClr>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lumMod val="20000"/>
                    <a:lumOff val="80000"/>
                  </a:schemeClr>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lumMod val="20000"/>
                    <a:lumOff val="80000"/>
                  </a:schemeClr>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lumMod val="20000"/>
                    <a:lumOff val="80000"/>
                  </a:schemeClr>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37913517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0D9D1-9CC2-3E8D-4326-4A085ADD05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841372B-DF3E-7125-C83D-E892BD8E415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0F0167-93F6-A4B2-902E-3A6FEDB4B4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DCD5497-D446-6E05-1BC6-044DD46D6154}"/>
              </a:ext>
            </a:extLst>
          </p:cNvPr>
          <p:cNvSpPr>
            <a:spLocks noGrp="1"/>
          </p:cNvSpPr>
          <p:nvPr>
            <p:ph type="dt" sz="half" idx="10"/>
          </p:nvPr>
        </p:nvSpPr>
        <p:spPr/>
        <p:txBody>
          <a:bodyPr/>
          <a:lstStyle/>
          <a:p>
            <a:fld id="{F92D8033-5092-4689-9ABF-05D80541BEA7}" type="datetimeFigureOut">
              <a:rPr lang="en-US" smtClean="0"/>
              <a:t>4/20/2022</a:t>
            </a:fld>
            <a:endParaRPr lang="en-US"/>
          </a:p>
        </p:txBody>
      </p:sp>
      <p:sp>
        <p:nvSpPr>
          <p:cNvPr id="6" name="Footer Placeholder 5">
            <a:extLst>
              <a:ext uri="{FF2B5EF4-FFF2-40B4-BE49-F238E27FC236}">
                <a16:creationId xmlns:a16="http://schemas.microsoft.com/office/drawing/2014/main" id="{6AEDA33A-9002-FDD9-D608-F7BD95F504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34C83A-27A8-F36E-3C1A-EE79CB794AB2}"/>
              </a:ext>
            </a:extLst>
          </p:cNvPr>
          <p:cNvSpPr>
            <a:spLocks noGrp="1"/>
          </p:cNvSpPr>
          <p:nvPr>
            <p:ph type="sldNum" sz="quarter" idx="12"/>
          </p:nvPr>
        </p:nvSpPr>
        <p:spPr/>
        <p:txBody>
          <a:bodyPr/>
          <a:lstStyle/>
          <a:p>
            <a:fld id="{94614835-264B-43A4-BFC9-FB58BE77347A}" type="slidenum">
              <a:rPr lang="en-US" smtClean="0"/>
              <a:t>‹#›</a:t>
            </a:fld>
            <a:endParaRPr lang="en-US"/>
          </a:p>
        </p:txBody>
      </p:sp>
    </p:spTree>
    <p:extLst>
      <p:ext uri="{BB962C8B-B14F-4D97-AF65-F5344CB8AC3E}">
        <p14:creationId xmlns:p14="http://schemas.microsoft.com/office/powerpoint/2010/main" val="107625008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eft Side Title an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457200"/>
            <a:ext cx="3182027" cy="575747"/>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171706"/>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649795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Narrow Right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457200"/>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457200"/>
            <a:ext cx="3247983" cy="5811838"/>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71706"/>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407043481"/>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00840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5">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5483225"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54568479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457200"/>
            <a:ext cx="4726687" cy="850900"/>
          </a:xfrm>
        </p:spPr>
        <p:txBody>
          <a:bodyPr anchor="t">
            <a:noAutofit/>
          </a:bodyPr>
          <a:lstStyle>
            <a:lvl1pPr>
              <a:defRPr>
                <a:solidFill>
                  <a:schemeClr val="bg1"/>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lumMod val="20000"/>
                    <a:lumOff val="80000"/>
                  </a:schemeClr>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lumMod val="20000"/>
                    <a:lumOff val="80000"/>
                  </a:schemeClr>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lumMod val="20000"/>
                    <a:lumOff val="80000"/>
                  </a:schemeClr>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lumMod val="20000"/>
                    <a:lumOff val="80000"/>
                  </a:schemeClr>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lumMod val="20000"/>
                    <a:lumOff val="80000"/>
                  </a:schemeClr>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136124976"/>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457200"/>
            <a:ext cx="2824862" cy="850900"/>
          </a:xfrm>
        </p:spPr>
        <p:txBody>
          <a:bodyPr anchor="t">
            <a:noAutofit/>
          </a:bodyPr>
          <a:lstStyle>
            <a:lvl1pPr>
              <a:defRPr>
                <a:solidFill>
                  <a:schemeClr val="bg1"/>
                </a:solidFill>
              </a:defRPr>
            </a:lvl1pPr>
          </a:lstStyle>
          <a:p>
            <a:r>
              <a:rPr lang="en-US"/>
              <a:t>Hello</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5">
            <a:extLst>
              <a:ext uri="{FF2B5EF4-FFF2-40B4-BE49-F238E27FC236}">
                <a16:creationId xmlns:a16="http://schemas.microsoft.com/office/drawing/2014/main" id="{C80E31FD-B851-4008-960E-5AE986E5EF37}"/>
              </a:ext>
            </a:extLst>
          </p:cNvPr>
          <p:cNvSpPr>
            <a:spLocks noGrp="1"/>
          </p:cNvSpPr>
          <p:nvPr>
            <p:ph type="body" sz="quarter" idx="19" hasCustomPrompt="1"/>
          </p:nvPr>
        </p:nvSpPr>
        <p:spPr>
          <a:xfrm>
            <a:off x="7192963" y="2200939"/>
            <a:ext cx="3835400" cy="923330"/>
          </a:xfrm>
        </p:spPr>
        <p:txBody>
          <a:bodyPr/>
          <a:lstStyle>
            <a:lvl1pPr marL="0" indent="0">
              <a:buNone/>
              <a:defRPr sz="1200">
                <a:solidFill>
                  <a:schemeClr val="accent6">
                    <a:lumMod val="20000"/>
                    <a:lumOff val="80000"/>
                  </a:schemeClr>
                </a:solidFill>
              </a:defRPr>
            </a:lvl1pPr>
            <a:lvl2pPr marL="228600" indent="0">
              <a:buNone/>
              <a:defRPr/>
            </a:lvl2pPr>
          </a:lstStyle>
          <a:p>
            <a:pPr lvl="0"/>
            <a:r>
              <a:rPr lang="en-US"/>
              <a:t>Abou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5">
            <a:extLst>
              <a:ext uri="{FF2B5EF4-FFF2-40B4-BE49-F238E27FC236}">
                <a16:creationId xmlns:a16="http://schemas.microsoft.com/office/drawing/2014/main" id="{F154A26E-7E15-4437-80D3-FC0018545D28}"/>
              </a:ext>
            </a:extLst>
          </p:cNvPr>
          <p:cNvSpPr>
            <a:spLocks noGrp="1"/>
          </p:cNvSpPr>
          <p:nvPr>
            <p:ph type="body" sz="quarter" idx="20" hasCustomPrompt="1"/>
          </p:nvPr>
        </p:nvSpPr>
        <p:spPr>
          <a:xfrm>
            <a:off x="7192963" y="5055854"/>
            <a:ext cx="3835400" cy="923330"/>
          </a:xfrm>
        </p:spPr>
        <p:txBody>
          <a:bodyPr/>
          <a:lstStyle>
            <a:lvl1pPr marL="0" indent="0">
              <a:buNone/>
              <a:defRPr sz="1200">
                <a:solidFill>
                  <a:schemeClr val="accent6">
                    <a:lumMod val="20000"/>
                    <a:lumOff val="80000"/>
                  </a:schemeClr>
                </a:solidFill>
              </a:defRPr>
            </a:lvl1pPr>
            <a:lvl2pPr marL="228600" indent="0">
              <a:buNone/>
              <a:defRPr/>
            </a:lvl2pPr>
          </a:lstStyle>
          <a:p>
            <a:pPr lvl="0"/>
            <a:r>
              <a:rPr lang="en-US"/>
              <a:t>Abou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44580983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bg1"/>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0" name="Text Placeholder 5">
            <a:extLst>
              <a:ext uri="{FF2B5EF4-FFF2-40B4-BE49-F238E27FC236}">
                <a16:creationId xmlns:a16="http://schemas.microsoft.com/office/drawing/2014/main" id="{2A03472C-3911-49A1-A49C-8AD3F5E04B92}"/>
              </a:ext>
            </a:extLst>
          </p:cNvPr>
          <p:cNvSpPr>
            <a:spLocks noGrp="1"/>
          </p:cNvSpPr>
          <p:nvPr>
            <p:ph type="body" sz="quarter" idx="27" hasCustomPrompt="1"/>
          </p:nvPr>
        </p:nvSpPr>
        <p:spPr>
          <a:xfrm>
            <a:off x="601664" y="5171595"/>
            <a:ext cx="2517774" cy="923330"/>
          </a:xfrm>
        </p:spPr>
        <p:txBody>
          <a:bodyPr>
            <a:spAutoFit/>
          </a:bodyPr>
          <a:lstStyle>
            <a:lvl1pPr marL="0" indent="0">
              <a:buNone/>
              <a:defRPr sz="1200">
                <a:solidFill>
                  <a:schemeClr val="accent6">
                    <a:lumMod val="20000"/>
                    <a:lumOff val="80000"/>
                  </a:schemeClr>
                </a:solidFill>
              </a:defRPr>
            </a:lvl1pPr>
            <a:lvl2pPr marL="228600" indent="0">
              <a:buNone/>
              <a:defRPr/>
            </a:lvl2pPr>
          </a:lstStyle>
          <a:p>
            <a:pPr lvl="0"/>
            <a:r>
              <a:rPr lang="en-US"/>
              <a:t>Abou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1" name="Text Placeholder 5">
            <a:extLst>
              <a:ext uri="{FF2B5EF4-FFF2-40B4-BE49-F238E27FC236}">
                <a16:creationId xmlns:a16="http://schemas.microsoft.com/office/drawing/2014/main" id="{73C2A51C-E637-4A6C-8791-455806319FE0}"/>
              </a:ext>
            </a:extLst>
          </p:cNvPr>
          <p:cNvSpPr>
            <a:spLocks noGrp="1"/>
          </p:cNvSpPr>
          <p:nvPr>
            <p:ph type="body" sz="quarter" idx="28" hasCustomPrompt="1"/>
          </p:nvPr>
        </p:nvSpPr>
        <p:spPr>
          <a:xfrm>
            <a:off x="3416301" y="5171595"/>
            <a:ext cx="2517774" cy="923330"/>
          </a:xfrm>
        </p:spPr>
        <p:txBody>
          <a:bodyPr>
            <a:spAutoFit/>
          </a:bodyPr>
          <a:lstStyle>
            <a:lvl1pPr marL="0" indent="0">
              <a:buNone/>
              <a:defRPr sz="1200">
                <a:solidFill>
                  <a:schemeClr val="accent6">
                    <a:lumMod val="20000"/>
                    <a:lumOff val="80000"/>
                  </a:schemeClr>
                </a:solidFill>
              </a:defRPr>
            </a:lvl1pPr>
            <a:lvl2pPr marL="228600" indent="0">
              <a:buNone/>
              <a:defRPr/>
            </a:lvl2pPr>
          </a:lstStyle>
          <a:p>
            <a:pPr lvl="0"/>
            <a:r>
              <a:rPr lang="en-US"/>
              <a:t>Abou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2" name="Text Placeholder 5">
            <a:extLst>
              <a:ext uri="{FF2B5EF4-FFF2-40B4-BE49-F238E27FC236}">
                <a16:creationId xmlns:a16="http://schemas.microsoft.com/office/drawing/2014/main" id="{88A8DB01-C0E3-4681-9AA1-C8E4F7FAD2AC}"/>
              </a:ext>
            </a:extLst>
          </p:cNvPr>
          <p:cNvSpPr>
            <a:spLocks noGrp="1"/>
          </p:cNvSpPr>
          <p:nvPr>
            <p:ph type="body" sz="quarter" idx="29" hasCustomPrompt="1"/>
          </p:nvPr>
        </p:nvSpPr>
        <p:spPr>
          <a:xfrm>
            <a:off x="6256338" y="5171595"/>
            <a:ext cx="2517774" cy="923330"/>
          </a:xfrm>
        </p:spPr>
        <p:txBody>
          <a:bodyPr>
            <a:spAutoFit/>
          </a:bodyPr>
          <a:lstStyle>
            <a:lvl1pPr marL="0" indent="0">
              <a:buNone/>
              <a:defRPr sz="1200">
                <a:solidFill>
                  <a:schemeClr val="accent6">
                    <a:lumMod val="20000"/>
                    <a:lumOff val="80000"/>
                  </a:schemeClr>
                </a:solidFill>
              </a:defRPr>
            </a:lvl1pPr>
            <a:lvl2pPr marL="228600" indent="0">
              <a:buNone/>
              <a:defRPr/>
            </a:lvl2pPr>
          </a:lstStyle>
          <a:p>
            <a:pPr lvl="0"/>
            <a:r>
              <a:rPr lang="en-US"/>
              <a:t>Abou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3" name="Text Placeholder 5">
            <a:extLst>
              <a:ext uri="{FF2B5EF4-FFF2-40B4-BE49-F238E27FC236}">
                <a16:creationId xmlns:a16="http://schemas.microsoft.com/office/drawing/2014/main" id="{878495BB-1E5B-4945-8547-41C59337ABA7}"/>
              </a:ext>
            </a:extLst>
          </p:cNvPr>
          <p:cNvSpPr>
            <a:spLocks noGrp="1"/>
          </p:cNvSpPr>
          <p:nvPr>
            <p:ph type="body" sz="quarter" idx="30" hasCustomPrompt="1"/>
          </p:nvPr>
        </p:nvSpPr>
        <p:spPr>
          <a:xfrm>
            <a:off x="9070975" y="5171595"/>
            <a:ext cx="2517774" cy="923330"/>
          </a:xfrm>
        </p:spPr>
        <p:txBody>
          <a:bodyPr>
            <a:spAutoFit/>
          </a:bodyPr>
          <a:lstStyle>
            <a:lvl1pPr marL="0" indent="0">
              <a:buNone/>
              <a:defRPr sz="1200">
                <a:solidFill>
                  <a:schemeClr val="accent6">
                    <a:lumMod val="20000"/>
                    <a:lumOff val="80000"/>
                  </a:schemeClr>
                </a:solidFill>
              </a:defRPr>
            </a:lvl1pPr>
            <a:lvl2pPr marL="228600" indent="0">
              <a:buNone/>
              <a:defRPr/>
            </a:lvl2pPr>
          </a:lstStyle>
          <a:p>
            <a:pPr lvl="0"/>
            <a:r>
              <a:rPr lang="en-US"/>
              <a:t>Abou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107249753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ofil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60335480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604206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arge Number Divider 1 Dar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1717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3BE74302-5E09-4D94-B0DF-5D5DCD67E874}"/>
              </a:ext>
            </a:extLst>
          </p:cNvPr>
          <p:cNvSpPr>
            <a:spLocks noGrp="1"/>
          </p:cNvSpPr>
          <p:nvPr>
            <p:ph type="title" hasCustomPrompt="1"/>
          </p:nvPr>
        </p:nvSpPr>
        <p:spPr>
          <a:xfrm>
            <a:off x="4941888" y="457200"/>
            <a:ext cx="6667230" cy="714094"/>
          </a:xfrm>
          <a:noFill/>
        </p:spPr>
        <p:txBody>
          <a:bodyPr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73065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117" Type="http://schemas.openxmlformats.org/officeDocument/2006/relationships/theme" Target="../theme/theme2.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84" Type="http://schemas.openxmlformats.org/officeDocument/2006/relationships/slideLayout" Target="../slideLayouts/slideLayout95.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6" Type="http://schemas.openxmlformats.org/officeDocument/2006/relationships/slideLayout" Target="../slideLayouts/slideLayout27.xml"/><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5" Type="http://schemas.openxmlformats.org/officeDocument/2006/relationships/slideLayout" Target="../slideLayouts/slideLayout16.xml"/><Relationship Id="rId90" Type="http://schemas.openxmlformats.org/officeDocument/2006/relationships/slideLayout" Target="../slideLayouts/slideLayout101.xml"/><Relationship Id="rId95" Type="http://schemas.openxmlformats.org/officeDocument/2006/relationships/slideLayout" Target="../slideLayouts/slideLayout106.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18" Type="http://schemas.openxmlformats.org/officeDocument/2006/relationships/image" Target="../media/image1.emf"/><Relationship Id="rId80" Type="http://schemas.openxmlformats.org/officeDocument/2006/relationships/slideLayout" Target="../slideLayouts/slideLayout91.xml"/><Relationship Id="rId85" Type="http://schemas.openxmlformats.org/officeDocument/2006/relationships/slideLayout" Target="../slideLayouts/slideLayout96.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08" Type="http://schemas.openxmlformats.org/officeDocument/2006/relationships/slideLayout" Target="../slideLayouts/slideLayout119.xml"/><Relationship Id="rId54" Type="http://schemas.openxmlformats.org/officeDocument/2006/relationships/slideLayout" Target="../slideLayouts/slideLayout65.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openxmlformats.org/officeDocument/2006/relationships/slideLayout" Target="../slideLayouts/slideLayout115.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15" Type="http://schemas.openxmlformats.org/officeDocument/2006/relationships/slideLayout" Target="../slideLayouts/slideLayout126.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3" Type="http://schemas.openxmlformats.org/officeDocument/2006/relationships/slideLayout" Target="../slideLayouts/slideLayout14.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106"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619B5C-C5D7-2CFC-47DF-EA5FE085EA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85EE2CA-913F-B6D2-A60D-9367DB732DF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42CE30-80A6-CE0E-9135-B03D92FD853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2D8033-5092-4689-9ABF-05D80541BEA7}" type="datetimeFigureOut">
              <a:rPr lang="en-US" smtClean="0"/>
              <a:t>4/20/2022</a:t>
            </a:fld>
            <a:endParaRPr lang="en-US"/>
          </a:p>
        </p:txBody>
      </p:sp>
      <p:sp>
        <p:nvSpPr>
          <p:cNvPr id="5" name="Footer Placeholder 4">
            <a:extLst>
              <a:ext uri="{FF2B5EF4-FFF2-40B4-BE49-F238E27FC236}">
                <a16:creationId xmlns:a16="http://schemas.microsoft.com/office/drawing/2014/main" id="{7D46C51E-9413-EAAC-9915-CAB325755D0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2DD3365-6E97-1FEF-4258-5A5D9F0D87A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614835-264B-43A4-BFC9-FB58BE77347A}" type="slidenum">
              <a:rPr lang="en-US" smtClean="0"/>
              <a:t>‹#›</a:t>
            </a:fld>
            <a:endParaRPr lang="en-US"/>
          </a:p>
        </p:txBody>
      </p:sp>
    </p:spTree>
    <p:extLst>
      <p:ext uri="{BB962C8B-B14F-4D97-AF65-F5344CB8AC3E}">
        <p14:creationId xmlns:p14="http://schemas.microsoft.com/office/powerpoint/2010/main" val="22682756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8"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746926082"/>
      </p:ext>
    </p:extLst>
  </p:cSld>
  <p:clrMap bg1="dk1" tx1="lt1" bg2="dk2"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3" r:id="rId51"/>
    <p:sldLayoutId id="2147483714" r:id="rId52"/>
    <p:sldLayoutId id="2147483715" r:id="rId53"/>
    <p:sldLayoutId id="2147483716" r:id="rId54"/>
    <p:sldLayoutId id="2147483717" r:id="rId55"/>
    <p:sldLayoutId id="2147483718" r:id="rId56"/>
    <p:sldLayoutId id="2147483719" r:id="rId57"/>
    <p:sldLayoutId id="2147483720" r:id="rId58"/>
    <p:sldLayoutId id="2147483721" r:id="rId59"/>
    <p:sldLayoutId id="2147483722" r:id="rId60"/>
    <p:sldLayoutId id="2147483723" r:id="rId61"/>
    <p:sldLayoutId id="2147483724" r:id="rId62"/>
    <p:sldLayoutId id="2147483725" r:id="rId63"/>
    <p:sldLayoutId id="2147483726" r:id="rId64"/>
    <p:sldLayoutId id="2147483727" r:id="rId65"/>
    <p:sldLayoutId id="2147483728" r:id="rId66"/>
    <p:sldLayoutId id="2147483729" r:id="rId67"/>
    <p:sldLayoutId id="2147483730" r:id="rId68"/>
    <p:sldLayoutId id="2147483731" r:id="rId69"/>
    <p:sldLayoutId id="2147483732" r:id="rId70"/>
    <p:sldLayoutId id="2147483733" r:id="rId71"/>
    <p:sldLayoutId id="2147483734" r:id="rId72"/>
    <p:sldLayoutId id="2147483735" r:id="rId73"/>
    <p:sldLayoutId id="2147483736" r:id="rId74"/>
    <p:sldLayoutId id="2147483737" r:id="rId75"/>
    <p:sldLayoutId id="2147483738" r:id="rId76"/>
    <p:sldLayoutId id="2147483739" r:id="rId77"/>
    <p:sldLayoutId id="2147483740" r:id="rId78"/>
    <p:sldLayoutId id="2147483741" r:id="rId79"/>
    <p:sldLayoutId id="2147483742" r:id="rId80"/>
    <p:sldLayoutId id="2147483743" r:id="rId81"/>
    <p:sldLayoutId id="2147483744" r:id="rId82"/>
    <p:sldLayoutId id="2147483745" r:id="rId83"/>
    <p:sldLayoutId id="2147483746" r:id="rId84"/>
    <p:sldLayoutId id="2147483747" r:id="rId85"/>
    <p:sldLayoutId id="2147483748" r:id="rId86"/>
    <p:sldLayoutId id="2147483749" r:id="rId87"/>
    <p:sldLayoutId id="2147483750" r:id="rId88"/>
    <p:sldLayoutId id="2147483751" r:id="rId89"/>
    <p:sldLayoutId id="2147483752" r:id="rId90"/>
    <p:sldLayoutId id="2147483753" r:id="rId91"/>
    <p:sldLayoutId id="2147483754" r:id="rId92"/>
    <p:sldLayoutId id="2147483755" r:id="rId93"/>
    <p:sldLayoutId id="2147483756" r:id="rId94"/>
    <p:sldLayoutId id="2147483757" r:id="rId95"/>
    <p:sldLayoutId id="2147483758" r:id="rId96"/>
    <p:sldLayoutId id="2147483759" r:id="rId97"/>
    <p:sldLayoutId id="2147483760" r:id="rId98"/>
    <p:sldLayoutId id="2147483761" r:id="rId99"/>
    <p:sldLayoutId id="2147483762" r:id="rId100"/>
    <p:sldLayoutId id="2147483763" r:id="rId101"/>
    <p:sldLayoutId id="2147483764" r:id="rId102"/>
    <p:sldLayoutId id="2147483765" r:id="rId103"/>
    <p:sldLayoutId id="2147483766" r:id="rId104"/>
    <p:sldLayoutId id="2147483767" r:id="rId105"/>
    <p:sldLayoutId id="2147483768" r:id="rId106"/>
    <p:sldLayoutId id="2147483769" r:id="rId107"/>
    <p:sldLayoutId id="2147483770" r:id="rId108"/>
    <p:sldLayoutId id="2147483771" r:id="rId109"/>
    <p:sldLayoutId id="2147483772" r:id="rId110"/>
    <p:sldLayoutId id="2147483773" r:id="rId111"/>
    <p:sldLayoutId id="2147483774" r:id="rId112"/>
    <p:sldLayoutId id="2147483775" r:id="rId113"/>
    <p:sldLayoutId id="2147483776" r:id="rId114"/>
    <p:sldLayoutId id="2147483777" r:id="rId115"/>
    <p:sldLayoutId id="2147483778" r:id="rId1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svg"/><Relationship Id="rId18" Type="http://schemas.openxmlformats.org/officeDocument/2006/relationships/image" Target="../media/image89.png"/><Relationship Id="rId3" Type="http://schemas.openxmlformats.org/officeDocument/2006/relationships/image" Target="../media/image83.png"/><Relationship Id="rId21" Type="http://schemas.openxmlformats.org/officeDocument/2006/relationships/image" Target="../media/image71.svg"/><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88.png"/><Relationship Id="rId2" Type="http://schemas.openxmlformats.org/officeDocument/2006/relationships/notesSlide" Target="../notesSlides/notesSlide3.xml"/><Relationship Id="rId16" Type="http://schemas.openxmlformats.org/officeDocument/2006/relationships/image" Target="../media/image87.png"/><Relationship Id="rId20" Type="http://schemas.openxmlformats.org/officeDocument/2006/relationships/image" Target="../media/image70.png"/><Relationship Id="rId1" Type="http://schemas.openxmlformats.org/officeDocument/2006/relationships/slideLayout" Target="../slideLayouts/slideLayout31.xml"/><Relationship Id="rId6" Type="http://schemas.microsoft.com/office/2007/relationships/hdphoto" Target="../media/hdphoto1.wdp"/><Relationship Id="rId11" Type="http://schemas.openxmlformats.org/officeDocument/2006/relationships/image" Target="../media/image67.svg"/><Relationship Id="rId5" Type="http://schemas.openxmlformats.org/officeDocument/2006/relationships/image" Target="../media/image62.png"/><Relationship Id="rId15" Type="http://schemas.openxmlformats.org/officeDocument/2006/relationships/image" Target="../media/image86.png"/><Relationship Id="rId10" Type="http://schemas.openxmlformats.org/officeDocument/2006/relationships/image" Target="../media/image66.png"/><Relationship Id="rId19" Type="http://schemas.openxmlformats.org/officeDocument/2006/relationships/image" Target="../media/image90.png"/><Relationship Id="rId4" Type="http://schemas.openxmlformats.org/officeDocument/2006/relationships/image" Target="../media/image84.svg"/><Relationship Id="rId9" Type="http://schemas.openxmlformats.org/officeDocument/2006/relationships/image" Target="../media/image65.svg"/><Relationship Id="rId14" Type="http://schemas.openxmlformats.org/officeDocument/2006/relationships/image" Target="../media/image85.png"/></Relationships>
</file>

<file path=ppt/slides/_rels/slide11.xml.rels><?xml version="1.0" encoding="UTF-8" standalone="yes"?>
<Relationships xmlns="http://schemas.openxmlformats.org/package/2006/relationships"><Relationship Id="rId13" Type="http://schemas.openxmlformats.org/officeDocument/2006/relationships/image" Target="../media/image85.png"/><Relationship Id="rId18" Type="http://schemas.openxmlformats.org/officeDocument/2006/relationships/image" Target="../media/image90.png"/><Relationship Id="rId26" Type="http://schemas.openxmlformats.org/officeDocument/2006/relationships/image" Target="../media/image98.png"/><Relationship Id="rId39" Type="http://schemas.openxmlformats.org/officeDocument/2006/relationships/image" Target="../media/image111.svg"/><Relationship Id="rId21" Type="http://schemas.openxmlformats.org/officeDocument/2006/relationships/image" Target="../media/image93.png"/><Relationship Id="rId34" Type="http://schemas.openxmlformats.org/officeDocument/2006/relationships/image" Target="../media/image106.png"/><Relationship Id="rId7" Type="http://schemas.openxmlformats.org/officeDocument/2006/relationships/image" Target="../media/image64.png"/><Relationship Id="rId2" Type="http://schemas.openxmlformats.org/officeDocument/2006/relationships/image" Target="../media/image83.png"/><Relationship Id="rId16" Type="http://schemas.openxmlformats.org/officeDocument/2006/relationships/image" Target="../media/image88.png"/><Relationship Id="rId20" Type="http://schemas.openxmlformats.org/officeDocument/2006/relationships/image" Target="../media/image92.png"/><Relationship Id="rId29" Type="http://schemas.openxmlformats.org/officeDocument/2006/relationships/image" Target="../media/image101.png"/><Relationship Id="rId41" Type="http://schemas.openxmlformats.org/officeDocument/2006/relationships/image" Target="../media/image113.svg"/><Relationship Id="rId1" Type="http://schemas.openxmlformats.org/officeDocument/2006/relationships/slideLayout" Target="../slideLayouts/slideLayout31.xml"/><Relationship Id="rId6" Type="http://schemas.openxmlformats.org/officeDocument/2006/relationships/image" Target="../media/image63.png"/><Relationship Id="rId11" Type="http://schemas.openxmlformats.org/officeDocument/2006/relationships/image" Target="../media/image68.png"/><Relationship Id="rId24" Type="http://schemas.openxmlformats.org/officeDocument/2006/relationships/image" Target="../media/image96.png"/><Relationship Id="rId32" Type="http://schemas.openxmlformats.org/officeDocument/2006/relationships/image" Target="../media/image104.png"/><Relationship Id="rId37" Type="http://schemas.openxmlformats.org/officeDocument/2006/relationships/image" Target="../media/image109.svg"/><Relationship Id="rId40" Type="http://schemas.openxmlformats.org/officeDocument/2006/relationships/image" Target="../media/image112.png"/><Relationship Id="rId5" Type="http://schemas.microsoft.com/office/2007/relationships/hdphoto" Target="../media/hdphoto1.wdp"/><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image" Target="../media/image100.svg"/><Relationship Id="rId36" Type="http://schemas.openxmlformats.org/officeDocument/2006/relationships/image" Target="../media/image108.png"/><Relationship Id="rId10" Type="http://schemas.openxmlformats.org/officeDocument/2006/relationships/image" Target="../media/image67.svg"/><Relationship Id="rId19" Type="http://schemas.openxmlformats.org/officeDocument/2006/relationships/image" Target="../media/image91.png"/><Relationship Id="rId31" Type="http://schemas.openxmlformats.org/officeDocument/2006/relationships/image" Target="../media/image103.png"/><Relationship Id="rId4" Type="http://schemas.openxmlformats.org/officeDocument/2006/relationships/image" Target="../media/image62.png"/><Relationship Id="rId9" Type="http://schemas.openxmlformats.org/officeDocument/2006/relationships/image" Target="../media/image66.png"/><Relationship Id="rId14" Type="http://schemas.openxmlformats.org/officeDocument/2006/relationships/image" Target="../media/image86.png"/><Relationship Id="rId22" Type="http://schemas.openxmlformats.org/officeDocument/2006/relationships/image" Target="../media/image94.png"/><Relationship Id="rId27" Type="http://schemas.openxmlformats.org/officeDocument/2006/relationships/image" Target="../media/image99.png"/><Relationship Id="rId30" Type="http://schemas.openxmlformats.org/officeDocument/2006/relationships/image" Target="../media/image102.svg"/><Relationship Id="rId35" Type="http://schemas.openxmlformats.org/officeDocument/2006/relationships/image" Target="../media/image107.svg"/><Relationship Id="rId8" Type="http://schemas.openxmlformats.org/officeDocument/2006/relationships/image" Target="../media/image65.svg"/><Relationship Id="rId3" Type="http://schemas.openxmlformats.org/officeDocument/2006/relationships/image" Target="../media/image84.svg"/><Relationship Id="rId12" Type="http://schemas.openxmlformats.org/officeDocument/2006/relationships/image" Target="../media/image69.svg"/><Relationship Id="rId17" Type="http://schemas.openxmlformats.org/officeDocument/2006/relationships/image" Target="../media/image89.png"/><Relationship Id="rId25" Type="http://schemas.openxmlformats.org/officeDocument/2006/relationships/image" Target="../media/image97.png"/><Relationship Id="rId33" Type="http://schemas.openxmlformats.org/officeDocument/2006/relationships/image" Target="../media/image105.png"/><Relationship Id="rId38" Type="http://schemas.openxmlformats.org/officeDocument/2006/relationships/image" Target="../media/image110.png"/></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83.png"/><Relationship Id="rId7" Type="http://schemas.openxmlformats.org/officeDocument/2006/relationships/image" Target="../media/image115.png"/><Relationship Id="rId2" Type="http://schemas.openxmlformats.org/officeDocument/2006/relationships/notesSlide" Target="../notesSlides/notesSlide4.xml"/><Relationship Id="rId1" Type="http://schemas.openxmlformats.org/officeDocument/2006/relationships/slideLayout" Target="../slideLayouts/slideLayout31.xml"/><Relationship Id="rId6" Type="http://schemas.microsoft.com/office/2007/relationships/hdphoto" Target="../media/hdphoto2.wdp"/><Relationship Id="rId5" Type="http://schemas.openxmlformats.org/officeDocument/2006/relationships/image" Target="../media/image114.png"/><Relationship Id="rId10" Type="http://schemas.microsoft.com/office/2007/relationships/hdphoto" Target="../media/hdphoto4.wdp"/><Relationship Id="rId4" Type="http://schemas.openxmlformats.org/officeDocument/2006/relationships/image" Target="../media/image84.svg"/><Relationship Id="rId9" Type="http://schemas.openxmlformats.org/officeDocument/2006/relationships/image" Target="../media/image1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118.emf"/><Relationship Id="rId3" Type="http://schemas.openxmlformats.org/officeDocument/2006/relationships/tags" Target="../tags/tag2.xml"/><Relationship Id="rId7" Type="http://schemas.openxmlformats.org/officeDocument/2006/relationships/image" Target="../media/image11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17.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7.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119.emf"/><Relationship Id="rId3" Type="http://schemas.openxmlformats.org/officeDocument/2006/relationships/tags" Target="../tags/tag6.xml"/><Relationship Id="rId7" Type="http://schemas.openxmlformats.org/officeDocument/2006/relationships/image" Target="../media/image117.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svg"/><Relationship Id="rId7" Type="http://schemas.openxmlformats.org/officeDocument/2006/relationships/image" Target="../media/image30.svg"/><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s>
</file>

<file path=ppt/slides/_rels/slide3.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25.png"/><Relationship Id="rId7" Type="http://schemas.openxmlformats.org/officeDocument/2006/relationships/image" Target="../media/image38.svg"/><Relationship Id="rId12" Type="http://schemas.openxmlformats.org/officeDocument/2006/relationships/image" Target="../media/image43.png"/><Relationship Id="rId2" Type="http://schemas.openxmlformats.org/officeDocument/2006/relationships/image" Target="../media/image35.jpeg"/><Relationship Id="rId1" Type="http://schemas.openxmlformats.org/officeDocument/2006/relationships/slideLayout" Target="../slideLayouts/slideLayout2.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26.svg"/><Relationship Id="rId9" Type="http://schemas.openxmlformats.org/officeDocument/2006/relationships/image" Target="../media/image40.svg"/><Relationship Id="rId14" Type="http://schemas.openxmlformats.org/officeDocument/2006/relationships/image" Target="../media/image45.svg"/></Relationships>
</file>

<file path=ppt/slides/_rels/slide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2.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Layout" Target="../slideLayouts/slideLayout31.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s/_rels/slide7.xml.rels><?xml version="1.0" encoding="UTF-8" standalone="yes"?>
<Relationships xmlns="http://schemas.openxmlformats.org/package/2006/relationships"><Relationship Id="rId8" Type="http://schemas.openxmlformats.org/officeDocument/2006/relationships/image" Target="../media/image67.svg"/><Relationship Id="rId3" Type="http://schemas.microsoft.com/office/2007/relationships/hdphoto" Target="../media/hdphoto1.wdp"/><Relationship Id="rId7" Type="http://schemas.openxmlformats.org/officeDocument/2006/relationships/image" Target="../media/image66.png"/><Relationship Id="rId12" Type="http://schemas.openxmlformats.org/officeDocument/2006/relationships/image" Target="../media/image71.svg"/><Relationship Id="rId2" Type="http://schemas.openxmlformats.org/officeDocument/2006/relationships/image" Target="../media/image62.png"/><Relationship Id="rId1" Type="http://schemas.openxmlformats.org/officeDocument/2006/relationships/slideLayout" Target="../slideLayouts/slideLayout31.xml"/><Relationship Id="rId6" Type="http://schemas.openxmlformats.org/officeDocument/2006/relationships/image" Target="../media/image65.sv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png"/><Relationship Id="rId9" Type="http://schemas.openxmlformats.org/officeDocument/2006/relationships/image" Target="../media/image68.png"/></Relationships>
</file>

<file path=ppt/slides/_rels/slide8.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svg"/><Relationship Id="rId3" Type="http://schemas.openxmlformats.org/officeDocument/2006/relationships/image" Target="../media/image72.png"/><Relationship Id="rId7" Type="http://schemas.openxmlformats.org/officeDocument/2006/relationships/image" Target="../media/image63.png"/><Relationship Id="rId12"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microsoft.com/office/2007/relationships/hdphoto" Target="../media/hdphoto1.wdp"/><Relationship Id="rId11" Type="http://schemas.openxmlformats.org/officeDocument/2006/relationships/image" Target="../media/image67.svg"/><Relationship Id="rId5" Type="http://schemas.openxmlformats.org/officeDocument/2006/relationships/image" Target="../media/image62.png"/><Relationship Id="rId15" Type="http://schemas.openxmlformats.org/officeDocument/2006/relationships/image" Target="../media/image71.svg"/><Relationship Id="rId10" Type="http://schemas.openxmlformats.org/officeDocument/2006/relationships/image" Target="../media/image66.png"/><Relationship Id="rId4" Type="http://schemas.openxmlformats.org/officeDocument/2006/relationships/image" Target="../media/image73.svg"/><Relationship Id="rId9" Type="http://schemas.openxmlformats.org/officeDocument/2006/relationships/image" Target="../media/image65.svg"/><Relationship Id="rId14" Type="http://schemas.openxmlformats.org/officeDocument/2006/relationships/image" Target="../media/image70.png"/></Relationships>
</file>

<file path=ppt/slides/_rels/slide9.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75.png"/><Relationship Id="rId21" Type="http://schemas.openxmlformats.org/officeDocument/2006/relationships/image" Target="../media/image71.svg"/><Relationship Id="rId7" Type="http://schemas.openxmlformats.org/officeDocument/2006/relationships/image" Target="../media/image79.png"/><Relationship Id="rId12" Type="http://schemas.microsoft.com/office/2007/relationships/hdphoto" Target="../media/hdphoto1.wdp"/><Relationship Id="rId17" Type="http://schemas.openxmlformats.org/officeDocument/2006/relationships/image" Target="../media/image67.svg"/><Relationship Id="rId2" Type="http://schemas.openxmlformats.org/officeDocument/2006/relationships/image" Target="../media/image74.png"/><Relationship Id="rId16" Type="http://schemas.openxmlformats.org/officeDocument/2006/relationships/image" Target="../media/image66.png"/><Relationship Id="rId20" Type="http://schemas.openxmlformats.org/officeDocument/2006/relationships/image" Target="../media/image70.png"/><Relationship Id="rId1" Type="http://schemas.openxmlformats.org/officeDocument/2006/relationships/slideLayout" Target="../slideLayouts/slideLayout31.xml"/><Relationship Id="rId6" Type="http://schemas.openxmlformats.org/officeDocument/2006/relationships/image" Target="../media/image78.png"/><Relationship Id="rId11" Type="http://schemas.openxmlformats.org/officeDocument/2006/relationships/image" Target="../media/image62.png"/><Relationship Id="rId5" Type="http://schemas.openxmlformats.org/officeDocument/2006/relationships/image" Target="../media/image77.png"/><Relationship Id="rId15" Type="http://schemas.openxmlformats.org/officeDocument/2006/relationships/image" Target="../media/image65.svg"/><Relationship Id="rId10" Type="http://schemas.openxmlformats.org/officeDocument/2006/relationships/image" Target="../media/image82.png"/><Relationship Id="rId19" Type="http://schemas.openxmlformats.org/officeDocument/2006/relationships/image" Target="../media/image69.svg"/><Relationship Id="rId4" Type="http://schemas.openxmlformats.org/officeDocument/2006/relationships/image" Target="../media/image76.png"/><Relationship Id="rId9" Type="http://schemas.openxmlformats.org/officeDocument/2006/relationships/image" Target="../media/image81.png"/><Relationship Id="rId1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9" name="Cube 638"/>
          <p:cNvSpPr/>
          <p:nvPr/>
        </p:nvSpPr>
        <p:spPr bwMode="auto">
          <a:xfrm flipH="1">
            <a:off x="5444610" y="3915659"/>
            <a:ext cx="651390" cy="688814"/>
          </a:xfrm>
          <a:prstGeom prst="cube">
            <a:avLst>
              <a:gd name="adj" fmla="val 24335"/>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5685" tIns="140548" rIns="175685" bIns="140548" numCol="1" spcCol="0" rtlCol="0" fromWordArt="0" anchor="t" anchorCtr="0" forceAA="0" compatLnSpc="1">
            <a:prstTxWarp prst="textNoShape">
              <a:avLst/>
            </a:prstTxWarp>
            <a:noAutofit/>
          </a:bodyPr>
          <a:lstStyle/>
          <a:p>
            <a:pPr algn="ctr" defTabSz="895579"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ea typeface="Segoe UI" pitchFamily="34" charset="0"/>
              <a:cs typeface="Segoe UI" pitchFamily="34" charset="0"/>
            </a:endParaRPr>
          </a:p>
        </p:txBody>
      </p:sp>
      <p:sp>
        <p:nvSpPr>
          <p:cNvPr id="1369" name="Freeform 1368"/>
          <p:cNvSpPr>
            <a:spLocks/>
          </p:cNvSpPr>
          <p:nvPr/>
        </p:nvSpPr>
        <p:spPr bwMode="auto">
          <a:xfrm>
            <a:off x="599894" y="1858184"/>
            <a:ext cx="1320427" cy="1701357"/>
          </a:xfrm>
          <a:custGeom>
            <a:avLst/>
            <a:gdLst>
              <a:gd name="connsiteX0" fmla="*/ 0 w 1347286"/>
              <a:gd name="connsiteY0" fmla="*/ 0 h 1735966"/>
              <a:gd name="connsiteX1" fmla="*/ 1347286 w 1347286"/>
              <a:gd name="connsiteY1" fmla="*/ 0 h 1735966"/>
              <a:gd name="connsiteX2" fmla="*/ 1347286 w 1347286"/>
              <a:gd name="connsiteY2" fmla="*/ 1091059 h 1735966"/>
              <a:gd name="connsiteX3" fmla="*/ 0 w 1347286"/>
              <a:gd name="connsiteY3" fmla="*/ 1735966 h 1735966"/>
            </a:gdLst>
            <a:ahLst/>
            <a:cxnLst>
              <a:cxn ang="0">
                <a:pos x="connsiteX0" y="connsiteY0"/>
              </a:cxn>
              <a:cxn ang="0">
                <a:pos x="connsiteX1" y="connsiteY1"/>
              </a:cxn>
              <a:cxn ang="0">
                <a:pos x="connsiteX2" y="connsiteY2"/>
              </a:cxn>
              <a:cxn ang="0">
                <a:pos x="connsiteX3" y="connsiteY3"/>
              </a:cxn>
            </a:cxnLst>
            <a:rect l="l" t="t" r="r" b="b"/>
            <a:pathLst>
              <a:path w="1347286" h="1735966">
                <a:moveTo>
                  <a:pt x="0" y="0"/>
                </a:moveTo>
                <a:lnTo>
                  <a:pt x="1347286" y="0"/>
                </a:lnTo>
                <a:lnTo>
                  <a:pt x="1347286" y="1091059"/>
                </a:lnTo>
                <a:lnTo>
                  <a:pt x="0" y="1735966"/>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noAutofit/>
          </a:bodyPr>
          <a:lstStyle/>
          <a:p>
            <a:pPr defTabSz="896042">
              <a:defRPr/>
            </a:pPr>
            <a:endParaRPr lang="en-US" sz="1765" kern="0">
              <a:solidFill>
                <a:srgbClr val="505050"/>
              </a:solidFill>
            </a:endParaRPr>
          </a:p>
        </p:txBody>
      </p:sp>
      <p:sp>
        <p:nvSpPr>
          <p:cNvPr id="18" name="Freeform 8"/>
          <p:cNvSpPr>
            <a:spLocks/>
          </p:cNvSpPr>
          <p:nvPr/>
        </p:nvSpPr>
        <p:spPr bwMode="auto">
          <a:xfrm>
            <a:off x="1055268" y="2740351"/>
            <a:ext cx="401410" cy="813709"/>
          </a:xfrm>
          <a:custGeom>
            <a:avLst/>
            <a:gdLst>
              <a:gd name="T0" fmla="*/ 515 w 515"/>
              <a:gd name="T1" fmla="*/ 767 h 1046"/>
              <a:gd name="T2" fmla="*/ 0 w 515"/>
              <a:gd name="T3" fmla="*/ 1046 h 1046"/>
              <a:gd name="T4" fmla="*/ 0 w 515"/>
              <a:gd name="T5" fmla="*/ 251 h 1046"/>
              <a:gd name="T6" fmla="*/ 515 w 515"/>
              <a:gd name="T7" fmla="*/ 0 h 1046"/>
              <a:gd name="T8" fmla="*/ 515 w 515"/>
              <a:gd name="T9" fmla="*/ 767 h 1046"/>
            </a:gdLst>
            <a:ahLst/>
            <a:cxnLst>
              <a:cxn ang="0">
                <a:pos x="T0" y="T1"/>
              </a:cxn>
              <a:cxn ang="0">
                <a:pos x="T2" y="T3"/>
              </a:cxn>
              <a:cxn ang="0">
                <a:pos x="T4" y="T5"/>
              </a:cxn>
              <a:cxn ang="0">
                <a:pos x="T6" y="T7"/>
              </a:cxn>
              <a:cxn ang="0">
                <a:pos x="T8" y="T9"/>
              </a:cxn>
            </a:cxnLst>
            <a:rect l="0" t="0" r="r" b="b"/>
            <a:pathLst>
              <a:path w="515" h="1046">
                <a:moveTo>
                  <a:pt x="515" y="767"/>
                </a:moveTo>
                <a:lnTo>
                  <a:pt x="0" y="1046"/>
                </a:lnTo>
                <a:lnTo>
                  <a:pt x="0" y="251"/>
                </a:lnTo>
                <a:lnTo>
                  <a:pt x="515" y="0"/>
                </a:lnTo>
                <a:lnTo>
                  <a:pt x="515" y="767"/>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6" name="Rectangle 26"/>
          <p:cNvSpPr>
            <a:spLocks noChangeArrowheads="1"/>
          </p:cNvSpPr>
          <p:nvPr/>
        </p:nvSpPr>
        <p:spPr bwMode="auto">
          <a:xfrm>
            <a:off x="1150173" y="3155764"/>
            <a:ext cx="2134628" cy="1649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7" name="Rectangle 27"/>
          <p:cNvSpPr>
            <a:spLocks noChangeArrowheads="1"/>
          </p:cNvSpPr>
          <p:nvPr/>
        </p:nvSpPr>
        <p:spPr bwMode="auto">
          <a:xfrm>
            <a:off x="1150173" y="3320682"/>
            <a:ext cx="2134628" cy="98019"/>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8" name="Rectangle 28"/>
          <p:cNvSpPr>
            <a:spLocks noChangeArrowheads="1"/>
          </p:cNvSpPr>
          <p:nvPr/>
        </p:nvSpPr>
        <p:spPr bwMode="auto">
          <a:xfrm>
            <a:off x="1150173" y="3320683"/>
            <a:ext cx="2134628" cy="49787"/>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2320" name="Group 2319"/>
          <p:cNvGrpSpPr>
            <a:grpSpLocks noChangeAspect="1"/>
          </p:cNvGrpSpPr>
          <p:nvPr/>
        </p:nvGrpSpPr>
        <p:grpSpPr>
          <a:xfrm>
            <a:off x="1073275" y="3049772"/>
            <a:ext cx="252617" cy="207410"/>
            <a:chOff x="-4435475" y="1371600"/>
            <a:chExt cx="4435475" cy="3641725"/>
          </a:xfrm>
        </p:grpSpPr>
        <p:sp>
          <p:nvSpPr>
            <p:cNvPr id="2321"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2322" name="Group 2321"/>
            <p:cNvGrpSpPr/>
            <p:nvPr/>
          </p:nvGrpSpPr>
          <p:grpSpPr>
            <a:xfrm>
              <a:off x="-4206871" y="1603382"/>
              <a:ext cx="3978266" cy="3168652"/>
              <a:chOff x="-4206875" y="1603375"/>
              <a:chExt cx="3978275" cy="3168650"/>
            </a:xfrm>
            <a:solidFill>
              <a:srgbClr val="FFFFFF"/>
            </a:solidFill>
          </p:grpSpPr>
          <p:sp>
            <p:nvSpPr>
              <p:cNvPr id="2323"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4"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5"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3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grpSp>
        <p:nvGrpSpPr>
          <p:cNvPr id="2289" name="Group 2288"/>
          <p:cNvGrpSpPr/>
          <p:nvPr/>
        </p:nvGrpSpPr>
        <p:grpSpPr>
          <a:xfrm rot="19273839">
            <a:off x="5922429" y="3549514"/>
            <a:ext cx="174282" cy="257819"/>
            <a:chOff x="2687372" y="3149601"/>
            <a:chExt cx="81465" cy="132564"/>
          </a:xfrm>
          <a:solidFill>
            <a:srgbClr val="0072C6"/>
          </a:solidFill>
        </p:grpSpPr>
        <p:sp>
          <p:nvSpPr>
            <p:cNvPr id="229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29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29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29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29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29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sp>
        <p:nvSpPr>
          <p:cNvPr id="3" name="Title 2"/>
          <p:cNvSpPr>
            <a:spLocks noGrp="1"/>
          </p:cNvSpPr>
          <p:nvPr>
            <p:ph type="title"/>
          </p:nvPr>
        </p:nvSpPr>
        <p:spPr>
          <a:xfrm>
            <a:off x="102390" y="239618"/>
            <a:ext cx="11829154" cy="1325563"/>
          </a:xfrm>
        </p:spPr>
        <p:txBody>
          <a:bodyPr/>
          <a:lstStyle/>
          <a:p>
            <a:r>
              <a:rPr lang="en-IN" sz="3921" dirty="0">
                <a:solidFill>
                  <a:srgbClr val="EAEAEA">
                    <a:lumMod val="25000"/>
                  </a:srgbClr>
                </a:solidFill>
                <a:latin typeface="Segoe UI Semibold" panose="020B0702040204020203" pitchFamily="34" charset="0"/>
                <a:cs typeface="Segoe UI Semibold" panose="020B0702040204020203" pitchFamily="34" charset="0"/>
              </a:rPr>
              <a:t>Visual Inspection </a:t>
            </a:r>
            <a:r>
              <a:rPr lang="en-IN" sz="3921" dirty="0">
                <a:solidFill>
                  <a:srgbClr val="EAEAEA">
                    <a:lumMod val="25000"/>
                  </a:srgbClr>
                </a:solidFill>
                <a:latin typeface="Segoe UI Semilight" panose="020B0402040204020203" pitchFamily="34" charset="0"/>
                <a:cs typeface="Segoe UI Semilight" panose="020B0402040204020203" pitchFamily="34" charset="0"/>
              </a:rPr>
              <a:t>Workshop Emerson &amp; Microsoft</a:t>
            </a:r>
            <a:endParaRPr lang="en-US" dirty="0">
              <a:latin typeface="Segoe UI Semilight" panose="020B0402040204020203" pitchFamily="34" charset="0"/>
              <a:cs typeface="Segoe UI Semilight" panose="020B0402040204020203" pitchFamily="34" charset="0"/>
            </a:endParaRPr>
          </a:p>
        </p:txBody>
      </p:sp>
      <p:sp>
        <p:nvSpPr>
          <p:cNvPr id="17" name="Rectangle 7"/>
          <p:cNvSpPr>
            <a:spLocks noChangeArrowheads="1"/>
          </p:cNvSpPr>
          <p:nvPr/>
        </p:nvSpPr>
        <p:spPr bwMode="auto">
          <a:xfrm>
            <a:off x="1918762" y="2869486"/>
            <a:ext cx="8773510" cy="56011"/>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51" name="Group 50"/>
          <p:cNvGrpSpPr/>
          <p:nvPr/>
        </p:nvGrpSpPr>
        <p:grpSpPr>
          <a:xfrm>
            <a:off x="5783114" y="2777161"/>
            <a:ext cx="1651559" cy="257716"/>
            <a:chOff x="5775325" y="3179763"/>
            <a:chExt cx="2166938" cy="338137"/>
          </a:xfrm>
        </p:grpSpPr>
        <p:sp>
          <p:nvSpPr>
            <p:cNvPr id="19" name="Rectangle 9"/>
            <p:cNvSpPr>
              <a:spLocks noChangeArrowheads="1"/>
            </p:cNvSpPr>
            <p:nvPr/>
          </p:nvSpPr>
          <p:spPr bwMode="auto">
            <a:xfrm>
              <a:off x="6208713"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0" name="Rectangle 10"/>
            <p:cNvSpPr>
              <a:spLocks noChangeArrowheads="1"/>
            </p:cNvSpPr>
            <p:nvPr/>
          </p:nvSpPr>
          <p:spPr bwMode="auto">
            <a:xfrm>
              <a:off x="6208713"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1" name="Rectangle 11"/>
            <p:cNvSpPr>
              <a:spLocks noChangeArrowheads="1"/>
            </p:cNvSpPr>
            <p:nvPr/>
          </p:nvSpPr>
          <p:spPr bwMode="auto">
            <a:xfrm>
              <a:off x="5775325"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2" name="Rectangle 12"/>
            <p:cNvSpPr>
              <a:spLocks noChangeArrowheads="1"/>
            </p:cNvSpPr>
            <p:nvPr/>
          </p:nvSpPr>
          <p:spPr bwMode="auto">
            <a:xfrm>
              <a:off x="5775325"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3" name="Rectangle 13"/>
            <p:cNvSpPr>
              <a:spLocks noChangeArrowheads="1"/>
            </p:cNvSpPr>
            <p:nvPr/>
          </p:nvSpPr>
          <p:spPr bwMode="auto">
            <a:xfrm>
              <a:off x="6642100" y="3305175"/>
              <a:ext cx="433388" cy="87312"/>
            </a:xfrm>
            <a:prstGeom prst="rect">
              <a:avLst/>
            </a:prstGeom>
            <a:solidFill>
              <a:srgbClr val="95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 name="Rectangle 14"/>
            <p:cNvSpPr>
              <a:spLocks noChangeArrowheads="1"/>
            </p:cNvSpPr>
            <p:nvPr/>
          </p:nvSpPr>
          <p:spPr bwMode="auto">
            <a:xfrm>
              <a:off x="6642100" y="3392488"/>
              <a:ext cx="433388" cy="125412"/>
            </a:xfrm>
            <a:prstGeom prst="rect">
              <a:avLst/>
            </a:prstGeom>
            <a:solidFill>
              <a:srgbClr val="A2A2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 name="Rectangle 15"/>
            <p:cNvSpPr>
              <a:spLocks noChangeArrowheads="1"/>
            </p:cNvSpPr>
            <p:nvPr/>
          </p:nvSpPr>
          <p:spPr bwMode="auto">
            <a:xfrm>
              <a:off x="6642100" y="3179763"/>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 name="Rectangle 16"/>
            <p:cNvSpPr>
              <a:spLocks noChangeArrowheads="1"/>
            </p:cNvSpPr>
            <p:nvPr/>
          </p:nvSpPr>
          <p:spPr bwMode="auto">
            <a:xfrm>
              <a:off x="6642100" y="3267075"/>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7" name="Rectangle 17"/>
            <p:cNvSpPr>
              <a:spLocks noChangeArrowheads="1"/>
            </p:cNvSpPr>
            <p:nvPr/>
          </p:nvSpPr>
          <p:spPr bwMode="auto">
            <a:xfrm>
              <a:off x="7508875"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8" name="Rectangle 18"/>
            <p:cNvSpPr>
              <a:spLocks noChangeArrowheads="1"/>
            </p:cNvSpPr>
            <p:nvPr/>
          </p:nvSpPr>
          <p:spPr bwMode="auto">
            <a:xfrm>
              <a:off x="7508875"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9" name="Rectangle 19"/>
            <p:cNvSpPr>
              <a:spLocks noChangeArrowheads="1"/>
            </p:cNvSpPr>
            <p:nvPr/>
          </p:nvSpPr>
          <p:spPr bwMode="auto">
            <a:xfrm>
              <a:off x="7508875" y="3179763"/>
              <a:ext cx="433388" cy="873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0" name="Rectangle 20"/>
            <p:cNvSpPr>
              <a:spLocks noChangeArrowheads="1"/>
            </p:cNvSpPr>
            <p:nvPr/>
          </p:nvSpPr>
          <p:spPr bwMode="auto">
            <a:xfrm>
              <a:off x="7508875" y="3267075"/>
              <a:ext cx="433388" cy="1254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1" name="Rectangle 21"/>
            <p:cNvSpPr>
              <a:spLocks noChangeArrowheads="1"/>
            </p:cNvSpPr>
            <p:nvPr/>
          </p:nvSpPr>
          <p:spPr bwMode="auto">
            <a:xfrm>
              <a:off x="7075488" y="3305175"/>
              <a:ext cx="433388" cy="873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2" name="Rectangle 22"/>
            <p:cNvSpPr>
              <a:spLocks noChangeArrowheads="1"/>
            </p:cNvSpPr>
            <p:nvPr/>
          </p:nvSpPr>
          <p:spPr bwMode="auto">
            <a:xfrm>
              <a:off x="7075488" y="3392488"/>
              <a:ext cx="433388" cy="1254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sp>
        <p:nvSpPr>
          <p:cNvPr id="35" name="Rectangle 25"/>
          <p:cNvSpPr>
            <a:spLocks noChangeArrowheads="1"/>
          </p:cNvSpPr>
          <p:nvPr/>
        </p:nvSpPr>
        <p:spPr bwMode="auto">
          <a:xfrm>
            <a:off x="4943267" y="2269479"/>
            <a:ext cx="1187115" cy="454446"/>
          </a:xfrm>
          <a:prstGeom prst="rect">
            <a:avLst/>
          </a:prstGeom>
          <a:solidFill>
            <a:srgbClr val="E6E6E5"/>
          </a:solidFill>
          <a:ln w="19050">
            <a:solidFill>
              <a:schemeClr val="accent1"/>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9" name="Freeform 29"/>
          <p:cNvSpPr>
            <a:spLocks/>
          </p:cNvSpPr>
          <p:nvPr/>
        </p:nvSpPr>
        <p:spPr bwMode="auto">
          <a:xfrm>
            <a:off x="1055268" y="2740351"/>
            <a:ext cx="401410" cy="813709"/>
          </a:xfrm>
          <a:custGeom>
            <a:avLst/>
            <a:gdLst>
              <a:gd name="T0" fmla="*/ 0 w 515"/>
              <a:gd name="T1" fmla="*/ 251 h 1046"/>
              <a:gd name="T2" fmla="*/ 0 w 515"/>
              <a:gd name="T3" fmla="*/ 1046 h 1046"/>
              <a:gd name="T4" fmla="*/ 122 w 515"/>
              <a:gd name="T5" fmla="*/ 981 h 1046"/>
              <a:gd name="T6" fmla="*/ 122 w 515"/>
              <a:gd name="T7" fmla="*/ 313 h 1046"/>
              <a:gd name="T8" fmla="*/ 468 w 515"/>
              <a:gd name="T9" fmla="*/ 132 h 1046"/>
              <a:gd name="T10" fmla="*/ 468 w 515"/>
              <a:gd name="T11" fmla="*/ 534 h 1046"/>
              <a:gd name="T12" fmla="*/ 515 w 515"/>
              <a:gd name="T13" fmla="*/ 534 h 1046"/>
              <a:gd name="T14" fmla="*/ 515 w 515"/>
              <a:gd name="T15" fmla="*/ 0 h 1046"/>
              <a:gd name="T16" fmla="*/ 0 w 515"/>
              <a:gd name="T17" fmla="*/ 251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5" h="1046">
                <a:moveTo>
                  <a:pt x="0" y="251"/>
                </a:moveTo>
                <a:lnTo>
                  <a:pt x="0" y="1046"/>
                </a:lnTo>
                <a:lnTo>
                  <a:pt x="122" y="981"/>
                </a:lnTo>
                <a:lnTo>
                  <a:pt x="122" y="313"/>
                </a:lnTo>
                <a:lnTo>
                  <a:pt x="468" y="132"/>
                </a:lnTo>
                <a:lnTo>
                  <a:pt x="468" y="534"/>
                </a:lnTo>
                <a:lnTo>
                  <a:pt x="515" y="534"/>
                </a:lnTo>
                <a:lnTo>
                  <a:pt x="515" y="0"/>
                </a:lnTo>
                <a:lnTo>
                  <a:pt x="0" y="251"/>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0" name="Freeform 30"/>
          <p:cNvSpPr>
            <a:spLocks/>
          </p:cNvSpPr>
          <p:nvPr/>
        </p:nvSpPr>
        <p:spPr bwMode="auto">
          <a:xfrm>
            <a:off x="3284803" y="3155765"/>
            <a:ext cx="2486250" cy="1271131"/>
          </a:xfrm>
          <a:custGeom>
            <a:avLst/>
            <a:gdLst>
              <a:gd name="T0" fmla="*/ 1390 w 3196"/>
              <a:gd name="T1" fmla="*/ 1635 h 1635"/>
              <a:gd name="T2" fmla="*/ 0 w 3196"/>
              <a:gd name="T3" fmla="*/ 214 h 1635"/>
              <a:gd name="T4" fmla="*/ 0 w 3196"/>
              <a:gd name="T5" fmla="*/ 0 h 1635"/>
              <a:gd name="T6" fmla="*/ 3196 w 3196"/>
              <a:gd name="T7" fmla="*/ 1635 h 1635"/>
              <a:gd name="T8" fmla="*/ 1390 w 3196"/>
              <a:gd name="T9" fmla="*/ 1635 h 1635"/>
            </a:gdLst>
            <a:ahLst/>
            <a:cxnLst>
              <a:cxn ang="0">
                <a:pos x="T0" y="T1"/>
              </a:cxn>
              <a:cxn ang="0">
                <a:pos x="T2" y="T3"/>
              </a:cxn>
              <a:cxn ang="0">
                <a:pos x="T4" y="T5"/>
              </a:cxn>
              <a:cxn ang="0">
                <a:pos x="T6" y="T7"/>
              </a:cxn>
              <a:cxn ang="0">
                <a:pos x="T8" y="T9"/>
              </a:cxn>
            </a:cxnLst>
            <a:rect l="0" t="0" r="r" b="b"/>
            <a:pathLst>
              <a:path w="3196" h="1635">
                <a:moveTo>
                  <a:pt x="1390" y="1635"/>
                </a:moveTo>
                <a:lnTo>
                  <a:pt x="0" y="214"/>
                </a:lnTo>
                <a:lnTo>
                  <a:pt x="0" y="0"/>
                </a:lnTo>
                <a:lnTo>
                  <a:pt x="3196" y="1635"/>
                </a:lnTo>
                <a:lnTo>
                  <a:pt x="1390" y="163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1" name="Rectangle 31"/>
          <p:cNvSpPr>
            <a:spLocks noChangeArrowheads="1"/>
          </p:cNvSpPr>
          <p:nvPr/>
        </p:nvSpPr>
        <p:spPr bwMode="auto">
          <a:xfrm>
            <a:off x="4364562" y="4426894"/>
            <a:ext cx="1406491" cy="27694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2" name="Rectangle 32"/>
          <p:cNvSpPr>
            <a:spLocks noChangeArrowheads="1"/>
          </p:cNvSpPr>
          <p:nvPr/>
        </p:nvSpPr>
        <p:spPr bwMode="auto">
          <a:xfrm>
            <a:off x="4364562" y="4426894"/>
            <a:ext cx="1406491" cy="107353"/>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3" name="Freeform 33"/>
          <p:cNvSpPr>
            <a:spLocks/>
          </p:cNvSpPr>
          <p:nvPr/>
        </p:nvSpPr>
        <p:spPr bwMode="auto">
          <a:xfrm>
            <a:off x="3284803" y="3320684"/>
            <a:ext cx="1079760" cy="1383152"/>
          </a:xfrm>
          <a:custGeom>
            <a:avLst/>
            <a:gdLst>
              <a:gd name="T0" fmla="*/ 1390 w 1390"/>
              <a:gd name="T1" fmla="*/ 1421 h 1777"/>
              <a:gd name="T2" fmla="*/ 1390 w 1390"/>
              <a:gd name="T3" fmla="*/ 1777 h 1777"/>
              <a:gd name="T4" fmla="*/ 0 w 1390"/>
              <a:gd name="T5" fmla="*/ 126 h 1777"/>
              <a:gd name="T6" fmla="*/ 0 w 1390"/>
              <a:gd name="T7" fmla="*/ 0 h 1777"/>
              <a:gd name="T8" fmla="*/ 1390 w 1390"/>
              <a:gd name="T9" fmla="*/ 1421 h 1777"/>
            </a:gdLst>
            <a:ahLst/>
            <a:cxnLst>
              <a:cxn ang="0">
                <a:pos x="T0" y="T1"/>
              </a:cxn>
              <a:cxn ang="0">
                <a:pos x="T2" y="T3"/>
              </a:cxn>
              <a:cxn ang="0">
                <a:pos x="T4" y="T5"/>
              </a:cxn>
              <a:cxn ang="0">
                <a:pos x="T6" y="T7"/>
              </a:cxn>
              <a:cxn ang="0">
                <a:pos x="T8" y="T9"/>
              </a:cxn>
            </a:cxnLst>
            <a:rect l="0" t="0" r="r" b="b"/>
            <a:pathLst>
              <a:path w="1390" h="1777">
                <a:moveTo>
                  <a:pt x="1390" y="1421"/>
                </a:moveTo>
                <a:lnTo>
                  <a:pt x="1390" y="1777"/>
                </a:lnTo>
                <a:lnTo>
                  <a:pt x="0" y="126"/>
                </a:lnTo>
                <a:lnTo>
                  <a:pt x="0" y="0"/>
                </a:lnTo>
                <a:lnTo>
                  <a:pt x="1390" y="1421"/>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4" name="Freeform 34"/>
          <p:cNvSpPr>
            <a:spLocks/>
          </p:cNvSpPr>
          <p:nvPr/>
        </p:nvSpPr>
        <p:spPr bwMode="auto">
          <a:xfrm>
            <a:off x="3284803" y="3320685"/>
            <a:ext cx="1079760" cy="1213565"/>
          </a:xfrm>
          <a:custGeom>
            <a:avLst/>
            <a:gdLst>
              <a:gd name="T0" fmla="*/ 1390 w 1390"/>
              <a:gd name="T1" fmla="*/ 1421 h 1558"/>
              <a:gd name="T2" fmla="*/ 1390 w 1390"/>
              <a:gd name="T3" fmla="*/ 1558 h 1558"/>
              <a:gd name="T4" fmla="*/ 0 w 1390"/>
              <a:gd name="T5" fmla="*/ 64 h 1558"/>
              <a:gd name="T6" fmla="*/ 0 w 1390"/>
              <a:gd name="T7" fmla="*/ 0 h 1558"/>
              <a:gd name="T8" fmla="*/ 1390 w 1390"/>
              <a:gd name="T9" fmla="*/ 1421 h 1558"/>
            </a:gdLst>
            <a:ahLst/>
            <a:cxnLst>
              <a:cxn ang="0">
                <a:pos x="T0" y="T1"/>
              </a:cxn>
              <a:cxn ang="0">
                <a:pos x="T2" y="T3"/>
              </a:cxn>
              <a:cxn ang="0">
                <a:pos x="T4" y="T5"/>
              </a:cxn>
              <a:cxn ang="0">
                <a:pos x="T6" y="T7"/>
              </a:cxn>
              <a:cxn ang="0">
                <a:pos x="T8" y="T9"/>
              </a:cxn>
            </a:cxnLst>
            <a:rect l="0" t="0" r="r" b="b"/>
            <a:pathLst>
              <a:path w="1390" h="1558">
                <a:moveTo>
                  <a:pt x="1390" y="1421"/>
                </a:moveTo>
                <a:lnTo>
                  <a:pt x="1390" y="1558"/>
                </a:lnTo>
                <a:lnTo>
                  <a:pt x="0" y="64"/>
                </a:lnTo>
                <a:lnTo>
                  <a:pt x="0" y="0"/>
                </a:lnTo>
                <a:lnTo>
                  <a:pt x="1390" y="1421"/>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5" name="Freeform 35"/>
          <p:cNvSpPr>
            <a:spLocks/>
          </p:cNvSpPr>
          <p:nvPr/>
        </p:nvSpPr>
        <p:spPr bwMode="auto">
          <a:xfrm>
            <a:off x="1378883" y="2841482"/>
            <a:ext cx="40453" cy="314281"/>
          </a:xfrm>
          <a:custGeom>
            <a:avLst/>
            <a:gdLst>
              <a:gd name="T0" fmla="*/ 0 w 54"/>
              <a:gd name="T1" fmla="*/ 28 h 402"/>
              <a:gd name="T2" fmla="*/ 54 w 54"/>
              <a:gd name="T3" fmla="*/ 0 h 402"/>
              <a:gd name="T4" fmla="*/ 54 w 54"/>
              <a:gd name="T5" fmla="*/ 402 h 402"/>
              <a:gd name="T6" fmla="*/ 0 w 54"/>
              <a:gd name="T7" fmla="*/ 402 h 402"/>
              <a:gd name="T8" fmla="*/ 0 w 54"/>
              <a:gd name="T9" fmla="*/ 28 h 402"/>
            </a:gdLst>
            <a:ahLst/>
            <a:cxnLst>
              <a:cxn ang="0">
                <a:pos x="T0" y="T1"/>
              </a:cxn>
              <a:cxn ang="0">
                <a:pos x="T2" y="T3"/>
              </a:cxn>
              <a:cxn ang="0">
                <a:pos x="T4" y="T5"/>
              </a:cxn>
              <a:cxn ang="0">
                <a:pos x="T6" y="T7"/>
              </a:cxn>
              <a:cxn ang="0">
                <a:pos x="T8" y="T9"/>
              </a:cxn>
            </a:cxnLst>
            <a:rect l="0" t="0" r="r" b="b"/>
            <a:pathLst>
              <a:path w="54" h="402">
                <a:moveTo>
                  <a:pt x="0" y="28"/>
                </a:moveTo>
                <a:lnTo>
                  <a:pt x="54" y="0"/>
                </a:lnTo>
                <a:lnTo>
                  <a:pt x="54" y="402"/>
                </a:lnTo>
                <a:lnTo>
                  <a:pt x="0" y="402"/>
                </a:lnTo>
                <a:lnTo>
                  <a:pt x="0" y="28"/>
                </a:lnTo>
                <a:close/>
              </a:path>
            </a:pathLst>
          </a:custGeom>
          <a:solidFill>
            <a:srgbClr val="CD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6" name="Freeform 36"/>
          <p:cNvSpPr>
            <a:spLocks/>
          </p:cNvSpPr>
          <p:nvPr/>
        </p:nvSpPr>
        <p:spPr bwMode="auto">
          <a:xfrm>
            <a:off x="600959" y="2740351"/>
            <a:ext cx="855719" cy="194481"/>
          </a:xfrm>
          <a:custGeom>
            <a:avLst/>
            <a:gdLst>
              <a:gd name="T0" fmla="*/ 0 w 1100"/>
              <a:gd name="T1" fmla="*/ 251 h 251"/>
              <a:gd name="T2" fmla="*/ 585 w 1100"/>
              <a:gd name="T3" fmla="*/ 251 h 251"/>
              <a:gd name="T4" fmla="*/ 1100 w 1100"/>
              <a:gd name="T5" fmla="*/ 0 h 251"/>
              <a:gd name="T6" fmla="*/ 515 w 1100"/>
              <a:gd name="T7" fmla="*/ 0 h 251"/>
              <a:gd name="T8" fmla="*/ 0 w 1100"/>
              <a:gd name="T9" fmla="*/ 251 h 251"/>
            </a:gdLst>
            <a:ahLst/>
            <a:cxnLst>
              <a:cxn ang="0">
                <a:pos x="T0" y="T1"/>
              </a:cxn>
              <a:cxn ang="0">
                <a:pos x="T2" y="T3"/>
              </a:cxn>
              <a:cxn ang="0">
                <a:pos x="T4" y="T5"/>
              </a:cxn>
              <a:cxn ang="0">
                <a:pos x="T6" y="T7"/>
              </a:cxn>
              <a:cxn ang="0">
                <a:pos x="T8" y="T9"/>
              </a:cxn>
            </a:cxnLst>
            <a:rect l="0" t="0" r="r" b="b"/>
            <a:pathLst>
              <a:path w="1100" h="251">
                <a:moveTo>
                  <a:pt x="0" y="251"/>
                </a:moveTo>
                <a:lnTo>
                  <a:pt x="585" y="251"/>
                </a:lnTo>
                <a:lnTo>
                  <a:pt x="1100" y="0"/>
                </a:lnTo>
                <a:lnTo>
                  <a:pt x="515" y="0"/>
                </a:lnTo>
                <a:lnTo>
                  <a:pt x="0" y="251"/>
                </a:lnTo>
                <a:close/>
              </a:path>
            </a:pathLst>
          </a:custGeom>
          <a:solidFill>
            <a:srgbClr val="CD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7" name="Freeform 37"/>
          <p:cNvSpPr>
            <a:spLocks/>
          </p:cNvSpPr>
          <p:nvPr/>
        </p:nvSpPr>
        <p:spPr bwMode="auto">
          <a:xfrm>
            <a:off x="600959" y="2740351"/>
            <a:ext cx="855719" cy="194481"/>
          </a:xfrm>
          <a:custGeom>
            <a:avLst/>
            <a:gdLst>
              <a:gd name="T0" fmla="*/ 0 w 1100"/>
              <a:gd name="T1" fmla="*/ 251 h 251"/>
              <a:gd name="T2" fmla="*/ 585 w 1100"/>
              <a:gd name="T3" fmla="*/ 251 h 251"/>
              <a:gd name="T4" fmla="*/ 1100 w 1100"/>
              <a:gd name="T5" fmla="*/ 0 h 251"/>
              <a:gd name="T6" fmla="*/ 515 w 1100"/>
              <a:gd name="T7" fmla="*/ 0 h 251"/>
            </a:gdLst>
            <a:ahLst/>
            <a:cxnLst>
              <a:cxn ang="0">
                <a:pos x="T0" y="T1"/>
              </a:cxn>
              <a:cxn ang="0">
                <a:pos x="T2" y="T3"/>
              </a:cxn>
              <a:cxn ang="0">
                <a:pos x="T4" y="T5"/>
              </a:cxn>
              <a:cxn ang="0">
                <a:pos x="T6" y="T7"/>
              </a:cxn>
            </a:cxnLst>
            <a:rect l="0" t="0" r="r" b="b"/>
            <a:pathLst>
              <a:path w="1100" h="251">
                <a:moveTo>
                  <a:pt x="0" y="251"/>
                </a:moveTo>
                <a:lnTo>
                  <a:pt x="585" y="251"/>
                </a:lnTo>
                <a:lnTo>
                  <a:pt x="1100" y="0"/>
                </a:lnTo>
                <a:lnTo>
                  <a:pt x="5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8" name="Rectangle 38"/>
          <p:cNvSpPr>
            <a:spLocks noChangeArrowheads="1"/>
          </p:cNvSpPr>
          <p:nvPr/>
        </p:nvSpPr>
        <p:spPr bwMode="auto">
          <a:xfrm>
            <a:off x="600958" y="2934833"/>
            <a:ext cx="454309" cy="61922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2918" name="Group 2917"/>
          <p:cNvGrpSpPr/>
          <p:nvPr/>
        </p:nvGrpSpPr>
        <p:grpSpPr>
          <a:xfrm>
            <a:off x="2114729" y="2269479"/>
            <a:ext cx="8272464" cy="454446"/>
            <a:chOff x="1822375" y="2844285"/>
            <a:chExt cx="8440738" cy="463691"/>
          </a:xfrm>
        </p:grpSpPr>
        <p:sp>
          <p:nvSpPr>
            <p:cNvPr id="33" name="Rectangle 23"/>
            <p:cNvSpPr>
              <a:spLocks noChangeArrowheads="1"/>
            </p:cNvSpPr>
            <p:nvPr/>
          </p:nvSpPr>
          <p:spPr bwMode="auto">
            <a:xfrm>
              <a:off x="1822375" y="2844285"/>
              <a:ext cx="1211263" cy="463691"/>
            </a:xfrm>
            <a:prstGeom prst="rect">
              <a:avLst/>
            </a:prstGeom>
            <a:solidFill>
              <a:srgbClr val="E6E6E5"/>
            </a:solidFill>
            <a:ln w="6350">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4" name="Rectangle 24"/>
            <p:cNvSpPr>
              <a:spLocks noChangeArrowheads="1"/>
            </p:cNvSpPr>
            <p:nvPr/>
          </p:nvSpPr>
          <p:spPr bwMode="auto">
            <a:xfrm>
              <a:off x="3267000" y="2844285"/>
              <a:ext cx="1211263" cy="463691"/>
            </a:xfrm>
            <a:prstGeom prst="rect">
              <a:avLst/>
            </a:prstGeom>
            <a:solidFill>
              <a:srgbClr val="E6E6E5"/>
            </a:solidFill>
            <a:ln w="6350">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1370" name="Rectangle 23"/>
            <p:cNvSpPr>
              <a:spLocks noChangeArrowheads="1"/>
            </p:cNvSpPr>
            <p:nvPr/>
          </p:nvSpPr>
          <p:spPr bwMode="auto">
            <a:xfrm>
              <a:off x="6165775" y="2844285"/>
              <a:ext cx="1211263" cy="463691"/>
            </a:xfrm>
            <a:prstGeom prst="rect">
              <a:avLst/>
            </a:prstGeom>
            <a:solidFill>
              <a:srgbClr val="E6E6E5"/>
            </a:solidFill>
            <a:ln w="6350">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1371" name="Rectangle 24"/>
            <p:cNvSpPr>
              <a:spLocks noChangeArrowheads="1"/>
            </p:cNvSpPr>
            <p:nvPr/>
          </p:nvSpPr>
          <p:spPr bwMode="auto">
            <a:xfrm>
              <a:off x="7610400" y="2844285"/>
              <a:ext cx="1211263" cy="463691"/>
            </a:xfrm>
            <a:prstGeom prst="rect">
              <a:avLst/>
            </a:prstGeom>
            <a:solidFill>
              <a:srgbClr val="E6E6E5"/>
            </a:solidFill>
            <a:ln w="6350">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1372" name="Rectangle 25"/>
            <p:cNvSpPr>
              <a:spLocks noChangeArrowheads="1"/>
            </p:cNvSpPr>
            <p:nvPr/>
          </p:nvSpPr>
          <p:spPr bwMode="auto">
            <a:xfrm>
              <a:off x="9051850" y="2844285"/>
              <a:ext cx="1211263" cy="463691"/>
            </a:xfrm>
            <a:prstGeom prst="rect">
              <a:avLst/>
            </a:prstGeom>
            <a:solidFill>
              <a:srgbClr val="E6E6E5"/>
            </a:solidFill>
            <a:ln w="6350">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grpSp>
        <p:nvGrpSpPr>
          <p:cNvPr id="1389" name="Group 1388"/>
          <p:cNvGrpSpPr/>
          <p:nvPr/>
        </p:nvGrpSpPr>
        <p:grpSpPr>
          <a:xfrm rot="18900000">
            <a:off x="2277463" y="2804468"/>
            <a:ext cx="137603" cy="203559"/>
            <a:chOff x="2687372" y="3149601"/>
            <a:chExt cx="81465" cy="132564"/>
          </a:xfrm>
          <a:solidFill>
            <a:srgbClr val="0072C6"/>
          </a:solidFill>
        </p:grpSpPr>
        <p:sp>
          <p:nvSpPr>
            <p:cNvPr id="139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39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39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39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39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39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nvGrpSpPr>
          <p:cNvPr id="57" name="Group 56"/>
          <p:cNvGrpSpPr/>
          <p:nvPr/>
        </p:nvGrpSpPr>
        <p:grpSpPr>
          <a:xfrm>
            <a:off x="3897279" y="2511030"/>
            <a:ext cx="1296925" cy="1054227"/>
            <a:chOff x="3641186" y="3090752"/>
            <a:chExt cx="1323306" cy="1075670"/>
          </a:xfrm>
        </p:grpSpPr>
        <p:sp>
          <p:nvSpPr>
            <p:cNvPr id="1416" name="Rectangle 1415"/>
            <p:cNvSpPr/>
            <p:nvPr/>
          </p:nvSpPr>
          <p:spPr bwMode="auto">
            <a:xfrm rot="2366189">
              <a:off x="4461536" y="3714323"/>
              <a:ext cx="159341" cy="298798"/>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17" name="Rectangle 21"/>
            <p:cNvSpPr/>
            <p:nvPr/>
          </p:nvSpPr>
          <p:spPr bwMode="auto">
            <a:xfrm rot="19936818">
              <a:off x="4426825" y="3189923"/>
              <a:ext cx="169982" cy="45085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18" name="Rectangle 29"/>
            <p:cNvSpPr/>
            <p:nvPr/>
          </p:nvSpPr>
          <p:spPr bwMode="auto">
            <a:xfrm rot="15300000">
              <a:off x="4039300" y="3057366"/>
              <a:ext cx="129052" cy="441050"/>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19" name="Oval 1418"/>
            <p:cNvSpPr/>
            <p:nvPr/>
          </p:nvSpPr>
          <p:spPr bwMode="auto">
            <a:xfrm>
              <a:off x="4442397" y="3542367"/>
              <a:ext cx="310107" cy="310108"/>
            </a:xfrm>
            <a:prstGeom prst="ellipse">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20" name="Group 1419"/>
            <p:cNvGrpSpPr/>
            <p:nvPr/>
          </p:nvGrpSpPr>
          <p:grpSpPr>
            <a:xfrm flipH="1">
              <a:off x="4269958" y="3090752"/>
              <a:ext cx="225849" cy="225850"/>
              <a:chOff x="4394973" y="1762558"/>
              <a:chExt cx="352210" cy="352210"/>
            </a:xfrm>
            <a:solidFill>
              <a:srgbClr val="FFFFFF">
                <a:lumMod val="75000"/>
              </a:srgbClr>
            </a:solidFill>
          </p:grpSpPr>
          <p:grpSp>
            <p:nvGrpSpPr>
              <p:cNvPr id="1439" name="Group 1438"/>
              <p:cNvGrpSpPr/>
              <p:nvPr/>
            </p:nvGrpSpPr>
            <p:grpSpPr>
              <a:xfrm flipH="1">
                <a:off x="4394973" y="1762558"/>
                <a:ext cx="352210" cy="352210"/>
                <a:chOff x="5411363" y="1755522"/>
                <a:chExt cx="316187" cy="316187"/>
              </a:xfrm>
              <a:grpFill/>
            </p:grpSpPr>
            <p:sp>
              <p:nvSpPr>
                <p:cNvPr id="1442" name="Oval 1441"/>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43" name="Oval 1442"/>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44" name="Oval 1443"/>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40" name="Rectangle 1439"/>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41" name="Rectangle 1440"/>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21" name="Rectangle 1420"/>
            <p:cNvSpPr/>
            <p:nvPr/>
          </p:nvSpPr>
          <p:spPr bwMode="auto">
            <a:xfrm rot="11618614">
              <a:off x="3788005" y="3415241"/>
              <a:ext cx="85156" cy="153010"/>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22" name="Oval 1421"/>
            <p:cNvSpPr/>
            <p:nvPr/>
          </p:nvSpPr>
          <p:spPr bwMode="auto">
            <a:xfrm rot="11681175">
              <a:off x="3756239" y="3533101"/>
              <a:ext cx="97683" cy="97684"/>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24" name="Group 1423"/>
            <p:cNvGrpSpPr/>
            <p:nvPr/>
          </p:nvGrpSpPr>
          <p:grpSpPr>
            <a:xfrm rot="2114316">
              <a:off x="3641186" y="3515590"/>
              <a:ext cx="87318" cy="240220"/>
              <a:chOff x="5422401" y="1772114"/>
              <a:chExt cx="99173" cy="272833"/>
            </a:xfrm>
            <a:solidFill>
              <a:srgbClr val="505050">
                <a:lumMod val="40000"/>
                <a:lumOff val="60000"/>
              </a:srgbClr>
            </a:solidFill>
          </p:grpSpPr>
          <p:sp>
            <p:nvSpPr>
              <p:cNvPr id="1435" name="Rectangle 1434"/>
              <p:cNvSpPr/>
              <p:nvPr/>
            </p:nvSpPr>
            <p:spPr bwMode="auto">
              <a:xfrm rot="13260000" flipH="1">
                <a:off x="5460056" y="1772114"/>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36" name="Diagonal Stripe 1435"/>
              <p:cNvSpPr/>
              <p:nvPr/>
            </p:nvSpPr>
            <p:spPr bwMode="auto">
              <a:xfrm rot="19432650">
                <a:off x="5422401" y="1862067"/>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25" name="Rounded Rectangle 1424"/>
            <p:cNvSpPr/>
            <p:nvPr/>
          </p:nvSpPr>
          <p:spPr bwMode="auto">
            <a:xfrm>
              <a:off x="4135920" y="3917143"/>
              <a:ext cx="744710" cy="234820"/>
            </a:xfrm>
            <a:prstGeom prst="round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26" name="Rounded Rectangle 1425"/>
            <p:cNvSpPr/>
            <p:nvPr/>
          </p:nvSpPr>
          <p:spPr bwMode="auto">
            <a:xfrm>
              <a:off x="4052056" y="4034549"/>
              <a:ext cx="912436" cy="131873"/>
            </a:xfrm>
            <a:prstGeom prst="round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27" name="Group 1426"/>
            <p:cNvGrpSpPr/>
            <p:nvPr/>
          </p:nvGrpSpPr>
          <p:grpSpPr>
            <a:xfrm flipH="1">
              <a:off x="3793988" y="3282734"/>
              <a:ext cx="157854" cy="157855"/>
              <a:chOff x="4394973" y="1762558"/>
              <a:chExt cx="352210" cy="352210"/>
            </a:xfrm>
            <a:solidFill>
              <a:srgbClr val="FFFFFF">
                <a:lumMod val="75000"/>
              </a:srgbClr>
            </a:solidFill>
          </p:grpSpPr>
          <p:grpSp>
            <p:nvGrpSpPr>
              <p:cNvPr id="1429" name="Group 1428"/>
              <p:cNvGrpSpPr/>
              <p:nvPr/>
            </p:nvGrpSpPr>
            <p:grpSpPr>
              <a:xfrm flipH="1">
                <a:off x="4394973" y="1762558"/>
                <a:ext cx="352210" cy="352210"/>
                <a:chOff x="5411363" y="1755522"/>
                <a:chExt cx="316187" cy="316187"/>
              </a:xfrm>
              <a:grpFill/>
            </p:grpSpPr>
            <p:sp>
              <p:nvSpPr>
                <p:cNvPr id="1432" name="Oval 1431"/>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33" name="Oval 1432"/>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34" name="Oval 1433"/>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30" name="Rectangle 1429"/>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31" name="Rectangle 1430"/>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409" name="Group 1408"/>
          <p:cNvGrpSpPr/>
          <p:nvPr/>
        </p:nvGrpSpPr>
        <p:grpSpPr>
          <a:xfrm rot="19273839">
            <a:off x="4982460" y="2839289"/>
            <a:ext cx="139986" cy="207084"/>
            <a:chOff x="2687372" y="3149601"/>
            <a:chExt cx="81465" cy="132564"/>
          </a:xfrm>
          <a:solidFill>
            <a:srgbClr val="0072C6"/>
          </a:solidFill>
        </p:grpSpPr>
        <p:sp>
          <p:nvSpPr>
            <p:cNvPr id="141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41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41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41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41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41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nvGrpSpPr>
          <p:cNvPr id="14" name="Group 13"/>
          <p:cNvGrpSpPr/>
          <p:nvPr/>
        </p:nvGrpSpPr>
        <p:grpSpPr>
          <a:xfrm>
            <a:off x="2093364" y="3575025"/>
            <a:ext cx="1519994" cy="1235545"/>
            <a:chOff x="1800575" y="4176391"/>
            <a:chExt cx="1550913" cy="1260678"/>
          </a:xfrm>
        </p:grpSpPr>
        <p:sp>
          <p:nvSpPr>
            <p:cNvPr id="1620" name="Oval 1619"/>
            <p:cNvSpPr/>
            <p:nvPr/>
          </p:nvSpPr>
          <p:spPr bwMode="auto">
            <a:xfrm flipH="1">
              <a:off x="2049024" y="4705684"/>
              <a:ext cx="363445" cy="363445"/>
            </a:xfrm>
            <a:prstGeom prst="ellipse">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800575" y="4176391"/>
              <a:ext cx="1550913" cy="1260678"/>
              <a:chOff x="1800575" y="4176391"/>
              <a:chExt cx="1550913" cy="1260678"/>
            </a:xfrm>
          </p:grpSpPr>
          <p:sp>
            <p:nvSpPr>
              <p:cNvPr id="1614" name="Rectangle 1613"/>
              <p:cNvSpPr/>
              <p:nvPr/>
            </p:nvSpPr>
            <p:spPr bwMode="auto">
              <a:xfrm rot="19233811" flipH="1">
                <a:off x="2206802" y="4917000"/>
                <a:ext cx="186748" cy="339149"/>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15" name="Rectangle 21"/>
              <p:cNvSpPr/>
              <p:nvPr/>
            </p:nvSpPr>
            <p:spPr bwMode="auto">
              <a:xfrm rot="1663182" flipH="1">
                <a:off x="2231501" y="4292619"/>
                <a:ext cx="199219" cy="52839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16" name="Rectangle 29"/>
              <p:cNvSpPr/>
              <p:nvPr/>
            </p:nvSpPr>
            <p:spPr bwMode="auto">
              <a:xfrm rot="6300000" flipH="1">
                <a:off x="2733652" y="4137261"/>
                <a:ext cx="151248" cy="516910"/>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22" name="Group 1621"/>
              <p:cNvGrpSpPr/>
              <p:nvPr/>
            </p:nvGrpSpPr>
            <p:grpSpPr>
              <a:xfrm>
                <a:off x="2349872" y="4176391"/>
                <a:ext cx="264695" cy="264695"/>
                <a:chOff x="4394973" y="1762558"/>
                <a:chExt cx="352210" cy="352210"/>
              </a:xfrm>
              <a:solidFill>
                <a:srgbClr val="FFFFFF">
                  <a:lumMod val="75000"/>
                </a:srgbClr>
              </a:solidFill>
            </p:grpSpPr>
            <p:grpSp>
              <p:nvGrpSpPr>
                <p:cNvPr id="1655" name="Group 1654"/>
                <p:cNvGrpSpPr/>
                <p:nvPr/>
              </p:nvGrpSpPr>
              <p:grpSpPr>
                <a:xfrm flipH="1">
                  <a:off x="4394973" y="1762558"/>
                  <a:ext cx="352210" cy="352210"/>
                  <a:chOff x="5411363" y="1755522"/>
                  <a:chExt cx="316187" cy="316187"/>
                </a:xfrm>
                <a:grpFill/>
              </p:grpSpPr>
              <p:sp>
                <p:nvSpPr>
                  <p:cNvPr id="1658" name="Oval 1657"/>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59" name="Oval 1658"/>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60" name="Oval 1659"/>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656" name="Rectangle 1655"/>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57" name="Rectangle 1656"/>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623" name="Rectangle 1622"/>
              <p:cNvSpPr/>
              <p:nvPr/>
            </p:nvSpPr>
            <p:spPr bwMode="auto">
              <a:xfrm rot="9981386" flipH="1">
                <a:off x="3079616" y="4556690"/>
                <a:ext cx="99803" cy="179326"/>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26" name="Oval 1625"/>
              <p:cNvSpPr/>
              <p:nvPr/>
            </p:nvSpPr>
            <p:spPr bwMode="auto">
              <a:xfrm rot="9918825" flipH="1">
                <a:off x="3102164" y="4694821"/>
                <a:ext cx="114485" cy="114485"/>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39" name="Group 1638"/>
              <p:cNvGrpSpPr/>
              <p:nvPr/>
            </p:nvGrpSpPr>
            <p:grpSpPr>
              <a:xfrm rot="20781386">
                <a:off x="3048729" y="4769552"/>
                <a:ext cx="102337" cy="281538"/>
                <a:chOff x="5430362" y="1772113"/>
                <a:chExt cx="99173" cy="272835"/>
              </a:xfrm>
              <a:solidFill>
                <a:srgbClr val="505050">
                  <a:lumMod val="40000"/>
                  <a:lumOff val="60000"/>
                </a:srgbClr>
              </a:solidFill>
            </p:grpSpPr>
            <p:sp>
              <p:nvSpPr>
                <p:cNvPr id="1653" name="Rectangle 1652"/>
                <p:cNvSpPr/>
                <p:nvPr/>
              </p:nvSpPr>
              <p:spPr bwMode="auto">
                <a:xfrm rot="13260000" flipH="1">
                  <a:off x="5468027" y="1772113"/>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54" name="Diagonal Stripe 1653"/>
                <p:cNvSpPr/>
                <p:nvPr/>
              </p:nvSpPr>
              <p:spPr bwMode="auto">
                <a:xfrm rot="19432650">
                  <a:off x="5430362" y="1862068"/>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40" name="Group 1639"/>
              <p:cNvGrpSpPr/>
              <p:nvPr/>
            </p:nvGrpSpPr>
            <p:grpSpPr>
              <a:xfrm rot="19485684" flipH="1">
                <a:off x="3249151" y="4674299"/>
                <a:ext cx="102337" cy="281536"/>
                <a:chOff x="5422401" y="1772114"/>
                <a:chExt cx="99173" cy="272833"/>
              </a:xfrm>
              <a:solidFill>
                <a:srgbClr val="505050">
                  <a:lumMod val="40000"/>
                  <a:lumOff val="60000"/>
                </a:srgbClr>
              </a:solidFill>
            </p:grpSpPr>
            <p:sp>
              <p:nvSpPr>
                <p:cNvPr id="1651" name="Rectangle 1650"/>
                <p:cNvSpPr/>
                <p:nvPr/>
              </p:nvSpPr>
              <p:spPr bwMode="auto">
                <a:xfrm rot="13260000" flipH="1">
                  <a:off x="5460056" y="1772114"/>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52" name="Diagonal Stripe 1651"/>
                <p:cNvSpPr/>
                <p:nvPr/>
              </p:nvSpPr>
              <p:spPr bwMode="auto">
                <a:xfrm rot="19432650">
                  <a:off x="5422401" y="1862067"/>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641" name="Rounded Rectangle 1640"/>
              <p:cNvSpPr/>
              <p:nvPr/>
            </p:nvSpPr>
            <p:spPr bwMode="auto">
              <a:xfrm flipH="1">
                <a:off x="1898860" y="5144919"/>
                <a:ext cx="872800" cy="275208"/>
              </a:xfrm>
              <a:prstGeom prst="round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42" name="Rounded Rectangle 1641"/>
              <p:cNvSpPr/>
              <p:nvPr/>
            </p:nvSpPr>
            <p:spPr bwMode="auto">
              <a:xfrm flipH="1">
                <a:off x="1800575" y="5282514"/>
                <a:ext cx="1069376" cy="154555"/>
              </a:xfrm>
              <a:prstGeom prst="round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43" name="Group 1642"/>
              <p:cNvGrpSpPr/>
              <p:nvPr/>
            </p:nvGrpSpPr>
            <p:grpSpPr>
              <a:xfrm>
                <a:off x="2987403" y="4401395"/>
                <a:ext cx="185005" cy="185005"/>
                <a:chOff x="4394973" y="1762558"/>
                <a:chExt cx="352210" cy="352210"/>
              </a:xfrm>
              <a:solidFill>
                <a:srgbClr val="FFFFFF">
                  <a:lumMod val="75000"/>
                </a:srgbClr>
              </a:solidFill>
            </p:grpSpPr>
            <p:grpSp>
              <p:nvGrpSpPr>
                <p:cNvPr id="1645" name="Group 1644"/>
                <p:cNvGrpSpPr/>
                <p:nvPr/>
              </p:nvGrpSpPr>
              <p:grpSpPr>
                <a:xfrm flipH="1">
                  <a:off x="4394973" y="1762558"/>
                  <a:ext cx="352210" cy="352210"/>
                  <a:chOff x="5411363" y="1755522"/>
                  <a:chExt cx="316187" cy="316187"/>
                </a:xfrm>
                <a:grpFill/>
              </p:grpSpPr>
              <p:sp>
                <p:nvSpPr>
                  <p:cNvPr id="1648" name="Oval 1647"/>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49" name="Oval 1648"/>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50" name="Oval 1649"/>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646" name="Rectangle 1645"/>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47" name="Rectangle 1646"/>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1601" name="Group 1600"/>
          <p:cNvGrpSpPr/>
          <p:nvPr/>
        </p:nvGrpSpPr>
        <p:grpSpPr>
          <a:xfrm rot="13271164">
            <a:off x="2149787" y="3926931"/>
            <a:ext cx="199923" cy="295748"/>
            <a:chOff x="2687372" y="3149601"/>
            <a:chExt cx="81465" cy="132564"/>
          </a:xfrm>
          <a:solidFill>
            <a:srgbClr val="0072C6"/>
          </a:solidFill>
        </p:grpSpPr>
        <p:sp>
          <p:nvSpPr>
            <p:cNvPr id="1602"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0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1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1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1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1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sp>
        <p:nvSpPr>
          <p:cNvPr id="1749" name="Oval 1748"/>
          <p:cNvSpPr/>
          <p:nvPr/>
        </p:nvSpPr>
        <p:spPr bwMode="auto">
          <a:xfrm>
            <a:off x="2013588" y="2448851"/>
            <a:ext cx="190796" cy="190796"/>
          </a:xfrm>
          <a:prstGeom prst="ellipse">
            <a:avLst/>
          </a:prstGeom>
          <a:solidFill>
            <a:srgbClr val="FFFFFF"/>
          </a:solidFill>
          <a:ln w="12700" cap="flat" cmpd="sng" algn="ctr">
            <a:solidFill>
              <a:srgbClr val="0072C6"/>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50" name="Group 1749"/>
          <p:cNvGrpSpPr/>
          <p:nvPr/>
        </p:nvGrpSpPr>
        <p:grpSpPr>
          <a:xfrm>
            <a:off x="2055844" y="2491113"/>
            <a:ext cx="106301" cy="106275"/>
            <a:chOff x="10188424" y="2479330"/>
            <a:chExt cx="302040" cy="301962"/>
          </a:xfrm>
          <a:solidFill>
            <a:srgbClr val="8DC548"/>
          </a:solidFill>
        </p:grpSpPr>
        <p:sp>
          <p:nvSpPr>
            <p:cNvPr id="1751" name="Freeform 101"/>
            <p:cNvSpPr>
              <a:spLocks noEditPoints="1"/>
            </p:cNvSpPr>
            <p:nvPr/>
          </p:nvSpPr>
          <p:spPr bwMode="black">
            <a:xfrm>
              <a:off x="10188424" y="2479330"/>
              <a:ext cx="302040" cy="301962"/>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solidFill>
              <a:srgbClr val="DC3C00"/>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sp>
          <p:nvSpPr>
            <p:cNvPr id="1752" name="Freeform 102"/>
            <p:cNvSpPr>
              <a:spLocks/>
            </p:cNvSpPr>
            <p:nvPr/>
          </p:nvSpPr>
          <p:spPr bwMode="black">
            <a:xfrm>
              <a:off x="10327738" y="2561646"/>
              <a:ext cx="33648" cy="94586"/>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solidFill>
              <a:srgbClr val="DC3C00"/>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sp>
          <p:nvSpPr>
            <p:cNvPr id="1753" name="Rectangle 103"/>
            <p:cNvSpPr>
              <a:spLocks noChangeArrowheads="1"/>
            </p:cNvSpPr>
            <p:nvPr/>
          </p:nvSpPr>
          <p:spPr bwMode="black">
            <a:xfrm>
              <a:off x="10325759" y="2666521"/>
              <a:ext cx="37607" cy="36409"/>
            </a:xfrm>
            <a:prstGeom prst="rect">
              <a:avLst/>
            </a:prstGeom>
            <a:solidFill>
              <a:srgbClr val="DC3C00"/>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grpSp>
      <p:grpSp>
        <p:nvGrpSpPr>
          <p:cNvPr id="2210" name="Group 2209"/>
          <p:cNvGrpSpPr/>
          <p:nvPr/>
        </p:nvGrpSpPr>
        <p:grpSpPr>
          <a:xfrm>
            <a:off x="2631245" y="2289325"/>
            <a:ext cx="475236" cy="475446"/>
            <a:chOff x="4480937" y="2167998"/>
            <a:chExt cx="616667" cy="616939"/>
          </a:xfrm>
        </p:grpSpPr>
        <p:sp>
          <p:nvSpPr>
            <p:cNvPr id="2211" name="Oval 2210"/>
            <p:cNvSpPr/>
            <p:nvPr/>
          </p:nvSpPr>
          <p:spPr bwMode="auto">
            <a:xfrm>
              <a:off x="4480937" y="2167998"/>
              <a:ext cx="616667" cy="616668"/>
            </a:xfrm>
            <a:prstGeom prst="ellipse">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2" name="Freeform 2211"/>
            <p:cNvSpPr>
              <a:spLocks noChangeAspect="1"/>
            </p:cNvSpPr>
            <p:nvPr/>
          </p:nvSpPr>
          <p:spPr bwMode="auto">
            <a:xfrm>
              <a:off x="4599588" y="2269227"/>
              <a:ext cx="379362" cy="515710"/>
            </a:xfrm>
            <a:custGeom>
              <a:avLst/>
              <a:gdLst>
                <a:gd name="connsiteX0" fmla="*/ 103478 w 309222"/>
                <a:gd name="connsiteY0" fmla="*/ 145662 h 420358"/>
                <a:gd name="connsiteX1" fmla="*/ 211389 w 309222"/>
                <a:gd name="connsiteY1" fmla="*/ 145662 h 420358"/>
                <a:gd name="connsiteX2" fmla="*/ 211389 w 309222"/>
                <a:gd name="connsiteY2" fmla="*/ 145757 h 420358"/>
                <a:gd name="connsiteX3" fmla="*/ 214426 w 309222"/>
                <a:gd name="connsiteY3" fmla="*/ 145757 h 420358"/>
                <a:gd name="connsiteX4" fmla="*/ 226315 w 309222"/>
                <a:gd name="connsiteY4" fmla="*/ 145757 h 420358"/>
                <a:gd name="connsiteX5" fmla="*/ 309222 w 309222"/>
                <a:gd name="connsiteY5" fmla="*/ 228659 h 420358"/>
                <a:gd name="connsiteX6" fmla="*/ 309222 w 309222"/>
                <a:gd name="connsiteY6" fmla="*/ 331538 h 420358"/>
                <a:gd name="connsiteX7" fmla="*/ 309222 w 309222"/>
                <a:gd name="connsiteY7" fmla="*/ 357708 h 420358"/>
                <a:gd name="connsiteX8" fmla="*/ 253204 w 309222"/>
                <a:gd name="connsiteY8" fmla="*/ 395476 h 420358"/>
                <a:gd name="connsiteX9" fmla="*/ 253204 w 309222"/>
                <a:gd name="connsiteY9" fmla="*/ 393014 h 420358"/>
                <a:gd name="connsiteX10" fmla="*/ 253204 w 309222"/>
                <a:gd name="connsiteY10" fmla="*/ 248077 h 420358"/>
                <a:gd name="connsiteX11" fmla="*/ 238265 w 309222"/>
                <a:gd name="connsiteY11" fmla="*/ 248077 h 420358"/>
                <a:gd name="connsiteX12" fmla="*/ 238265 w 309222"/>
                <a:gd name="connsiteY12" fmla="*/ 397921 h 420358"/>
                <a:gd name="connsiteX13" fmla="*/ 238265 w 309222"/>
                <a:gd name="connsiteY13" fmla="*/ 403469 h 420358"/>
                <a:gd name="connsiteX14" fmla="*/ 154612 w 309222"/>
                <a:gd name="connsiteY14" fmla="*/ 420358 h 420358"/>
                <a:gd name="connsiteX15" fmla="*/ 70957 w 309222"/>
                <a:gd name="connsiteY15" fmla="*/ 403469 h 420358"/>
                <a:gd name="connsiteX16" fmla="*/ 70957 w 309222"/>
                <a:gd name="connsiteY16" fmla="*/ 397897 h 420358"/>
                <a:gd name="connsiteX17" fmla="*/ 70957 w 309222"/>
                <a:gd name="connsiteY17" fmla="*/ 248077 h 420358"/>
                <a:gd name="connsiteX18" fmla="*/ 56018 w 309222"/>
                <a:gd name="connsiteY18" fmla="*/ 248077 h 420358"/>
                <a:gd name="connsiteX19" fmla="*/ 56018 w 309222"/>
                <a:gd name="connsiteY19" fmla="*/ 393021 h 420358"/>
                <a:gd name="connsiteX20" fmla="*/ 56018 w 309222"/>
                <a:gd name="connsiteY20" fmla="*/ 395475 h 420358"/>
                <a:gd name="connsiteX21" fmla="*/ 0 w 309222"/>
                <a:gd name="connsiteY21" fmla="*/ 357706 h 420358"/>
                <a:gd name="connsiteX22" fmla="*/ 0 w 309222"/>
                <a:gd name="connsiteY22" fmla="*/ 331538 h 420358"/>
                <a:gd name="connsiteX23" fmla="*/ 0 w 309222"/>
                <a:gd name="connsiteY23" fmla="*/ 228659 h 420358"/>
                <a:gd name="connsiteX24" fmla="*/ 83654 w 309222"/>
                <a:gd name="connsiteY24" fmla="*/ 145757 h 420358"/>
                <a:gd name="connsiteX25" fmla="*/ 95053 w 309222"/>
                <a:gd name="connsiteY25" fmla="*/ 145757 h 420358"/>
                <a:gd name="connsiteX26" fmla="*/ 103478 w 309222"/>
                <a:gd name="connsiteY26" fmla="*/ 145757 h 420358"/>
                <a:gd name="connsiteX27" fmla="*/ 154927 w 309222"/>
                <a:gd name="connsiteY27" fmla="*/ 0 h 420358"/>
                <a:gd name="connsiteX28" fmla="*/ 219428 w 309222"/>
                <a:gd name="connsiteY28" fmla="*/ 64658 h 420358"/>
                <a:gd name="connsiteX29" fmla="*/ 154927 w 309222"/>
                <a:gd name="connsiteY29" fmla="*/ 129316 h 420358"/>
                <a:gd name="connsiteX30" fmla="*/ 90427 w 309222"/>
                <a:gd name="connsiteY30" fmla="*/ 64658 h 420358"/>
                <a:gd name="connsiteX31" fmla="*/ 154927 w 309222"/>
                <a:gd name="connsiteY31" fmla="*/ 0 h 42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09222" h="420358">
                  <a:moveTo>
                    <a:pt x="103478" y="145662"/>
                  </a:moveTo>
                  <a:lnTo>
                    <a:pt x="211389" y="145662"/>
                  </a:lnTo>
                  <a:lnTo>
                    <a:pt x="211389" y="145757"/>
                  </a:lnTo>
                  <a:lnTo>
                    <a:pt x="214426" y="145757"/>
                  </a:lnTo>
                  <a:cubicBezTo>
                    <a:pt x="219359" y="145757"/>
                    <a:pt x="223420" y="145757"/>
                    <a:pt x="226315" y="145757"/>
                  </a:cubicBezTo>
                  <a:cubicBezTo>
                    <a:pt x="271876" y="145757"/>
                    <a:pt x="309222" y="183100"/>
                    <a:pt x="309222" y="228659"/>
                  </a:cubicBezTo>
                  <a:cubicBezTo>
                    <a:pt x="309222" y="240235"/>
                    <a:pt x="309222" y="286353"/>
                    <a:pt x="309222" y="331538"/>
                  </a:cubicBezTo>
                  <a:lnTo>
                    <a:pt x="309222" y="357708"/>
                  </a:lnTo>
                  <a:lnTo>
                    <a:pt x="253204" y="395476"/>
                  </a:lnTo>
                  <a:lnTo>
                    <a:pt x="253204" y="393014"/>
                  </a:lnTo>
                  <a:cubicBezTo>
                    <a:pt x="253204" y="339660"/>
                    <a:pt x="253204" y="248077"/>
                    <a:pt x="253204" y="248077"/>
                  </a:cubicBezTo>
                  <a:cubicBezTo>
                    <a:pt x="238265" y="248077"/>
                    <a:pt x="238265" y="248077"/>
                    <a:pt x="238265" y="248077"/>
                  </a:cubicBezTo>
                  <a:cubicBezTo>
                    <a:pt x="238265" y="248096"/>
                    <a:pt x="238265" y="313953"/>
                    <a:pt x="238265" y="397921"/>
                  </a:cubicBezTo>
                  <a:lnTo>
                    <a:pt x="238265" y="403469"/>
                  </a:lnTo>
                  <a:lnTo>
                    <a:pt x="154612" y="420358"/>
                  </a:lnTo>
                  <a:lnTo>
                    <a:pt x="70957" y="403469"/>
                  </a:lnTo>
                  <a:lnTo>
                    <a:pt x="70957" y="397897"/>
                  </a:lnTo>
                  <a:cubicBezTo>
                    <a:pt x="70957" y="313929"/>
                    <a:pt x="70957" y="248077"/>
                    <a:pt x="70957" y="248077"/>
                  </a:cubicBezTo>
                  <a:cubicBezTo>
                    <a:pt x="56018" y="248077"/>
                    <a:pt x="56018" y="248077"/>
                    <a:pt x="56018" y="248077"/>
                  </a:cubicBezTo>
                  <a:cubicBezTo>
                    <a:pt x="56018" y="248111"/>
                    <a:pt x="56018" y="339679"/>
                    <a:pt x="56018" y="393021"/>
                  </a:cubicBezTo>
                  <a:lnTo>
                    <a:pt x="56018" y="395475"/>
                  </a:lnTo>
                  <a:lnTo>
                    <a:pt x="0" y="357706"/>
                  </a:lnTo>
                  <a:lnTo>
                    <a:pt x="0" y="331538"/>
                  </a:lnTo>
                  <a:cubicBezTo>
                    <a:pt x="0" y="286353"/>
                    <a:pt x="0" y="240235"/>
                    <a:pt x="0" y="228659"/>
                  </a:cubicBezTo>
                  <a:cubicBezTo>
                    <a:pt x="0" y="183100"/>
                    <a:pt x="37346" y="145757"/>
                    <a:pt x="83654" y="145757"/>
                  </a:cubicBezTo>
                  <a:cubicBezTo>
                    <a:pt x="86362" y="145757"/>
                    <a:pt x="90260" y="145757"/>
                    <a:pt x="95053" y="145757"/>
                  </a:cubicBezTo>
                  <a:lnTo>
                    <a:pt x="103478" y="145757"/>
                  </a:lnTo>
                  <a:close/>
                  <a:moveTo>
                    <a:pt x="154927" y="0"/>
                  </a:moveTo>
                  <a:cubicBezTo>
                    <a:pt x="190550" y="0"/>
                    <a:pt x="219428" y="28949"/>
                    <a:pt x="219428" y="64658"/>
                  </a:cubicBezTo>
                  <a:cubicBezTo>
                    <a:pt x="219428" y="100368"/>
                    <a:pt x="190550" y="129316"/>
                    <a:pt x="154927" y="129316"/>
                  </a:cubicBezTo>
                  <a:cubicBezTo>
                    <a:pt x="119305" y="129316"/>
                    <a:pt x="90427" y="100368"/>
                    <a:pt x="90427" y="64658"/>
                  </a:cubicBezTo>
                  <a:cubicBezTo>
                    <a:pt x="90427" y="28949"/>
                    <a:pt x="119305" y="0"/>
                    <a:pt x="154927" y="0"/>
                  </a:cubicBezTo>
                  <a:close/>
                </a:path>
              </a:pathLst>
            </a:custGeom>
            <a:solidFill>
              <a:srgbClr val="FFFFFF">
                <a:lumMod val="65000"/>
              </a:srgbClr>
            </a:solidFill>
            <a:ln>
              <a:noFill/>
            </a:ln>
            <a:effectLst/>
          </p:spPr>
          <p:txBody>
            <a:bodyPr vert="horz" wrap="square" lIns="91377" tIns="45690" rIns="91377" bIns="4569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18244">
                <a:defRPr/>
              </a:pPr>
              <a:endParaRPr lang="en-US" dirty="0">
                <a:solidFill>
                  <a:srgbClr val="5B6770"/>
                </a:solidFill>
              </a:endParaRPr>
            </a:p>
          </p:txBody>
        </p:sp>
        <p:sp>
          <p:nvSpPr>
            <p:cNvPr id="2213" name="Oval 2212"/>
            <p:cNvSpPr/>
            <p:nvPr/>
          </p:nvSpPr>
          <p:spPr bwMode="auto">
            <a:xfrm>
              <a:off x="4480937" y="2167998"/>
              <a:ext cx="616667" cy="616668"/>
            </a:xfrm>
            <a:prstGeom prst="ellipse">
              <a:avLst/>
            </a:prstGeom>
            <a:noFill/>
            <a:ln w="19050" cap="flat" cmpd="sng" algn="ctr">
              <a:solidFill>
                <a:schemeClr val="accent1"/>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87" name="Cube 2286"/>
          <p:cNvSpPr/>
          <p:nvPr/>
        </p:nvSpPr>
        <p:spPr bwMode="auto">
          <a:xfrm flipH="1">
            <a:off x="4412749" y="3719380"/>
            <a:ext cx="552704" cy="553445"/>
          </a:xfrm>
          <a:prstGeom prst="cub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45" name="Group 1444"/>
          <p:cNvGrpSpPr>
            <a:grpSpLocks noChangeAspect="1"/>
          </p:cNvGrpSpPr>
          <p:nvPr/>
        </p:nvGrpSpPr>
        <p:grpSpPr>
          <a:xfrm>
            <a:off x="4489167" y="3833084"/>
            <a:ext cx="407651" cy="334700"/>
            <a:chOff x="-4435475" y="1371600"/>
            <a:chExt cx="4435475" cy="3641725"/>
          </a:xfrm>
        </p:grpSpPr>
        <p:sp>
          <p:nvSpPr>
            <p:cNvPr id="1451"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1452" name="Group 1451"/>
            <p:cNvGrpSpPr/>
            <p:nvPr/>
          </p:nvGrpSpPr>
          <p:grpSpPr>
            <a:xfrm>
              <a:off x="-4206871" y="1603382"/>
              <a:ext cx="3978266" cy="3168652"/>
              <a:chOff x="-4206875" y="1603375"/>
              <a:chExt cx="3978275" cy="3168650"/>
            </a:xfrm>
            <a:solidFill>
              <a:srgbClr val="FFFFFF"/>
            </a:solidFill>
          </p:grpSpPr>
          <p:sp>
            <p:nvSpPr>
              <p:cNvPr id="1555"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56"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67"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7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7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96"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97"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98"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grpSp>
        <p:nvGrpSpPr>
          <p:cNvPr id="2297" name="Group 2296"/>
          <p:cNvGrpSpPr>
            <a:grpSpLocks noChangeAspect="1"/>
          </p:cNvGrpSpPr>
          <p:nvPr/>
        </p:nvGrpSpPr>
        <p:grpSpPr>
          <a:xfrm>
            <a:off x="2557975" y="3049772"/>
            <a:ext cx="252617" cy="207410"/>
            <a:chOff x="-4435475" y="1371600"/>
            <a:chExt cx="4435475" cy="3641725"/>
          </a:xfrm>
        </p:grpSpPr>
        <p:sp>
          <p:nvSpPr>
            <p:cNvPr id="2298"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2299" name="Group 2298"/>
            <p:cNvGrpSpPr/>
            <p:nvPr/>
          </p:nvGrpSpPr>
          <p:grpSpPr>
            <a:xfrm>
              <a:off x="-4206871" y="1603382"/>
              <a:ext cx="3978266" cy="3168652"/>
              <a:chOff x="-4206875" y="1603375"/>
              <a:chExt cx="3978275" cy="3168650"/>
            </a:xfrm>
            <a:solidFill>
              <a:srgbClr val="FFFFFF"/>
            </a:solidFill>
          </p:grpSpPr>
          <p:sp>
            <p:nvSpPr>
              <p:cNvPr id="2300"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1"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2"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3"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4"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5"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6"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7"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sp>
        <p:nvSpPr>
          <p:cNvPr id="2308" name="Cube 2307"/>
          <p:cNvSpPr/>
          <p:nvPr/>
        </p:nvSpPr>
        <p:spPr bwMode="auto">
          <a:xfrm flipH="1">
            <a:off x="4412749" y="3719380"/>
            <a:ext cx="552704" cy="553445"/>
          </a:xfrm>
          <a:prstGeom prst="cube">
            <a:avLst/>
          </a:prstGeom>
          <a:solidFill>
            <a:srgbClr val="FFFFFF">
              <a:lumMod val="7500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34" name="Group 2333"/>
          <p:cNvGrpSpPr>
            <a:grpSpLocks noChangeAspect="1"/>
          </p:cNvGrpSpPr>
          <p:nvPr/>
        </p:nvGrpSpPr>
        <p:grpSpPr>
          <a:xfrm rot="20774749">
            <a:off x="3841977" y="3045011"/>
            <a:ext cx="303266" cy="248995"/>
            <a:chOff x="-4435475" y="1371600"/>
            <a:chExt cx="4435475" cy="3641725"/>
          </a:xfrm>
        </p:grpSpPr>
        <p:sp>
          <p:nvSpPr>
            <p:cNvPr id="233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2336" name="Group 2335"/>
            <p:cNvGrpSpPr/>
            <p:nvPr/>
          </p:nvGrpSpPr>
          <p:grpSpPr>
            <a:xfrm>
              <a:off x="-4206871" y="1603382"/>
              <a:ext cx="3978266" cy="3168652"/>
              <a:chOff x="-4206875" y="1603375"/>
              <a:chExt cx="3978275" cy="3168650"/>
            </a:xfrm>
            <a:solidFill>
              <a:srgbClr val="FFFFFF"/>
            </a:solidFill>
          </p:grpSpPr>
          <p:sp>
            <p:nvSpPr>
              <p:cNvPr id="233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3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3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4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4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4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4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4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sp>
        <p:nvSpPr>
          <p:cNvPr id="2345" name="Rectangle 2344"/>
          <p:cNvSpPr/>
          <p:nvPr/>
        </p:nvSpPr>
        <p:spPr bwMode="auto">
          <a:xfrm rot="9158614">
            <a:off x="4092577" y="3006478"/>
            <a:ext cx="39453" cy="118356"/>
          </a:xfrm>
          <a:prstGeom prst="rect">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346" name="Diagonal Stripe 2345"/>
          <p:cNvSpPr/>
          <p:nvPr/>
        </p:nvSpPr>
        <p:spPr bwMode="auto">
          <a:xfrm rot="2985964" flipH="1">
            <a:off x="4055723" y="3083580"/>
            <a:ext cx="85578" cy="157809"/>
          </a:xfrm>
          <a:prstGeom prst="diagStripe">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93" name="Group 2392"/>
          <p:cNvGrpSpPr/>
          <p:nvPr/>
        </p:nvGrpSpPr>
        <p:grpSpPr>
          <a:xfrm>
            <a:off x="3577482" y="3338911"/>
            <a:ext cx="525327" cy="384518"/>
            <a:chOff x="1860907" y="2838684"/>
            <a:chExt cx="2941231" cy="2152864"/>
          </a:xfrm>
        </p:grpSpPr>
        <p:sp>
          <p:nvSpPr>
            <p:cNvPr id="2394" name="Freeform 96"/>
            <p:cNvSpPr>
              <a:spLocks/>
            </p:cNvSpPr>
            <p:nvPr/>
          </p:nvSpPr>
          <p:spPr bwMode="auto">
            <a:xfrm>
              <a:off x="2396430" y="2841704"/>
              <a:ext cx="1988881" cy="578382"/>
            </a:xfrm>
            <a:custGeom>
              <a:avLst/>
              <a:gdLst>
                <a:gd name="T0" fmla="*/ 0 w 1513"/>
                <a:gd name="T1" fmla="*/ 0 h 426"/>
                <a:gd name="T2" fmla="*/ 428 w 1513"/>
                <a:gd name="T3" fmla="*/ 426 h 426"/>
                <a:gd name="T4" fmla="*/ 1513 w 1513"/>
                <a:gd name="T5" fmla="*/ 426 h 426"/>
                <a:gd name="T6" fmla="*/ 1084 w 1513"/>
                <a:gd name="T7" fmla="*/ 0 h 426"/>
                <a:gd name="T8" fmla="*/ 0 w 1513"/>
                <a:gd name="T9" fmla="*/ 0 h 426"/>
              </a:gdLst>
              <a:ahLst/>
              <a:cxnLst>
                <a:cxn ang="0">
                  <a:pos x="T0" y="T1"/>
                </a:cxn>
                <a:cxn ang="0">
                  <a:pos x="T2" y="T3"/>
                </a:cxn>
                <a:cxn ang="0">
                  <a:pos x="T4" y="T5"/>
                </a:cxn>
                <a:cxn ang="0">
                  <a:pos x="T6" y="T7"/>
                </a:cxn>
                <a:cxn ang="0">
                  <a:pos x="T8" y="T9"/>
                </a:cxn>
              </a:cxnLst>
              <a:rect l="0" t="0" r="r" b="b"/>
              <a:pathLst>
                <a:path w="1513" h="426">
                  <a:moveTo>
                    <a:pt x="0" y="0"/>
                  </a:moveTo>
                  <a:lnTo>
                    <a:pt x="428" y="426"/>
                  </a:lnTo>
                  <a:lnTo>
                    <a:pt x="1513" y="426"/>
                  </a:lnTo>
                  <a:lnTo>
                    <a:pt x="1084" y="0"/>
                  </a:lnTo>
                  <a:lnTo>
                    <a:pt x="0" y="0"/>
                  </a:lnTo>
                  <a:close/>
                </a:path>
              </a:pathLst>
            </a:custGeom>
            <a:solidFill>
              <a:srgbClr val="505050">
                <a:lumMod val="40000"/>
                <a:lumOff val="60000"/>
              </a:srgbClr>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sp>
          <p:nvSpPr>
            <p:cNvPr id="2395" name="Rectangle 97"/>
            <p:cNvSpPr>
              <a:spLocks noChangeArrowheads="1"/>
            </p:cNvSpPr>
            <p:nvPr/>
          </p:nvSpPr>
          <p:spPr bwMode="auto">
            <a:xfrm>
              <a:off x="2396430" y="2841704"/>
              <a:ext cx="1423098" cy="600208"/>
            </a:xfrm>
            <a:prstGeom prst="rect">
              <a:avLst/>
            </a:prstGeom>
            <a:solidFill>
              <a:srgbClr val="505050">
                <a:lumMod val="60000"/>
                <a:lumOff val="40000"/>
              </a:srgbClr>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sp>
          <p:nvSpPr>
            <p:cNvPr id="2396" name="Freeform 98"/>
            <p:cNvSpPr>
              <a:spLocks/>
            </p:cNvSpPr>
            <p:nvPr/>
          </p:nvSpPr>
          <p:spPr bwMode="auto">
            <a:xfrm>
              <a:off x="2396430" y="2841704"/>
              <a:ext cx="559740" cy="2149844"/>
            </a:xfrm>
            <a:custGeom>
              <a:avLst/>
              <a:gdLst>
                <a:gd name="T0" fmla="*/ 419 w 419"/>
                <a:gd name="T1" fmla="*/ 1578 h 1578"/>
                <a:gd name="T2" fmla="*/ 0 w 419"/>
                <a:gd name="T3" fmla="*/ 1155 h 1578"/>
                <a:gd name="T4" fmla="*/ 0 w 419"/>
                <a:gd name="T5" fmla="*/ 0 h 1578"/>
                <a:gd name="T6" fmla="*/ 419 w 419"/>
                <a:gd name="T7" fmla="*/ 423 h 1578"/>
                <a:gd name="T8" fmla="*/ 419 w 419"/>
                <a:gd name="T9" fmla="*/ 1578 h 1578"/>
              </a:gdLst>
              <a:ahLst/>
              <a:cxnLst>
                <a:cxn ang="0">
                  <a:pos x="T0" y="T1"/>
                </a:cxn>
                <a:cxn ang="0">
                  <a:pos x="T2" y="T3"/>
                </a:cxn>
                <a:cxn ang="0">
                  <a:pos x="T4" y="T5"/>
                </a:cxn>
                <a:cxn ang="0">
                  <a:pos x="T6" y="T7"/>
                </a:cxn>
                <a:cxn ang="0">
                  <a:pos x="T8" y="T9"/>
                </a:cxn>
              </a:cxnLst>
              <a:rect l="0" t="0" r="r" b="b"/>
              <a:pathLst>
                <a:path w="419" h="1578">
                  <a:moveTo>
                    <a:pt x="419" y="1578"/>
                  </a:moveTo>
                  <a:lnTo>
                    <a:pt x="0" y="1155"/>
                  </a:lnTo>
                  <a:lnTo>
                    <a:pt x="0" y="0"/>
                  </a:lnTo>
                  <a:lnTo>
                    <a:pt x="419" y="423"/>
                  </a:lnTo>
                  <a:lnTo>
                    <a:pt x="419" y="1578"/>
                  </a:lnTo>
                  <a:close/>
                </a:path>
              </a:pathLst>
            </a:custGeom>
            <a:solidFill>
              <a:srgbClr val="505050">
                <a:lumMod val="20000"/>
                <a:lumOff val="80000"/>
              </a:srgbClr>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97" name="Freeform 99"/>
            <p:cNvSpPr>
              <a:spLocks/>
            </p:cNvSpPr>
            <p:nvPr/>
          </p:nvSpPr>
          <p:spPr bwMode="auto">
            <a:xfrm>
              <a:off x="1860907" y="2838684"/>
              <a:ext cx="1101299" cy="841920"/>
            </a:xfrm>
            <a:custGeom>
              <a:avLst/>
              <a:gdLst>
                <a:gd name="T0" fmla="*/ 0 w 850"/>
                <a:gd name="T1" fmla="*/ 272 h 702"/>
                <a:gd name="T2" fmla="*/ 412 w 850"/>
                <a:gd name="T3" fmla="*/ 0 h 702"/>
                <a:gd name="T4" fmla="*/ 850 w 850"/>
                <a:gd name="T5" fmla="*/ 430 h 702"/>
                <a:gd name="T6" fmla="*/ 438 w 850"/>
                <a:gd name="T7" fmla="*/ 702 h 702"/>
                <a:gd name="T8" fmla="*/ 0 w 850"/>
                <a:gd name="T9" fmla="*/ 272 h 702"/>
                <a:gd name="connsiteX0" fmla="*/ 0 w 10027"/>
                <a:gd name="connsiteY0" fmla="*/ 3875 h 10000"/>
                <a:gd name="connsiteX1" fmla="*/ 4847 w 10027"/>
                <a:gd name="connsiteY1" fmla="*/ 0 h 10000"/>
                <a:gd name="connsiteX2" fmla="*/ 10027 w 10027"/>
                <a:gd name="connsiteY2" fmla="*/ 6916 h 10000"/>
                <a:gd name="connsiteX3" fmla="*/ 5153 w 10027"/>
                <a:gd name="connsiteY3" fmla="*/ 10000 h 10000"/>
                <a:gd name="connsiteX4" fmla="*/ 0 w 10027"/>
                <a:gd name="connsiteY4" fmla="*/ 3875 h 10000"/>
                <a:gd name="connsiteX0" fmla="*/ 0 w 9734"/>
                <a:gd name="connsiteY0" fmla="*/ 3623 h 10000"/>
                <a:gd name="connsiteX1" fmla="*/ 4554 w 9734"/>
                <a:gd name="connsiteY1" fmla="*/ 0 h 10000"/>
                <a:gd name="connsiteX2" fmla="*/ 9734 w 9734"/>
                <a:gd name="connsiteY2" fmla="*/ 6916 h 10000"/>
                <a:gd name="connsiteX3" fmla="*/ 4860 w 9734"/>
                <a:gd name="connsiteY3" fmla="*/ 10000 h 10000"/>
                <a:gd name="connsiteX4" fmla="*/ 0 w 9734"/>
                <a:gd name="connsiteY4" fmla="*/ 3623 h 10000"/>
                <a:gd name="connsiteX0" fmla="*/ 0 w 10000"/>
                <a:gd name="connsiteY0" fmla="*/ 3623 h 10000"/>
                <a:gd name="connsiteX1" fmla="*/ 4897 w 10000"/>
                <a:gd name="connsiteY1" fmla="*/ 0 h 10000"/>
                <a:gd name="connsiteX2" fmla="*/ 10000 w 10000"/>
                <a:gd name="connsiteY2" fmla="*/ 6916 h 10000"/>
                <a:gd name="connsiteX3" fmla="*/ 4993 w 10000"/>
                <a:gd name="connsiteY3" fmla="*/ 10000 h 10000"/>
                <a:gd name="connsiteX4" fmla="*/ 0 w 10000"/>
                <a:gd name="connsiteY4" fmla="*/ 3623 h 10000"/>
                <a:gd name="connsiteX0" fmla="*/ 0 w 10000"/>
                <a:gd name="connsiteY0" fmla="*/ 3659 h 10036"/>
                <a:gd name="connsiteX1" fmla="*/ 4952 w 10000"/>
                <a:gd name="connsiteY1" fmla="*/ 0 h 10036"/>
                <a:gd name="connsiteX2" fmla="*/ 10000 w 10000"/>
                <a:gd name="connsiteY2" fmla="*/ 6952 h 10036"/>
                <a:gd name="connsiteX3" fmla="*/ 4993 w 10000"/>
                <a:gd name="connsiteY3" fmla="*/ 10036 h 10036"/>
                <a:gd name="connsiteX4" fmla="*/ 0 w 10000"/>
                <a:gd name="connsiteY4" fmla="*/ 3659 h 10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6">
                  <a:moveTo>
                    <a:pt x="0" y="3659"/>
                  </a:moveTo>
                  <a:lnTo>
                    <a:pt x="4952" y="0"/>
                  </a:lnTo>
                  <a:lnTo>
                    <a:pt x="10000" y="6952"/>
                  </a:lnTo>
                  <a:lnTo>
                    <a:pt x="4993" y="10036"/>
                  </a:lnTo>
                  <a:lnTo>
                    <a:pt x="0" y="3659"/>
                  </a:lnTo>
                  <a:close/>
                </a:path>
              </a:pathLst>
            </a:cu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sp>
          <p:nvSpPr>
            <p:cNvPr id="2398" name="Freeform 100"/>
            <p:cNvSpPr>
              <a:spLocks/>
            </p:cNvSpPr>
            <p:nvPr/>
          </p:nvSpPr>
          <p:spPr bwMode="auto">
            <a:xfrm>
              <a:off x="3825564" y="2841704"/>
              <a:ext cx="976574" cy="742079"/>
            </a:xfrm>
            <a:custGeom>
              <a:avLst/>
              <a:gdLst>
                <a:gd name="T0" fmla="*/ 0 w 732"/>
                <a:gd name="T1" fmla="*/ 0 h 544"/>
                <a:gd name="T2" fmla="*/ 435 w 732"/>
                <a:gd name="T3" fmla="*/ 430 h 544"/>
                <a:gd name="T4" fmla="*/ 732 w 732"/>
                <a:gd name="T5" fmla="*/ 544 h 544"/>
                <a:gd name="T6" fmla="*/ 339 w 732"/>
                <a:gd name="T7" fmla="*/ 173 h 544"/>
                <a:gd name="T8" fmla="*/ 0 w 732"/>
                <a:gd name="T9" fmla="*/ 0 h 544"/>
              </a:gdLst>
              <a:ahLst/>
              <a:cxnLst>
                <a:cxn ang="0">
                  <a:pos x="T0" y="T1"/>
                </a:cxn>
                <a:cxn ang="0">
                  <a:pos x="T2" y="T3"/>
                </a:cxn>
                <a:cxn ang="0">
                  <a:pos x="T4" y="T5"/>
                </a:cxn>
                <a:cxn ang="0">
                  <a:pos x="T6" y="T7"/>
                </a:cxn>
                <a:cxn ang="0">
                  <a:pos x="T8" y="T9"/>
                </a:cxn>
              </a:cxnLst>
              <a:rect l="0" t="0" r="r" b="b"/>
              <a:pathLst>
                <a:path w="732" h="544">
                  <a:moveTo>
                    <a:pt x="0" y="0"/>
                  </a:moveTo>
                  <a:lnTo>
                    <a:pt x="435" y="430"/>
                  </a:lnTo>
                  <a:lnTo>
                    <a:pt x="732" y="544"/>
                  </a:lnTo>
                  <a:lnTo>
                    <a:pt x="339" y="173"/>
                  </a:lnTo>
                  <a:lnTo>
                    <a:pt x="0" y="0"/>
                  </a:lnTo>
                  <a:close/>
                </a:path>
              </a:pathLst>
            </a:cu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sp>
          <p:nvSpPr>
            <p:cNvPr id="2399" name="Rectangle 101"/>
            <p:cNvSpPr>
              <a:spLocks noChangeArrowheads="1"/>
            </p:cNvSpPr>
            <p:nvPr/>
          </p:nvSpPr>
          <p:spPr bwMode="auto">
            <a:xfrm>
              <a:off x="2956178" y="3420086"/>
              <a:ext cx="1429133" cy="1571462"/>
            </a:xfrm>
            <a:prstGeom prst="rect">
              <a:avLst/>
            </a:prstGeom>
            <a:solidFill>
              <a:srgbClr val="505050">
                <a:lumMod val="40000"/>
                <a:lumOff val="60000"/>
              </a:srgbClr>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sp>
          <p:nvSpPr>
            <p:cNvPr id="2400" name="Freeform 102"/>
            <p:cNvSpPr>
              <a:spLocks/>
            </p:cNvSpPr>
            <p:nvPr/>
          </p:nvSpPr>
          <p:spPr bwMode="auto">
            <a:xfrm>
              <a:off x="2956170" y="3420086"/>
              <a:ext cx="1705779" cy="627488"/>
            </a:xfrm>
            <a:custGeom>
              <a:avLst/>
              <a:gdLst>
                <a:gd name="T0" fmla="*/ 198 w 1290"/>
                <a:gd name="T1" fmla="*/ 406 h 406"/>
                <a:gd name="T2" fmla="*/ 0 w 1290"/>
                <a:gd name="T3" fmla="*/ 2 h 406"/>
                <a:gd name="T4" fmla="*/ 1084 w 1290"/>
                <a:gd name="T5" fmla="*/ 0 h 406"/>
                <a:gd name="T6" fmla="*/ 1290 w 1290"/>
                <a:gd name="T7" fmla="*/ 382 h 406"/>
                <a:gd name="T8" fmla="*/ 198 w 1290"/>
                <a:gd name="T9" fmla="*/ 406 h 406"/>
              </a:gdLst>
              <a:ahLst/>
              <a:cxnLst>
                <a:cxn ang="0">
                  <a:pos x="T0" y="T1"/>
                </a:cxn>
                <a:cxn ang="0">
                  <a:pos x="T2" y="T3"/>
                </a:cxn>
                <a:cxn ang="0">
                  <a:pos x="T4" y="T5"/>
                </a:cxn>
                <a:cxn ang="0">
                  <a:pos x="T6" y="T7"/>
                </a:cxn>
                <a:cxn ang="0">
                  <a:pos x="T8" y="T9"/>
                </a:cxn>
              </a:cxnLst>
              <a:rect l="0" t="0" r="r" b="b"/>
              <a:pathLst>
                <a:path w="1290" h="406">
                  <a:moveTo>
                    <a:pt x="198" y="406"/>
                  </a:moveTo>
                  <a:lnTo>
                    <a:pt x="0" y="2"/>
                  </a:lnTo>
                  <a:lnTo>
                    <a:pt x="1084" y="0"/>
                  </a:lnTo>
                  <a:lnTo>
                    <a:pt x="1290" y="382"/>
                  </a:lnTo>
                  <a:lnTo>
                    <a:pt x="198" y="406"/>
                  </a:lnTo>
                  <a:close/>
                </a:path>
              </a:pathLst>
            </a:cu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grpSp>
      <p:cxnSp>
        <p:nvCxnSpPr>
          <p:cNvPr id="2434" name="Elbow Connector 2433"/>
          <p:cNvCxnSpPr>
            <a:stCxn id="1428" idx="6"/>
            <a:endCxn id="35" idx="2"/>
          </p:cNvCxnSpPr>
          <p:nvPr/>
        </p:nvCxnSpPr>
        <p:spPr>
          <a:xfrm flipV="1">
            <a:off x="5018360" y="2723922"/>
            <a:ext cx="518466" cy="376171"/>
          </a:xfrm>
          <a:prstGeom prst="bentConnector2">
            <a:avLst/>
          </a:prstGeom>
          <a:noFill/>
          <a:ln w="12700" cap="flat" cmpd="sng" algn="ctr">
            <a:solidFill>
              <a:srgbClr val="0072C6"/>
            </a:solidFill>
            <a:prstDash val="sysDot"/>
          </a:ln>
          <a:effectLst/>
        </p:spPr>
      </p:cxnSp>
      <p:grpSp>
        <p:nvGrpSpPr>
          <p:cNvPr id="2839" name="Group 2838"/>
          <p:cNvGrpSpPr/>
          <p:nvPr/>
        </p:nvGrpSpPr>
        <p:grpSpPr>
          <a:xfrm>
            <a:off x="5380488" y="2958973"/>
            <a:ext cx="275920" cy="277251"/>
            <a:chOff x="12420742" y="1024735"/>
            <a:chExt cx="174810" cy="175653"/>
          </a:xfrm>
        </p:grpSpPr>
        <p:sp>
          <p:nvSpPr>
            <p:cNvPr id="1841" name="Oval 1840"/>
            <p:cNvSpPr/>
            <p:nvPr/>
          </p:nvSpPr>
          <p:spPr bwMode="auto">
            <a:xfrm>
              <a:off x="12420742" y="1024735"/>
              <a:ext cx="174810" cy="175653"/>
            </a:xfrm>
            <a:prstGeom prst="ellipse">
              <a:avLst/>
            </a:prstGeom>
            <a:solidFill>
              <a:srgbClr val="FFFFFF"/>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842" name="Group 1841"/>
            <p:cNvGrpSpPr/>
            <p:nvPr/>
          </p:nvGrpSpPr>
          <p:grpSpPr>
            <a:xfrm rot="5400000">
              <a:off x="12460938" y="1052333"/>
              <a:ext cx="94417" cy="120458"/>
              <a:chOff x="5649173" y="3685024"/>
              <a:chExt cx="433770" cy="556077"/>
            </a:xfrm>
            <a:solidFill>
              <a:srgbClr val="FF8C00"/>
            </a:solidFill>
          </p:grpSpPr>
          <p:sp>
            <p:nvSpPr>
              <p:cNvPr id="1844" name="Up Arrow 1843"/>
              <p:cNvSpPr/>
              <p:nvPr/>
            </p:nvSpPr>
            <p:spPr bwMode="auto">
              <a:xfrm>
                <a:off x="5649173" y="3685024"/>
                <a:ext cx="258521" cy="366596"/>
              </a:xfrm>
              <a:prstGeom prst="upArrow">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845" name="Up Arrow 1844"/>
              <p:cNvSpPr/>
              <p:nvPr/>
            </p:nvSpPr>
            <p:spPr bwMode="auto">
              <a:xfrm rot="10800000">
                <a:off x="5824422" y="3874505"/>
                <a:ext cx="258521" cy="366596"/>
              </a:xfrm>
              <a:prstGeom prst="upArrow">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 name="Group 8"/>
          <p:cNvGrpSpPr/>
          <p:nvPr/>
        </p:nvGrpSpPr>
        <p:grpSpPr>
          <a:xfrm>
            <a:off x="6997655" y="2631118"/>
            <a:ext cx="1109638" cy="1126591"/>
            <a:chOff x="6804627" y="3213283"/>
            <a:chExt cx="1132211" cy="1149507"/>
          </a:xfrm>
        </p:grpSpPr>
        <p:sp>
          <p:nvSpPr>
            <p:cNvPr id="1662" name="Cube 1661"/>
            <p:cNvSpPr/>
            <p:nvPr/>
          </p:nvSpPr>
          <p:spPr bwMode="auto">
            <a:xfrm flipH="1">
              <a:off x="7749271" y="3825604"/>
              <a:ext cx="108824" cy="537186"/>
            </a:xfrm>
            <a:prstGeom prst="cube">
              <a:avLst>
                <a:gd name="adj" fmla="val 46458"/>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63" name="Group 1662"/>
            <p:cNvGrpSpPr/>
            <p:nvPr/>
          </p:nvGrpSpPr>
          <p:grpSpPr>
            <a:xfrm>
              <a:off x="6906040" y="4014755"/>
              <a:ext cx="201349" cy="346178"/>
              <a:chOff x="11642746" y="2875111"/>
              <a:chExt cx="158580" cy="272645"/>
            </a:xfrm>
          </p:grpSpPr>
          <p:sp>
            <p:nvSpPr>
              <p:cNvPr id="1686" name="Cube 1685"/>
              <p:cNvSpPr/>
              <p:nvPr/>
            </p:nvSpPr>
            <p:spPr bwMode="auto">
              <a:xfrm flipH="1">
                <a:off x="11642746" y="2875111"/>
                <a:ext cx="158580" cy="272645"/>
              </a:xfrm>
              <a:prstGeom prst="cube">
                <a:avLst>
                  <a:gd name="adj" fmla="val 46458"/>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687" name="Rounded Rectangle 1686"/>
              <p:cNvSpPr/>
              <p:nvPr/>
            </p:nvSpPr>
            <p:spPr bwMode="auto">
              <a:xfrm>
                <a:off x="11709129" y="2971563"/>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88" name="Rounded Rectangle 1687"/>
              <p:cNvSpPr/>
              <p:nvPr/>
            </p:nvSpPr>
            <p:spPr bwMode="auto">
              <a:xfrm>
                <a:off x="11709129" y="2996030"/>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89" name="Rounded Rectangle 1688"/>
              <p:cNvSpPr/>
              <p:nvPr/>
            </p:nvSpPr>
            <p:spPr bwMode="auto">
              <a:xfrm>
                <a:off x="11709129" y="3020497"/>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90" name="Rounded Rectangle 1689"/>
              <p:cNvSpPr/>
              <p:nvPr/>
            </p:nvSpPr>
            <p:spPr bwMode="auto">
              <a:xfrm>
                <a:off x="11709129" y="3044963"/>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91" name="Rounded Rectangle 1690"/>
              <p:cNvSpPr/>
              <p:nvPr/>
            </p:nvSpPr>
            <p:spPr bwMode="auto">
              <a:xfrm>
                <a:off x="11709129" y="3069430"/>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92" name="Rounded Rectangle 1691"/>
              <p:cNvSpPr/>
              <p:nvPr/>
            </p:nvSpPr>
            <p:spPr bwMode="auto">
              <a:xfrm>
                <a:off x="11709129" y="3093897"/>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664" name="Cube 1663"/>
            <p:cNvSpPr/>
            <p:nvPr/>
          </p:nvSpPr>
          <p:spPr bwMode="auto">
            <a:xfrm flipH="1">
              <a:off x="6900174" y="3825604"/>
              <a:ext cx="108824" cy="537186"/>
            </a:xfrm>
            <a:prstGeom prst="cube">
              <a:avLst>
                <a:gd name="adj" fmla="val 46458"/>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665" name="Cube 1664"/>
            <p:cNvSpPr/>
            <p:nvPr/>
          </p:nvSpPr>
          <p:spPr bwMode="auto">
            <a:xfrm flipH="1">
              <a:off x="6804868" y="3771403"/>
              <a:ext cx="1122547" cy="149509"/>
            </a:xfrm>
            <a:prstGeom prst="cube">
              <a:avLst>
                <a:gd name="adj" fmla="val 46458"/>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666" name="Cube 1665"/>
            <p:cNvSpPr/>
            <p:nvPr/>
          </p:nvSpPr>
          <p:spPr bwMode="auto">
            <a:xfrm flipH="1">
              <a:off x="7513844" y="3723622"/>
              <a:ext cx="355374" cy="111662"/>
            </a:xfrm>
            <a:prstGeom prst="cube">
              <a:avLst>
                <a:gd name="adj" fmla="val 46458"/>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667" name="Oval 1666"/>
            <p:cNvSpPr/>
            <p:nvPr/>
          </p:nvSpPr>
          <p:spPr bwMode="auto">
            <a:xfrm>
              <a:off x="7583582" y="3792556"/>
              <a:ext cx="25286" cy="25286"/>
            </a:xfrm>
            <a:prstGeom prst="ellipse">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68" name="Oval 1667"/>
            <p:cNvSpPr/>
            <p:nvPr/>
          </p:nvSpPr>
          <p:spPr bwMode="auto">
            <a:xfrm>
              <a:off x="7618501" y="3792556"/>
              <a:ext cx="25286" cy="25286"/>
            </a:xfrm>
            <a:prstGeom prst="ellipse">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69" name="Oval 1668"/>
            <p:cNvSpPr/>
            <p:nvPr/>
          </p:nvSpPr>
          <p:spPr bwMode="auto">
            <a:xfrm>
              <a:off x="7655225" y="3792556"/>
              <a:ext cx="25286" cy="25286"/>
            </a:xfrm>
            <a:prstGeom prst="ellipse">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0" name="Rounded Rectangle 1669"/>
            <p:cNvSpPr/>
            <p:nvPr/>
          </p:nvSpPr>
          <p:spPr bwMode="auto">
            <a:xfrm>
              <a:off x="7732289" y="3794062"/>
              <a:ext cx="122818" cy="22276"/>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1" name="Rounded Rectangle 1670"/>
            <p:cNvSpPr/>
            <p:nvPr/>
          </p:nvSpPr>
          <p:spPr bwMode="auto">
            <a:xfrm>
              <a:off x="7545610" y="3652581"/>
              <a:ext cx="9720" cy="8622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2" name="Rounded Rectangle 1671"/>
            <p:cNvSpPr/>
            <p:nvPr/>
          </p:nvSpPr>
          <p:spPr bwMode="auto">
            <a:xfrm>
              <a:off x="7571498" y="3675326"/>
              <a:ext cx="9720" cy="8622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3" name="Rounded Rectangle 1672"/>
            <p:cNvSpPr/>
            <p:nvPr/>
          </p:nvSpPr>
          <p:spPr bwMode="auto">
            <a:xfrm>
              <a:off x="7791087" y="3652581"/>
              <a:ext cx="8837" cy="8622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4" name="Rounded Rectangle 1673"/>
            <p:cNvSpPr/>
            <p:nvPr/>
          </p:nvSpPr>
          <p:spPr bwMode="auto">
            <a:xfrm>
              <a:off x="7820143" y="3675326"/>
              <a:ext cx="9720" cy="8622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5" name="Cube 1674"/>
            <p:cNvSpPr/>
            <p:nvPr/>
          </p:nvSpPr>
          <p:spPr bwMode="auto">
            <a:xfrm flipH="1">
              <a:off x="7614050" y="3711580"/>
              <a:ext cx="150146" cy="51778"/>
            </a:xfrm>
            <a:prstGeom prst="cube">
              <a:avLst>
                <a:gd name="adj" fmla="val 46458"/>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76" name="Group 1675"/>
            <p:cNvGrpSpPr/>
            <p:nvPr/>
          </p:nvGrpSpPr>
          <p:grpSpPr>
            <a:xfrm rot="19273839">
              <a:off x="7821642" y="3511380"/>
              <a:ext cx="115196" cy="170411"/>
              <a:chOff x="2687372" y="3149601"/>
              <a:chExt cx="81465" cy="132564"/>
            </a:xfrm>
            <a:solidFill>
              <a:srgbClr val="0072C6"/>
            </a:solidFill>
          </p:grpSpPr>
          <p:sp>
            <p:nvSpPr>
              <p:cNvPr id="168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8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8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8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8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8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sp>
          <p:nvSpPr>
            <p:cNvPr id="2461" name="Rectangle 5"/>
            <p:cNvSpPr>
              <a:spLocks noChangeArrowheads="1"/>
            </p:cNvSpPr>
            <p:nvPr/>
          </p:nvSpPr>
          <p:spPr bwMode="auto">
            <a:xfrm>
              <a:off x="7182633" y="3677299"/>
              <a:ext cx="33418" cy="127098"/>
            </a:xfrm>
            <a:prstGeom prst="rect">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62" name="Rectangle 6"/>
            <p:cNvSpPr>
              <a:spLocks noChangeArrowheads="1"/>
            </p:cNvSpPr>
            <p:nvPr/>
          </p:nvSpPr>
          <p:spPr bwMode="auto">
            <a:xfrm>
              <a:off x="7002395" y="3797823"/>
              <a:ext cx="391154" cy="12600"/>
            </a:xfrm>
            <a:prstGeom prst="rect">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63" name="Freeform 7"/>
            <p:cNvSpPr>
              <a:spLocks/>
            </p:cNvSpPr>
            <p:nvPr/>
          </p:nvSpPr>
          <p:spPr bwMode="auto">
            <a:xfrm>
              <a:off x="6804627" y="3213283"/>
              <a:ext cx="788882" cy="470590"/>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00B050"/>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64" name="Rectangle 15"/>
            <p:cNvSpPr>
              <a:spLocks noChangeArrowheads="1"/>
            </p:cNvSpPr>
            <p:nvPr/>
          </p:nvSpPr>
          <p:spPr bwMode="auto">
            <a:xfrm>
              <a:off x="6826540" y="3234101"/>
              <a:ext cx="742864" cy="4097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65" name="Rectangle 16"/>
            <p:cNvSpPr>
              <a:spLocks noChangeArrowheads="1"/>
            </p:cNvSpPr>
            <p:nvPr/>
          </p:nvSpPr>
          <p:spPr bwMode="auto">
            <a:xfrm>
              <a:off x="6826540" y="3234101"/>
              <a:ext cx="26844" cy="19174"/>
            </a:xfrm>
            <a:prstGeom prst="rect">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83" name="Rectangle 29"/>
            <p:cNvSpPr>
              <a:spLocks noChangeArrowheads="1"/>
            </p:cNvSpPr>
            <p:nvPr/>
          </p:nvSpPr>
          <p:spPr bwMode="auto">
            <a:xfrm>
              <a:off x="6844071" y="3263684"/>
              <a:ext cx="36705" cy="10409"/>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3" name="Rectangle 30"/>
            <p:cNvSpPr>
              <a:spLocks noChangeArrowheads="1"/>
            </p:cNvSpPr>
            <p:nvPr/>
          </p:nvSpPr>
          <p:spPr bwMode="auto">
            <a:xfrm>
              <a:off x="6896115" y="3263684"/>
              <a:ext cx="36705" cy="10409"/>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4" name="Rectangle 31"/>
            <p:cNvSpPr>
              <a:spLocks noChangeArrowheads="1"/>
            </p:cNvSpPr>
            <p:nvPr/>
          </p:nvSpPr>
          <p:spPr bwMode="auto">
            <a:xfrm>
              <a:off x="6948707" y="3263684"/>
              <a:ext cx="36705" cy="10409"/>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6" name="Rectangle 32"/>
            <p:cNvSpPr>
              <a:spLocks noChangeArrowheads="1"/>
            </p:cNvSpPr>
            <p:nvPr/>
          </p:nvSpPr>
          <p:spPr bwMode="auto">
            <a:xfrm>
              <a:off x="7000752" y="3263684"/>
              <a:ext cx="36705" cy="10409"/>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7" name="Rectangle 33"/>
            <p:cNvSpPr>
              <a:spLocks noChangeArrowheads="1"/>
            </p:cNvSpPr>
            <p:nvPr/>
          </p:nvSpPr>
          <p:spPr bwMode="auto">
            <a:xfrm>
              <a:off x="7357392" y="3263684"/>
              <a:ext cx="193386" cy="1040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8" name="Oval 34"/>
            <p:cNvSpPr>
              <a:spLocks noChangeArrowheads="1"/>
            </p:cNvSpPr>
            <p:nvPr/>
          </p:nvSpPr>
          <p:spPr bwMode="auto">
            <a:xfrm>
              <a:off x="7338218" y="3263684"/>
              <a:ext cx="9861" cy="10409"/>
            </a:xfrm>
            <a:prstGeom prst="ellipse">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9" name="Rectangle 35"/>
            <p:cNvSpPr>
              <a:spLocks noChangeArrowheads="1"/>
            </p:cNvSpPr>
            <p:nvPr/>
          </p:nvSpPr>
          <p:spPr bwMode="auto">
            <a:xfrm>
              <a:off x="7012256" y="3612231"/>
              <a:ext cx="69027" cy="10409"/>
            </a:xfrm>
            <a:prstGeom prst="rect">
              <a:avLst/>
            </a:pr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0" name="Rectangle 36"/>
            <p:cNvSpPr>
              <a:spLocks noChangeArrowheads="1"/>
            </p:cNvSpPr>
            <p:nvPr/>
          </p:nvSpPr>
          <p:spPr bwMode="auto">
            <a:xfrm>
              <a:off x="7111414" y="3612231"/>
              <a:ext cx="69027" cy="10409"/>
            </a:xfrm>
            <a:prstGeom prst="rect">
              <a:avLst/>
            </a:pr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1" name="Rectangle 37"/>
            <p:cNvSpPr>
              <a:spLocks noChangeArrowheads="1"/>
            </p:cNvSpPr>
            <p:nvPr/>
          </p:nvSpPr>
          <p:spPr bwMode="auto">
            <a:xfrm>
              <a:off x="7210025" y="3612231"/>
              <a:ext cx="69027" cy="10409"/>
            </a:xfrm>
            <a:prstGeom prst="rect">
              <a:avLst/>
            </a:pr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2" name="Rectangle 38"/>
            <p:cNvSpPr>
              <a:spLocks noChangeArrowheads="1"/>
            </p:cNvSpPr>
            <p:nvPr/>
          </p:nvSpPr>
          <p:spPr bwMode="auto">
            <a:xfrm>
              <a:off x="7309183" y="3612231"/>
              <a:ext cx="69027" cy="10409"/>
            </a:xfrm>
            <a:prstGeom prst="rect">
              <a:avLst/>
            </a:pr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3" name="Rectangle 43"/>
            <p:cNvSpPr>
              <a:spLocks noChangeArrowheads="1"/>
            </p:cNvSpPr>
            <p:nvPr/>
          </p:nvSpPr>
          <p:spPr bwMode="auto">
            <a:xfrm>
              <a:off x="7357392" y="3263684"/>
              <a:ext cx="193386" cy="1040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4" name="Rectangle 44"/>
            <p:cNvSpPr>
              <a:spLocks noChangeArrowheads="1"/>
            </p:cNvSpPr>
            <p:nvPr/>
          </p:nvSpPr>
          <p:spPr bwMode="auto">
            <a:xfrm>
              <a:off x="7357392" y="3263684"/>
              <a:ext cx="193386" cy="10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5" name="Oval 45"/>
            <p:cNvSpPr>
              <a:spLocks noChangeArrowheads="1"/>
            </p:cNvSpPr>
            <p:nvPr/>
          </p:nvSpPr>
          <p:spPr bwMode="auto">
            <a:xfrm>
              <a:off x="7338218" y="3263684"/>
              <a:ext cx="9861" cy="10409"/>
            </a:xfrm>
            <a:prstGeom prst="ellipse">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6" name="Freeform 46"/>
            <p:cNvSpPr>
              <a:spLocks/>
            </p:cNvSpPr>
            <p:nvPr/>
          </p:nvSpPr>
          <p:spPr bwMode="auto">
            <a:xfrm>
              <a:off x="7139902" y="3213283"/>
              <a:ext cx="453607" cy="470590"/>
            </a:xfrm>
            <a:custGeom>
              <a:avLst/>
              <a:gdLst>
                <a:gd name="T0" fmla="*/ 795 w 842"/>
                <a:gd name="T1" fmla="*/ 0 h 873"/>
                <a:gd name="T2" fmla="*/ 0 w 842"/>
                <a:gd name="T3" fmla="*/ 0 h 873"/>
                <a:gd name="T4" fmla="*/ 27 w 842"/>
                <a:gd name="T5" fmla="*/ 39 h 873"/>
                <a:gd name="T6" fmla="*/ 797 w 842"/>
                <a:gd name="T7" fmla="*/ 39 h 873"/>
                <a:gd name="T8" fmla="*/ 797 w 842"/>
                <a:gd name="T9" fmla="*/ 126 h 873"/>
                <a:gd name="T10" fmla="*/ 797 w 842"/>
                <a:gd name="T11" fmla="*/ 482 h 873"/>
                <a:gd name="T12" fmla="*/ 797 w 842"/>
                <a:gd name="T13" fmla="*/ 799 h 873"/>
                <a:gd name="T14" fmla="*/ 553 w 842"/>
                <a:gd name="T15" fmla="*/ 799 h 873"/>
                <a:gd name="T16" fmla="*/ 604 w 842"/>
                <a:gd name="T17" fmla="*/ 873 h 873"/>
                <a:gd name="T18" fmla="*/ 795 w 842"/>
                <a:gd name="T19" fmla="*/ 873 h 873"/>
                <a:gd name="T20" fmla="*/ 842 w 842"/>
                <a:gd name="T21" fmla="*/ 825 h 873"/>
                <a:gd name="T22" fmla="*/ 842 w 842"/>
                <a:gd name="T23" fmla="*/ 48 h 873"/>
                <a:gd name="T24" fmla="*/ 795 w 842"/>
                <a:gd name="T25"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2" h="873">
                  <a:moveTo>
                    <a:pt x="795" y="0"/>
                  </a:moveTo>
                  <a:cubicBezTo>
                    <a:pt x="0" y="0"/>
                    <a:pt x="0" y="0"/>
                    <a:pt x="0" y="0"/>
                  </a:cubicBezTo>
                  <a:cubicBezTo>
                    <a:pt x="27" y="39"/>
                    <a:pt x="27" y="39"/>
                    <a:pt x="27" y="39"/>
                  </a:cubicBezTo>
                  <a:cubicBezTo>
                    <a:pt x="797" y="39"/>
                    <a:pt x="797" y="39"/>
                    <a:pt x="797" y="39"/>
                  </a:cubicBezTo>
                  <a:cubicBezTo>
                    <a:pt x="797" y="126"/>
                    <a:pt x="797" y="126"/>
                    <a:pt x="797" y="126"/>
                  </a:cubicBezTo>
                  <a:cubicBezTo>
                    <a:pt x="797" y="482"/>
                    <a:pt x="797" y="482"/>
                    <a:pt x="797" y="482"/>
                  </a:cubicBezTo>
                  <a:cubicBezTo>
                    <a:pt x="797" y="799"/>
                    <a:pt x="797" y="799"/>
                    <a:pt x="797" y="799"/>
                  </a:cubicBezTo>
                  <a:cubicBezTo>
                    <a:pt x="553" y="799"/>
                    <a:pt x="553" y="799"/>
                    <a:pt x="553" y="799"/>
                  </a:cubicBezTo>
                  <a:cubicBezTo>
                    <a:pt x="604" y="873"/>
                    <a:pt x="604" y="873"/>
                    <a:pt x="604" y="873"/>
                  </a:cubicBezTo>
                  <a:cubicBezTo>
                    <a:pt x="795" y="873"/>
                    <a:pt x="795" y="873"/>
                    <a:pt x="795" y="873"/>
                  </a:cubicBezTo>
                  <a:cubicBezTo>
                    <a:pt x="821" y="873"/>
                    <a:pt x="842" y="851"/>
                    <a:pt x="842" y="825"/>
                  </a:cubicBezTo>
                  <a:cubicBezTo>
                    <a:pt x="842" y="48"/>
                    <a:pt x="842" y="48"/>
                    <a:pt x="842" y="48"/>
                  </a:cubicBezTo>
                  <a:cubicBezTo>
                    <a:pt x="842" y="22"/>
                    <a:pt x="821" y="0"/>
                    <a:pt x="795" y="0"/>
                  </a:cubicBezTo>
                </a:path>
              </a:pathLst>
            </a:custGeom>
            <a:solidFill>
              <a:srgbClr val="92D050"/>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2577" name="Group 2576"/>
            <p:cNvGrpSpPr/>
            <p:nvPr/>
          </p:nvGrpSpPr>
          <p:grpSpPr>
            <a:xfrm>
              <a:off x="6826540" y="3309284"/>
              <a:ext cx="742864" cy="262743"/>
              <a:chOff x="5916613" y="2994404"/>
              <a:chExt cx="2152650" cy="555626"/>
            </a:xfrm>
          </p:grpSpPr>
          <p:sp>
            <p:nvSpPr>
              <p:cNvPr id="2647" name="Rectangle 17"/>
              <p:cNvSpPr>
                <a:spLocks noChangeArrowheads="1"/>
              </p:cNvSpPr>
              <p:nvPr/>
            </p:nvSpPr>
            <p:spPr bwMode="auto">
              <a:xfrm>
                <a:off x="5916613" y="2994405"/>
                <a:ext cx="368300" cy="55562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59" name="Rectangle 18"/>
              <p:cNvSpPr>
                <a:spLocks noChangeArrowheads="1"/>
              </p:cNvSpPr>
              <p:nvPr/>
            </p:nvSpPr>
            <p:spPr bwMode="auto">
              <a:xfrm>
                <a:off x="7700963" y="2994405"/>
                <a:ext cx="368300" cy="55562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0" name="Rectangle 19"/>
              <p:cNvSpPr>
                <a:spLocks noChangeArrowheads="1"/>
              </p:cNvSpPr>
              <p:nvPr/>
            </p:nvSpPr>
            <p:spPr bwMode="auto">
              <a:xfrm>
                <a:off x="6284913" y="2994404"/>
                <a:ext cx="1416050" cy="555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1" name="Rectangle 39"/>
              <p:cNvSpPr>
                <a:spLocks noChangeArrowheads="1"/>
              </p:cNvSpPr>
              <p:nvPr/>
            </p:nvSpPr>
            <p:spPr bwMode="auto">
              <a:xfrm>
                <a:off x="7700963" y="2994405"/>
                <a:ext cx="368300" cy="55562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2" name="Rectangle 40"/>
              <p:cNvSpPr>
                <a:spLocks noChangeArrowheads="1"/>
              </p:cNvSpPr>
              <p:nvPr/>
            </p:nvSpPr>
            <p:spPr bwMode="auto">
              <a:xfrm>
                <a:off x="7700963" y="2994405"/>
                <a:ext cx="368300" cy="55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3" name="Freeform 48"/>
              <p:cNvSpPr>
                <a:spLocks/>
              </p:cNvSpPr>
              <p:nvPr/>
            </p:nvSpPr>
            <p:spPr bwMode="auto">
              <a:xfrm>
                <a:off x="7700963" y="2994405"/>
                <a:ext cx="368300" cy="555625"/>
              </a:xfrm>
              <a:custGeom>
                <a:avLst/>
                <a:gdLst>
                  <a:gd name="T0" fmla="*/ 232 w 232"/>
                  <a:gd name="T1" fmla="*/ 0 h 350"/>
                  <a:gd name="T2" fmla="*/ 232 w 232"/>
                  <a:gd name="T3" fmla="*/ 0 h 350"/>
                  <a:gd name="T4" fmla="*/ 0 w 232"/>
                  <a:gd name="T5" fmla="*/ 0 h 350"/>
                  <a:gd name="T6" fmla="*/ 0 w 232"/>
                  <a:gd name="T7" fmla="*/ 350 h 350"/>
                  <a:gd name="T8" fmla="*/ 232 w 232"/>
                  <a:gd name="T9" fmla="*/ 350 h 350"/>
                  <a:gd name="T10" fmla="*/ 232 w 232"/>
                  <a:gd name="T11" fmla="*/ 0 h 350"/>
                </a:gdLst>
                <a:ahLst/>
                <a:cxnLst>
                  <a:cxn ang="0">
                    <a:pos x="T0" y="T1"/>
                  </a:cxn>
                  <a:cxn ang="0">
                    <a:pos x="T2" y="T3"/>
                  </a:cxn>
                  <a:cxn ang="0">
                    <a:pos x="T4" y="T5"/>
                  </a:cxn>
                  <a:cxn ang="0">
                    <a:pos x="T6" y="T7"/>
                  </a:cxn>
                  <a:cxn ang="0">
                    <a:pos x="T8" y="T9"/>
                  </a:cxn>
                  <a:cxn ang="0">
                    <a:pos x="T10" y="T11"/>
                  </a:cxn>
                </a:cxnLst>
                <a:rect l="0" t="0" r="r" b="b"/>
                <a:pathLst>
                  <a:path w="232" h="350">
                    <a:moveTo>
                      <a:pt x="232" y="0"/>
                    </a:moveTo>
                    <a:lnTo>
                      <a:pt x="232" y="0"/>
                    </a:lnTo>
                    <a:lnTo>
                      <a:pt x="0" y="0"/>
                    </a:lnTo>
                    <a:lnTo>
                      <a:pt x="0" y="350"/>
                    </a:lnTo>
                    <a:lnTo>
                      <a:pt x="232" y="350"/>
                    </a:lnTo>
                    <a:lnTo>
                      <a:pt x="232"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4" name="Freeform 49"/>
              <p:cNvSpPr>
                <a:spLocks/>
              </p:cNvSpPr>
              <p:nvPr/>
            </p:nvSpPr>
            <p:spPr bwMode="auto">
              <a:xfrm>
                <a:off x="7700963" y="2994405"/>
                <a:ext cx="368300" cy="555625"/>
              </a:xfrm>
              <a:custGeom>
                <a:avLst/>
                <a:gdLst>
                  <a:gd name="T0" fmla="*/ 232 w 232"/>
                  <a:gd name="T1" fmla="*/ 0 h 350"/>
                  <a:gd name="T2" fmla="*/ 232 w 232"/>
                  <a:gd name="T3" fmla="*/ 0 h 350"/>
                  <a:gd name="T4" fmla="*/ 0 w 232"/>
                  <a:gd name="T5" fmla="*/ 0 h 350"/>
                  <a:gd name="T6" fmla="*/ 0 w 232"/>
                  <a:gd name="T7" fmla="*/ 350 h 350"/>
                  <a:gd name="T8" fmla="*/ 232 w 232"/>
                  <a:gd name="T9" fmla="*/ 350 h 350"/>
                  <a:gd name="T10" fmla="*/ 232 w 232"/>
                  <a:gd name="T11" fmla="*/ 0 h 350"/>
                </a:gdLst>
                <a:ahLst/>
                <a:cxnLst>
                  <a:cxn ang="0">
                    <a:pos x="T0" y="T1"/>
                  </a:cxn>
                  <a:cxn ang="0">
                    <a:pos x="T2" y="T3"/>
                  </a:cxn>
                  <a:cxn ang="0">
                    <a:pos x="T4" y="T5"/>
                  </a:cxn>
                  <a:cxn ang="0">
                    <a:pos x="T6" y="T7"/>
                  </a:cxn>
                  <a:cxn ang="0">
                    <a:pos x="T8" y="T9"/>
                  </a:cxn>
                  <a:cxn ang="0">
                    <a:pos x="T10" y="T11"/>
                  </a:cxn>
                </a:cxnLst>
                <a:rect l="0" t="0" r="r" b="b"/>
                <a:pathLst>
                  <a:path w="232" h="350">
                    <a:moveTo>
                      <a:pt x="232" y="0"/>
                    </a:moveTo>
                    <a:lnTo>
                      <a:pt x="232" y="0"/>
                    </a:lnTo>
                    <a:lnTo>
                      <a:pt x="0" y="0"/>
                    </a:lnTo>
                    <a:lnTo>
                      <a:pt x="0" y="350"/>
                    </a:lnTo>
                    <a:lnTo>
                      <a:pt x="232" y="350"/>
                    </a:lnTo>
                    <a:lnTo>
                      <a:pt x="2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5" name="Freeform 51"/>
              <p:cNvSpPr>
                <a:spLocks/>
              </p:cNvSpPr>
              <p:nvPr/>
            </p:nvSpPr>
            <p:spPr bwMode="auto">
              <a:xfrm>
                <a:off x="6959600" y="2994405"/>
                <a:ext cx="741363" cy="555625"/>
              </a:xfrm>
              <a:custGeom>
                <a:avLst/>
                <a:gdLst>
                  <a:gd name="T0" fmla="*/ 467 w 467"/>
                  <a:gd name="T1" fmla="*/ 0 h 350"/>
                  <a:gd name="T2" fmla="*/ 0 w 467"/>
                  <a:gd name="T3" fmla="*/ 0 h 350"/>
                  <a:gd name="T4" fmla="*/ 242 w 467"/>
                  <a:gd name="T5" fmla="*/ 350 h 350"/>
                  <a:gd name="T6" fmla="*/ 467 w 467"/>
                  <a:gd name="T7" fmla="*/ 350 h 350"/>
                  <a:gd name="T8" fmla="*/ 467 w 467"/>
                  <a:gd name="T9" fmla="*/ 0 h 350"/>
                </a:gdLst>
                <a:ahLst/>
                <a:cxnLst>
                  <a:cxn ang="0">
                    <a:pos x="T0" y="T1"/>
                  </a:cxn>
                  <a:cxn ang="0">
                    <a:pos x="T2" y="T3"/>
                  </a:cxn>
                  <a:cxn ang="0">
                    <a:pos x="T4" y="T5"/>
                  </a:cxn>
                  <a:cxn ang="0">
                    <a:pos x="T6" y="T7"/>
                  </a:cxn>
                  <a:cxn ang="0">
                    <a:pos x="T8" y="T9"/>
                  </a:cxn>
                </a:cxnLst>
                <a:rect l="0" t="0" r="r" b="b"/>
                <a:pathLst>
                  <a:path w="467" h="350">
                    <a:moveTo>
                      <a:pt x="467" y="0"/>
                    </a:moveTo>
                    <a:lnTo>
                      <a:pt x="0" y="0"/>
                    </a:lnTo>
                    <a:lnTo>
                      <a:pt x="242" y="350"/>
                    </a:lnTo>
                    <a:lnTo>
                      <a:pt x="467" y="350"/>
                    </a:lnTo>
                    <a:lnTo>
                      <a:pt x="4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sp>
          <p:nvSpPr>
            <p:cNvPr id="2578" name="Rectangle 56"/>
            <p:cNvSpPr>
              <a:spLocks noChangeArrowheads="1"/>
            </p:cNvSpPr>
            <p:nvPr/>
          </p:nvSpPr>
          <p:spPr bwMode="auto">
            <a:xfrm>
              <a:off x="7357392" y="3263684"/>
              <a:ext cx="193386" cy="1040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9" name="Rectangle 57"/>
            <p:cNvSpPr>
              <a:spLocks noChangeArrowheads="1"/>
            </p:cNvSpPr>
            <p:nvPr/>
          </p:nvSpPr>
          <p:spPr bwMode="auto">
            <a:xfrm>
              <a:off x="7357392" y="3263684"/>
              <a:ext cx="193386" cy="10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80" name="Oval 58"/>
            <p:cNvSpPr>
              <a:spLocks noChangeArrowheads="1"/>
            </p:cNvSpPr>
            <p:nvPr/>
          </p:nvSpPr>
          <p:spPr bwMode="auto">
            <a:xfrm>
              <a:off x="7338218" y="3263684"/>
              <a:ext cx="9861" cy="10409"/>
            </a:xfrm>
            <a:prstGeom prst="ellipse">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81" name="Freeform 59"/>
            <p:cNvSpPr>
              <a:spLocks/>
            </p:cNvSpPr>
            <p:nvPr/>
          </p:nvSpPr>
          <p:spPr bwMode="auto">
            <a:xfrm>
              <a:off x="7327261" y="3612231"/>
              <a:ext cx="50949" cy="10409"/>
            </a:xfrm>
            <a:custGeom>
              <a:avLst/>
              <a:gdLst>
                <a:gd name="T0" fmla="*/ 93 w 93"/>
                <a:gd name="T1" fmla="*/ 0 h 19"/>
                <a:gd name="T2" fmla="*/ 0 w 93"/>
                <a:gd name="T3" fmla="*/ 0 h 19"/>
                <a:gd name="T4" fmla="*/ 13 w 93"/>
                <a:gd name="T5" fmla="*/ 19 h 19"/>
                <a:gd name="T6" fmla="*/ 93 w 93"/>
                <a:gd name="T7" fmla="*/ 19 h 19"/>
                <a:gd name="T8" fmla="*/ 93 w 93"/>
                <a:gd name="T9" fmla="*/ 0 h 19"/>
              </a:gdLst>
              <a:ahLst/>
              <a:cxnLst>
                <a:cxn ang="0">
                  <a:pos x="T0" y="T1"/>
                </a:cxn>
                <a:cxn ang="0">
                  <a:pos x="T2" y="T3"/>
                </a:cxn>
                <a:cxn ang="0">
                  <a:pos x="T4" y="T5"/>
                </a:cxn>
                <a:cxn ang="0">
                  <a:pos x="T6" y="T7"/>
                </a:cxn>
                <a:cxn ang="0">
                  <a:pos x="T8" y="T9"/>
                </a:cxn>
              </a:cxnLst>
              <a:rect l="0" t="0" r="r" b="b"/>
              <a:pathLst>
                <a:path w="93" h="19">
                  <a:moveTo>
                    <a:pt x="93" y="0"/>
                  </a:moveTo>
                  <a:lnTo>
                    <a:pt x="0" y="0"/>
                  </a:lnTo>
                  <a:lnTo>
                    <a:pt x="13" y="19"/>
                  </a:lnTo>
                  <a:lnTo>
                    <a:pt x="93" y="19"/>
                  </a:lnTo>
                  <a:lnTo>
                    <a:pt x="93" y="0"/>
                  </a:lnTo>
                  <a:close/>
                </a:path>
              </a:pathLst>
            </a:cu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82" name="Freeform 60"/>
            <p:cNvSpPr>
              <a:spLocks/>
            </p:cNvSpPr>
            <p:nvPr/>
          </p:nvSpPr>
          <p:spPr bwMode="auto">
            <a:xfrm>
              <a:off x="7327261" y="3612231"/>
              <a:ext cx="50949" cy="10409"/>
            </a:xfrm>
            <a:custGeom>
              <a:avLst/>
              <a:gdLst>
                <a:gd name="T0" fmla="*/ 93 w 93"/>
                <a:gd name="T1" fmla="*/ 0 h 19"/>
                <a:gd name="T2" fmla="*/ 0 w 93"/>
                <a:gd name="T3" fmla="*/ 0 h 19"/>
                <a:gd name="T4" fmla="*/ 13 w 93"/>
                <a:gd name="T5" fmla="*/ 19 h 19"/>
                <a:gd name="T6" fmla="*/ 93 w 93"/>
                <a:gd name="T7" fmla="*/ 19 h 19"/>
                <a:gd name="T8" fmla="*/ 93 w 93"/>
                <a:gd name="T9" fmla="*/ 0 h 19"/>
              </a:gdLst>
              <a:ahLst/>
              <a:cxnLst>
                <a:cxn ang="0">
                  <a:pos x="T0" y="T1"/>
                </a:cxn>
                <a:cxn ang="0">
                  <a:pos x="T2" y="T3"/>
                </a:cxn>
                <a:cxn ang="0">
                  <a:pos x="T4" y="T5"/>
                </a:cxn>
                <a:cxn ang="0">
                  <a:pos x="T6" y="T7"/>
                </a:cxn>
                <a:cxn ang="0">
                  <a:pos x="T8" y="T9"/>
                </a:cxn>
              </a:cxnLst>
              <a:rect l="0" t="0" r="r" b="b"/>
              <a:pathLst>
                <a:path w="93" h="19">
                  <a:moveTo>
                    <a:pt x="93" y="0"/>
                  </a:moveTo>
                  <a:lnTo>
                    <a:pt x="0" y="0"/>
                  </a:lnTo>
                  <a:lnTo>
                    <a:pt x="13" y="19"/>
                  </a:lnTo>
                  <a:lnTo>
                    <a:pt x="93" y="19"/>
                  </a:lnTo>
                  <a:lnTo>
                    <a:pt x="93" y="0"/>
                  </a:lnTo>
                </a:path>
              </a:pathLst>
            </a:cu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2583" name="Group 2582"/>
            <p:cNvGrpSpPr/>
            <p:nvPr/>
          </p:nvGrpSpPr>
          <p:grpSpPr>
            <a:xfrm>
              <a:off x="6918439" y="3344215"/>
              <a:ext cx="222580" cy="186609"/>
              <a:chOff x="1048844" y="2929382"/>
              <a:chExt cx="2146849" cy="1792260"/>
            </a:xfrm>
          </p:grpSpPr>
          <p:sp>
            <p:nvSpPr>
              <p:cNvPr id="2601" name="Rectangle 2600"/>
              <p:cNvSpPr/>
              <p:nvPr/>
            </p:nvSpPr>
            <p:spPr bwMode="auto">
              <a:xfrm rot="19233811" flipH="1">
                <a:off x="1672997" y="4111453"/>
                <a:ext cx="265596" cy="336234"/>
              </a:xfrm>
              <a:prstGeom prst="rect">
                <a:avLst/>
              </a:pr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09" name="Rectangle 21"/>
              <p:cNvSpPr/>
              <p:nvPr/>
            </p:nvSpPr>
            <p:spPr bwMode="auto">
              <a:xfrm rot="1663182" flipH="1">
                <a:off x="1661723" y="3093970"/>
                <a:ext cx="283331" cy="7514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11" name="Rectangle 29"/>
              <p:cNvSpPr/>
              <p:nvPr/>
            </p:nvSpPr>
            <p:spPr bwMode="auto">
              <a:xfrm rot="6300000" flipH="1">
                <a:off x="2375889" y="2873020"/>
                <a:ext cx="215107" cy="735159"/>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15" name="Oval 2614"/>
              <p:cNvSpPr/>
              <p:nvPr/>
            </p:nvSpPr>
            <p:spPr bwMode="auto">
              <a:xfrm flipH="1">
                <a:off x="1297663" y="3722454"/>
                <a:ext cx="516896" cy="516899"/>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16" name="Group 2615"/>
              <p:cNvGrpSpPr/>
              <p:nvPr/>
            </p:nvGrpSpPr>
            <p:grpSpPr>
              <a:xfrm>
                <a:off x="1830772" y="2929382"/>
                <a:ext cx="375748" cy="375748"/>
                <a:chOff x="4394973" y="1762558"/>
                <a:chExt cx="352210" cy="352210"/>
              </a:xfrm>
            </p:grpSpPr>
            <p:grpSp>
              <p:nvGrpSpPr>
                <p:cNvPr id="2635" name="Group 2634"/>
                <p:cNvGrpSpPr/>
                <p:nvPr/>
              </p:nvGrpSpPr>
              <p:grpSpPr>
                <a:xfrm flipH="1">
                  <a:off x="4394973" y="1762558"/>
                  <a:ext cx="352210" cy="352210"/>
                  <a:chOff x="5411363" y="1755522"/>
                  <a:chExt cx="316187" cy="316187"/>
                </a:xfrm>
              </p:grpSpPr>
              <p:sp>
                <p:nvSpPr>
                  <p:cNvPr id="2641" name="Oval 2640"/>
                  <p:cNvSpPr/>
                  <p:nvPr/>
                </p:nvSpPr>
                <p:spPr bwMode="auto">
                  <a:xfrm>
                    <a:off x="5411363" y="1755522"/>
                    <a:ext cx="316187" cy="316187"/>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42" name="Oval 2641"/>
                  <p:cNvSpPr/>
                  <p:nvPr/>
                </p:nvSpPr>
                <p:spPr bwMode="auto">
                  <a:xfrm>
                    <a:off x="5462797" y="1806956"/>
                    <a:ext cx="213318" cy="213318"/>
                  </a:xfrm>
                  <a:prstGeom prst="ellipse">
                    <a:avLst/>
                  </a:prstGeom>
                  <a:solidFill>
                    <a:srgbClr val="0072C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46" name="Oval 2645"/>
                  <p:cNvSpPr/>
                  <p:nvPr/>
                </p:nvSpPr>
                <p:spPr bwMode="auto">
                  <a:xfrm>
                    <a:off x="5506446" y="1850605"/>
                    <a:ext cx="126020" cy="126020"/>
                  </a:xfrm>
                  <a:prstGeom prst="ellipse">
                    <a:avLst/>
                  </a:pr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636" name="Rectangle 2635"/>
                <p:cNvSpPr/>
                <p:nvPr/>
              </p:nvSpPr>
              <p:spPr bwMode="auto">
                <a:xfrm flipH="1">
                  <a:off x="4553231" y="1789294"/>
                  <a:ext cx="35695" cy="28644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37" name="Rectangle 2636"/>
                <p:cNvSpPr/>
                <p:nvPr/>
              </p:nvSpPr>
              <p:spPr bwMode="auto">
                <a:xfrm rot="5400000" flipH="1">
                  <a:off x="4556016" y="1795437"/>
                  <a:ext cx="35695" cy="28644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617" name="Group 2616"/>
              <p:cNvGrpSpPr/>
              <p:nvPr/>
            </p:nvGrpSpPr>
            <p:grpSpPr>
              <a:xfrm rot="20781386">
                <a:off x="2789458" y="3462425"/>
                <a:ext cx="406235" cy="662068"/>
                <a:chOff x="6203753" y="1569839"/>
                <a:chExt cx="276805" cy="451129"/>
              </a:xfrm>
            </p:grpSpPr>
            <p:sp>
              <p:nvSpPr>
                <p:cNvPr id="2627" name="Rectangle 2626"/>
                <p:cNvSpPr/>
                <p:nvPr/>
              </p:nvSpPr>
              <p:spPr bwMode="auto">
                <a:xfrm rot="10800000" flipH="1">
                  <a:off x="6289821" y="1569839"/>
                  <a:ext cx="96717" cy="173784"/>
                </a:xfrm>
                <a:prstGeom prst="rect">
                  <a:avLst/>
                </a:pr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28" name="Oval 2627"/>
                <p:cNvSpPr/>
                <p:nvPr/>
              </p:nvSpPr>
              <p:spPr bwMode="auto">
                <a:xfrm rot="10737439" flipH="1">
                  <a:off x="6286686" y="1707639"/>
                  <a:ext cx="110946" cy="110946"/>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29" name="Group 2628"/>
                <p:cNvGrpSpPr/>
                <p:nvPr/>
              </p:nvGrpSpPr>
              <p:grpSpPr>
                <a:xfrm>
                  <a:off x="6203753" y="1748133"/>
                  <a:ext cx="99173" cy="272835"/>
                  <a:chOff x="5430362" y="1772113"/>
                  <a:chExt cx="99173" cy="272835"/>
                </a:xfrm>
              </p:grpSpPr>
              <p:sp>
                <p:nvSpPr>
                  <p:cNvPr id="2633" name="Rectangle 2632"/>
                  <p:cNvSpPr/>
                  <p:nvPr/>
                </p:nvSpPr>
                <p:spPr bwMode="auto">
                  <a:xfrm rot="13260000" flipH="1">
                    <a:off x="5468027" y="1772113"/>
                    <a:ext cx="45719" cy="137160"/>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34" name="Diagonal Stripe 2633"/>
                  <p:cNvSpPr/>
                  <p:nvPr/>
                </p:nvSpPr>
                <p:spPr bwMode="auto">
                  <a:xfrm rot="19432650">
                    <a:off x="5430362" y="1862068"/>
                    <a:ext cx="99173" cy="182880"/>
                  </a:xfrm>
                  <a:prstGeom prst="diagStrip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630" name="Group 2629"/>
                <p:cNvGrpSpPr/>
                <p:nvPr/>
              </p:nvGrpSpPr>
              <p:grpSpPr>
                <a:xfrm flipH="1">
                  <a:off x="6381385" y="1748134"/>
                  <a:ext cx="99173" cy="272833"/>
                  <a:chOff x="5422401" y="1772114"/>
                  <a:chExt cx="99173" cy="272833"/>
                </a:xfrm>
              </p:grpSpPr>
              <p:sp>
                <p:nvSpPr>
                  <p:cNvPr id="2631" name="Rectangle 2630"/>
                  <p:cNvSpPr/>
                  <p:nvPr/>
                </p:nvSpPr>
                <p:spPr bwMode="auto">
                  <a:xfrm rot="13260000" flipH="1">
                    <a:off x="5460058" y="1772114"/>
                    <a:ext cx="45719" cy="137160"/>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32" name="Diagonal Stripe 2631"/>
                  <p:cNvSpPr/>
                  <p:nvPr/>
                </p:nvSpPr>
                <p:spPr bwMode="auto">
                  <a:xfrm rot="19432650">
                    <a:off x="5422401" y="1862067"/>
                    <a:ext cx="99173" cy="182880"/>
                  </a:xfrm>
                  <a:prstGeom prst="diagStrip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618" name="Group 2617"/>
              <p:cNvGrpSpPr/>
              <p:nvPr/>
            </p:nvGrpSpPr>
            <p:grpSpPr>
              <a:xfrm>
                <a:off x="2732452" y="3244007"/>
                <a:ext cx="281811" cy="281811"/>
                <a:chOff x="4394973" y="1762558"/>
                <a:chExt cx="352210" cy="352210"/>
              </a:xfrm>
            </p:grpSpPr>
            <p:grpSp>
              <p:nvGrpSpPr>
                <p:cNvPr id="2621" name="Group 2620"/>
                <p:cNvGrpSpPr/>
                <p:nvPr/>
              </p:nvGrpSpPr>
              <p:grpSpPr>
                <a:xfrm flipH="1">
                  <a:off x="4394973" y="1762558"/>
                  <a:ext cx="352210" cy="352210"/>
                  <a:chOff x="5411363" y="1755522"/>
                  <a:chExt cx="316187" cy="316187"/>
                </a:xfrm>
              </p:grpSpPr>
              <p:sp>
                <p:nvSpPr>
                  <p:cNvPr id="2624" name="Oval 2623"/>
                  <p:cNvSpPr/>
                  <p:nvPr/>
                </p:nvSpPr>
                <p:spPr bwMode="auto">
                  <a:xfrm>
                    <a:off x="5411363" y="1755522"/>
                    <a:ext cx="316187" cy="316187"/>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25" name="Oval 2624"/>
                  <p:cNvSpPr/>
                  <p:nvPr/>
                </p:nvSpPr>
                <p:spPr bwMode="auto">
                  <a:xfrm>
                    <a:off x="5462797" y="1806956"/>
                    <a:ext cx="213318" cy="213318"/>
                  </a:xfrm>
                  <a:prstGeom prst="ellipse">
                    <a:avLst/>
                  </a:prstGeom>
                  <a:solidFill>
                    <a:srgbClr val="0072C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26" name="Oval 2625"/>
                  <p:cNvSpPr/>
                  <p:nvPr/>
                </p:nvSpPr>
                <p:spPr bwMode="auto">
                  <a:xfrm>
                    <a:off x="5506446" y="1850605"/>
                    <a:ext cx="126020" cy="126020"/>
                  </a:xfrm>
                  <a:prstGeom prst="ellipse">
                    <a:avLst/>
                  </a:pr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622" name="Rectangle 2621"/>
                <p:cNvSpPr/>
                <p:nvPr/>
              </p:nvSpPr>
              <p:spPr bwMode="auto">
                <a:xfrm flipH="1">
                  <a:off x="4553229" y="1795031"/>
                  <a:ext cx="35696" cy="26441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23" name="Rectangle 2622"/>
                <p:cNvSpPr/>
                <p:nvPr/>
              </p:nvSpPr>
              <p:spPr bwMode="auto">
                <a:xfrm rot="5400000" flipH="1">
                  <a:off x="4559388" y="1806456"/>
                  <a:ext cx="35696" cy="26441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619" name="Rounded Rectangle 2618"/>
              <p:cNvSpPr/>
              <p:nvPr/>
            </p:nvSpPr>
            <p:spPr bwMode="auto">
              <a:xfrm flipH="1">
                <a:off x="1188631" y="4306131"/>
                <a:ext cx="1241311" cy="391405"/>
              </a:xfrm>
              <a:prstGeom prst="roundRect">
                <a:avLst/>
              </a:pr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20" name="Rounded Rectangle 2619"/>
              <p:cNvSpPr/>
              <p:nvPr/>
            </p:nvSpPr>
            <p:spPr bwMode="auto">
              <a:xfrm flipH="1">
                <a:off x="1048844" y="4501833"/>
                <a:ext cx="1520885" cy="219809"/>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584" name="Group 2583"/>
            <p:cNvGrpSpPr>
              <a:grpSpLocks noChangeAspect="1"/>
            </p:cNvGrpSpPr>
            <p:nvPr/>
          </p:nvGrpSpPr>
          <p:grpSpPr>
            <a:xfrm rot="16200000">
              <a:off x="7273162" y="3340536"/>
              <a:ext cx="227283" cy="186610"/>
              <a:chOff x="-4435475" y="1371600"/>
              <a:chExt cx="4435475" cy="3641725"/>
            </a:xfrm>
          </p:grpSpPr>
          <p:sp>
            <p:nvSpPr>
              <p:cNvPr id="258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2586" name="Group 2585"/>
              <p:cNvGrpSpPr/>
              <p:nvPr/>
            </p:nvGrpSpPr>
            <p:grpSpPr>
              <a:xfrm>
                <a:off x="-4206871" y="1603382"/>
                <a:ext cx="3978266" cy="3168652"/>
                <a:chOff x="-4206875" y="1603375"/>
                <a:chExt cx="3978275" cy="3168650"/>
              </a:xfrm>
              <a:solidFill>
                <a:srgbClr val="FFFFFF"/>
              </a:solidFill>
            </p:grpSpPr>
            <p:sp>
              <p:nvSpPr>
                <p:cNvPr id="258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8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8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9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9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9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9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60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grpSp>
      <p:grpSp>
        <p:nvGrpSpPr>
          <p:cNvPr id="2684" name="Group 2683"/>
          <p:cNvGrpSpPr/>
          <p:nvPr/>
        </p:nvGrpSpPr>
        <p:grpSpPr>
          <a:xfrm>
            <a:off x="9013847" y="2777161"/>
            <a:ext cx="1651559" cy="257716"/>
            <a:chOff x="5775325" y="3179763"/>
            <a:chExt cx="2166938" cy="338137"/>
          </a:xfrm>
        </p:grpSpPr>
        <p:sp>
          <p:nvSpPr>
            <p:cNvPr id="2685" name="Rectangle 9"/>
            <p:cNvSpPr>
              <a:spLocks noChangeArrowheads="1"/>
            </p:cNvSpPr>
            <p:nvPr/>
          </p:nvSpPr>
          <p:spPr bwMode="auto">
            <a:xfrm>
              <a:off x="6208713"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86" name="Rectangle 10"/>
            <p:cNvSpPr>
              <a:spLocks noChangeArrowheads="1"/>
            </p:cNvSpPr>
            <p:nvPr/>
          </p:nvSpPr>
          <p:spPr bwMode="auto">
            <a:xfrm>
              <a:off x="6208713"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87" name="Rectangle 11"/>
            <p:cNvSpPr>
              <a:spLocks noChangeArrowheads="1"/>
            </p:cNvSpPr>
            <p:nvPr/>
          </p:nvSpPr>
          <p:spPr bwMode="auto">
            <a:xfrm>
              <a:off x="5775325"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88" name="Rectangle 12"/>
            <p:cNvSpPr>
              <a:spLocks noChangeArrowheads="1"/>
            </p:cNvSpPr>
            <p:nvPr/>
          </p:nvSpPr>
          <p:spPr bwMode="auto">
            <a:xfrm>
              <a:off x="5775325"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89" name="Rectangle 13"/>
            <p:cNvSpPr>
              <a:spLocks noChangeArrowheads="1"/>
            </p:cNvSpPr>
            <p:nvPr/>
          </p:nvSpPr>
          <p:spPr bwMode="auto">
            <a:xfrm>
              <a:off x="6642100" y="3305175"/>
              <a:ext cx="433388" cy="87312"/>
            </a:xfrm>
            <a:prstGeom prst="rect">
              <a:avLst/>
            </a:prstGeom>
            <a:solidFill>
              <a:srgbClr val="95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0" name="Rectangle 14"/>
            <p:cNvSpPr>
              <a:spLocks noChangeArrowheads="1"/>
            </p:cNvSpPr>
            <p:nvPr/>
          </p:nvSpPr>
          <p:spPr bwMode="auto">
            <a:xfrm>
              <a:off x="6642100" y="3392488"/>
              <a:ext cx="433388" cy="125412"/>
            </a:xfrm>
            <a:prstGeom prst="rect">
              <a:avLst/>
            </a:prstGeom>
            <a:solidFill>
              <a:srgbClr val="A2A2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1" name="Rectangle 15"/>
            <p:cNvSpPr>
              <a:spLocks noChangeArrowheads="1"/>
            </p:cNvSpPr>
            <p:nvPr/>
          </p:nvSpPr>
          <p:spPr bwMode="auto">
            <a:xfrm>
              <a:off x="6642100" y="3179763"/>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2" name="Rectangle 16"/>
            <p:cNvSpPr>
              <a:spLocks noChangeArrowheads="1"/>
            </p:cNvSpPr>
            <p:nvPr/>
          </p:nvSpPr>
          <p:spPr bwMode="auto">
            <a:xfrm>
              <a:off x="6642100" y="3267075"/>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3" name="Rectangle 17"/>
            <p:cNvSpPr>
              <a:spLocks noChangeArrowheads="1"/>
            </p:cNvSpPr>
            <p:nvPr/>
          </p:nvSpPr>
          <p:spPr bwMode="auto">
            <a:xfrm>
              <a:off x="7508875"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4" name="Rectangle 18"/>
            <p:cNvSpPr>
              <a:spLocks noChangeArrowheads="1"/>
            </p:cNvSpPr>
            <p:nvPr/>
          </p:nvSpPr>
          <p:spPr bwMode="auto">
            <a:xfrm>
              <a:off x="7508875"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5" name="Rectangle 19"/>
            <p:cNvSpPr>
              <a:spLocks noChangeArrowheads="1"/>
            </p:cNvSpPr>
            <p:nvPr/>
          </p:nvSpPr>
          <p:spPr bwMode="auto">
            <a:xfrm>
              <a:off x="7508875" y="3179763"/>
              <a:ext cx="433388" cy="873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6" name="Rectangle 20"/>
            <p:cNvSpPr>
              <a:spLocks noChangeArrowheads="1"/>
            </p:cNvSpPr>
            <p:nvPr/>
          </p:nvSpPr>
          <p:spPr bwMode="auto">
            <a:xfrm>
              <a:off x="7508875" y="3267075"/>
              <a:ext cx="433388" cy="1254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7" name="Rectangle 21"/>
            <p:cNvSpPr>
              <a:spLocks noChangeArrowheads="1"/>
            </p:cNvSpPr>
            <p:nvPr/>
          </p:nvSpPr>
          <p:spPr bwMode="auto">
            <a:xfrm>
              <a:off x="7075488" y="3305175"/>
              <a:ext cx="433388" cy="873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8" name="Rectangle 22"/>
            <p:cNvSpPr>
              <a:spLocks noChangeArrowheads="1"/>
            </p:cNvSpPr>
            <p:nvPr/>
          </p:nvSpPr>
          <p:spPr bwMode="auto">
            <a:xfrm>
              <a:off x="7075488" y="3392488"/>
              <a:ext cx="433388" cy="1254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sp>
        <p:nvSpPr>
          <p:cNvPr id="533" name="Rectangle 532"/>
          <p:cNvSpPr/>
          <p:nvPr/>
        </p:nvSpPr>
        <p:spPr bwMode="auto">
          <a:xfrm>
            <a:off x="597846" y="1565181"/>
            <a:ext cx="10081918" cy="3385402"/>
          </a:xfrm>
          <a:prstGeom prst="rect">
            <a:avLst/>
          </a:prstGeom>
          <a:noFill/>
          <a:ln w="381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b" anchorCtr="0" forceAA="0" compatLnSpc="1">
            <a:prstTxWarp prst="textNoShape">
              <a:avLst/>
            </a:prstTxWarp>
            <a:noAutofit/>
          </a:bodyPr>
          <a:lstStyle/>
          <a:p>
            <a:pPr defTabSz="913751" fontAlgn="base">
              <a:lnSpc>
                <a:spcPct val="90000"/>
              </a:lnSpc>
              <a:spcBef>
                <a:spcPct val="0"/>
              </a:spcBef>
              <a:spcAft>
                <a:spcPct val="0"/>
              </a:spcAft>
              <a:defRPr/>
            </a:pPr>
            <a:endParaRPr lang="en-US" sz="980" b="1" kern="0" dirty="0">
              <a:solidFill>
                <a:srgbClr val="0072C6"/>
              </a:solidFill>
              <a:ea typeface="Segoe UI" pitchFamily="34" charset="0"/>
              <a:cs typeface="Segoe UI" pitchFamily="34" charset="0"/>
            </a:endParaRPr>
          </a:p>
        </p:txBody>
      </p:sp>
      <p:sp>
        <p:nvSpPr>
          <p:cNvPr id="640" name="Cube 639"/>
          <p:cNvSpPr/>
          <p:nvPr/>
        </p:nvSpPr>
        <p:spPr bwMode="auto">
          <a:xfrm flipH="1">
            <a:off x="5532910" y="3693686"/>
            <a:ext cx="283260" cy="378388"/>
          </a:xfrm>
          <a:prstGeom prst="cube">
            <a:avLst>
              <a:gd name="adj" fmla="val 24335"/>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5685" tIns="140548" rIns="175685" bIns="140548" numCol="1" spcCol="0" rtlCol="0" fromWordArt="0" anchor="t" anchorCtr="0" forceAA="0" compatLnSpc="1">
            <a:prstTxWarp prst="textNoShape">
              <a:avLst/>
            </a:prstTxWarp>
            <a:noAutofit/>
          </a:bodyPr>
          <a:lstStyle/>
          <a:p>
            <a:pPr algn="ctr" defTabSz="895579"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ea typeface="Segoe UI" pitchFamily="34" charset="0"/>
              <a:cs typeface="Segoe UI" pitchFamily="34" charset="0"/>
            </a:endParaRPr>
          </a:p>
        </p:txBody>
      </p:sp>
      <p:sp>
        <p:nvSpPr>
          <p:cNvPr id="641" name="Cube 640"/>
          <p:cNvSpPr/>
          <p:nvPr/>
        </p:nvSpPr>
        <p:spPr bwMode="auto">
          <a:xfrm flipH="1">
            <a:off x="5901306" y="3746607"/>
            <a:ext cx="41315" cy="193064"/>
          </a:xfrm>
          <a:prstGeom prst="cube">
            <a:avLst>
              <a:gd name="adj" fmla="val 24335"/>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5685" tIns="140548" rIns="175685" bIns="140548" numCol="1" spcCol="0" rtlCol="0" fromWordArt="0" anchor="t" anchorCtr="0" forceAA="0" compatLnSpc="1">
            <a:prstTxWarp prst="textNoShape">
              <a:avLst/>
            </a:prstTxWarp>
            <a:noAutofit/>
          </a:bodyPr>
          <a:lstStyle/>
          <a:p>
            <a:pPr algn="ctr" defTabSz="895579"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ea typeface="Segoe UI" pitchFamily="34" charset="0"/>
              <a:cs typeface="Segoe UI" pitchFamily="34" charset="0"/>
            </a:endParaRPr>
          </a:p>
        </p:txBody>
      </p:sp>
      <p:sp>
        <p:nvSpPr>
          <p:cNvPr id="642" name="Cube 641"/>
          <p:cNvSpPr/>
          <p:nvPr/>
        </p:nvSpPr>
        <p:spPr bwMode="auto">
          <a:xfrm flipH="1">
            <a:off x="5498482" y="3648094"/>
            <a:ext cx="130688" cy="256815"/>
          </a:xfrm>
          <a:prstGeom prst="cube">
            <a:avLst>
              <a:gd name="adj" fmla="val 74709"/>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75685" tIns="140548" rIns="175685" bIns="140548" numCol="1" spcCol="0" rtlCol="0" fromWordArt="0" anchor="t" anchorCtr="0" forceAA="0" compatLnSpc="1">
            <a:prstTxWarp prst="textNoShape">
              <a:avLst/>
            </a:prstTxWarp>
            <a:noAutofit/>
          </a:bodyPr>
          <a:lstStyle/>
          <a:p>
            <a:pPr algn="ctr" defTabSz="895579"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ea typeface="Segoe UI" pitchFamily="34" charset="0"/>
              <a:cs typeface="Segoe UI" pitchFamily="34" charset="0"/>
            </a:endParaRPr>
          </a:p>
        </p:txBody>
      </p:sp>
      <p:sp>
        <p:nvSpPr>
          <p:cNvPr id="643" name="Rectangle 4"/>
          <p:cNvSpPr/>
          <p:nvPr/>
        </p:nvSpPr>
        <p:spPr bwMode="auto">
          <a:xfrm rot="4500000" flipH="1">
            <a:off x="4908146" y="3451562"/>
            <a:ext cx="450319" cy="886492"/>
          </a:xfrm>
          <a:prstGeom prst="trapezoid">
            <a:avLst>
              <a:gd name="adj" fmla="val 38028"/>
            </a:avLst>
          </a:prstGeom>
          <a:gradFill>
            <a:gsLst>
              <a:gs pos="0">
                <a:srgbClr val="0072C6">
                  <a:alpha val="66000"/>
                </a:srgbClr>
              </a:gs>
              <a:gs pos="100000">
                <a:srgbClr val="FFFFFF">
                  <a:alpha val="0"/>
                </a:srgbClr>
              </a:gs>
            </a:gsLst>
            <a:lin ang="5400000" scaled="1"/>
          </a:gradFill>
          <a:ln w="9525" cap="flat" cmpd="sng" algn="ctr">
            <a:noFill/>
            <a:prstDash val="solid"/>
            <a:headEnd type="none" w="med" len="med"/>
            <a:tailEnd type="none" w="med" len="med"/>
          </a:ln>
          <a:effectLst/>
        </p:spPr>
        <p:txBody>
          <a:bodyPr rot="0" spcFirstLastPara="0" vertOverflow="overflow" horzOverflow="overflow" vert="horz" wrap="square" lIns="89592" tIns="44796" rIns="44796" bIns="89592" numCol="1" spcCol="0" rtlCol="0" fromWordArt="0" anchor="b" anchorCtr="0" forceAA="0" compatLnSpc="1">
            <a:prstTxWarp prst="textNoShape">
              <a:avLst/>
            </a:prstTxWarp>
            <a:noAutofit/>
          </a:bodyPr>
          <a:lstStyle/>
          <a:p>
            <a:pPr algn="ctr" defTabSz="895403" fontAlgn="base">
              <a:spcBef>
                <a:spcPct val="0"/>
              </a:spcBef>
              <a:spcAft>
                <a:spcPct val="0"/>
              </a:spcAft>
              <a:defRPr/>
            </a:pPr>
            <a:endParaRPr lang="en-US" sz="1961"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44" name="Rectangle 643"/>
          <p:cNvSpPr/>
          <p:nvPr/>
        </p:nvSpPr>
        <p:spPr bwMode="auto">
          <a:xfrm>
            <a:off x="5328688" y="3587409"/>
            <a:ext cx="474767" cy="387306"/>
          </a:xfrm>
          <a:prstGeom prst="rect">
            <a:avLst/>
          </a:prstGeom>
          <a:solidFill>
            <a:srgbClr val="FFFFFF">
              <a:alpha val="20000"/>
            </a:srgbClr>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89592" tIns="44796" rIns="44796" bIns="89592" numCol="1" spcCol="0" rtlCol="0" fromWordArt="0" anchor="b" anchorCtr="0" forceAA="0" compatLnSpc="1">
            <a:prstTxWarp prst="textNoShape">
              <a:avLst/>
            </a:prstTxWarp>
            <a:noAutofit/>
          </a:bodyPr>
          <a:lstStyle/>
          <a:p>
            <a:pPr algn="ctr" defTabSz="895403" fontAlgn="base">
              <a:spcBef>
                <a:spcPct val="0"/>
              </a:spcBef>
              <a:spcAft>
                <a:spcPct val="0"/>
              </a:spcAft>
              <a:defRPr/>
            </a:pPr>
            <a:endParaRPr lang="en-US" sz="1567" kern="0" spc="-49" dirty="0">
              <a:gradFill>
                <a:gsLst>
                  <a:gs pos="0">
                    <a:srgbClr val="FFFFFF"/>
                  </a:gs>
                  <a:gs pos="100000">
                    <a:srgbClr val="FFFFFF"/>
                  </a:gs>
                </a:gsLst>
                <a:lin ang="5400000" scaled="0"/>
              </a:gradFill>
              <a:ea typeface="Segoe UI" pitchFamily="34" charset="0"/>
              <a:cs typeface="Segoe UI" pitchFamily="34" charset="0"/>
            </a:endParaRPr>
          </a:p>
        </p:txBody>
      </p:sp>
      <p:cxnSp>
        <p:nvCxnSpPr>
          <p:cNvPr id="1964" name="Elbow Connector 1963"/>
          <p:cNvCxnSpPr>
            <a:stCxn id="644" idx="3"/>
            <a:endCxn id="2015" idx="2"/>
          </p:cNvCxnSpPr>
          <p:nvPr/>
        </p:nvCxnSpPr>
        <p:spPr>
          <a:xfrm>
            <a:off x="5803452" y="3781062"/>
            <a:ext cx="1023883" cy="709128"/>
          </a:xfrm>
          <a:prstGeom prst="bentConnector3">
            <a:avLst>
              <a:gd name="adj1" fmla="val 60941"/>
            </a:avLst>
          </a:prstGeom>
          <a:noFill/>
          <a:ln w="12700" cap="flat" cmpd="sng" algn="ctr">
            <a:solidFill>
              <a:srgbClr val="0072C6"/>
            </a:solidFill>
            <a:prstDash val="sysDot"/>
          </a:ln>
          <a:effectLst/>
        </p:spPr>
      </p:cxnSp>
      <p:grpSp>
        <p:nvGrpSpPr>
          <p:cNvPr id="11" name="Group 10"/>
          <p:cNvGrpSpPr/>
          <p:nvPr/>
        </p:nvGrpSpPr>
        <p:grpSpPr>
          <a:xfrm>
            <a:off x="5298120" y="1996255"/>
            <a:ext cx="822224" cy="720720"/>
            <a:chOff x="5070521" y="2565507"/>
            <a:chExt cx="838949" cy="735380"/>
          </a:xfrm>
        </p:grpSpPr>
        <p:grpSp>
          <p:nvGrpSpPr>
            <p:cNvPr id="2917" name="Group 2916"/>
            <p:cNvGrpSpPr/>
            <p:nvPr/>
          </p:nvGrpSpPr>
          <p:grpSpPr>
            <a:xfrm>
              <a:off x="5070521" y="2565507"/>
              <a:ext cx="692660" cy="678561"/>
              <a:chOff x="5178899" y="2671679"/>
              <a:chExt cx="584282" cy="572389"/>
            </a:xfrm>
          </p:grpSpPr>
          <p:sp>
            <p:nvSpPr>
              <p:cNvPr id="2402" name="Freeform 6"/>
              <p:cNvSpPr>
                <a:spLocks/>
              </p:cNvSpPr>
              <p:nvPr/>
            </p:nvSpPr>
            <p:spPr bwMode="auto">
              <a:xfrm flipH="1">
                <a:off x="5281581" y="3123471"/>
                <a:ext cx="356328" cy="77003"/>
              </a:xfrm>
              <a:custGeom>
                <a:avLst/>
                <a:gdLst>
                  <a:gd name="T0" fmla="*/ 3851 w 3851"/>
                  <a:gd name="T1" fmla="*/ 414 h 828"/>
                  <a:gd name="T2" fmla="*/ 3849 w 3851"/>
                  <a:gd name="T3" fmla="*/ 393 h 828"/>
                  <a:gd name="T4" fmla="*/ 3841 w 3851"/>
                  <a:gd name="T5" fmla="*/ 371 h 828"/>
                  <a:gd name="T6" fmla="*/ 3813 w 3851"/>
                  <a:gd name="T7" fmla="*/ 331 h 828"/>
                  <a:gd name="T8" fmla="*/ 3764 w 3851"/>
                  <a:gd name="T9" fmla="*/ 290 h 828"/>
                  <a:gd name="T10" fmla="*/ 3700 w 3851"/>
                  <a:gd name="T11" fmla="*/ 252 h 828"/>
                  <a:gd name="T12" fmla="*/ 3619 w 3851"/>
                  <a:gd name="T13" fmla="*/ 216 h 828"/>
                  <a:gd name="T14" fmla="*/ 3523 w 3851"/>
                  <a:gd name="T15" fmla="*/ 182 h 828"/>
                  <a:gd name="T16" fmla="*/ 3412 w 3851"/>
                  <a:gd name="T17" fmla="*/ 150 h 828"/>
                  <a:gd name="T18" fmla="*/ 3288 w 3851"/>
                  <a:gd name="T19" fmla="*/ 120 h 828"/>
                  <a:gd name="T20" fmla="*/ 3151 w 3851"/>
                  <a:gd name="T21" fmla="*/ 94 h 828"/>
                  <a:gd name="T22" fmla="*/ 3002 w 3851"/>
                  <a:gd name="T23" fmla="*/ 70 h 828"/>
                  <a:gd name="T24" fmla="*/ 2674 w 3851"/>
                  <a:gd name="T25" fmla="*/ 32 h 828"/>
                  <a:gd name="T26" fmla="*/ 2313 w 3851"/>
                  <a:gd name="T27" fmla="*/ 7 h 828"/>
                  <a:gd name="T28" fmla="*/ 1925 w 3851"/>
                  <a:gd name="T29" fmla="*/ 0 h 828"/>
                  <a:gd name="T30" fmla="*/ 1730 w 3851"/>
                  <a:gd name="T31" fmla="*/ 2 h 828"/>
                  <a:gd name="T32" fmla="*/ 1353 w 3851"/>
                  <a:gd name="T33" fmla="*/ 17 h 828"/>
                  <a:gd name="T34" fmla="*/ 1009 w 3851"/>
                  <a:gd name="T35" fmla="*/ 49 h 828"/>
                  <a:gd name="T36" fmla="*/ 774 w 3851"/>
                  <a:gd name="T37" fmla="*/ 81 h 828"/>
                  <a:gd name="T38" fmla="*/ 631 w 3851"/>
                  <a:gd name="T39" fmla="*/ 107 h 828"/>
                  <a:gd name="T40" fmla="*/ 501 w 3851"/>
                  <a:gd name="T41" fmla="*/ 135 h 828"/>
                  <a:gd name="T42" fmla="*/ 382 w 3851"/>
                  <a:gd name="T43" fmla="*/ 166 h 828"/>
                  <a:gd name="T44" fmla="*/ 279 w 3851"/>
                  <a:gd name="T45" fmla="*/ 199 h 828"/>
                  <a:gd name="T46" fmla="*/ 191 w 3851"/>
                  <a:gd name="T47" fmla="*/ 233 h 828"/>
                  <a:gd name="T48" fmla="*/ 117 w 3851"/>
                  <a:gd name="T49" fmla="*/ 271 h 828"/>
                  <a:gd name="T50" fmla="*/ 61 w 3851"/>
                  <a:gd name="T51" fmla="*/ 310 h 828"/>
                  <a:gd name="T52" fmla="*/ 23 w 3851"/>
                  <a:gd name="T53" fmla="*/ 350 h 828"/>
                  <a:gd name="T54" fmla="*/ 6 w 3851"/>
                  <a:gd name="T55" fmla="*/ 382 h 828"/>
                  <a:gd name="T56" fmla="*/ 0 w 3851"/>
                  <a:gd name="T57" fmla="*/ 403 h 828"/>
                  <a:gd name="T58" fmla="*/ 0 w 3851"/>
                  <a:gd name="T59" fmla="*/ 414 h 828"/>
                  <a:gd name="T60" fmla="*/ 2 w 3851"/>
                  <a:gd name="T61" fmla="*/ 435 h 828"/>
                  <a:gd name="T62" fmla="*/ 10 w 3851"/>
                  <a:gd name="T63" fmla="*/ 457 h 828"/>
                  <a:gd name="T64" fmla="*/ 40 w 3851"/>
                  <a:gd name="T65" fmla="*/ 497 h 828"/>
                  <a:gd name="T66" fmla="*/ 87 w 3851"/>
                  <a:gd name="T67" fmla="*/ 538 h 828"/>
                  <a:gd name="T68" fmla="*/ 151 w 3851"/>
                  <a:gd name="T69" fmla="*/ 576 h 828"/>
                  <a:gd name="T70" fmla="*/ 234 w 3851"/>
                  <a:gd name="T71" fmla="*/ 612 h 828"/>
                  <a:gd name="T72" fmla="*/ 330 w 3851"/>
                  <a:gd name="T73" fmla="*/ 645 h 828"/>
                  <a:gd name="T74" fmla="*/ 441 w 3851"/>
                  <a:gd name="T75" fmla="*/ 677 h 828"/>
                  <a:gd name="T76" fmla="*/ 565 w 3851"/>
                  <a:gd name="T77" fmla="*/ 708 h 828"/>
                  <a:gd name="T78" fmla="*/ 700 w 3851"/>
                  <a:gd name="T79" fmla="*/ 734 h 828"/>
                  <a:gd name="T80" fmla="*/ 849 w 3851"/>
                  <a:gd name="T81" fmla="*/ 758 h 828"/>
                  <a:gd name="T82" fmla="*/ 1177 w 3851"/>
                  <a:gd name="T83" fmla="*/ 796 h 828"/>
                  <a:gd name="T84" fmla="*/ 1538 w 3851"/>
                  <a:gd name="T85" fmla="*/ 820 h 828"/>
                  <a:gd name="T86" fmla="*/ 1925 w 3851"/>
                  <a:gd name="T87" fmla="*/ 828 h 828"/>
                  <a:gd name="T88" fmla="*/ 2123 w 3851"/>
                  <a:gd name="T89" fmla="*/ 826 h 828"/>
                  <a:gd name="T90" fmla="*/ 2498 w 3851"/>
                  <a:gd name="T91" fmla="*/ 811 h 828"/>
                  <a:gd name="T92" fmla="*/ 2844 w 3851"/>
                  <a:gd name="T93" fmla="*/ 779 h 828"/>
                  <a:gd name="T94" fmla="*/ 3077 w 3851"/>
                  <a:gd name="T95" fmla="*/ 747 h 828"/>
                  <a:gd name="T96" fmla="*/ 3220 w 3851"/>
                  <a:gd name="T97" fmla="*/ 721 h 828"/>
                  <a:gd name="T98" fmla="*/ 3352 w 3851"/>
                  <a:gd name="T99" fmla="*/ 692 h 828"/>
                  <a:gd name="T100" fmla="*/ 3469 w 3851"/>
                  <a:gd name="T101" fmla="*/ 662 h 828"/>
                  <a:gd name="T102" fmla="*/ 3572 w 3851"/>
                  <a:gd name="T103" fmla="*/ 629 h 828"/>
                  <a:gd name="T104" fmla="*/ 3660 w 3851"/>
                  <a:gd name="T105" fmla="*/ 595 h 828"/>
                  <a:gd name="T106" fmla="*/ 3734 w 3851"/>
                  <a:gd name="T107" fmla="*/ 557 h 828"/>
                  <a:gd name="T108" fmla="*/ 3790 w 3851"/>
                  <a:gd name="T109" fmla="*/ 517 h 828"/>
                  <a:gd name="T110" fmla="*/ 3830 w 3851"/>
                  <a:gd name="T111" fmla="*/ 478 h 828"/>
                  <a:gd name="T112" fmla="*/ 3845 w 3851"/>
                  <a:gd name="T113" fmla="*/ 446 h 828"/>
                  <a:gd name="T114" fmla="*/ 3851 w 3851"/>
                  <a:gd name="T115" fmla="*/ 425 h 828"/>
                  <a:gd name="T116" fmla="*/ 3851 w 3851"/>
                  <a:gd name="T117" fmla="*/ 414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51" h="828">
                    <a:moveTo>
                      <a:pt x="3851" y="414"/>
                    </a:moveTo>
                    <a:lnTo>
                      <a:pt x="3851" y="414"/>
                    </a:lnTo>
                    <a:lnTo>
                      <a:pt x="3851" y="403"/>
                    </a:lnTo>
                    <a:lnTo>
                      <a:pt x="3849" y="393"/>
                    </a:lnTo>
                    <a:lnTo>
                      <a:pt x="3845" y="382"/>
                    </a:lnTo>
                    <a:lnTo>
                      <a:pt x="3841" y="371"/>
                    </a:lnTo>
                    <a:lnTo>
                      <a:pt x="3830" y="350"/>
                    </a:lnTo>
                    <a:lnTo>
                      <a:pt x="3813" y="331"/>
                    </a:lnTo>
                    <a:lnTo>
                      <a:pt x="3790" y="310"/>
                    </a:lnTo>
                    <a:lnTo>
                      <a:pt x="3764" y="290"/>
                    </a:lnTo>
                    <a:lnTo>
                      <a:pt x="3734" y="271"/>
                    </a:lnTo>
                    <a:lnTo>
                      <a:pt x="3700" y="252"/>
                    </a:lnTo>
                    <a:lnTo>
                      <a:pt x="3660" y="233"/>
                    </a:lnTo>
                    <a:lnTo>
                      <a:pt x="3619" y="216"/>
                    </a:lnTo>
                    <a:lnTo>
                      <a:pt x="3572" y="199"/>
                    </a:lnTo>
                    <a:lnTo>
                      <a:pt x="3523" y="182"/>
                    </a:lnTo>
                    <a:lnTo>
                      <a:pt x="3469" y="166"/>
                    </a:lnTo>
                    <a:lnTo>
                      <a:pt x="3412" y="150"/>
                    </a:lnTo>
                    <a:lnTo>
                      <a:pt x="3352" y="135"/>
                    </a:lnTo>
                    <a:lnTo>
                      <a:pt x="3288" y="120"/>
                    </a:lnTo>
                    <a:lnTo>
                      <a:pt x="3220" y="107"/>
                    </a:lnTo>
                    <a:lnTo>
                      <a:pt x="3151" y="94"/>
                    </a:lnTo>
                    <a:lnTo>
                      <a:pt x="3077" y="81"/>
                    </a:lnTo>
                    <a:lnTo>
                      <a:pt x="3002" y="70"/>
                    </a:lnTo>
                    <a:lnTo>
                      <a:pt x="2844" y="49"/>
                    </a:lnTo>
                    <a:lnTo>
                      <a:pt x="2674" y="32"/>
                    </a:lnTo>
                    <a:lnTo>
                      <a:pt x="2498" y="17"/>
                    </a:lnTo>
                    <a:lnTo>
                      <a:pt x="2313" y="7"/>
                    </a:lnTo>
                    <a:lnTo>
                      <a:pt x="2123" y="2"/>
                    </a:lnTo>
                    <a:lnTo>
                      <a:pt x="1925" y="0"/>
                    </a:lnTo>
                    <a:lnTo>
                      <a:pt x="1925" y="0"/>
                    </a:lnTo>
                    <a:lnTo>
                      <a:pt x="1730" y="2"/>
                    </a:lnTo>
                    <a:lnTo>
                      <a:pt x="1538" y="7"/>
                    </a:lnTo>
                    <a:lnTo>
                      <a:pt x="1353" y="17"/>
                    </a:lnTo>
                    <a:lnTo>
                      <a:pt x="1177" y="32"/>
                    </a:lnTo>
                    <a:lnTo>
                      <a:pt x="1009" y="49"/>
                    </a:lnTo>
                    <a:lnTo>
                      <a:pt x="849" y="70"/>
                    </a:lnTo>
                    <a:lnTo>
                      <a:pt x="774" y="81"/>
                    </a:lnTo>
                    <a:lnTo>
                      <a:pt x="700" y="94"/>
                    </a:lnTo>
                    <a:lnTo>
                      <a:pt x="631" y="107"/>
                    </a:lnTo>
                    <a:lnTo>
                      <a:pt x="565" y="120"/>
                    </a:lnTo>
                    <a:lnTo>
                      <a:pt x="501" y="135"/>
                    </a:lnTo>
                    <a:lnTo>
                      <a:pt x="441" y="150"/>
                    </a:lnTo>
                    <a:lnTo>
                      <a:pt x="382" y="166"/>
                    </a:lnTo>
                    <a:lnTo>
                      <a:pt x="330" y="182"/>
                    </a:lnTo>
                    <a:lnTo>
                      <a:pt x="279" y="199"/>
                    </a:lnTo>
                    <a:lnTo>
                      <a:pt x="234" y="216"/>
                    </a:lnTo>
                    <a:lnTo>
                      <a:pt x="191" y="233"/>
                    </a:lnTo>
                    <a:lnTo>
                      <a:pt x="151" y="252"/>
                    </a:lnTo>
                    <a:lnTo>
                      <a:pt x="117" y="271"/>
                    </a:lnTo>
                    <a:lnTo>
                      <a:pt x="87" y="290"/>
                    </a:lnTo>
                    <a:lnTo>
                      <a:pt x="61" y="310"/>
                    </a:lnTo>
                    <a:lnTo>
                      <a:pt x="40" y="331"/>
                    </a:lnTo>
                    <a:lnTo>
                      <a:pt x="23" y="350"/>
                    </a:lnTo>
                    <a:lnTo>
                      <a:pt x="10" y="371"/>
                    </a:lnTo>
                    <a:lnTo>
                      <a:pt x="6" y="382"/>
                    </a:lnTo>
                    <a:lnTo>
                      <a:pt x="2" y="393"/>
                    </a:lnTo>
                    <a:lnTo>
                      <a:pt x="0" y="403"/>
                    </a:lnTo>
                    <a:lnTo>
                      <a:pt x="0" y="414"/>
                    </a:lnTo>
                    <a:lnTo>
                      <a:pt x="0" y="414"/>
                    </a:lnTo>
                    <a:lnTo>
                      <a:pt x="0" y="425"/>
                    </a:lnTo>
                    <a:lnTo>
                      <a:pt x="2" y="435"/>
                    </a:lnTo>
                    <a:lnTo>
                      <a:pt x="6" y="446"/>
                    </a:lnTo>
                    <a:lnTo>
                      <a:pt x="10" y="457"/>
                    </a:lnTo>
                    <a:lnTo>
                      <a:pt x="23" y="478"/>
                    </a:lnTo>
                    <a:lnTo>
                      <a:pt x="40" y="497"/>
                    </a:lnTo>
                    <a:lnTo>
                      <a:pt x="61" y="517"/>
                    </a:lnTo>
                    <a:lnTo>
                      <a:pt x="87" y="538"/>
                    </a:lnTo>
                    <a:lnTo>
                      <a:pt x="117" y="557"/>
                    </a:lnTo>
                    <a:lnTo>
                      <a:pt x="151" y="576"/>
                    </a:lnTo>
                    <a:lnTo>
                      <a:pt x="191" y="595"/>
                    </a:lnTo>
                    <a:lnTo>
                      <a:pt x="234" y="612"/>
                    </a:lnTo>
                    <a:lnTo>
                      <a:pt x="279" y="629"/>
                    </a:lnTo>
                    <a:lnTo>
                      <a:pt x="330" y="645"/>
                    </a:lnTo>
                    <a:lnTo>
                      <a:pt x="382" y="662"/>
                    </a:lnTo>
                    <a:lnTo>
                      <a:pt x="441" y="677"/>
                    </a:lnTo>
                    <a:lnTo>
                      <a:pt x="501" y="692"/>
                    </a:lnTo>
                    <a:lnTo>
                      <a:pt x="565" y="708"/>
                    </a:lnTo>
                    <a:lnTo>
                      <a:pt x="631" y="721"/>
                    </a:lnTo>
                    <a:lnTo>
                      <a:pt x="700" y="734"/>
                    </a:lnTo>
                    <a:lnTo>
                      <a:pt x="774" y="747"/>
                    </a:lnTo>
                    <a:lnTo>
                      <a:pt x="849" y="758"/>
                    </a:lnTo>
                    <a:lnTo>
                      <a:pt x="1009" y="779"/>
                    </a:lnTo>
                    <a:lnTo>
                      <a:pt x="1177" y="796"/>
                    </a:lnTo>
                    <a:lnTo>
                      <a:pt x="1353" y="811"/>
                    </a:lnTo>
                    <a:lnTo>
                      <a:pt x="1538" y="820"/>
                    </a:lnTo>
                    <a:lnTo>
                      <a:pt x="1730" y="826"/>
                    </a:lnTo>
                    <a:lnTo>
                      <a:pt x="1925" y="828"/>
                    </a:lnTo>
                    <a:lnTo>
                      <a:pt x="1925" y="828"/>
                    </a:lnTo>
                    <a:lnTo>
                      <a:pt x="2123" y="826"/>
                    </a:lnTo>
                    <a:lnTo>
                      <a:pt x="2313" y="820"/>
                    </a:lnTo>
                    <a:lnTo>
                      <a:pt x="2498" y="811"/>
                    </a:lnTo>
                    <a:lnTo>
                      <a:pt x="2674" y="796"/>
                    </a:lnTo>
                    <a:lnTo>
                      <a:pt x="2844" y="779"/>
                    </a:lnTo>
                    <a:lnTo>
                      <a:pt x="3002" y="758"/>
                    </a:lnTo>
                    <a:lnTo>
                      <a:pt x="3077" y="747"/>
                    </a:lnTo>
                    <a:lnTo>
                      <a:pt x="3151" y="734"/>
                    </a:lnTo>
                    <a:lnTo>
                      <a:pt x="3220" y="721"/>
                    </a:lnTo>
                    <a:lnTo>
                      <a:pt x="3288" y="708"/>
                    </a:lnTo>
                    <a:lnTo>
                      <a:pt x="3352" y="692"/>
                    </a:lnTo>
                    <a:lnTo>
                      <a:pt x="3412" y="677"/>
                    </a:lnTo>
                    <a:lnTo>
                      <a:pt x="3469" y="662"/>
                    </a:lnTo>
                    <a:lnTo>
                      <a:pt x="3523" y="645"/>
                    </a:lnTo>
                    <a:lnTo>
                      <a:pt x="3572" y="629"/>
                    </a:lnTo>
                    <a:lnTo>
                      <a:pt x="3619" y="612"/>
                    </a:lnTo>
                    <a:lnTo>
                      <a:pt x="3660" y="595"/>
                    </a:lnTo>
                    <a:lnTo>
                      <a:pt x="3700" y="576"/>
                    </a:lnTo>
                    <a:lnTo>
                      <a:pt x="3734" y="557"/>
                    </a:lnTo>
                    <a:lnTo>
                      <a:pt x="3764" y="538"/>
                    </a:lnTo>
                    <a:lnTo>
                      <a:pt x="3790" y="517"/>
                    </a:lnTo>
                    <a:lnTo>
                      <a:pt x="3813" y="497"/>
                    </a:lnTo>
                    <a:lnTo>
                      <a:pt x="3830" y="478"/>
                    </a:lnTo>
                    <a:lnTo>
                      <a:pt x="3841" y="457"/>
                    </a:lnTo>
                    <a:lnTo>
                      <a:pt x="3845" y="446"/>
                    </a:lnTo>
                    <a:lnTo>
                      <a:pt x="3849" y="435"/>
                    </a:lnTo>
                    <a:lnTo>
                      <a:pt x="3851" y="425"/>
                    </a:lnTo>
                    <a:lnTo>
                      <a:pt x="3851" y="414"/>
                    </a:lnTo>
                    <a:lnTo>
                      <a:pt x="3851" y="414"/>
                    </a:lnTo>
                    <a:close/>
                  </a:path>
                </a:pathLst>
              </a:custGeom>
              <a:solidFill>
                <a:srgbClr val="FFFFFF">
                  <a:lumMod val="8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1" name="Freeform 8"/>
              <p:cNvSpPr>
                <a:spLocks/>
              </p:cNvSpPr>
              <p:nvPr/>
            </p:nvSpPr>
            <p:spPr bwMode="auto">
              <a:xfrm flipH="1">
                <a:off x="5281581" y="3161977"/>
                <a:ext cx="356328" cy="50032"/>
              </a:xfrm>
              <a:custGeom>
                <a:avLst/>
                <a:gdLst>
                  <a:gd name="T0" fmla="*/ 1925 w 3851"/>
                  <a:gd name="T1" fmla="*/ 414 h 536"/>
                  <a:gd name="T2" fmla="*/ 1538 w 3851"/>
                  <a:gd name="T3" fmla="*/ 406 h 536"/>
                  <a:gd name="T4" fmla="*/ 1177 w 3851"/>
                  <a:gd name="T5" fmla="*/ 382 h 536"/>
                  <a:gd name="T6" fmla="*/ 849 w 3851"/>
                  <a:gd name="T7" fmla="*/ 344 h 536"/>
                  <a:gd name="T8" fmla="*/ 700 w 3851"/>
                  <a:gd name="T9" fmla="*/ 320 h 536"/>
                  <a:gd name="T10" fmla="*/ 565 w 3851"/>
                  <a:gd name="T11" fmla="*/ 294 h 536"/>
                  <a:gd name="T12" fmla="*/ 441 w 3851"/>
                  <a:gd name="T13" fmla="*/ 263 h 536"/>
                  <a:gd name="T14" fmla="*/ 330 w 3851"/>
                  <a:gd name="T15" fmla="*/ 231 h 536"/>
                  <a:gd name="T16" fmla="*/ 234 w 3851"/>
                  <a:gd name="T17" fmla="*/ 198 h 536"/>
                  <a:gd name="T18" fmla="*/ 151 w 3851"/>
                  <a:gd name="T19" fmla="*/ 162 h 536"/>
                  <a:gd name="T20" fmla="*/ 87 w 3851"/>
                  <a:gd name="T21" fmla="*/ 124 h 536"/>
                  <a:gd name="T22" fmla="*/ 40 w 3851"/>
                  <a:gd name="T23" fmla="*/ 83 h 536"/>
                  <a:gd name="T24" fmla="*/ 10 w 3851"/>
                  <a:gd name="T25" fmla="*/ 43 h 536"/>
                  <a:gd name="T26" fmla="*/ 2 w 3851"/>
                  <a:gd name="T27" fmla="*/ 21 h 536"/>
                  <a:gd name="T28" fmla="*/ 0 w 3851"/>
                  <a:gd name="T29" fmla="*/ 0 h 536"/>
                  <a:gd name="T30" fmla="*/ 0 w 3851"/>
                  <a:gd name="T31" fmla="*/ 122 h 536"/>
                  <a:gd name="T32" fmla="*/ 0 w 3851"/>
                  <a:gd name="T33" fmla="*/ 132 h 536"/>
                  <a:gd name="T34" fmla="*/ 6 w 3851"/>
                  <a:gd name="T35" fmla="*/ 154 h 536"/>
                  <a:gd name="T36" fmla="*/ 23 w 3851"/>
                  <a:gd name="T37" fmla="*/ 184 h 536"/>
                  <a:gd name="T38" fmla="*/ 61 w 3851"/>
                  <a:gd name="T39" fmla="*/ 226 h 536"/>
                  <a:gd name="T40" fmla="*/ 117 w 3851"/>
                  <a:gd name="T41" fmla="*/ 265 h 536"/>
                  <a:gd name="T42" fmla="*/ 191 w 3851"/>
                  <a:gd name="T43" fmla="*/ 301 h 536"/>
                  <a:gd name="T44" fmla="*/ 279 w 3851"/>
                  <a:gd name="T45" fmla="*/ 337 h 536"/>
                  <a:gd name="T46" fmla="*/ 382 w 3851"/>
                  <a:gd name="T47" fmla="*/ 371 h 536"/>
                  <a:gd name="T48" fmla="*/ 501 w 3851"/>
                  <a:gd name="T49" fmla="*/ 401 h 536"/>
                  <a:gd name="T50" fmla="*/ 631 w 3851"/>
                  <a:gd name="T51" fmla="*/ 429 h 536"/>
                  <a:gd name="T52" fmla="*/ 774 w 3851"/>
                  <a:gd name="T53" fmla="*/ 454 h 536"/>
                  <a:gd name="T54" fmla="*/ 1009 w 3851"/>
                  <a:gd name="T55" fmla="*/ 487 h 536"/>
                  <a:gd name="T56" fmla="*/ 1353 w 3851"/>
                  <a:gd name="T57" fmla="*/ 518 h 536"/>
                  <a:gd name="T58" fmla="*/ 1730 w 3851"/>
                  <a:gd name="T59" fmla="*/ 534 h 536"/>
                  <a:gd name="T60" fmla="*/ 1925 w 3851"/>
                  <a:gd name="T61" fmla="*/ 536 h 536"/>
                  <a:gd name="T62" fmla="*/ 2313 w 3851"/>
                  <a:gd name="T63" fmla="*/ 529 h 536"/>
                  <a:gd name="T64" fmla="*/ 2674 w 3851"/>
                  <a:gd name="T65" fmla="*/ 504 h 536"/>
                  <a:gd name="T66" fmla="*/ 3002 w 3851"/>
                  <a:gd name="T67" fmla="*/ 467 h 536"/>
                  <a:gd name="T68" fmla="*/ 3151 w 3851"/>
                  <a:gd name="T69" fmla="*/ 442 h 536"/>
                  <a:gd name="T70" fmla="*/ 3288 w 3851"/>
                  <a:gd name="T71" fmla="*/ 416 h 536"/>
                  <a:gd name="T72" fmla="*/ 3412 w 3851"/>
                  <a:gd name="T73" fmla="*/ 386 h 536"/>
                  <a:gd name="T74" fmla="*/ 3523 w 3851"/>
                  <a:gd name="T75" fmla="*/ 354 h 536"/>
                  <a:gd name="T76" fmla="*/ 3619 w 3851"/>
                  <a:gd name="T77" fmla="*/ 320 h 536"/>
                  <a:gd name="T78" fmla="*/ 3700 w 3851"/>
                  <a:gd name="T79" fmla="*/ 284 h 536"/>
                  <a:gd name="T80" fmla="*/ 3764 w 3851"/>
                  <a:gd name="T81" fmla="*/ 245 h 536"/>
                  <a:gd name="T82" fmla="*/ 3813 w 3851"/>
                  <a:gd name="T83" fmla="*/ 205 h 536"/>
                  <a:gd name="T84" fmla="*/ 3841 w 3851"/>
                  <a:gd name="T85" fmla="*/ 164 h 536"/>
                  <a:gd name="T86" fmla="*/ 3849 w 3851"/>
                  <a:gd name="T87" fmla="*/ 143 h 536"/>
                  <a:gd name="T88" fmla="*/ 3851 w 3851"/>
                  <a:gd name="T89" fmla="*/ 122 h 536"/>
                  <a:gd name="T90" fmla="*/ 3849 w 3851"/>
                  <a:gd name="T91" fmla="*/ 17 h 536"/>
                  <a:gd name="T92" fmla="*/ 3847 w 3851"/>
                  <a:gd name="T93" fmla="*/ 28 h 536"/>
                  <a:gd name="T94" fmla="*/ 3832 w 3851"/>
                  <a:gd name="T95" fmla="*/ 58 h 536"/>
                  <a:gd name="T96" fmla="*/ 3798 w 3851"/>
                  <a:gd name="T97" fmla="*/ 98 h 536"/>
                  <a:gd name="T98" fmla="*/ 3745 w 3851"/>
                  <a:gd name="T99" fmla="*/ 135 h 536"/>
                  <a:gd name="T100" fmla="*/ 3677 w 3851"/>
                  <a:gd name="T101" fmla="*/ 173 h 536"/>
                  <a:gd name="T102" fmla="*/ 3595 w 3851"/>
                  <a:gd name="T103" fmla="*/ 207 h 536"/>
                  <a:gd name="T104" fmla="*/ 3497 w 3851"/>
                  <a:gd name="T105" fmla="*/ 241 h 536"/>
                  <a:gd name="T106" fmla="*/ 3384 w 3851"/>
                  <a:gd name="T107" fmla="*/ 271 h 536"/>
                  <a:gd name="T108" fmla="*/ 3262 w 3851"/>
                  <a:gd name="T109" fmla="*/ 299 h 536"/>
                  <a:gd name="T110" fmla="*/ 3126 w 3851"/>
                  <a:gd name="T111" fmla="*/ 324 h 536"/>
                  <a:gd name="T112" fmla="*/ 2823 w 3851"/>
                  <a:gd name="T113" fmla="*/ 367 h 536"/>
                  <a:gd name="T114" fmla="*/ 2484 w 3851"/>
                  <a:gd name="T115" fmla="*/ 397 h 536"/>
                  <a:gd name="T116" fmla="*/ 2117 w 3851"/>
                  <a:gd name="T117" fmla="*/ 412 h 536"/>
                  <a:gd name="T118" fmla="*/ 1925 w 3851"/>
                  <a:gd name="T119" fmla="*/ 414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51" h="536">
                    <a:moveTo>
                      <a:pt x="1925" y="414"/>
                    </a:moveTo>
                    <a:lnTo>
                      <a:pt x="1925" y="414"/>
                    </a:lnTo>
                    <a:lnTo>
                      <a:pt x="1730" y="412"/>
                    </a:lnTo>
                    <a:lnTo>
                      <a:pt x="1538" y="406"/>
                    </a:lnTo>
                    <a:lnTo>
                      <a:pt x="1353" y="397"/>
                    </a:lnTo>
                    <a:lnTo>
                      <a:pt x="1177" y="382"/>
                    </a:lnTo>
                    <a:lnTo>
                      <a:pt x="1009" y="365"/>
                    </a:lnTo>
                    <a:lnTo>
                      <a:pt x="849" y="344"/>
                    </a:lnTo>
                    <a:lnTo>
                      <a:pt x="774" y="333"/>
                    </a:lnTo>
                    <a:lnTo>
                      <a:pt x="700" y="320"/>
                    </a:lnTo>
                    <a:lnTo>
                      <a:pt x="631" y="307"/>
                    </a:lnTo>
                    <a:lnTo>
                      <a:pt x="565" y="294"/>
                    </a:lnTo>
                    <a:lnTo>
                      <a:pt x="501" y="278"/>
                    </a:lnTo>
                    <a:lnTo>
                      <a:pt x="441" y="263"/>
                    </a:lnTo>
                    <a:lnTo>
                      <a:pt x="382" y="248"/>
                    </a:lnTo>
                    <a:lnTo>
                      <a:pt x="330" y="231"/>
                    </a:lnTo>
                    <a:lnTo>
                      <a:pt x="279" y="215"/>
                    </a:lnTo>
                    <a:lnTo>
                      <a:pt x="234" y="198"/>
                    </a:lnTo>
                    <a:lnTo>
                      <a:pt x="191" y="181"/>
                    </a:lnTo>
                    <a:lnTo>
                      <a:pt x="151" y="162"/>
                    </a:lnTo>
                    <a:lnTo>
                      <a:pt x="117" y="143"/>
                    </a:lnTo>
                    <a:lnTo>
                      <a:pt x="87" y="124"/>
                    </a:lnTo>
                    <a:lnTo>
                      <a:pt x="61" y="103"/>
                    </a:lnTo>
                    <a:lnTo>
                      <a:pt x="40" y="83"/>
                    </a:lnTo>
                    <a:lnTo>
                      <a:pt x="23" y="64"/>
                    </a:lnTo>
                    <a:lnTo>
                      <a:pt x="10" y="43"/>
                    </a:lnTo>
                    <a:lnTo>
                      <a:pt x="6" y="32"/>
                    </a:lnTo>
                    <a:lnTo>
                      <a:pt x="2" y="21"/>
                    </a:lnTo>
                    <a:lnTo>
                      <a:pt x="0" y="11"/>
                    </a:lnTo>
                    <a:lnTo>
                      <a:pt x="0" y="0"/>
                    </a:lnTo>
                    <a:lnTo>
                      <a:pt x="0" y="0"/>
                    </a:lnTo>
                    <a:lnTo>
                      <a:pt x="0" y="122"/>
                    </a:lnTo>
                    <a:lnTo>
                      <a:pt x="0" y="122"/>
                    </a:lnTo>
                    <a:lnTo>
                      <a:pt x="0" y="132"/>
                    </a:lnTo>
                    <a:lnTo>
                      <a:pt x="2" y="143"/>
                    </a:lnTo>
                    <a:lnTo>
                      <a:pt x="6" y="154"/>
                    </a:lnTo>
                    <a:lnTo>
                      <a:pt x="10" y="164"/>
                    </a:lnTo>
                    <a:lnTo>
                      <a:pt x="23" y="184"/>
                    </a:lnTo>
                    <a:lnTo>
                      <a:pt x="40" y="205"/>
                    </a:lnTo>
                    <a:lnTo>
                      <a:pt x="61" y="226"/>
                    </a:lnTo>
                    <a:lnTo>
                      <a:pt x="87" y="245"/>
                    </a:lnTo>
                    <a:lnTo>
                      <a:pt x="117" y="265"/>
                    </a:lnTo>
                    <a:lnTo>
                      <a:pt x="151" y="284"/>
                    </a:lnTo>
                    <a:lnTo>
                      <a:pt x="191" y="301"/>
                    </a:lnTo>
                    <a:lnTo>
                      <a:pt x="234" y="320"/>
                    </a:lnTo>
                    <a:lnTo>
                      <a:pt x="279" y="337"/>
                    </a:lnTo>
                    <a:lnTo>
                      <a:pt x="330" y="354"/>
                    </a:lnTo>
                    <a:lnTo>
                      <a:pt x="382" y="371"/>
                    </a:lnTo>
                    <a:lnTo>
                      <a:pt x="441" y="386"/>
                    </a:lnTo>
                    <a:lnTo>
                      <a:pt x="501" y="401"/>
                    </a:lnTo>
                    <a:lnTo>
                      <a:pt x="565" y="416"/>
                    </a:lnTo>
                    <a:lnTo>
                      <a:pt x="631" y="429"/>
                    </a:lnTo>
                    <a:lnTo>
                      <a:pt x="700" y="442"/>
                    </a:lnTo>
                    <a:lnTo>
                      <a:pt x="774" y="454"/>
                    </a:lnTo>
                    <a:lnTo>
                      <a:pt x="849" y="467"/>
                    </a:lnTo>
                    <a:lnTo>
                      <a:pt x="1009" y="487"/>
                    </a:lnTo>
                    <a:lnTo>
                      <a:pt x="1177" y="504"/>
                    </a:lnTo>
                    <a:lnTo>
                      <a:pt x="1353" y="518"/>
                    </a:lnTo>
                    <a:lnTo>
                      <a:pt x="1538" y="529"/>
                    </a:lnTo>
                    <a:lnTo>
                      <a:pt x="1730" y="534"/>
                    </a:lnTo>
                    <a:lnTo>
                      <a:pt x="1925" y="536"/>
                    </a:lnTo>
                    <a:lnTo>
                      <a:pt x="1925" y="536"/>
                    </a:lnTo>
                    <a:lnTo>
                      <a:pt x="2123" y="534"/>
                    </a:lnTo>
                    <a:lnTo>
                      <a:pt x="2313" y="529"/>
                    </a:lnTo>
                    <a:lnTo>
                      <a:pt x="2498" y="518"/>
                    </a:lnTo>
                    <a:lnTo>
                      <a:pt x="2674" y="504"/>
                    </a:lnTo>
                    <a:lnTo>
                      <a:pt x="2844" y="487"/>
                    </a:lnTo>
                    <a:lnTo>
                      <a:pt x="3002" y="467"/>
                    </a:lnTo>
                    <a:lnTo>
                      <a:pt x="3077" y="454"/>
                    </a:lnTo>
                    <a:lnTo>
                      <a:pt x="3151" y="442"/>
                    </a:lnTo>
                    <a:lnTo>
                      <a:pt x="3220" y="429"/>
                    </a:lnTo>
                    <a:lnTo>
                      <a:pt x="3288" y="416"/>
                    </a:lnTo>
                    <a:lnTo>
                      <a:pt x="3352" y="401"/>
                    </a:lnTo>
                    <a:lnTo>
                      <a:pt x="3412" y="386"/>
                    </a:lnTo>
                    <a:lnTo>
                      <a:pt x="3469" y="371"/>
                    </a:lnTo>
                    <a:lnTo>
                      <a:pt x="3523" y="354"/>
                    </a:lnTo>
                    <a:lnTo>
                      <a:pt x="3572" y="337"/>
                    </a:lnTo>
                    <a:lnTo>
                      <a:pt x="3619" y="320"/>
                    </a:lnTo>
                    <a:lnTo>
                      <a:pt x="3660" y="301"/>
                    </a:lnTo>
                    <a:lnTo>
                      <a:pt x="3700" y="284"/>
                    </a:lnTo>
                    <a:lnTo>
                      <a:pt x="3734" y="265"/>
                    </a:lnTo>
                    <a:lnTo>
                      <a:pt x="3764" y="245"/>
                    </a:lnTo>
                    <a:lnTo>
                      <a:pt x="3790" y="226"/>
                    </a:lnTo>
                    <a:lnTo>
                      <a:pt x="3813" y="205"/>
                    </a:lnTo>
                    <a:lnTo>
                      <a:pt x="3830" y="184"/>
                    </a:lnTo>
                    <a:lnTo>
                      <a:pt x="3841" y="164"/>
                    </a:lnTo>
                    <a:lnTo>
                      <a:pt x="3845" y="154"/>
                    </a:lnTo>
                    <a:lnTo>
                      <a:pt x="3849" y="143"/>
                    </a:lnTo>
                    <a:lnTo>
                      <a:pt x="3851" y="132"/>
                    </a:lnTo>
                    <a:lnTo>
                      <a:pt x="3851" y="122"/>
                    </a:lnTo>
                    <a:lnTo>
                      <a:pt x="3851" y="122"/>
                    </a:lnTo>
                    <a:lnTo>
                      <a:pt x="3849" y="17"/>
                    </a:lnTo>
                    <a:lnTo>
                      <a:pt x="3849" y="17"/>
                    </a:lnTo>
                    <a:lnTo>
                      <a:pt x="3847" y="28"/>
                    </a:lnTo>
                    <a:lnTo>
                      <a:pt x="3843" y="38"/>
                    </a:lnTo>
                    <a:lnTo>
                      <a:pt x="3832" y="58"/>
                    </a:lnTo>
                    <a:lnTo>
                      <a:pt x="3817" y="77"/>
                    </a:lnTo>
                    <a:lnTo>
                      <a:pt x="3798" y="98"/>
                    </a:lnTo>
                    <a:lnTo>
                      <a:pt x="3773" y="117"/>
                    </a:lnTo>
                    <a:lnTo>
                      <a:pt x="3745" y="135"/>
                    </a:lnTo>
                    <a:lnTo>
                      <a:pt x="3713" y="154"/>
                    </a:lnTo>
                    <a:lnTo>
                      <a:pt x="3677" y="173"/>
                    </a:lnTo>
                    <a:lnTo>
                      <a:pt x="3638" y="190"/>
                    </a:lnTo>
                    <a:lnTo>
                      <a:pt x="3595" y="207"/>
                    </a:lnTo>
                    <a:lnTo>
                      <a:pt x="3546" y="224"/>
                    </a:lnTo>
                    <a:lnTo>
                      <a:pt x="3497" y="241"/>
                    </a:lnTo>
                    <a:lnTo>
                      <a:pt x="3442" y="256"/>
                    </a:lnTo>
                    <a:lnTo>
                      <a:pt x="3384" y="271"/>
                    </a:lnTo>
                    <a:lnTo>
                      <a:pt x="3324" y="286"/>
                    </a:lnTo>
                    <a:lnTo>
                      <a:pt x="3262" y="299"/>
                    </a:lnTo>
                    <a:lnTo>
                      <a:pt x="3194" y="312"/>
                    </a:lnTo>
                    <a:lnTo>
                      <a:pt x="3126" y="324"/>
                    </a:lnTo>
                    <a:lnTo>
                      <a:pt x="2979" y="348"/>
                    </a:lnTo>
                    <a:lnTo>
                      <a:pt x="2823" y="367"/>
                    </a:lnTo>
                    <a:lnTo>
                      <a:pt x="2657" y="384"/>
                    </a:lnTo>
                    <a:lnTo>
                      <a:pt x="2484" y="397"/>
                    </a:lnTo>
                    <a:lnTo>
                      <a:pt x="2304" y="406"/>
                    </a:lnTo>
                    <a:lnTo>
                      <a:pt x="2117" y="412"/>
                    </a:lnTo>
                    <a:lnTo>
                      <a:pt x="1925" y="414"/>
                    </a:lnTo>
                    <a:lnTo>
                      <a:pt x="1925" y="414"/>
                    </a:lnTo>
                    <a:close/>
                  </a:path>
                </a:pathLst>
              </a:custGeom>
              <a:solidFill>
                <a:srgbClr val="505050">
                  <a:lumMod val="60000"/>
                  <a:lumOff val="40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2" name="Freeform 2411"/>
              <p:cNvSpPr>
                <a:spLocks/>
              </p:cNvSpPr>
              <p:nvPr/>
            </p:nvSpPr>
            <p:spPr bwMode="auto">
              <a:xfrm flipH="1">
                <a:off x="5412821" y="3084970"/>
                <a:ext cx="124392" cy="77003"/>
              </a:xfrm>
              <a:custGeom>
                <a:avLst/>
                <a:gdLst>
                  <a:gd name="T0" fmla="*/ 0 w 1346"/>
                  <a:gd name="T1" fmla="*/ 0 h 830"/>
                  <a:gd name="T2" fmla="*/ 459 w 1346"/>
                  <a:gd name="T3" fmla="*/ 734 h 830"/>
                  <a:gd name="T4" fmla="*/ 1346 w 1346"/>
                  <a:gd name="T5" fmla="*/ 830 h 830"/>
                  <a:gd name="T6" fmla="*/ 1088 w 1346"/>
                  <a:gd name="T7" fmla="*/ 0 h 830"/>
                  <a:gd name="T8" fmla="*/ 0 w 1346"/>
                  <a:gd name="T9" fmla="*/ 0 h 830"/>
                </a:gdLst>
                <a:ahLst/>
                <a:cxnLst>
                  <a:cxn ang="0">
                    <a:pos x="T0" y="T1"/>
                  </a:cxn>
                  <a:cxn ang="0">
                    <a:pos x="T2" y="T3"/>
                  </a:cxn>
                  <a:cxn ang="0">
                    <a:pos x="T4" y="T5"/>
                  </a:cxn>
                  <a:cxn ang="0">
                    <a:pos x="T6" y="T7"/>
                  </a:cxn>
                  <a:cxn ang="0">
                    <a:pos x="T8" y="T9"/>
                  </a:cxn>
                </a:cxnLst>
                <a:rect l="0" t="0" r="r" b="b"/>
                <a:pathLst>
                  <a:path w="1346" h="830">
                    <a:moveTo>
                      <a:pt x="0" y="0"/>
                    </a:moveTo>
                    <a:lnTo>
                      <a:pt x="459" y="734"/>
                    </a:lnTo>
                    <a:lnTo>
                      <a:pt x="1346" y="830"/>
                    </a:lnTo>
                    <a:lnTo>
                      <a:pt x="1088" y="0"/>
                    </a:lnTo>
                    <a:lnTo>
                      <a:pt x="0" y="0"/>
                    </a:lnTo>
                    <a:close/>
                  </a:path>
                </a:pathLst>
              </a:custGeom>
              <a:solidFill>
                <a:srgbClr val="FFFFFF">
                  <a:lumMod val="8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3" name="Freeform 7"/>
              <p:cNvSpPr>
                <a:spLocks/>
              </p:cNvSpPr>
              <p:nvPr/>
            </p:nvSpPr>
            <p:spPr bwMode="auto">
              <a:xfrm flipH="1">
                <a:off x="5221223" y="3159927"/>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FFFFFF"/>
              </a:solidFill>
              <a:ln w="4">
                <a:solidFill>
                  <a:srgbClr val="000000"/>
                </a:solid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4" name="Freeform 9"/>
              <p:cNvSpPr>
                <a:spLocks/>
              </p:cNvSpPr>
              <p:nvPr/>
            </p:nvSpPr>
            <p:spPr bwMode="auto">
              <a:xfrm flipH="1">
                <a:off x="5658979" y="3161601"/>
                <a:ext cx="0" cy="373"/>
              </a:xfrm>
              <a:custGeom>
                <a:avLst/>
                <a:gdLst>
                  <a:gd name="T0" fmla="*/ 0 h 6"/>
                  <a:gd name="T1" fmla="*/ 0 h 6"/>
                  <a:gd name="T2" fmla="*/ 6 h 6"/>
                  <a:gd name="T3" fmla="*/ 6 h 6"/>
                  <a:gd name="T4" fmla="*/ 0 h 6"/>
                  <a:gd name="T5" fmla="*/ 0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lnTo>
                      <a:pt x="0" y="0"/>
                    </a:lnTo>
                    <a:lnTo>
                      <a:pt x="0" y="6"/>
                    </a:lnTo>
                    <a:lnTo>
                      <a:pt x="0" y="6"/>
                    </a:lnTo>
                    <a:lnTo>
                      <a:pt x="0" y="0"/>
                    </a:lnTo>
                    <a:lnTo>
                      <a:pt x="0" y="0"/>
                    </a:lnTo>
                    <a:lnTo>
                      <a:pt x="0" y="0"/>
                    </a:lnTo>
                    <a:lnTo>
                      <a:pt x="0" y="0"/>
                    </a:lnTo>
                    <a:close/>
                  </a:path>
                </a:pathLst>
              </a:custGeom>
              <a:solidFill>
                <a:srgbClr val="FFFFFF"/>
              </a:solidFill>
              <a:ln w="4">
                <a:solidFill>
                  <a:srgbClr val="000000"/>
                </a:solid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5" name="Freeform 2414"/>
              <p:cNvSpPr>
                <a:spLocks/>
              </p:cNvSpPr>
              <p:nvPr/>
            </p:nvSpPr>
            <p:spPr bwMode="auto">
              <a:xfrm flipH="1">
                <a:off x="5178899" y="2671679"/>
                <a:ext cx="584282" cy="433195"/>
              </a:xfrm>
              <a:custGeom>
                <a:avLst/>
                <a:gdLst>
                  <a:gd name="T0" fmla="*/ 4723 w 5135"/>
                  <a:gd name="T1" fmla="*/ 4658 h 4658"/>
                  <a:gd name="T2" fmla="*/ 412 w 5135"/>
                  <a:gd name="T3" fmla="*/ 4383 h 4658"/>
                  <a:gd name="T4" fmla="*/ 371 w 5135"/>
                  <a:gd name="T5" fmla="*/ 4377 h 4658"/>
                  <a:gd name="T6" fmla="*/ 290 w 5135"/>
                  <a:gd name="T7" fmla="*/ 4356 h 4658"/>
                  <a:gd name="T8" fmla="*/ 216 w 5135"/>
                  <a:gd name="T9" fmla="*/ 4321 h 4658"/>
                  <a:gd name="T10" fmla="*/ 150 w 5135"/>
                  <a:gd name="T11" fmla="*/ 4272 h 4658"/>
                  <a:gd name="T12" fmla="*/ 94 w 5135"/>
                  <a:gd name="T13" fmla="*/ 4212 h 4658"/>
                  <a:gd name="T14" fmla="*/ 49 w 5135"/>
                  <a:gd name="T15" fmla="*/ 4144 h 4658"/>
                  <a:gd name="T16" fmla="*/ 19 w 5135"/>
                  <a:gd name="T17" fmla="*/ 4067 h 4658"/>
                  <a:gd name="T18" fmla="*/ 2 w 5135"/>
                  <a:gd name="T19" fmla="*/ 3986 h 4658"/>
                  <a:gd name="T20" fmla="*/ 0 w 5135"/>
                  <a:gd name="T21" fmla="*/ 1321 h 4658"/>
                  <a:gd name="T22" fmla="*/ 2 w 5135"/>
                  <a:gd name="T23" fmla="*/ 1279 h 4658"/>
                  <a:gd name="T24" fmla="*/ 17 w 5135"/>
                  <a:gd name="T25" fmla="*/ 1200 h 4658"/>
                  <a:gd name="T26" fmla="*/ 45 w 5135"/>
                  <a:gd name="T27" fmla="*/ 1125 h 4658"/>
                  <a:gd name="T28" fmla="*/ 85 w 5135"/>
                  <a:gd name="T29" fmla="*/ 1054 h 4658"/>
                  <a:gd name="T30" fmla="*/ 137 w 5135"/>
                  <a:gd name="T31" fmla="*/ 992 h 4658"/>
                  <a:gd name="T32" fmla="*/ 197 w 5135"/>
                  <a:gd name="T33" fmla="*/ 939 h 4658"/>
                  <a:gd name="T34" fmla="*/ 265 w 5135"/>
                  <a:gd name="T35" fmla="*/ 896 h 4658"/>
                  <a:gd name="T36" fmla="*/ 341 w 5135"/>
                  <a:gd name="T37" fmla="*/ 865 h 4658"/>
                  <a:gd name="T38" fmla="*/ 4672 w 5135"/>
                  <a:gd name="T39" fmla="*/ 9 h 4658"/>
                  <a:gd name="T40" fmla="*/ 4712 w 5135"/>
                  <a:gd name="T41" fmla="*/ 2 h 4658"/>
                  <a:gd name="T42" fmla="*/ 4753 w 5135"/>
                  <a:gd name="T43" fmla="*/ 0 h 4658"/>
                  <a:gd name="T44" fmla="*/ 4830 w 5135"/>
                  <a:gd name="T45" fmla="*/ 7 h 4658"/>
                  <a:gd name="T46" fmla="*/ 4904 w 5135"/>
                  <a:gd name="T47" fmla="*/ 30 h 4658"/>
                  <a:gd name="T48" fmla="*/ 4968 w 5135"/>
                  <a:gd name="T49" fmla="*/ 66 h 4658"/>
                  <a:gd name="T50" fmla="*/ 5024 w 5135"/>
                  <a:gd name="T51" fmla="*/ 113 h 4658"/>
                  <a:gd name="T52" fmla="*/ 5071 w 5135"/>
                  <a:gd name="T53" fmla="*/ 171 h 4658"/>
                  <a:gd name="T54" fmla="*/ 5105 w 5135"/>
                  <a:gd name="T55" fmla="*/ 237 h 4658"/>
                  <a:gd name="T56" fmla="*/ 5128 w 5135"/>
                  <a:gd name="T57" fmla="*/ 310 h 4658"/>
                  <a:gd name="T58" fmla="*/ 5135 w 5135"/>
                  <a:gd name="T59" fmla="*/ 389 h 4658"/>
                  <a:gd name="T60" fmla="*/ 5135 w 5135"/>
                  <a:gd name="T61" fmla="*/ 4244 h 4658"/>
                  <a:gd name="T62" fmla="*/ 5128 w 5135"/>
                  <a:gd name="T63" fmla="*/ 4326 h 4658"/>
                  <a:gd name="T64" fmla="*/ 5103 w 5135"/>
                  <a:gd name="T65" fmla="*/ 4404 h 4658"/>
                  <a:gd name="T66" fmla="*/ 5066 w 5135"/>
                  <a:gd name="T67" fmla="*/ 4475 h 4658"/>
                  <a:gd name="T68" fmla="*/ 5015 w 5135"/>
                  <a:gd name="T69" fmla="*/ 4535 h 4658"/>
                  <a:gd name="T70" fmla="*/ 4953 w 5135"/>
                  <a:gd name="T71" fmla="*/ 4586 h 4658"/>
                  <a:gd name="T72" fmla="*/ 4883 w 5135"/>
                  <a:gd name="T73" fmla="*/ 4624 h 4658"/>
                  <a:gd name="T74" fmla="*/ 4806 w 5135"/>
                  <a:gd name="T75" fmla="*/ 4648 h 4658"/>
                  <a:gd name="T76" fmla="*/ 4723 w 5135"/>
                  <a:gd name="T77" fmla="*/ 4658 h 4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35" h="4658">
                    <a:moveTo>
                      <a:pt x="4723" y="4658"/>
                    </a:moveTo>
                    <a:lnTo>
                      <a:pt x="4723" y="4658"/>
                    </a:lnTo>
                    <a:lnTo>
                      <a:pt x="4695" y="4656"/>
                    </a:lnTo>
                    <a:lnTo>
                      <a:pt x="412" y="4383"/>
                    </a:lnTo>
                    <a:lnTo>
                      <a:pt x="412" y="4383"/>
                    </a:lnTo>
                    <a:lnTo>
                      <a:pt x="371" y="4377"/>
                    </a:lnTo>
                    <a:lnTo>
                      <a:pt x="329" y="4370"/>
                    </a:lnTo>
                    <a:lnTo>
                      <a:pt x="290" y="4356"/>
                    </a:lnTo>
                    <a:lnTo>
                      <a:pt x="252" y="4340"/>
                    </a:lnTo>
                    <a:lnTo>
                      <a:pt x="216" y="4321"/>
                    </a:lnTo>
                    <a:lnTo>
                      <a:pt x="181" y="4296"/>
                    </a:lnTo>
                    <a:lnTo>
                      <a:pt x="150" y="4272"/>
                    </a:lnTo>
                    <a:lnTo>
                      <a:pt x="120" y="4244"/>
                    </a:lnTo>
                    <a:lnTo>
                      <a:pt x="94" y="4212"/>
                    </a:lnTo>
                    <a:lnTo>
                      <a:pt x="70" y="4178"/>
                    </a:lnTo>
                    <a:lnTo>
                      <a:pt x="49" y="4144"/>
                    </a:lnTo>
                    <a:lnTo>
                      <a:pt x="32" y="4106"/>
                    </a:lnTo>
                    <a:lnTo>
                      <a:pt x="19" y="4067"/>
                    </a:lnTo>
                    <a:lnTo>
                      <a:pt x="7" y="4027"/>
                    </a:lnTo>
                    <a:lnTo>
                      <a:pt x="2" y="3986"/>
                    </a:lnTo>
                    <a:lnTo>
                      <a:pt x="0" y="3942"/>
                    </a:lnTo>
                    <a:lnTo>
                      <a:pt x="0" y="1321"/>
                    </a:lnTo>
                    <a:lnTo>
                      <a:pt x="0" y="1321"/>
                    </a:lnTo>
                    <a:lnTo>
                      <a:pt x="2" y="1279"/>
                    </a:lnTo>
                    <a:lnTo>
                      <a:pt x="7" y="1240"/>
                    </a:lnTo>
                    <a:lnTo>
                      <a:pt x="17" y="1200"/>
                    </a:lnTo>
                    <a:lnTo>
                      <a:pt x="28" y="1161"/>
                    </a:lnTo>
                    <a:lnTo>
                      <a:pt x="45" y="1125"/>
                    </a:lnTo>
                    <a:lnTo>
                      <a:pt x="64" y="1089"/>
                    </a:lnTo>
                    <a:lnTo>
                      <a:pt x="85" y="1054"/>
                    </a:lnTo>
                    <a:lnTo>
                      <a:pt x="109" y="1022"/>
                    </a:lnTo>
                    <a:lnTo>
                      <a:pt x="137" y="992"/>
                    </a:lnTo>
                    <a:lnTo>
                      <a:pt x="166" y="963"/>
                    </a:lnTo>
                    <a:lnTo>
                      <a:pt x="197" y="939"/>
                    </a:lnTo>
                    <a:lnTo>
                      <a:pt x="231" y="916"/>
                    </a:lnTo>
                    <a:lnTo>
                      <a:pt x="265" y="896"/>
                    </a:lnTo>
                    <a:lnTo>
                      <a:pt x="303" y="879"/>
                    </a:lnTo>
                    <a:lnTo>
                      <a:pt x="341" y="865"/>
                    </a:lnTo>
                    <a:lnTo>
                      <a:pt x="380" y="856"/>
                    </a:lnTo>
                    <a:lnTo>
                      <a:pt x="4672" y="9"/>
                    </a:lnTo>
                    <a:lnTo>
                      <a:pt x="4672" y="9"/>
                    </a:lnTo>
                    <a:lnTo>
                      <a:pt x="4712" y="2"/>
                    </a:lnTo>
                    <a:lnTo>
                      <a:pt x="4753" y="0"/>
                    </a:lnTo>
                    <a:lnTo>
                      <a:pt x="4753" y="0"/>
                    </a:lnTo>
                    <a:lnTo>
                      <a:pt x="4793" y="2"/>
                    </a:lnTo>
                    <a:lnTo>
                      <a:pt x="4830" y="7"/>
                    </a:lnTo>
                    <a:lnTo>
                      <a:pt x="4868" y="17"/>
                    </a:lnTo>
                    <a:lnTo>
                      <a:pt x="4904" y="30"/>
                    </a:lnTo>
                    <a:lnTo>
                      <a:pt x="4936" y="47"/>
                    </a:lnTo>
                    <a:lnTo>
                      <a:pt x="4968" y="66"/>
                    </a:lnTo>
                    <a:lnTo>
                      <a:pt x="4998" y="88"/>
                    </a:lnTo>
                    <a:lnTo>
                      <a:pt x="5024" y="113"/>
                    </a:lnTo>
                    <a:lnTo>
                      <a:pt x="5049" y="141"/>
                    </a:lnTo>
                    <a:lnTo>
                      <a:pt x="5071" y="171"/>
                    </a:lnTo>
                    <a:lnTo>
                      <a:pt x="5090" y="203"/>
                    </a:lnTo>
                    <a:lnTo>
                      <a:pt x="5105" y="237"/>
                    </a:lnTo>
                    <a:lnTo>
                      <a:pt x="5118" y="273"/>
                    </a:lnTo>
                    <a:lnTo>
                      <a:pt x="5128" y="310"/>
                    </a:lnTo>
                    <a:lnTo>
                      <a:pt x="5133" y="350"/>
                    </a:lnTo>
                    <a:lnTo>
                      <a:pt x="5135" y="389"/>
                    </a:lnTo>
                    <a:lnTo>
                      <a:pt x="5135" y="4244"/>
                    </a:lnTo>
                    <a:lnTo>
                      <a:pt x="5135" y="4244"/>
                    </a:lnTo>
                    <a:lnTo>
                      <a:pt x="5133" y="4285"/>
                    </a:lnTo>
                    <a:lnTo>
                      <a:pt x="5128" y="4326"/>
                    </a:lnTo>
                    <a:lnTo>
                      <a:pt x="5116" y="4366"/>
                    </a:lnTo>
                    <a:lnTo>
                      <a:pt x="5103" y="4404"/>
                    </a:lnTo>
                    <a:lnTo>
                      <a:pt x="5086" y="4441"/>
                    </a:lnTo>
                    <a:lnTo>
                      <a:pt x="5066" y="4475"/>
                    </a:lnTo>
                    <a:lnTo>
                      <a:pt x="5041" y="4507"/>
                    </a:lnTo>
                    <a:lnTo>
                      <a:pt x="5015" y="4535"/>
                    </a:lnTo>
                    <a:lnTo>
                      <a:pt x="4985" y="4562"/>
                    </a:lnTo>
                    <a:lnTo>
                      <a:pt x="4953" y="4586"/>
                    </a:lnTo>
                    <a:lnTo>
                      <a:pt x="4919" y="4607"/>
                    </a:lnTo>
                    <a:lnTo>
                      <a:pt x="4883" y="4624"/>
                    </a:lnTo>
                    <a:lnTo>
                      <a:pt x="4845" y="4639"/>
                    </a:lnTo>
                    <a:lnTo>
                      <a:pt x="4806" y="4648"/>
                    </a:lnTo>
                    <a:lnTo>
                      <a:pt x="4765" y="4654"/>
                    </a:lnTo>
                    <a:lnTo>
                      <a:pt x="4723" y="4658"/>
                    </a:lnTo>
                    <a:lnTo>
                      <a:pt x="4723" y="4658"/>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39" tIns="60918" rIns="60918" bIns="121839" numCol="1" spcCol="0" rtlCol="0" fromWordArt="0" anchor="b" anchorCtr="0" forceAA="0" compatLnSpc="1">
                <a:prstTxWarp prst="textNoShape">
                  <a:avLst/>
                </a:prstTxWarp>
                <a:noAutofit/>
              </a:bodyPr>
              <a:lstStyle/>
              <a:p>
                <a:pPr algn="ctr" defTabSz="1217862" fontAlgn="base">
                  <a:spcBef>
                    <a:spcPct val="0"/>
                  </a:spcBef>
                  <a:spcAft>
                    <a:spcPct val="0"/>
                  </a:spcAft>
                  <a:defRPr/>
                </a:pPr>
                <a:endParaRPr lang="en-US" sz="2930" kern="0" spc="-133" dirty="0">
                  <a:ln w="3175">
                    <a:noFill/>
                  </a:ln>
                  <a:gradFill flip="none" rotWithShape="1">
                    <a:gsLst>
                      <a:gs pos="0">
                        <a:srgbClr val="1B3B41">
                          <a:lumMod val="65000"/>
                          <a:lumOff val="35000"/>
                        </a:srgbClr>
                      </a:gs>
                      <a:gs pos="86000">
                        <a:srgbClr val="1B3B41">
                          <a:lumMod val="65000"/>
                          <a:lumOff val="35000"/>
                        </a:srgbClr>
                      </a:gs>
                    </a:gsLst>
                    <a:lin ang="5400000" scaled="0"/>
                    <a:tileRect/>
                  </a:gradFill>
                  <a:cs typeface="Arial" charset="0"/>
                </a:endParaRPr>
              </a:p>
            </p:txBody>
          </p:sp>
          <p:sp>
            <p:nvSpPr>
              <p:cNvPr id="2417" name="Freeform 2416"/>
              <p:cNvSpPr>
                <a:spLocks/>
              </p:cNvSpPr>
              <p:nvPr/>
            </p:nvSpPr>
            <p:spPr bwMode="auto">
              <a:xfrm flipH="1">
                <a:off x="5212801" y="2691581"/>
                <a:ext cx="535819" cy="393392"/>
              </a:xfrm>
              <a:custGeom>
                <a:avLst/>
                <a:gdLst>
                  <a:gd name="T0" fmla="*/ 0 w 4708"/>
                  <a:gd name="T1" fmla="*/ 1107 h 4229"/>
                  <a:gd name="T2" fmla="*/ 4 w 4708"/>
                  <a:gd name="T3" fmla="*/ 1062 h 4229"/>
                  <a:gd name="T4" fmla="*/ 15 w 4708"/>
                  <a:gd name="T5" fmla="*/ 1020 h 4229"/>
                  <a:gd name="T6" fmla="*/ 36 w 4708"/>
                  <a:gd name="T7" fmla="*/ 981 h 4229"/>
                  <a:gd name="T8" fmla="*/ 60 w 4708"/>
                  <a:gd name="T9" fmla="*/ 943 h 4229"/>
                  <a:gd name="T10" fmla="*/ 92 w 4708"/>
                  <a:gd name="T11" fmla="*/ 911 h 4229"/>
                  <a:gd name="T12" fmla="*/ 128 w 4708"/>
                  <a:gd name="T13" fmla="*/ 885 h 4229"/>
                  <a:gd name="T14" fmla="*/ 167 w 4708"/>
                  <a:gd name="T15" fmla="*/ 864 h 4229"/>
                  <a:gd name="T16" fmla="*/ 209 w 4708"/>
                  <a:gd name="T17" fmla="*/ 851 h 4229"/>
                  <a:gd name="T18" fmla="*/ 4499 w 4708"/>
                  <a:gd name="T19" fmla="*/ 4 h 4229"/>
                  <a:gd name="T20" fmla="*/ 4542 w 4708"/>
                  <a:gd name="T21" fmla="*/ 0 h 4229"/>
                  <a:gd name="T22" fmla="*/ 4580 w 4708"/>
                  <a:gd name="T23" fmla="*/ 4 h 4229"/>
                  <a:gd name="T24" fmla="*/ 4616 w 4708"/>
                  <a:gd name="T25" fmla="*/ 17 h 4229"/>
                  <a:gd name="T26" fmla="*/ 4648 w 4708"/>
                  <a:gd name="T27" fmla="*/ 38 h 4229"/>
                  <a:gd name="T28" fmla="*/ 4672 w 4708"/>
                  <a:gd name="T29" fmla="*/ 64 h 4229"/>
                  <a:gd name="T30" fmla="*/ 4693 w 4708"/>
                  <a:gd name="T31" fmla="*/ 96 h 4229"/>
                  <a:gd name="T32" fmla="*/ 4704 w 4708"/>
                  <a:gd name="T33" fmla="*/ 134 h 4229"/>
                  <a:gd name="T34" fmla="*/ 4708 w 4708"/>
                  <a:gd name="T35" fmla="*/ 175 h 4229"/>
                  <a:gd name="T36" fmla="*/ 4708 w 4708"/>
                  <a:gd name="T37" fmla="*/ 4030 h 4229"/>
                  <a:gd name="T38" fmla="*/ 4704 w 4708"/>
                  <a:gd name="T39" fmla="*/ 4073 h 4229"/>
                  <a:gd name="T40" fmla="*/ 4691 w 4708"/>
                  <a:gd name="T41" fmla="*/ 4110 h 4229"/>
                  <a:gd name="T42" fmla="*/ 4672 w 4708"/>
                  <a:gd name="T43" fmla="*/ 4146 h 4229"/>
                  <a:gd name="T44" fmla="*/ 4646 w 4708"/>
                  <a:gd name="T45" fmla="*/ 4176 h 4229"/>
                  <a:gd name="T46" fmla="*/ 4614 w 4708"/>
                  <a:gd name="T47" fmla="*/ 4201 h 4229"/>
                  <a:gd name="T48" fmla="*/ 4578 w 4708"/>
                  <a:gd name="T49" fmla="*/ 4218 h 4229"/>
                  <a:gd name="T50" fmla="*/ 4539 w 4708"/>
                  <a:gd name="T51" fmla="*/ 4227 h 4229"/>
                  <a:gd name="T52" fmla="*/ 4495 w 4708"/>
                  <a:gd name="T53" fmla="*/ 4229 h 4229"/>
                  <a:gd name="T54" fmla="*/ 213 w 4708"/>
                  <a:gd name="T55" fmla="*/ 3956 h 4229"/>
                  <a:gd name="T56" fmla="*/ 169 w 4708"/>
                  <a:gd name="T57" fmla="*/ 3949 h 4229"/>
                  <a:gd name="T58" fmla="*/ 130 w 4708"/>
                  <a:gd name="T59" fmla="*/ 3934 h 4229"/>
                  <a:gd name="T60" fmla="*/ 94 w 4708"/>
                  <a:gd name="T61" fmla="*/ 3911 h 4229"/>
                  <a:gd name="T62" fmla="*/ 62 w 4708"/>
                  <a:gd name="T63" fmla="*/ 3883 h 4229"/>
                  <a:gd name="T64" fmla="*/ 36 w 4708"/>
                  <a:gd name="T65" fmla="*/ 3851 h 4229"/>
                  <a:gd name="T66" fmla="*/ 17 w 4708"/>
                  <a:gd name="T67" fmla="*/ 3813 h 4229"/>
                  <a:gd name="T68" fmla="*/ 4 w 4708"/>
                  <a:gd name="T69" fmla="*/ 3772 h 4229"/>
                  <a:gd name="T70" fmla="*/ 0 w 4708"/>
                  <a:gd name="T71" fmla="*/ 3728 h 4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08" h="4229">
                    <a:moveTo>
                      <a:pt x="0" y="1107"/>
                    </a:moveTo>
                    <a:lnTo>
                      <a:pt x="0" y="1107"/>
                    </a:lnTo>
                    <a:lnTo>
                      <a:pt x="0" y="1084"/>
                    </a:lnTo>
                    <a:lnTo>
                      <a:pt x="4" y="1062"/>
                    </a:lnTo>
                    <a:lnTo>
                      <a:pt x="9" y="1041"/>
                    </a:lnTo>
                    <a:lnTo>
                      <a:pt x="15" y="1020"/>
                    </a:lnTo>
                    <a:lnTo>
                      <a:pt x="24" y="1000"/>
                    </a:lnTo>
                    <a:lnTo>
                      <a:pt x="36" y="981"/>
                    </a:lnTo>
                    <a:lnTo>
                      <a:pt x="47" y="962"/>
                    </a:lnTo>
                    <a:lnTo>
                      <a:pt x="60" y="943"/>
                    </a:lnTo>
                    <a:lnTo>
                      <a:pt x="75" y="926"/>
                    </a:lnTo>
                    <a:lnTo>
                      <a:pt x="92" y="911"/>
                    </a:lnTo>
                    <a:lnTo>
                      <a:pt x="109" y="896"/>
                    </a:lnTo>
                    <a:lnTo>
                      <a:pt x="128" y="885"/>
                    </a:lnTo>
                    <a:lnTo>
                      <a:pt x="147" y="874"/>
                    </a:lnTo>
                    <a:lnTo>
                      <a:pt x="167" y="864"/>
                    </a:lnTo>
                    <a:lnTo>
                      <a:pt x="188" y="857"/>
                    </a:lnTo>
                    <a:lnTo>
                      <a:pt x="209" y="851"/>
                    </a:lnTo>
                    <a:lnTo>
                      <a:pt x="4499" y="4"/>
                    </a:lnTo>
                    <a:lnTo>
                      <a:pt x="4499" y="4"/>
                    </a:lnTo>
                    <a:lnTo>
                      <a:pt x="4522" y="0"/>
                    </a:lnTo>
                    <a:lnTo>
                      <a:pt x="4542" y="0"/>
                    </a:lnTo>
                    <a:lnTo>
                      <a:pt x="4561" y="0"/>
                    </a:lnTo>
                    <a:lnTo>
                      <a:pt x="4580" y="4"/>
                    </a:lnTo>
                    <a:lnTo>
                      <a:pt x="4599" y="10"/>
                    </a:lnTo>
                    <a:lnTo>
                      <a:pt x="4616" y="17"/>
                    </a:lnTo>
                    <a:lnTo>
                      <a:pt x="4633" y="27"/>
                    </a:lnTo>
                    <a:lnTo>
                      <a:pt x="4648" y="38"/>
                    </a:lnTo>
                    <a:lnTo>
                      <a:pt x="4661" y="49"/>
                    </a:lnTo>
                    <a:lnTo>
                      <a:pt x="4672" y="64"/>
                    </a:lnTo>
                    <a:lnTo>
                      <a:pt x="4684" y="79"/>
                    </a:lnTo>
                    <a:lnTo>
                      <a:pt x="4693" y="96"/>
                    </a:lnTo>
                    <a:lnTo>
                      <a:pt x="4699" y="115"/>
                    </a:lnTo>
                    <a:lnTo>
                      <a:pt x="4704" y="134"/>
                    </a:lnTo>
                    <a:lnTo>
                      <a:pt x="4708" y="155"/>
                    </a:lnTo>
                    <a:lnTo>
                      <a:pt x="4708" y="175"/>
                    </a:lnTo>
                    <a:lnTo>
                      <a:pt x="4708" y="4030"/>
                    </a:lnTo>
                    <a:lnTo>
                      <a:pt x="4708" y="4030"/>
                    </a:lnTo>
                    <a:lnTo>
                      <a:pt x="4708" y="4050"/>
                    </a:lnTo>
                    <a:lnTo>
                      <a:pt x="4704" y="4073"/>
                    </a:lnTo>
                    <a:lnTo>
                      <a:pt x="4699" y="4092"/>
                    </a:lnTo>
                    <a:lnTo>
                      <a:pt x="4691" y="4110"/>
                    </a:lnTo>
                    <a:lnTo>
                      <a:pt x="4684" y="4129"/>
                    </a:lnTo>
                    <a:lnTo>
                      <a:pt x="4672" y="4146"/>
                    </a:lnTo>
                    <a:lnTo>
                      <a:pt x="4659" y="4161"/>
                    </a:lnTo>
                    <a:lnTo>
                      <a:pt x="4646" y="4176"/>
                    </a:lnTo>
                    <a:lnTo>
                      <a:pt x="4631" y="4190"/>
                    </a:lnTo>
                    <a:lnTo>
                      <a:pt x="4614" y="4201"/>
                    </a:lnTo>
                    <a:lnTo>
                      <a:pt x="4597" y="4210"/>
                    </a:lnTo>
                    <a:lnTo>
                      <a:pt x="4578" y="4218"/>
                    </a:lnTo>
                    <a:lnTo>
                      <a:pt x="4559" y="4223"/>
                    </a:lnTo>
                    <a:lnTo>
                      <a:pt x="4539" y="4227"/>
                    </a:lnTo>
                    <a:lnTo>
                      <a:pt x="4518" y="4229"/>
                    </a:lnTo>
                    <a:lnTo>
                      <a:pt x="4495" y="4229"/>
                    </a:lnTo>
                    <a:lnTo>
                      <a:pt x="213" y="3956"/>
                    </a:lnTo>
                    <a:lnTo>
                      <a:pt x="213" y="3956"/>
                    </a:lnTo>
                    <a:lnTo>
                      <a:pt x="190" y="3952"/>
                    </a:lnTo>
                    <a:lnTo>
                      <a:pt x="169" y="3949"/>
                    </a:lnTo>
                    <a:lnTo>
                      <a:pt x="149" y="3941"/>
                    </a:lnTo>
                    <a:lnTo>
                      <a:pt x="130" y="3934"/>
                    </a:lnTo>
                    <a:lnTo>
                      <a:pt x="111" y="3924"/>
                    </a:lnTo>
                    <a:lnTo>
                      <a:pt x="94" y="3911"/>
                    </a:lnTo>
                    <a:lnTo>
                      <a:pt x="77" y="3898"/>
                    </a:lnTo>
                    <a:lnTo>
                      <a:pt x="62" y="3883"/>
                    </a:lnTo>
                    <a:lnTo>
                      <a:pt x="49" y="3868"/>
                    </a:lnTo>
                    <a:lnTo>
                      <a:pt x="36" y="3851"/>
                    </a:lnTo>
                    <a:lnTo>
                      <a:pt x="24" y="3832"/>
                    </a:lnTo>
                    <a:lnTo>
                      <a:pt x="17" y="3813"/>
                    </a:lnTo>
                    <a:lnTo>
                      <a:pt x="9" y="3792"/>
                    </a:lnTo>
                    <a:lnTo>
                      <a:pt x="4" y="3772"/>
                    </a:lnTo>
                    <a:lnTo>
                      <a:pt x="0" y="3751"/>
                    </a:lnTo>
                    <a:lnTo>
                      <a:pt x="0" y="3728"/>
                    </a:lnTo>
                    <a:lnTo>
                      <a:pt x="0" y="1107"/>
                    </a:lnTo>
                    <a:close/>
                  </a:path>
                </a:pathLst>
              </a:custGeom>
              <a:solidFill>
                <a:srgbClr val="FFFFFF"/>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8" name="Freeform 21"/>
              <p:cNvSpPr>
                <a:spLocks/>
              </p:cNvSpPr>
              <p:nvPr/>
            </p:nvSpPr>
            <p:spPr bwMode="auto">
              <a:xfrm flipH="1">
                <a:off x="5230538" y="2701929"/>
                <a:ext cx="498731" cy="92257"/>
              </a:xfrm>
              <a:custGeom>
                <a:avLst/>
                <a:gdLst>
                  <a:gd name="T0" fmla="*/ 4385 w 4385"/>
                  <a:gd name="T1" fmla="*/ 0 h 992"/>
                  <a:gd name="T2" fmla="*/ 0 w 4385"/>
                  <a:gd name="T3" fmla="*/ 832 h 992"/>
                  <a:gd name="T4" fmla="*/ 0 w 4385"/>
                  <a:gd name="T5" fmla="*/ 992 h 992"/>
                  <a:gd name="T6" fmla="*/ 4385 w 4385"/>
                  <a:gd name="T7" fmla="*/ 244 h 992"/>
                  <a:gd name="T8" fmla="*/ 4385 w 4385"/>
                  <a:gd name="T9" fmla="*/ 0 h 992"/>
                </a:gdLst>
                <a:ahLst/>
                <a:cxnLst>
                  <a:cxn ang="0">
                    <a:pos x="T0" y="T1"/>
                  </a:cxn>
                  <a:cxn ang="0">
                    <a:pos x="T2" y="T3"/>
                  </a:cxn>
                  <a:cxn ang="0">
                    <a:pos x="T4" y="T5"/>
                  </a:cxn>
                  <a:cxn ang="0">
                    <a:pos x="T6" y="T7"/>
                  </a:cxn>
                  <a:cxn ang="0">
                    <a:pos x="T8" y="T9"/>
                  </a:cxn>
                </a:cxnLst>
                <a:rect l="0" t="0" r="r" b="b"/>
                <a:pathLst>
                  <a:path w="4385" h="992">
                    <a:moveTo>
                      <a:pt x="4385" y="0"/>
                    </a:moveTo>
                    <a:lnTo>
                      <a:pt x="0" y="832"/>
                    </a:lnTo>
                    <a:lnTo>
                      <a:pt x="0" y="992"/>
                    </a:lnTo>
                    <a:lnTo>
                      <a:pt x="4385" y="244"/>
                    </a:lnTo>
                    <a:lnTo>
                      <a:pt x="4385" y="0"/>
                    </a:lnTo>
                    <a:close/>
                  </a:path>
                </a:pathLst>
              </a:custGeom>
              <a:solidFill>
                <a:srgbClr val="FFFFFF">
                  <a:lumMod val="8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9" name="Freeform 24"/>
              <p:cNvSpPr>
                <a:spLocks/>
              </p:cNvSpPr>
              <p:nvPr/>
            </p:nvSpPr>
            <p:spPr bwMode="auto">
              <a:xfrm flipH="1">
                <a:off x="5230544" y="2736975"/>
                <a:ext cx="498732" cy="329953"/>
              </a:xfrm>
              <a:custGeom>
                <a:avLst/>
                <a:gdLst>
                  <a:gd name="T0" fmla="*/ 4385 w 4385"/>
                  <a:gd name="T1" fmla="*/ 0 h 3338"/>
                  <a:gd name="T2" fmla="*/ 0 w 4385"/>
                  <a:gd name="T3" fmla="*/ 726 h 3338"/>
                  <a:gd name="T4" fmla="*/ 0 w 4385"/>
                  <a:gd name="T5" fmla="*/ 3105 h 3338"/>
                  <a:gd name="T6" fmla="*/ 4385 w 4385"/>
                  <a:gd name="T7" fmla="*/ 3338 h 3338"/>
                  <a:gd name="T8" fmla="*/ 4385 w 4385"/>
                  <a:gd name="T9" fmla="*/ 0 h 3338"/>
                </a:gdLst>
                <a:ahLst/>
                <a:cxnLst>
                  <a:cxn ang="0">
                    <a:pos x="T0" y="T1"/>
                  </a:cxn>
                  <a:cxn ang="0">
                    <a:pos x="T2" y="T3"/>
                  </a:cxn>
                  <a:cxn ang="0">
                    <a:pos x="T4" y="T5"/>
                  </a:cxn>
                  <a:cxn ang="0">
                    <a:pos x="T6" y="T7"/>
                  </a:cxn>
                  <a:cxn ang="0">
                    <a:pos x="T8" y="T9"/>
                  </a:cxn>
                </a:cxnLst>
                <a:rect l="0" t="0" r="r" b="b"/>
                <a:pathLst>
                  <a:path w="4385" h="3338">
                    <a:moveTo>
                      <a:pt x="4385" y="0"/>
                    </a:moveTo>
                    <a:lnTo>
                      <a:pt x="0" y="726"/>
                    </a:lnTo>
                    <a:lnTo>
                      <a:pt x="0" y="3105"/>
                    </a:lnTo>
                    <a:lnTo>
                      <a:pt x="4385" y="3338"/>
                    </a:lnTo>
                    <a:lnTo>
                      <a:pt x="4385" y="0"/>
                    </a:lnTo>
                    <a:close/>
                  </a:path>
                </a:pathLst>
              </a:custGeom>
              <a:solidFill>
                <a:srgbClr val="FFFFFF">
                  <a:lumMod val="9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0" name="Freeform 131"/>
              <p:cNvSpPr>
                <a:spLocks noChangeAspect="1" noEditPoints="1"/>
              </p:cNvSpPr>
              <p:nvPr/>
            </p:nvSpPr>
            <p:spPr bwMode="black">
              <a:xfrm flipH="1">
                <a:off x="5260135" y="2812783"/>
                <a:ext cx="197905" cy="90401"/>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1" name="Oval 2420"/>
              <p:cNvSpPr/>
              <p:nvPr/>
            </p:nvSpPr>
            <p:spPr bwMode="auto">
              <a:xfrm flipH="1">
                <a:off x="5488899" y="2826705"/>
                <a:ext cx="205211" cy="196696"/>
              </a:xfrm>
              <a:prstGeom prst="ellipse">
                <a:avLst/>
              </a:prstGeom>
              <a:solidFill>
                <a:srgbClr val="FFFFFF"/>
              </a:solidFill>
              <a:ln w="9525" cap="flat" cmpd="sng" algn="ctr">
                <a:solidFill>
                  <a:srgbClr val="0072C6"/>
                </a:solidFill>
                <a:prstDash val="solid"/>
                <a:headEnd type="none" w="med" len="med"/>
                <a:tailEnd type="none" w="med" len="med"/>
              </a:ln>
              <a:effectLst/>
              <a:scene3d>
                <a:camera prst="perspectiveLeft">
                  <a:rot lat="0" lon="1800000" rev="0"/>
                </a:camera>
                <a:lightRig rig="threePt" dir="t"/>
              </a:scene3d>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22" name="Group 2421"/>
              <p:cNvGrpSpPr/>
              <p:nvPr/>
            </p:nvGrpSpPr>
            <p:grpSpPr>
              <a:xfrm>
                <a:off x="5581035" y="2878007"/>
                <a:ext cx="27524" cy="74279"/>
                <a:chOff x="7010073" y="1548130"/>
                <a:chExt cx="1648459" cy="4218939"/>
              </a:xfrm>
              <a:solidFill>
                <a:srgbClr val="00188F"/>
              </a:solidFill>
            </p:grpSpPr>
            <p:sp>
              <p:nvSpPr>
                <p:cNvPr id="2432"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0072C6">
                    <a:lumMod val="20000"/>
                    <a:lumOff val="80000"/>
                  </a:srgbClr>
                </a:solidFill>
                <a:ln w="9525">
                  <a:noFill/>
                  <a:round/>
                  <a:headEnd/>
                  <a:tailEnd/>
                </a:ln>
              </p:spPr>
              <p:txBody>
                <a:bodyPr vert="horz" wrap="square" lIns="91388" tIns="45694" rIns="91388" bIns="45694" numCol="1" anchor="t" anchorCtr="0" compatLnSpc="1">
                  <a:prstTxWarp prst="textNoShape">
                    <a:avLst/>
                  </a:prstTxWarp>
                </a:bodyPr>
                <a:lstStyle/>
                <a:p>
                  <a:pPr defTabSz="913698">
                    <a:defRPr/>
                  </a:pPr>
                  <a:endParaRPr lang="en-US" sz="1600" kern="0" dirty="0">
                    <a:solidFill>
                      <a:srgbClr val="00188F"/>
                    </a:solidFill>
                  </a:endParaRPr>
                </a:p>
              </p:txBody>
            </p:sp>
            <p:sp>
              <p:nvSpPr>
                <p:cNvPr id="2433"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0072C6"/>
                </a:solidFill>
                <a:ln w="3175">
                  <a:noFill/>
                  <a:round/>
                  <a:headEnd/>
                  <a:tailEnd/>
                </a:ln>
              </p:spPr>
              <p:txBody>
                <a:bodyPr vert="horz" wrap="square" lIns="91388" tIns="45694" rIns="91388" bIns="45694" numCol="1" anchor="t" anchorCtr="0" compatLnSpc="1">
                  <a:prstTxWarp prst="textNoShape">
                    <a:avLst/>
                  </a:prstTxWarp>
                </a:bodyPr>
                <a:lstStyle/>
                <a:p>
                  <a:pPr defTabSz="913698">
                    <a:defRPr/>
                  </a:pPr>
                  <a:endParaRPr lang="en-US" sz="1600" kern="0" dirty="0">
                    <a:solidFill>
                      <a:srgbClr val="00188F"/>
                    </a:solidFill>
                  </a:endParaRPr>
                </a:p>
              </p:txBody>
            </p:sp>
          </p:grpSp>
          <p:sp>
            <p:nvSpPr>
              <p:cNvPr id="2423" name="Rounded Rectangle 94"/>
              <p:cNvSpPr>
                <a:spLocks noChangeAspect="1"/>
              </p:cNvSpPr>
              <p:nvPr/>
            </p:nvSpPr>
            <p:spPr bwMode="auto">
              <a:xfrm>
                <a:off x="5540361" y="2860550"/>
                <a:ext cx="105445" cy="127360"/>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424" name="Freeform 2423"/>
              <p:cNvSpPr>
                <a:spLocks/>
              </p:cNvSpPr>
              <p:nvPr/>
            </p:nvSpPr>
            <p:spPr bwMode="auto">
              <a:xfrm flipH="1">
                <a:off x="5405231" y="3140716"/>
                <a:ext cx="329462" cy="90902"/>
              </a:xfrm>
              <a:custGeom>
                <a:avLst/>
                <a:gdLst>
                  <a:gd name="T0" fmla="*/ 4354 w 4414"/>
                  <a:gd name="T1" fmla="*/ 514 h 1212"/>
                  <a:gd name="T2" fmla="*/ 4384 w 4414"/>
                  <a:gd name="T3" fmla="*/ 487 h 1212"/>
                  <a:gd name="T4" fmla="*/ 4403 w 4414"/>
                  <a:gd name="T5" fmla="*/ 463 h 1212"/>
                  <a:gd name="T6" fmla="*/ 4412 w 4414"/>
                  <a:gd name="T7" fmla="*/ 439 h 1212"/>
                  <a:gd name="T8" fmla="*/ 4412 w 4414"/>
                  <a:gd name="T9" fmla="*/ 416 h 1212"/>
                  <a:gd name="T10" fmla="*/ 4401 w 4414"/>
                  <a:gd name="T11" fmla="*/ 397 h 1212"/>
                  <a:gd name="T12" fmla="*/ 4380 w 4414"/>
                  <a:gd name="T13" fmla="*/ 382 h 1212"/>
                  <a:gd name="T14" fmla="*/ 4352 w 4414"/>
                  <a:gd name="T15" fmla="*/ 369 h 1212"/>
                  <a:gd name="T16" fmla="*/ 4312 w 4414"/>
                  <a:gd name="T17" fmla="*/ 361 h 1212"/>
                  <a:gd name="T18" fmla="*/ 1302 w 4414"/>
                  <a:gd name="T19" fmla="*/ 0 h 1212"/>
                  <a:gd name="T20" fmla="*/ 1270 w 4414"/>
                  <a:gd name="T21" fmla="*/ 2 h 1212"/>
                  <a:gd name="T22" fmla="*/ 1215 w 4414"/>
                  <a:gd name="T23" fmla="*/ 15 h 1212"/>
                  <a:gd name="T24" fmla="*/ 1059 w 4414"/>
                  <a:gd name="T25" fmla="*/ 62 h 1212"/>
                  <a:gd name="T26" fmla="*/ 858 w 4414"/>
                  <a:gd name="T27" fmla="*/ 132 h 1212"/>
                  <a:gd name="T28" fmla="*/ 423 w 4414"/>
                  <a:gd name="T29" fmla="*/ 294 h 1212"/>
                  <a:gd name="T30" fmla="*/ 62 w 4414"/>
                  <a:gd name="T31" fmla="*/ 437 h 1212"/>
                  <a:gd name="T32" fmla="*/ 45 w 4414"/>
                  <a:gd name="T33" fmla="*/ 448 h 1212"/>
                  <a:gd name="T34" fmla="*/ 20 w 4414"/>
                  <a:gd name="T35" fmla="*/ 474 h 1212"/>
                  <a:gd name="T36" fmla="*/ 3 w 4414"/>
                  <a:gd name="T37" fmla="*/ 501 h 1212"/>
                  <a:gd name="T38" fmla="*/ 0 w 4414"/>
                  <a:gd name="T39" fmla="*/ 525 h 1212"/>
                  <a:gd name="T40" fmla="*/ 3 w 4414"/>
                  <a:gd name="T41" fmla="*/ 548 h 1212"/>
                  <a:gd name="T42" fmla="*/ 18 w 4414"/>
                  <a:gd name="T43" fmla="*/ 567 h 1212"/>
                  <a:gd name="T44" fmla="*/ 43 w 4414"/>
                  <a:gd name="T45" fmla="*/ 585 h 1212"/>
                  <a:gd name="T46" fmla="*/ 77 w 4414"/>
                  <a:gd name="T47" fmla="*/ 599 h 1212"/>
                  <a:gd name="T48" fmla="*/ 3118 w 4414"/>
                  <a:gd name="T49" fmla="*/ 1206 h 1212"/>
                  <a:gd name="T50" fmla="*/ 3140 w 4414"/>
                  <a:gd name="T51" fmla="*/ 1210 h 1212"/>
                  <a:gd name="T52" fmla="*/ 3187 w 4414"/>
                  <a:gd name="T53" fmla="*/ 1212 h 1212"/>
                  <a:gd name="T54" fmla="*/ 3238 w 4414"/>
                  <a:gd name="T55" fmla="*/ 1212 h 1212"/>
                  <a:gd name="T56" fmla="*/ 3289 w 4414"/>
                  <a:gd name="T57" fmla="*/ 1204 h 1212"/>
                  <a:gd name="T58" fmla="*/ 3342 w 4414"/>
                  <a:gd name="T59" fmla="*/ 1193 h 1212"/>
                  <a:gd name="T60" fmla="*/ 3390 w 4414"/>
                  <a:gd name="T61" fmla="*/ 1178 h 1212"/>
                  <a:gd name="T62" fmla="*/ 3437 w 4414"/>
                  <a:gd name="T63" fmla="*/ 1157 h 1212"/>
                  <a:gd name="T64" fmla="*/ 3479 w 4414"/>
                  <a:gd name="T65" fmla="*/ 1135 h 1212"/>
                  <a:gd name="T66" fmla="*/ 4354 w 4414"/>
                  <a:gd name="T67" fmla="*/ 514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14" h="1212">
                    <a:moveTo>
                      <a:pt x="4354" y="514"/>
                    </a:moveTo>
                    <a:lnTo>
                      <a:pt x="4354" y="514"/>
                    </a:lnTo>
                    <a:lnTo>
                      <a:pt x="4369" y="501"/>
                    </a:lnTo>
                    <a:lnTo>
                      <a:pt x="4384" y="487"/>
                    </a:lnTo>
                    <a:lnTo>
                      <a:pt x="4393" y="476"/>
                    </a:lnTo>
                    <a:lnTo>
                      <a:pt x="4403" y="463"/>
                    </a:lnTo>
                    <a:lnTo>
                      <a:pt x="4408" y="450"/>
                    </a:lnTo>
                    <a:lnTo>
                      <a:pt x="4412" y="439"/>
                    </a:lnTo>
                    <a:lnTo>
                      <a:pt x="4414" y="427"/>
                    </a:lnTo>
                    <a:lnTo>
                      <a:pt x="4412" y="416"/>
                    </a:lnTo>
                    <a:lnTo>
                      <a:pt x="4408" y="407"/>
                    </a:lnTo>
                    <a:lnTo>
                      <a:pt x="4401" y="397"/>
                    </a:lnTo>
                    <a:lnTo>
                      <a:pt x="4392" y="390"/>
                    </a:lnTo>
                    <a:lnTo>
                      <a:pt x="4380" y="382"/>
                    </a:lnTo>
                    <a:lnTo>
                      <a:pt x="4367" y="375"/>
                    </a:lnTo>
                    <a:lnTo>
                      <a:pt x="4352" y="369"/>
                    </a:lnTo>
                    <a:lnTo>
                      <a:pt x="4333" y="365"/>
                    </a:lnTo>
                    <a:lnTo>
                      <a:pt x="4312" y="361"/>
                    </a:lnTo>
                    <a:lnTo>
                      <a:pt x="1302" y="0"/>
                    </a:lnTo>
                    <a:lnTo>
                      <a:pt x="1302" y="0"/>
                    </a:lnTo>
                    <a:lnTo>
                      <a:pt x="1289" y="0"/>
                    </a:lnTo>
                    <a:lnTo>
                      <a:pt x="1270" y="2"/>
                    </a:lnTo>
                    <a:lnTo>
                      <a:pt x="1245" y="8"/>
                    </a:lnTo>
                    <a:lnTo>
                      <a:pt x="1215" y="15"/>
                    </a:lnTo>
                    <a:lnTo>
                      <a:pt x="1144" y="36"/>
                    </a:lnTo>
                    <a:lnTo>
                      <a:pt x="1059" y="62"/>
                    </a:lnTo>
                    <a:lnTo>
                      <a:pt x="963" y="94"/>
                    </a:lnTo>
                    <a:lnTo>
                      <a:pt x="858" y="132"/>
                    </a:lnTo>
                    <a:lnTo>
                      <a:pt x="637" y="213"/>
                    </a:lnTo>
                    <a:lnTo>
                      <a:pt x="423" y="294"/>
                    </a:lnTo>
                    <a:lnTo>
                      <a:pt x="238" y="365"/>
                    </a:lnTo>
                    <a:lnTo>
                      <a:pt x="62" y="437"/>
                    </a:lnTo>
                    <a:lnTo>
                      <a:pt x="62" y="437"/>
                    </a:lnTo>
                    <a:lnTo>
                      <a:pt x="45" y="448"/>
                    </a:lnTo>
                    <a:lnTo>
                      <a:pt x="31" y="461"/>
                    </a:lnTo>
                    <a:lnTo>
                      <a:pt x="20" y="474"/>
                    </a:lnTo>
                    <a:lnTo>
                      <a:pt x="11" y="487"/>
                    </a:lnTo>
                    <a:lnTo>
                      <a:pt x="3" y="501"/>
                    </a:lnTo>
                    <a:lnTo>
                      <a:pt x="0" y="512"/>
                    </a:lnTo>
                    <a:lnTo>
                      <a:pt x="0" y="525"/>
                    </a:lnTo>
                    <a:lnTo>
                      <a:pt x="0" y="536"/>
                    </a:lnTo>
                    <a:lnTo>
                      <a:pt x="3" y="548"/>
                    </a:lnTo>
                    <a:lnTo>
                      <a:pt x="9" y="557"/>
                    </a:lnTo>
                    <a:lnTo>
                      <a:pt x="18" y="567"/>
                    </a:lnTo>
                    <a:lnTo>
                      <a:pt x="30" y="576"/>
                    </a:lnTo>
                    <a:lnTo>
                      <a:pt x="43" y="585"/>
                    </a:lnTo>
                    <a:lnTo>
                      <a:pt x="58" y="593"/>
                    </a:lnTo>
                    <a:lnTo>
                      <a:pt x="77" y="599"/>
                    </a:lnTo>
                    <a:lnTo>
                      <a:pt x="95" y="604"/>
                    </a:lnTo>
                    <a:lnTo>
                      <a:pt x="3118" y="1206"/>
                    </a:lnTo>
                    <a:lnTo>
                      <a:pt x="3118" y="1206"/>
                    </a:lnTo>
                    <a:lnTo>
                      <a:pt x="3140" y="1210"/>
                    </a:lnTo>
                    <a:lnTo>
                      <a:pt x="3163" y="1212"/>
                    </a:lnTo>
                    <a:lnTo>
                      <a:pt x="3187" y="1212"/>
                    </a:lnTo>
                    <a:lnTo>
                      <a:pt x="3212" y="1212"/>
                    </a:lnTo>
                    <a:lnTo>
                      <a:pt x="3238" y="1212"/>
                    </a:lnTo>
                    <a:lnTo>
                      <a:pt x="3264" y="1208"/>
                    </a:lnTo>
                    <a:lnTo>
                      <a:pt x="3289" y="1204"/>
                    </a:lnTo>
                    <a:lnTo>
                      <a:pt x="3315" y="1199"/>
                    </a:lnTo>
                    <a:lnTo>
                      <a:pt x="3342" y="1193"/>
                    </a:lnTo>
                    <a:lnTo>
                      <a:pt x="3366" y="1186"/>
                    </a:lnTo>
                    <a:lnTo>
                      <a:pt x="3390" y="1178"/>
                    </a:lnTo>
                    <a:lnTo>
                      <a:pt x="3415" y="1169"/>
                    </a:lnTo>
                    <a:lnTo>
                      <a:pt x="3437" y="1157"/>
                    </a:lnTo>
                    <a:lnTo>
                      <a:pt x="3458" y="1146"/>
                    </a:lnTo>
                    <a:lnTo>
                      <a:pt x="3479" y="1135"/>
                    </a:lnTo>
                    <a:lnTo>
                      <a:pt x="3498" y="1122"/>
                    </a:lnTo>
                    <a:lnTo>
                      <a:pt x="4354" y="514"/>
                    </a:lnTo>
                    <a:close/>
                  </a:path>
                </a:pathLst>
              </a:custGeom>
              <a:solidFill>
                <a:srgbClr val="FFFFFF">
                  <a:lumMod val="7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5" name="Freeform 2424"/>
              <p:cNvSpPr>
                <a:spLocks/>
              </p:cNvSpPr>
              <p:nvPr/>
            </p:nvSpPr>
            <p:spPr bwMode="auto">
              <a:xfrm flipH="1">
                <a:off x="5404177" y="3172217"/>
                <a:ext cx="330505" cy="71851"/>
              </a:xfrm>
              <a:custGeom>
                <a:avLst/>
                <a:gdLst>
                  <a:gd name="T0" fmla="*/ 4412 w 4427"/>
                  <a:gd name="T1" fmla="*/ 0 h 958"/>
                  <a:gd name="T2" fmla="*/ 4412 w 4427"/>
                  <a:gd name="T3" fmla="*/ 20 h 958"/>
                  <a:gd name="T4" fmla="*/ 4401 w 4427"/>
                  <a:gd name="T5" fmla="*/ 45 h 958"/>
                  <a:gd name="T6" fmla="*/ 4382 w 4427"/>
                  <a:gd name="T7" fmla="*/ 69 h 958"/>
                  <a:gd name="T8" fmla="*/ 4354 w 4427"/>
                  <a:gd name="T9" fmla="*/ 94 h 958"/>
                  <a:gd name="T10" fmla="*/ 3498 w 4427"/>
                  <a:gd name="T11" fmla="*/ 702 h 958"/>
                  <a:gd name="T12" fmla="*/ 3458 w 4427"/>
                  <a:gd name="T13" fmla="*/ 726 h 958"/>
                  <a:gd name="T14" fmla="*/ 3415 w 4427"/>
                  <a:gd name="T15" fmla="*/ 749 h 958"/>
                  <a:gd name="T16" fmla="*/ 3366 w 4427"/>
                  <a:gd name="T17" fmla="*/ 766 h 958"/>
                  <a:gd name="T18" fmla="*/ 3315 w 4427"/>
                  <a:gd name="T19" fmla="*/ 779 h 958"/>
                  <a:gd name="T20" fmla="*/ 3264 w 4427"/>
                  <a:gd name="T21" fmla="*/ 788 h 958"/>
                  <a:gd name="T22" fmla="*/ 3212 w 4427"/>
                  <a:gd name="T23" fmla="*/ 792 h 958"/>
                  <a:gd name="T24" fmla="*/ 3163 w 4427"/>
                  <a:gd name="T25" fmla="*/ 792 h 958"/>
                  <a:gd name="T26" fmla="*/ 3118 w 4427"/>
                  <a:gd name="T27" fmla="*/ 786 h 958"/>
                  <a:gd name="T28" fmla="*/ 95 w 4427"/>
                  <a:gd name="T29" fmla="*/ 184 h 958"/>
                  <a:gd name="T30" fmla="*/ 62 w 4427"/>
                  <a:gd name="T31" fmla="*/ 173 h 958"/>
                  <a:gd name="T32" fmla="*/ 33 w 4427"/>
                  <a:gd name="T33" fmla="*/ 160 h 958"/>
                  <a:gd name="T34" fmla="*/ 15 w 4427"/>
                  <a:gd name="T35" fmla="*/ 145 h 958"/>
                  <a:gd name="T36" fmla="*/ 3 w 4427"/>
                  <a:gd name="T37" fmla="*/ 126 h 958"/>
                  <a:gd name="T38" fmla="*/ 0 w 4427"/>
                  <a:gd name="T39" fmla="*/ 143 h 958"/>
                  <a:gd name="T40" fmla="*/ 0 w 4427"/>
                  <a:gd name="T41" fmla="*/ 197 h 958"/>
                  <a:gd name="T42" fmla="*/ 5 w 4427"/>
                  <a:gd name="T43" fmla="*/ 233 h 958"/>
                  <a:gd name="T44" fmla="*/ 15 w 4427"/>
                  <a:gd name="T45" fmla="*/ 265 h 958"/>
                  <a:gd name="T46" fmla="*/ 28 w 4427"/>
                  <a:gd name="T47" fmla="*/ 295 h 958"/>
                  <a:gd name="T48" fmla="*/ 47 w 4427"/>
                  <a:gd name="T49" fmla="*/ 320 h 958"/>
                  <a:gd name="T50" fmla="*/ 69 w 4427"/>
                  <a:gd name="T51" fmla="*/ 338 h 958"/>
                  <a:gd name="T52" fmla="*/ 95 w 4427"/>
                  <a:gd name="T53" fmla="*/ 350 h 958"/>
                  <a:gd name="T54" fmla="*/ 3118 w 4427"/>
                  <a:gd name="T55" fmla="*/ 950 h 958"/>
                  <a:gd name="T56" fmla="*/ 3163 w 4427"/>
                  <a:gd name="T57" fmla="*/ 958 h 958"/>
                  <a:gd name="T58" fmla="*/ 3212 w 4427"/>
                  <a:gd name="T59" fmla="*/ 958 h 958"/>
                  <a:gd name="T60" fmla="*/ 3264 w 4427"/>
                  <a:gd name="T61" fmla="*/ 954 h 958"/>
                  <a:gd name="T62" fmla="*/ 3315 w 4427"/>
                  <a:gd name="T63" fmla="*/ 944 h 958"/>
                  <a:gd name="T64" fmla="*/ 3366 w 4427"/>
                  <a:gd name="T65" fmla="*/ 931 h 958"/>
                  <a:gd name="T66" fmla="*/ 3415 w 4427"/>
                  <a:gd name="T67" fmla="*/ 914 h 958"/>
                  <a:gd name="T68" fmla="*/ 3458 w 4427"/>
                  <a:gd name="T69" fmla="*/ 892 h 958"/>
                  <a:gd name="T70" fmla="*/ 3498 w 4427"/>
                  <a:gd name="T71" fmla="*/ 867 h 958"/>
                  <a:gd name="T72" fmla="*/ 4354 w 4427"/>
                  <a:gd name="T73" fmla="*/ 259 h 958"/>
                  <a:gd name="T74" fmla="*/ 4376 w 4427"/>
                  <a:gd name="T75" fmla="*/ 237 h 958"/>
                  <a:gd name="T76" fmla="*/ 4395 w 4427"/>
                  <a:gd name="T77" fmla="*/ 209 h 958"/>
                  <a:gd name="T78" fmla="*/ 4410 w 4427"/>
                  <a:gd name="T79" fmla="*/ 175 h 958"/>
                  <a:gd name="T80" fmla="*/ 4422 w 4427"/>
                  <a:gd name="T81" fmla="*/ 139 h 958"/>
                  <a:gd name="T82" fmla="*/ 4427 w 4427"/>
                  <a:gd name="T83" fmla="*/ 101 h 958"/>
                  <a:gd name="T84" fmla="*/ 4427 w 4427"/>
                  <a:gd name="T85" fmla="*/ 64 h 958"/>
                  <a:gd name="T86" fmla="*/ 4422 w 4427"/>
                  <a:gd name="T87" fmla="*/ 30 h 958"/>
                  <a:gd name="T88" fmla="*/ 4412 w 4427"/>
                  <a:gd name="T89" fmla="*/ 0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27" h="958">
                    <a:moveTo>
                      <a:pt x="4412" y="0"/>
                    </a:moveTo>
                    <a:lnTo>
                      <a:pt x="4412" y="0"/>
                    </a:lnTo>
                    <a:lnTo>
                      <a:pt x="4412" y="9"/>
                    </a:lnTo>
                    <a:lnTo>
                      <a:pt x="4412" y="20"/>
                    </a:lnTo>
                    <a:lnTo>
                      <a:pt x="4408" y="32"/>
                    </a:lnTo>
                    <a:lnTo>
                      <a:pt x="4401" y="45"/>
                    </a:lnTo>
                    <a:lnTo>
                      <a:pt x="4393" y="56"/>
                    </a:lnTo>
                    <a:lnTo>
                      <a:pt x="4382" y="69"/>
                    </a:lnTo>
                    <a:lnTo>
                      <a:pt x="4369" y="83"/>
                    </a:lnTo>
                    <a:lnTo>
                      <a:pt x="4354" y="94"/>
                    </a:lnTo>
                    <a:lnTo>
                      <a:pt x="3498" y="702"/>
                    </a:lnTo>
                    <a:lnTo>
                      <a:pt x="3498" y="702"/>
                    </a:lnTo>
                    <a:lnTo>
                      <a:pt x="3479" y="715"/>
                    </a:lnTo>
                    <a:lnTo>
                      <a:pt x="3458" y="726"/>
                    </a:lnTo>
                    <a:lnTo>
                      <a:pt x="3437" y="737"/>
                    </a:lnTo>
                    <a:lnTo>
                      <a:pt x="3415" y="749"/>
                    </a:lnTo>
                    <a:lnTo>
                      <a:pt x="3390" y="758"/>
                    </a:lnTo>
                    <a:lnTo>
                      <a:pt x="3366" y="766"/>
                    </a:lnTo>
                    <a:lnTo>
                      <a:pt x="3342" y="773"/>
                    </a:lnTo>
                    <a:lnTo>
                      <a:pt x="3315" y="779"/>
                    </a:lnTo>
                    <a:lnTo>
                      <a:pt x="3289" y="784"/>
                    </a:lnTo>
                    <a:lnTo>
                      <a:pt x="3264" y="788"/>
                    </a:lnTo>
                    <a:lnTo>
                      <a:pt x="3238" y="792"/>
                    </a:lnTo>
                    <a:lnTo>
                      <a:pt x="3212" y="792"/>
                    </a:lnTo>
                    <a:lnTo>
                      <a:pt x="3187" y="792"/>
                    </a:lnTo>
                    <a:lnTo>
                      <a:pt x="3163" y="792"/>
                    </a:lnTo>
                    <a:lnTo>
                      <a:pt x="3140" y="790"/>
                    </a:lnTo>
                    <a:lnTo>
                      <a:pt x="3118" y="786"/>
                    </a:lnTo>
                    <a:lnTo>
                      <a:pt x="95" y="184"/>
                    </a:lnTo>
                    <a:lnTo>
                      <a:pt x="95" y="184"/>
                    </a:lnTo>
                    <a:lnTo>
                      <a:pt x="79" y="179"/>
                    </a:lnTo>
                    <a:lnTo>
                      <a:pt x="62" y="173"/>
                    </a:lnTo>
                    <a:lnTo>
                      <a:pt x="47" y="167"/>
                    </a:lnTo>
                    <a:lnTo>
                      <a:pt x="33" y="160"/>
                    </a:lnTo>
                    <a:lnTo>
                      <a:pt x="24" y="152"/>
                    </a:lnTo>
                    <a:lnTo>
                      <a:pt x="15" y="145"/>
                    </a:lnTo>
                    <a:lnTo>
                      <a:pt x="7" y="135"/>
                    </a:lnTo>
                    <a:lnTo>
                      <a:pt x="3" y="126"/>
                    </a:lnTo>
                    <a:lnTo>
                      <a:pt x="3" y="126"/>
                    </a:lnTo>
                    <a:lnTo>
                      <a:pt x="0" y="143"/>
                    </a:lnTo>
                    <a:lnTo>
                      <a:pt x="0" y="162"/>
                    </a:lnTo>
                    <a:lnTo>
                      <a:pt x="0" y="197"/>
                    </a:lnTo>
                    <a:lnTo>
                      <a:pt x="1" y="214"/>
                    </a:lnTo>
                    <a:lnTo>
                      <a:pt x="5" y="233"/>
                    </a:lnTo>
                    <a:lnTo>
                      <a:pt x="9" y="250"/>
                    </a:lnTo>
                    <a:lnTo>
                      <a:pt x="15" y="265"/>
                    </a:lnTo>
                    <a:lnTo>
                      <a:pt x="20" y="282"/>
                    </a:lnTo>
                    <a:lnTo>
                      <a:pt x="28" y="295"/>
                    </a:lnTo>
                    <a:lnTo>
                      <a:pt x="37" y="308"/>
                    </a:lnTo>
                    <a:lnTo>
                      <a:pt x="47" y="320"/>
                    </a:lnTo>
                    <a:lnTo>
                      <a:pt x="58" y="331"/>
                    </a:lnTo>
                    <a:lnTo>
                      <a:pt x="69" y="338"/>
                    </a:lnTo>
                    <a:lnTo>
                      <a:pt x="82" y="344"/>
                    </a:lnTo>
                    <a:lnTo>
                      <a:pt x="95" y="350"/>
                    </a:lnTo>
                    <a:lnTo>
                      <a:pt x="3118" y="950"/>
                    </a:lnTo>
                    <a:lnTo>
                      <a:pt x="3118" y="950"/>
                    </a:lnTo>
                    <a:lnTo>
                      <a:pt x="3140" y="954"/>
                    </a:lnTo>
                    <a:lnTo>
                      <a:pt x="3163" y="958"/>
                    </a:lnTo>
                    <a:lnTo>
                      <a:pt x="3187" y="958"/>
                    </a:lnTo>
                    <a:lnTo>
                      <a:pt x="3212" y="958"/>
                    </a:lnTo>
                    <a:lnTo>
                      <a:pt x="3238" y="956"/>
                    </a:lnTo>
                    <a:lnTo>
                      <a:pt x="3264" y="954"/>
                    </a:lnTo>
                    <a:lnTo>
                      <a:pt x="3289" y="950"/>
                    </a:lnTo>
                    <a:lnTo>
                      <a:pt x="3315" y="944"/>
                    </a:lnTo>
                    <a:lnTo>
                      <a:pt x="3342" y="939"/>
                    </a:lnTo>
                    <a:lnTo>
                      <a:pt x="3366" y="931"/>
                    </a:lnTo>
                    <a:lnTo>
                      <a:pt x="3390" y="924"/>
                    </a:lnTo>
                    <a:lnTo>
                      <a:pt x="3415" y="914"/>
                    </a:lnTo>
                    <a:lnTo>
                      <a:pt x="3437" y="903"/>
                    </a:lnTo>
                    <a:lnTo>
                      <a:pt x="3458" y="892"/>
                    </a:lnTo>
                    <a:lnTo>
                      <a:pt x="3479" y="880"/>
                    </a:lnTo>
                    <a:lnTo>
                      <a:pt x="3498" y="867"/>
                    </a:lnTo>
                    <a:lnTo>
                      <a:pt x="4354" y="259"/>
                    </a:lnTo>
                    <a:lnTo>
                      <a:pt x="4354" y="259"/>
                    </a:lnTo>
                    <a:lnTo>
                      <a:pt x="4365" y="250"/>
                    </a:lnTo>
                    <a:lnTo>
                      <a:pt x="4376" y="237"/>
                    </a:lnTo>
                    <a:lnTo>
                      <a:pt x="4388" y="224"/>
                    </a:lnTo>
                    <a:lnTo>
                      <a:pt x="4395" y="209"/>
                    </a:lnTo>
                    <a:lnTo>
                      <a:pt x="4405" y="192"/>
                    </a:lnTo>
                    <a:lnTo>
                      <a:pt x="4410" y="175"/>
                    </a:lnTo>
                    <a:lnTo>
                      <a:pt x="4418" y="158"/>
                    </a:lnTo>
                    <a:lnTo>
                      <a:pt x="4422" y="139"/>
                    </a:lnTo>
                    <a:lnTo>
                      <a:pt x="4425" y="120"/>
                    </a:lnTo>
                    <a:lnTo>
                      <a:pt x="4427" y="101"/>
                    </a:lnTo>
                    <a:lnTo>
                      <a:pt x="4427" y="83"/>
                    </a:lnTo>
                    <a:lnTo>
                      <a:pt x="4427" y="64"/>
                    </a:lnTo>
                    <a:lnTo>
                      <a:pt x="4425" y="47"/>
                    </a:lnTo>
                    <a:lnTo>
                      <a:pt x="4422" y="30"/>
                    </a:lnTo>
                    <a:lnTo>
                      <a:pt x="4418" y="15"/>
                    </a:lnTo>
                    <a:lnTo>
                      <a:pt x="4412" y="0"/>
                    </a:lnTo>
                    <a:lnTo>
                      <a:pt x="4412" y="0"/>
                    </a:lnTo>
                    <a:close/>
                  </a:path>
                </a:pathLst>
              </a:custGeom>
              <a:solidFill>
                <a:srgbClr val="505050">
                  <a:lumMod val="60000"/>
                  <a:lumOff val="40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grpSp>
        <p:sp>
          <p:nvSpPr>
            <p:cNvPr id="2426" name="Freeform 2425"/>
            <p:cNvSpPr>
              <a:spLocks/>
            </p:cNvSpPr>
            <p:nvPr/>
          </p:nvSpPr>
          <p:spPr bwMode="auto">
            <a:xfrm flipH="1">
              <a:off x="5496453" y="3044367"/>
              <a:ext cx="347524" cy="237301"/>
            </a:xfrm>
            <a:custGeom>
              <a:avLst/>
              <a:gdLst>
                <a:gd name="T0" fmla="*/ 4553 w 4655"/>
                <a:gd name="T1" fmla="*/ 830 h 3163"/>
                <a:gd name="T2" fmla="*/ 4493 w 4655"/>
                <a:gd name="T3" fmla="*/ 768 h 3163"/>
                <a:gd name="T4" fmla="*/ 4424 w 4655"/>
                <a:gd name="T5" fmla="*/ 719 h 3163"/>
                <a:gd name="T6" fmla="*/ 4346 w 4655"/>
                <a:gd name="T7" fmla="*/ 681 h 3163"/>
                <a:gd name="T8" fmla="*/ 4262 w 4655"/>
                <a:gd name="T9" fmla="*/ 657 h 3163"/>
                <a:gd name="T10" fmla="*/ 4171 w 4655"/>
                <a:gd name="T11" fmla="*/ 645 h 3163"/>
                <a:gd name="T12" fmla="*/ 4077 w 4655"/>
                <a:gd name="T13" fmla="*/ 645 h 3163"/>
                <a:gd name="T14" fmla="*/ 3983 w 4655"/>
                <a:gd name="T15" fmla="*/ 659 h 3163"/>
                <a:gd name="T16" fmla="*/ 3887 w 4655"/>
                <a:gd name="T17" fmla="*/ 685 h 3163"/>
                <a:gd name="T18" fmla="*/ 3791 w 4655"/>
                <a:gd name="T19" fmla="*/ 723 h 3163"/>
                <a:gd name="T20" fmla="*/ 3699 w 4655"/>
                <a:gd name="T21" fmla="*/ 775 h 3163"/>
                <a:gd name="T22" fmla="*/ 1074 w 4655"/>
                <a:gd name="T23" fmla="*/ 331 h 3163"/>
                <a:gd name="T24" fmla="*/ 1031 w 4655"/>
                <a:gd name="T25" fmla="*/ 275 h 3163"/>
                <a:gd name="T26" fmla="*/ 959 w 4655"/>
                <a:gd name="T27" fmla="*/ 199 h 3163"/>
                <a:gd name="T28" fmla="*/ 880 w 4655"/>
                <a:gd name="T29" fmla="*/ 135 h 3163"/>
                <a:gd name="T30" fmla="*/ 796 w 4655"/>
                <a:gd name="T31" fmla="*/ 83 h 3163"/>
                <a:gd name="T32" fmla="*/ 709 w 4655"/>
                <a:gd name="T33" fmla="*/ 41 h 3163"/>
                <a:gd name="T34" fmla="*/ 621 w 4655"/>
                <a:gd name="T35" fmla="*/ 15 h 3163"/>
                <a:gd name="T36" fmla="*/ 532 w 4655"/>
                <a:gd name="T37" fmla="*/ 2 h 3163"/>
                <a:gd name="T38" fmla="*/ 446 w 4655"/>
                <a:gd name="T39" fmla="*/ 0 h 3163"/>
                <a:gd name="T40" fmla="*/ 361 w 4655"/>
                <a:gd name="T41" fmla="*/ 15 h 3163"/>
                <a:gd name="T42" fmla="*/ 280 w 4655"/>
                <a:gd name="T43" fmla="*/ 43 h 3163"/>
                <a:gd name="T44" fmla="*/ 205 w 4655"/>
                <a:gd name="T45" fmla="*/ 87 h 3163"/>
                <a:gd name="T46" fmla="*/ 161 w 4655"/>
                <a:gd name="T47" fmla="*/ 122 h 3163"/>
                <a:gd name="T48" fmla="*/ 103 w 4655"/>
                <a:gd name="T49" fmla="*/ 186 h 3163"/>
                <a:gd name="T50" fmla="*/ 58 w 4655"/>
                <a:gd name="T51" fmla="*/ 258 h 3163"/>
                <a:gd name="T52" fmla="*/ 26 w 4655"/>
                <a:gd name="T53" fmla="*/ 339 h 3163"/>
                <a:gd name="T54" fmla="*/ 7 w 4655"/>
                <a:gd name="T55" fmla="*/ 425 h 3163"/>
                <a:gd name="T56" fmla="*/ 0 w 4655"/>
                <a:gd name="T57" fmla="*/ 517 h 3163"/>
                <a:gd name="T58" fmla="*/ 3 w 4655"/>
                <a:gd name="T59" fmla="*/ 612 h 3163"/>
                <a:gd name="T60" fmla="*/ 22 w 4655"/>
                <a:gd name="T61" fmla="*/ 708 h 3163"/>
                <a:gd name="T62" fmla="*/ 52 w 4655"/>
                <a:gd name="T63" fmla="*/ 802 h 3163"/>
                <a:gd name="T64" fmla="*/ 96 w 4655"/>
                <a:gd name="T65" fmla="*/ 896 h 3163"/>
                <a:gd name="T66" fmla="*/ 152 w 4655"/>
                <a:gd name="T67" fmla="*/ 988 h 3163"/>
                <a:gd name="T68" fmla="*/ 1486 w 4655"/>
                <a:gd name="T69" fmla="*/ 2860 h 3163"/>
                <a:gd name="T70" fmla="*/ 1593 w 4655"/>
                <a:gd name="T71" fmla="*/ 2972 h 3163"/>
                <a:gd name="T72" fmla="*/ 1631 w 4655"/>
                <a:gd name="T73" fmla="*/ 3013 h 3163"/>
                <a:gd name="T74" fmla="*/ 1695 w 4655"/>
                <a:gd name="T75" fmla="*/ 3068 h 3163"/>
                <a:gd name="T76" fmla="*/ 1767 w 4655"/>
                <a:gd name="T77" fmla="*/ 3109 h 3163"/>
                <a:gd name="T78" fmla="*/ 1848 w 4655"/>
                <a:gd name="T79" fmla="*/ 3139 h 3163"/>
                <a:gd name="T80" fmla="*/ 1932 w 4655"/>
                <a:gd name="T81" fmla="*/ 3158 h 3163"/>
                <a:gd name="T82" fmla="*/ 2023 w 4655"/>
                <a:gd name="T83" fmla="*/ 3163 h 3163"/>
                <a:gd name="T84" fmla="*/ 2115 w 4655"/>
                <a:gd name="T85" fmla="*/ 3158 h 3163"/>
                <a:gd name="T86" fmla="*/ 2209 w 4655"/>
                <a:gd name="T87" fmla="*/ 3141 h 3163"/>
                <a:gd name="T88" fmla="*/ 2303 w 4655"/>
                <a:gd name="T89" fmla="*/ 3111 h 3163"/>
                <a:gd name="T90" fmla="*/ 2395 w 4655"/>
                <a:gd name="T91" fmla="*/ 3068 h 3163"/>
                <a:gd name="T92" fmla="*/ 2484 w 4655"/>
                <a:gd name="T93" fmla="*/ 3013 h 3163"/>
                <a:gd name="T94" fmla="*/ 4350 w 4655"/>
                <a:gd name="T95" fmla="*/ 1699 h 3163"/>
                <a:gd name="T96" fmla="*/ 4429 w 4655"/>
                <a:gd name="T97" fmla="*/ 1630 h 3163"/>
                <a:gd name="T98" fmla="*/ 4499 w 4655"/>
                <a:gd name="T99" fmla="*/ 1554 h 3163"/>
                <a:gd name="T100" fmla="*/ 4555 w 4655"/>
                <a:gd name="T101" fmla="*/ 1472 h 3163"/>
                <a:gd name="T102" fmla="*/ 4601 w 4655"/>
                <a:gd name="T103" fmla="*/ 1387 h 3163"/>
                <a:gd name="T104" fmla="*/ 4631 w 4655"/>
                <a:gd name="T105" fmla="*/ 1298 h 3163"/>
                <a:gd name="T106" fmla="*/ 4651 w 4655"/>
                <a:gd name="T107" fmla="*/ 1210 h 3163"/>
                <a:gd name="T108" fmla="*/ 4655 w 4655"/>
                <a:gd name="T109" fmla="*/ 1122 h 3163"/>
                <a:gd name="T110" fmla="*/ 4648 w 4655"/>
                <a:gd name="T111" fmla="*/ 1037 h 3163"/>
                <a:gd name="T112" fmla="*/ 4625 w 4655"/>
                <a:gd name="T113" fmla="*/ 954 h 3163"/>
                <a:gd name="T114" fmla="*/ 4587 w 4655"/>
                <a:gd name="T115" fmla="*/ 877 h 3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55" h="3163">
                  <a:moveTo>
                    <a:pt x="4570" y="852"/>
                  </a:moveTo>
                  <a:lnTo>
                    <a:pt x="4570" y="852"/>
                  </a:lnTo>
                  <a:lnTo>
                    <a:pt x="4553" y="830"/>
                  </a:lnTo>
                  <a:lnTo>
                    <a:pt x="4535" y="807"/>
                  </a:lnTo>
                  <a:lnTo>
                    <a:pt x="4514" y="787"/>
                  </a:lnTo>
                  <a:lnTo>
                    <a:pt x="4493" y="768"/>
                  </a:lnTo>
                  <a:lnTo>
                    <a:pt x="4471" y="751"/>
                  </a:lnTo>
                  <a:lnTo>
                    <a:pt x="4448" y="734"/>
                  </a:lnTo>
                  <a:lnTo>
                    <a:pt x="4424" y="719"/>
                  </a:lnTo>
                  <a:lnTo>
                    <a:pt x="4399" y="706"/>
                  </a:lnTo>
                  <a:lnTo>
                    <a:pt x="4373" y="692"/>
                  </a:lnTo>
                  <a:lnTo>
                    <a:pt x="4346" y="681"/>
                  </a:lnTo>
                  <a:lnTo>
                    <a:pt x="4318" y="672"/>
                  </a:lnTo>
                  <a:lnTo>
                    <a:pt x="4290" y="664"/>
                  </a:lnTo>
                  <a:lnTo>
                    <a:pt x="4262" y="657"/>
                  </a:lnTo>
                  <a:lnTo>
                    <a:pt x="4232" y="651"/>
                  </a:lnTo>
                  <a:lnTo>
                    <a:pt x="4202" y="647"/>
                  </a:lnTo>
                  <a:lnTo>
                    <a:pt x="4171" y="645"/>
                  </a:lnTo>
                  <a:lnTo>
                    <a:pt x="4141" y="644"/>
                  </a:lnTo>
                  <a:lnTo>
                    <a:pt x="4109" y="644"/>
                  </a:lnTo>
                  <a:lnTo>
                    <a:pt x="4077" y="645"/>
                  </a:lnTo>
                  <a:lnTo>
                    <a:pt x="4047" y="647"/>
                  </a:lnTo>
                  <a:lnTo>
                    <a:pt x="4015" y="653"/>
                  </a:lnTo>
                  <a:lnTo>
                    <a:pt x="3983" y="659"/>
                  </a:lnTo>
                  <a:lnTo>
                    <a:pt x="3951" y="666"/>
                  </a:lnTo>
                  <a:lnTo>
                    <a:pt x="3919" y="674"/>
                  </a:lnTo>
                  <a:lnTo>
                    <a:pt x="3887" y="685"/>
                  </a:lnTo>
                  <a:lnTo>
                    <a:pt x="3855" y="696"/>
                  </a:lnTo>
                  <a:lnTo>
                    <a:pt x="3823" y="709"/>
                  </a:lnTo>
                  <a:lnTo>
                    <a:pt x="3791" y="723"/>
                  </a:lnTo>
                  <a:lnTo>
                    <a:pt x="3761" y="740"/>
                  </a:lnTo>
                  <a:lnTo>
                    <a:pt x="3729" y="756"/>
                  </a:lnTo>
                  <a:lnTo>
                    <a:pt x="3699" y="775"/>
                  </a:lnTo>
                  <a:lnTo>
                    <a:pt x="3669" y="794"/>
                  </a:lnTo>
                  <a:lnTo>
                    <a:pt x="2160" y="1857"/>
                  </a:lnTo>
                  <a:lnTo>
                    <a:pt x="1074" y="331"/>
                  </a:lnTo>
                  <a:lnTo>
                    <a:pt x="1074" y="331"/>
                  </a:lnTo>
                  <a:lnTo>
                    <a:pt x="1053" y="303"/>
                  </a:lnTo>
                  <a:lnTo>
                    <a:pt x="1031" y="275"/>
                  </a:lnTo>
                  <a:lnTo>
                    <a:pt x="1008" y="248"/>
                  </a:lnTo>
                  <a:lnTo>
                    <a:pt x="984" y="222"/>
                  </a:lnTo>
                  <a:lnTo>
                    <a:pt x="959" y="199"/>
                  </a:lnTo>
                  <a:lnTo>
                    <a:pt x="933" y="177"/>
                  </a:lnTo>
                  <a:lnTo>
                    <a:pt x="907" y="154"/>
                  </a:lnTo>
                  <a:lnTo>
                    <a:pt x="880" y="135"/>
                  </a:lnTo>
                  <a:lnTo>
                    <a:pt x="852" y="117"/>
                  </a:lnTo>
                  <a:lnTo>
                    <a:pt x="824" y="98"/>
                  </a:lnTo>
                  <a:lnTo>
                    <a:pt x="796" y="83"/>
                  </a:lnTo>
                  <a:lnTo>
                    <a:pt x="767" y="68"/>
                  </a:lnTo>
                  <a:lnTo>
                    <a:pt x="739" y="55"/>
                  </a:lnTo>
                  <a:lnTo>
                    <a:pt x="709" y="41"/>
                  </a:lnTo>
                  <a:lnTo>
                    <a:pt x="681" y="32"/>
                  </a:lnTo>
                  <a:lnTo>
                    <a:pt x="651" y="23"/>
                  </a:lnTo>
                  <a:lnTo>
                    <a:pt x="621" y="15"/>
                  </a:lnTo>
                  <a:lnTo>
                    <a:pt x="592" y="9"/>
                  </a:lnTo>
                  <a:lnTo>
                    <a:pt x="562" y="4"/>
                  </a:lnTo>
                  <a:lnTo>
                    <a:pt x="532" y="2"/>
                  </a:lnTo>
                  <a:lnTo>
                    <a:pt x="504" y="0"/>
                  </a:lnTo>
                  <a:lnTo>
                    <a:pt x="474" y="0"/>
                  </a:lnTo>
                  <a:lnTo>
                    <a:pt x="446" y="0"/>
                  </a:lnTo>
                  <a:lnTo>
                    <a:pt x="417" y="4"/>
                  </a:lnTo>
                  <a:lnTo>
                    <a:pt x="389" y="7"/>
                  </a:lnTo>
                  <a:lnTo>
                    <a:pt x="361" y="15"/>
                  </a:lnTo>
                  <a:lnTo>
                    <a:pt x="333" y="23"/>
                  </a:lnTo>
                  <a:lnTo>
                    <a:pt x="306" y="32"/>
                  </a:lnTo>
                  <a:lnTo>
                    <a:pt x="280" y="43"/>
                  </a:lnTo>
                  <a:lnTo>
                    <a:pt x="256" y="55"/>
                  </a:lnTo>
                  <a:lnTo>
                    <a:pt x="229" y="70"/>
                  </a:lnTo>
                  <a:lnTo>
                    <a:pt x="205" y="87"/>
                  </a:lnTo>
                  <a:lnTo>
                    <a:pt x="205" y="87"/>
                  </a:lnTo>
                  <a:lnTo>
                    <a:pt x="182" y="103"/>
                  </a:lnTo>
                  <a:lnTo>
                    <a:pt x="161" y="122"/>
                  </a:lnTo>
                  <a:lnTo>
                    <a:pt x="141" y="143"/>
                  </a:lnTo>
                  <a:lnTo>
                    <a:pt x="122" y="164"/>
                  </a:lnTo>
                  <a:lnTo>
                    <a:pt x="103" y="186"/>
                  </a:lnTo>
                  <a:lnTo>
                    <a:pt x="88" y="209"/>
                  </a:lnTo>
                  <a:lnTo>
                    <a:pt x="73" y="233"/>
                  </a:lnTo>
                  <a:lnTo>
                    <a:pt x="58" y="258"/>
                  </a:lnTo>
                  <a:lnTo>
                    <a:pt x="47" y="284"/>
                  </a:lnTo>
                  <a:lnTo>
                    <a:pt x="35" y="310"/>
                  </a:lnTo>
                  <a:lnTo>
                    <a:pt x="26" y="339"/>
                  </a:lnTo>
                  <a:lnTo>
                    <a:pt x="18" y="367"/>
                  </a:lnTo>
                  <a:lnTo>
                    <a:pt x="11" y="397"/>
                  </a:lnTo>
                  <a:lnTo>
                    <a:pt x="7" y="425"/>
                  </a:lnTo>
                  <a:lnTo>
                    <a:pt x="2" y="455"/>
                  </a:lnTo>
                  <a:lnTo>
                    <a:pt x="0" y="485"/>
                  </a:lnTo>
                  <a:lnTo>
                    <a:pt x="0" y="517"/>
                  </a:lnTo>
                  <a:lnTo>
                    <a:pt x="0" y="548"/>
                  </a:lnTo>
                  <a:lnTo>
                    <a:pt x="2" y="580"/>
                  </a:lnTo>
                  <a:lnTo>
                    <a:pt x="3" y="612"/>
                  </a:lnTo>
                  <a:lnTo>
                    <a:pt x="9" y="644"/>
                  </a:lnTo>
                  <a:lnTo>
                    <a:pt x="15" y="676"/>
                  </a:lnTo>
                  <a:lnTo>
                    <a:pt x="22" y="708"/>
                  </a:lnTo>
                  <a:lnTo>
                    <a:pt x="30" y="740"/>
                  </a:lnTo>
                  <a:lnTo>
                    <a:pt x="41" y="772"/>
                  </a:lnTo>
                  <a:lnTo>
                    <a:pt x="52" y="802"/>
                  </a:lnTo>
                  <a:lnTo>
                    <a:pt x="65" y="834"/>
                  </a:lnTo>
                  <a:lnTo>
                    <a:pt x="81" y="866"/>
                  </a:lnTo>
                  <a:lnTo>
                    <a:pt x="96" y="896"/>
                  </a:lnTo>
                  <a:lnTo>
                    <a:pt x="113" y="928"/>
                  </a:lnTo>
                  <a:lnTo>
                    <a:pt x="133" y="958"/>
                  </a:lnTo>
                  <a:lnTo>
                    <a:pt x="152" y="988"/>
                  </a:lnTo>
                  <a:lnTo>
                    <a:pt x="1454" y="2817"/>
                  </a:lnTo>
                  <a:lnTo>
                    <a:pt x="1454" y="2817"/>
                  </a:lnTo>
                  <a:lnTo>
                    <a:pt x="1486" y="2860"/>
                  </a:lnTo>
                  <a:lnTo>
                    <a:pt x="1520" y="2900"/>
                  </a:lnTo>
                  <a:lnTo>
                    <a:pt x="1556" y="2938"/>
                  </a:lnTo>
                  <a:lnTo>
                    <a:pt x="1593" y="2972"/>
                  </a:lnTo>
                  <a:lnTo>
                    <a:pt x="1593" y="2972"/>
                  </a:lnTo>
                  <a:lnTo>
                    <a:pt x="1612" y="2992"/>
                  </a:lnTo>
                  <a:lnTo>
                    <a:pt x="1631" y="3013"/>
                  </a:lnTo>
                  <a:lnTo>
                    <a:pt x="1652" y="3032"/>
                  </a:lnTo>
                  <a:lnTo>
                    <a:pt x="1673" y="3051"/>
                  </a:lnTo>
                  <a:lnTo>
                    <a:pt x="1695" y="3068"/>
                  </a:lnTo>
                  <a:lnTo>
                    <a:pt x="1718" y="3083"/>
                  </a:lnTo>
                  <a:lnTo>
                    <a:pt x="1742" y="3096"/>
                  </a:lnTo>
                  <a:lnTo>
                    <a:pt x="1767" y="3109"/>
                  </a:lnTo>
                  <a:lnTo>
                    <a:pt x="1793" y="3120"/>
                  </a:lnTo>
                  <a:lnTo>
                    <a:pt x="1819" y="3131"/>
                  </a:lnTo>
                  <a:lnTo>
                    <a:pt x="1848" y="3139"/>
                  </a:lnTo>
                  <a:lnTo>
                    <a:pt x="1876" y="3147"/>
                  </a:lnTo>
                  <a:lnTo>
                    <a:pt x="1904" y="3154"/>
                  </a:lnTo>
                  <a:lnTo>
                    <a:pt x="1932" y="3158"/>
                  </a:lnTo>
                  <a:lnTo>
                    <a:pt x="1962" y="3162"/>
                  </a:lnTo>
                  <a:lnTo>
                    <a:pt x="1992" y="3163"/>
                  </a:lnTo>
                  <a:lnTo>
                    <a:pt x="2023" y="3163"/>
                  </a:lnTo>
                  <a:lnTo>
                    <a:pt x="2053" y="3163"/>
                  </a:lnTo>
                  <a:lnTo>
                    <a:pt x="2083" y="3162"/>
                  </a:lnTo>
                  <a:lnTo>
                    <a:pt x="2115" y="3158"/>
                  </a:lnTo>
                  <a:lnTo>
                    <a:pt x="2145" y="3154"/>
                  </a:lnTo>
                  <a:lnTo>
                    <a:pt x="2177" y="3148"/>
                  </a:lnTo>
                  <a:lnTo>
                    <a:pt x="2209" y="3141"/>
                  </a:lnTo>
                  <a:lnTo>
                    <a:pt x="2239" y="3131"/>
                  </a:lnTo>
                  <a:lnTo>
                    <a:pt x="2271" y="3122"/>
                  </a:lnTo>
                  <a:lnTo>
                    <a:pt x="2303" y="3111"/>
                  </a:lnTo>
                  <a:lnTo>
                    <a:pt x="2333" y="3098"/>
                  </a:lnTo>
                  <a:lnTo>
                    <a:pt x="2363" y="3084"/>
                  </a:lnTo>
                  <a:lnTo>
                    <a:pt x="2395" y="3068"/>
                  </a:lnTo>
                  <a:lnTo>
                    <a:pt x="2425" y="3051"/>
                  </a:lnTo>
                  <a:lnTo>
                    <a:pt x="2453" y="3034"/>
                  </a:lnTo>
                  <a:lnTo>
                    <a:pt x="2484" y="3013"/>
                  </a:lnTo>
                  <a:lnTo>
                    <a:pt x="4320" y="1720"/>
                  </a:lnTo>
                  <a:lnTo>
                    <a:pt x="4320" y="1720"/>
                  </a:lnTo>
                  <a:lnTo>
                    <a:pt x="4350" y="1699"/>
                  </a:lnTo>
                  <a:lnTo>
                    <a:pt x="4378" y="1677"/>
                  </a:lnTo>
                  <a:lnTo>
                    <a:pt x="4405" y="1654"/>
                  </a:lnTo>
                  <a:lnTo>
                    <a:pt x="4429" y="1630"/>
                  </a:lnTo>
                  <a:lnTo>
                    <a:pt x="4454" y="1605"/>
                  </a:lnTo>
                  <a:lnTo>
                    <a:pt x="4476" y="1579"/>
                  </a:lnTo>
                  <a:lnTo>
                    <a:pt x="4499" y="1554"/>
                  </a:lnTo>
                  <a:lnTo>
                    <a:pt x="4518" y="1526"/>
                  </a:lnTo>
                  <a:lnTo>
                    <a:pt x="4537" y="1500"/>
                  </a:lnTo>
                  <a:lnTo>
                    <a:pt x="4555" y="1472"/>
                  </a:lnTo>
                  <a:lnTo>
                    <a:pt x="4570" y="1443"/>
                  </a:lnTo>
                  <a:lnTo>
                    <a:pt x="4585" y="1415"/>
                  </a:lnTo>
                  <a:lnTo>
                    <a:pt x="4601" y="1387"/>
                  </a:lnTo>
                  <a:lnTo>
                    <a:pt x="4612" y="1357"/>
                  </a:lnTo>
                  <a:lnTo>
                    <a:pt x="4623" y="1329"/>
                  </a:lnTo>
                  <a:lnTo>
                    <a:pt x="4631" y="1298"/>
                  </a:lnTo>
                  <a:lnTo>
                    <a:pt x="4640" y="1268"/>
                  </a:lnTo>
                  <a:lnTo>
                    <a:pt x="4646" y="1240"/>
                  </a:lnTo>
                  <a:lnTo>
                    <a:pt x="4651" y="1210"/>
                  </a:lnTo>
                  <a:lnTo>
                    <a:pt x="4653" y="1180"/>
                  </a:lnTo>
                  <a:lnTo>
                    <a:pt x="4655" y="1152"/>
                  </a:lnTo>
                  <a:lnTo>
                    <a:pt x="4655" y="1122"/>
                  </a:lnTo>
                  <a:lnTo>
                    <a:pt x="4655" y="1093"/>
                  </a:lnTo>
                  <a:lnTo>
                    <a:pt x="4651" y="1065"/>
                  </a:lnTo>
                  <a:lnTo>
                    <a:pt x="4648" y="1037"/>
                  </a:lnTo>
                  <a:lnTo>
                    <a:pt x="4642" y="1009"/>
                  </a:lnTo>
                  <a:lnTo>
                    <a:pt x="4634" y="980"/>
                  </a:lnTo>
                  <a:lnTo>
                    <a:pt x="4625" y="954"/>
                  </a:lnTo>
                  <a:lnTo>
                    <a:pt x="4614" y="928"/>
                  </a:lnTo>
                  <a:lnTo>
                    <a:pt x="4601" y="901"/>
                  </a:lnTo>
                  <a:lnTo>
                    <a:pt x="4587" y="877"/>
                  </a:lnTo>
                  <a:lnTo>
                    <a:pt x="4570" y="852"/>
                  </a:lnTo>
                  <a:lnTo>
                    <a:pt x="4570" y="852"/>
                  </a:ln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7" name="Freeform 2426"/>
            <p:cNvSpPr>
              <a:spLocks/>
            </p:cNvSpPr>
            <p:nvPr/>
          </p:nvSpPr>
          <p:spPr bwMode="auto">
            <a:xfrm flipH="1">
              <a:off x="5755944" y="3037768"/>
              <a:ext cx="131964" cy="206457"/>
            </a:xfrm>
            <a:custGeom>
              <a:avLst/>
              <a:gdLst>
                <a:gd name="connsiteX0" fmla="*/ 0 w 172345"/>
                <a:gd name="connsiteY0" fmla="*/ 0 h 268897"/>
                <a:gd name="connsiteX1" fmla="*/ 65633 w 172345"/>
                <a:gd name="connsiteY1" fmla="*/ 557 h 268897"/>
                <a:gd name="connsiteX2" fmla="*/ 73921 w 172345"/>
                <a:gd name="connsiteY2" fmla="*/ 654 h 268897"/>
                <a:gd name="connsiteX3" fmla="*/ 82013 w 172345"/>
                <a:gd name="connsiteY3" fmla="*/ 1239 h 268897"/>
                <a:gd name="connsiteX4" fmla="*/ 89912 w 172345"/>
                <a:gd name="connsiteY4" fmla="*/ 2019 h 268897"/>
                <a:gd name="connsiteX5" fmla="*/ 97420 w 172345"/>
                <a:gd name="connsiteY5" fmla="*/ 3286 h 268897"/>
                <a:gd name="connsiteX6" fmla="*/ 104733 w 172345"/>
                <a:gd name="connsiteY6" fmla="*/ 4553 h 268897"/>
                <a:gd name="connsiteX7" fmla="*/ 111558 w 172345"/>
                <a:gd name="connsiteY7" fmla="*/ 6209 h 268897"/>
                <a:gd name="connsiteX8" fmla="*/ 117993 w 172345"/>
                <a:gd name="connsiteY8" fmla="*/ 8256 h 268897"/>
                <a:gd name="connsiteX9" fmla="*/ 124038 w 172345"/>
                <a:gd name="connsiteY9" fmla="*/ 10205 h 268897"/>
                <a:gd name="connsiteX10" fmla="*/ 129499 w 172345"/>
                <a:gd name="connsiteY10" fmla="*/ 12642 h 268897"/>
                <a:gd name="connsiteX11" fmla="*/ 134472 w 172345"/>
                <a:gd name="connsiteY11" fmla="*/ 14980 h 268897"/>
                <a:gd name="connsiteX12" fmla="*/ 136714 w 172345"/>
                <a:gd name="connsiteY12" fmla="*/ 16247 h 268897"/>
                <a:gd name="connsiteX13" fmla="*/ 138664 w 172345"/>
                <a:gd name="connsiteY13" fmla="*/ 17807 h 268897"/>
                <a:gd name="connsiteX14" fmla="*/ 140712 w 172345"/>
                <a:gd name="connsiteY14" fmla="*/ 19074 h 268897"/>
                <a:gd name="connsiteX15" fmla="*/ 142564 w 172345"/>
                <a:gd name="connsiteY15" fmla="*/ 20536 h 268897"/>
                <a:gd name="connsiteX16" fmla="*/ 144222 w 172345"/>
                <a:gd name="connsiteY16" fmla="*/ 21997 h 268897"/>
                <a:gd name="connsiteX17" fmla="*/ 145490 w 172345"/>
                <a:gd name="connsiteY17" fmla="*/ 23459 h 268897"/>
                <a:gd name="connsiteX18" fmla="*/ 146757 w 172345"/>
                <a:gd name="connsiteY18" fmla="*/ 25116 h 268897"/>
                <a:gd name="connsiteX19" fmla="*/ 147830 w 172345"/>
                <a:gd name="connsiteY19" fmla="*/ 26578 h 268897"/>
                <a:gd name="connsiteX20" fmla="*/ 148805 w 172345"/>
                <a:gd name="connsiteY20" fmla="*/ 28235 h 268897"/>
                <a:gd name="connsiteX21" fmla="*/ 149487 w 172345"/>
                <a:gd name="connsiteY21" fmla="*/ 29696 h 268897"/>
                <a:gd name="connsiteX22" fmla="*/ 149877 w 172345"/>
                <a:gd name="connsiteY22" fmla="*/ 31353 h 268897"/>
                <a:gd name="connsiteX23" fmla="*/ 150268 w 172345"/>
                <a:gd name="connsiteY23" fmla="*/ 33010 h 268897"/>
                <a:gd name="connsiteX24" fmla="*/ 154850 w 172345"/>
                <a:gd name="connsiteY24" fmla="*/ 79204 h 268897"/>
                <a:gd name="connsiteX25" fmla="*/ 161286 w 172345"/>
                <a:gd name="connsiteY25" fmla="*/ 145571 h 268897"/>
                <a:gd name="connsiteX26" fmla="*/ 172345 w 172345"/>
                <a:gd name="connsiteY26" fmla="*/ 268897 h 268897"/>
                <a:gd name="connsiteX27" fmla="*/ 0 w 172345"/>
                <a:gd name="connsiteY27" fmla="*/ 268897 h 268897"/>
                <a:gd name="connsiteX0" fmla="*/ 0 w 172345"/>
                <a:gd name="connsiteY0" fmla="*/ 1980 h 268341"/>
                <a:gd name="connsiteX1" fmla="*/ 65633 w 172345"/>
                <a:gd name="connsiteY1" fmla="*/ 1 h 268341"/>
                <a:gd name="connsiteX2" fmla="*/ 73921 w 172345"/>
                <a:gd name="connsiteY2" fmla="*/ 98 h 268341"/>
                <a:gd name="connsiteX3" fmla="*/ 82013 w 172345"/>
                <a:gd name="connsiteY3" fmla="*/ 683 h 268341"/>
                <a:gd name="connsiteX4" fmla="*/ 89912 w 172345"/>
                <a:gd name="connsiteY4" fmla="*/ 1463 h 268341"/>
                <a:gd name="connsiteX5" fmla="*/ 97420 w 172345"/>
                <a:gd name="connsiteY5" fmla="*/ 2730 h 268341"/>
                <a:gd name="connsiteX6" fmla="*/ 104733 w 172345"/>
                <a:gd name="connsiteY6" fmla="*/ 3997 h 268341"/>
                <a:gd name="connsiteX7" fmla="*/ 111558 w 172345"/>
                <a:gd name="connsiteY7" fmla="*/ 5653 h 268341"/>
                <a:gd name="connsiteX8" fmla="*/ 117993 w 172345"/>
                <a:gd name="connsiteY8" fmla="*/ 7700 h 268341"/>
                <a:gd name="connsiteX9" fmla="*/ 124038 w 172345"/>
                <a:gd name="connsiteY9" fmla="*/ 9649 h 268341"/>
                <a:gd name="connsiteX10" fmla="*/ 129499 w 172345"/>
                <a:gd name="connsiteY10" fmla="*/ 12086 h 268341"/>
                <a:gd name="connsiteX11" fmla="*/ 134472 w 172345"/>
                <a:gd name="connsiteY11" fmla="*/ 14424 h 268341"/>
                <a:gd name="connsiteX12" fmla="*/ 136714 w 172345"/>
                <a:gd name="connsiteY12" fmla="*/ 15691 h 268341"/>
                <a:gd name="connsiteX13" fmla="*/ 138664 w 172345"/>
                <a:gd name="connsiteY13" fmla="*/ 17251 h 268341"/>
                <a:gd name="connsiteX14" fmla="*/ 140712 w 172345"/>
                <a:gd name="connsiteY14" fmla="*/ 18518 h 268341"/>
                <a:gd name="connsiteX15" fmla="*/ 142564 w 172345"/>
                <a:gd name="connsiteY15" fmla="*/ 19980 h 268341"/>
                <a:gd name="connsiteX16" fmla="*/ 144222 w 172345"/>
                <a:gd name="connsiteY16" fmla="*/ 21441 h 268341"/>
                <a:gd name="connsiteX17" fmla="*/ 145490 w 172345"/>
                <a:gd name="connsiteY17" fmla="*/ 22903 h 268341"/>
                <a:gd name="connsiteX18" fmla="*/ 146757 w 172345"/>
                <a:gd name="connsiteY18" fmla="*/ 24560 h 268341"/>
                <a:gd name="connsiteX19" fmla="*/ 147830 w 172345"/>
                <a:gd name="connsiteY19" fmla="*/ 26022 h 268341"/>
                <a:gd name="connsiteX20" fmla="*/ 148805 w 172345"/>
                <a:gd name="connsiteY20" fmla="*/ 27679 h 268341"/>
                <a:gd name="connsiteX21" fmla="*/ 149487 w 172345"/>
                <a:gd name="connsiteY21" fmla="*/ 29140 h 268341"/>
                <a:gd name="connsiteX22" fmla="*/ 149877 w 172345"/>
                <a:gd name="connsiteY22" fmla="*/ 30797 h 268341"/>
                <a:gd name="connsiteX23" fmla="*/ 150268 w 172345"/>
                <a:gd name="connsiteY23" fmla="*/ 32454 h 268341"/>
                <a:gd name="connsiteX24" fmla="*/ 154850 w 172345"/>
                <a:gd name="connsiteY24" fmla="*/ 78648 h 268341"/>
                <a:gd name="connsiteX25" fmla="*/ 161286 w 172345"/>
                <a:gd name="connsiteY25" fmla="*/ 145015 h 268341"/>
                <a:gd name="connsiteX26" fmla="*/ 172345 w 172345"/>
                <a:gd name="connsiteY26" fmla="*/ 268341 h 268341"/>
                <a:gd name="connsiteX27" fmla="*/ 0 w 172345"/>
                <a:gd name="connsiteY27" fmla="*/ 268341 h 268341"/>
                <a:gd name="connsiteX28" fmla="*/ 0 w 172345"/>
                <a:gd name="connsiteY28" fmla="*/ 1980 h 268341"/>
                <a:gd name="connsiteX0" fmla="*/ 0 w 172345"/>
                <a:gd name="connsiteY0" fmla="*/ 4515 h 268340"/>
                <a:gd name="connsiteX1" fmla="*/ 65633 w 172345"/>
                <a:gd name="connsiteY1" fmla="*/ 0 h 268340"/>
                <a:gd name="connsiteX2" fmla="*/ 73921 w 172345"/>
                <a:gd name="connsiteY2" fmla="*/ 97 h 268340"/>
                <a:gd name="connsiteX3" fmla="*/ 82013 w 172345"/>
                <a:gd name="connsiteY3" fmla="*/ 682 h 268340"/>
                <a:gd name="connsiteX4" fmla="*/ 89912 w 172345"/>
                <a:gd name="connsiteY4" fmla="*/ 1462 h 268340"/>
                <a:gd name="connsiteX5" fmla="*/ 97420 w 172345"/>
                <a:gd name="connsiteY5" fmla="*/ 2729 h 268340"/>
                <a:gd name="connsiteX6" fmla="*/ 104733 w 172345"/>
                <a:gd name="connsiteY6" fmla="*/ 3996 h 268340"/>
                <a:gd name="connsiteX7" fmla="*/ 111558 w 172345"/>
                <a:gd name="connsiteY7" fmla="*/ 5652 h 268340"/>
                <a:gd name="connsiteX8" fmla="*/ 117993 w 172345"/>
                <a:gd name="connsiteY8" fmla="*/ 7699 h 268340"/>
                <a:gd name="connsiteX9" fmla="*/ 124038 w 172345"/>
                <a:gd name="connsiteY9" fmla="*/ 9648 h 268340"/>
                <a:gd name="connsiteX10" fmla="*/ 129499 w 172345"/>
                <a:gd name="connsiteY10" fmla="*/ 12085 h 268340"/>
                <a:gd name="connsiteX11" fmla="*/ 134472 w 172345"/>
                <a:gd name="connsiteY11" fmla="*/ 14423 h 268340"/>
                <a:gd name="connsiteX12" fmla="*/ 136714 w 172345"/>
                <a:gd name="connsiteY12" fmla="*/ 15690 h 268340"/>
                <a:gd name="connsiteX13" fmla="*/ 138664 w 172345"/>
                <a:gd name="connsiteY13" fmla="*/ 17250 h 268340"/>
                <a:gd name="connsiteX14" fmla="*/ 140712 w 172345"/>
                <a:gd name="connsiteY14" fmla="*/ 18517 h 268340"/>
                <a:gd name="connsiteX15" fmla="*/ 142564 w 172345"/>
                <a:gd name="connsiteY15" fmla="*/ 19979 h 268340"/>
                <a:gd name="connsiteX16" fmla="*/ 144222 w 172345"/>
                <a:gd name="connsiteY16" fmla="*/ 21440 h 268340"/>
                <a:gd name="connsiteX17" fmla="*/ 145490 w 172345"/>
                <a:gd name="connsiteY17" fmla="*/ 22902 h 268340"/>
                <a:gd name="connsiteX18" fmla="*/ 146757 w 172345"/>
                <a:gd name="connsiteY18" fmla="*/ 24559 h 268340"/>
                <a:gd name="connsiteX19" fmla="*/ 147830 w 172345"/>
                <a:gd name="connsiteY19" fmla="*/ 26021 h 268340"/>
                <a:gd name="connsiteX20" fmla="*/ 148805 w 172345"/>
                <a:gd name="connsiteY20" fmla="*/ 27678 h 268340"/>
                <a:gd name="connsiteX21" fmla="*/ 149487 w 172345"/>
                <a:gd name="connsiteY21" fmla="*/ 29139 h 268340"/>
                <a:gd name="connsiteX22" fmla="*/ 149877 w 172345"/>
                <a:gd name="connsiteY22" fmla="*/ 30796 h 268340"/>
                <a:gd name="connsiteX23" fmla="*/ 150268 w 172345"/>
                <a:gd name="connsiteY23" fmla="*/ 32453 h 268340"/>
                <a:gd name="connsiteX24" fmla="*/ 154850 w 172345"/>
                <a:gd name="connsiteY24" fmla="*/ 78647 h 268340"/>
                <a:gd name="connsiteX25" fmla="*/ 161286 w 172345"/>
                <a:gd name="connsiteY25" fmla="*/ 145014 h 268340"/>
                <a:gd name="connsiteX26" fmla="*/ 172345 w 172345"/>
                <a:gd name="connsiteY26" fmla="*/ 268340 h 268340"/>
                <a:gd name="connsiteX27" fmla="*/ 0 w 172345"/>
                <a:gd name="connsiteY27" fmla="*/ 268340 h 268340"/>
                <a:gd name="connsiteX28" fmla="*/ 0 w 172345"/>
                <a:gd name="connsiteY28" fmla="*/ 4515 h 26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2345" h="268340">
                  <a:moveTo>
                    <a:pt x="0" y="4515"/>
                  </a:moveTo>
                  <a:lnTo>
                    <a:pt x="65633" y="0"/>
                  </a:lnTo>
                  <a:lnTo>
                    <a:pt x="73921" y="97"/>
                  </a:lnTo>
                  <a:lnTo>
                    <a:pt x="82013" y="682"/>
                  </a:lnTo>
                  <a:lnTo>
                    <a:pt x="89912" y="1462"/>
                  </a:lnTo>
                  <a:lnTo>
                    <a:pt x="97420" y="2729"/>
                  </a:lnTo>
                  <a:lnTo>
                    <a:pt x="104733" y="3996"/>
                  </a:lnTo>
                  <a:lnTo>
                    <a:pt x="111558" y="5652"/>
                  </a:lnTo>
                  <a:lnTo>
                    <a:pt x="117993" y="7699"/>
                  </a:lnTo>
                  <a:lnTo>
                    <a:pt x="124038" y="9648"/>
                  </a:lnTo>
                  <a:lnTo>
                    <a:pt x="129499" y="12085"/>
                  </a:lnTo>
                  <a:lnTo>
                    <a:pt x="134472" y="14423"/>
                  </a:lnTo>
                  <a:lnTo>
                    <a:pt x="136714" y="15690"/>
                  </a:lnTo>
                  <a:lnTo>
                    <a:pt x="138664" y="17250"/>
                  </a:lnTo>
                  <a:lnTo>
                    <a:pt x="140712" y="18517"/>
                  </a:lnTo>
                  <a:lnTo>
                    <a:pt x="142564" y="19979"/>
                  </a:lnTo>
                  <a:lnTo>
                    <a:pt x="144222" y="21440"/>
                  </a:lnTo>
                  <a:lnTo>
                    <a:pt x="145490" y="22902"/>
                  </a:lnTo>
                  <a:lnTo>
                    <a:pt x="146757" y="24559"/>
                  </a:lnTo>
                  <a:lnTo>
                    <a:pt x="147830" y="26021"/>
                  </a:lnTo>
                  <a:lnTo>
                    <a:pt x="148805" y="27678"/>
                  </a:lnTo>
                  <a:lnTo>
                    <a:pt x="149487" y="29139"/>
                  </a:lnTo>
                  <a:lnTo>
                    <a:pt x="149877" y="30796"/>
                  </a:lnTo>
                  <a:lnTo>
                    <a:pt x="150268" y="32453"/>
                  </a:lnTo>
                  <a:lnTo>
                    <a:pt x="154850" y="78647"/>
                  </a:lnTo>
                  <a:lnTo>
                    <a:pt x="161286" y="145014"/>
                  </a:lnTo>
                  <a:lnTo>
                    <a:pt x="172345" y="268340"/>
                  </a:lnTo>
                  <a:lnTo>
                    <a:pt x="0" y="268340"/>
                  </a:lnTo>
                  <a:lnTo>
                    <a:pt x="0" y="4515"/>
                  </a:ln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8" name="Freeform 2427"/>
            <p:cNvSpPr>
              <a:spLocks/>
            </p:cNvSpPr>
            <p:nvPr/>
          </p:nvSpPr>
          <p:spPr bwMode="auto">
            <a:xfrm flipH="1">
              <a:off x="5745845" y="2844490"/>
              <a:ext cx="110379" cy="183650"/>
            </a:xfrm>
            <a:custGeom>
              <a:avLst/>
              <a:gdLst>
                <a:gd name="connsiteX0" fmla="*/ 29448 w 170844"/>
                <a:gd name="connsiteY0" fmla="*/ 0 h 282890"/>
                <a:gd name="connsiteX1" fmla="*/ 36761 w 170844"/>
                <a:gd name="connsiteY1" fmla="*/ 195 h 282890"/>
                <a:gd name="connsiteX2" fmla="*/ 43880 w 170844"/>
                <a:gd name="connsiteY2" fmla="*/ 780 h 282890"/>
                <a:gd name="connsiteX3" fmla="*/ 51096 w 170844"/>
                <a:gd name="connsiteY3" fmla="*/ 1657 h 282890"/>
                <a:gd name="connsiteX4" fmla="*/ 58020 w 170844"/>
                <a:gd name="connsiteY4" fmla="*/ 3022 h 282890"/>
                <a:gd name="connsiteX5" fmla="*/ 64846 w 170844"/>
                <a:gd name="connsiteY5" fmla="*/ 4484 h 282890"/>
                <a:gd name="connsiteX6" fmla="*/ 71574 w 170844"/>
                <a:gd name="connsiteY6" fmla="*/ 6434 h 282890"/>
                <a:gd name="connsiteX7" fmla="*/ 78010 w 170844"/>
                <a:gd name="connsiteY7" fmla="*/ 8676 h 282890"/>
                <a:gd name="connsiteX8" fmla="*/ 84446 w 170844"/>
                <a:gd name="connsiteY8" fmla="*/ 11211 h 282890"/>
                <a:gd name="connsiteX9" fmla="*/ 90882 w 170844"/>
                <a:gd name="connsiteY9" fmla="*/ 13940 h 282890"/>
                <a:gd name="connsiteX10" fmla="*/ 96928 w 170844"/>
                <a:gd name="connsiteY10" fmla="*/ 17059 h 282890"/>
                <a:gd name="connsiteX11" fmla="*/ 102779 w 170844"/>
                <a:gd name="connsiteY11" fmla="*/ 20569 h 282890"/>
                <a:gd name="connsiteX12" fmla="*/ 108532 w 170844"/>
                <a:gd name="connsiteY12" fmla="*/ 24273 h 282890"/>
                <a:gd name="connsiteX13" fmla="*/ 114188 w 170844"/>
                <a:gd name="connsiteY13" fmla="*/ 28075 h 282890"/>
                <a:gd name="connsiteX14" fmla="*/ 119551 w 170844"/>
                <a:gd name="connsiteY14" fmla="*/ 32364 h 282890"/>
                <a:gd name="connsiteX15" fmla="*/ 124622 w 170844"/>
                <a:gd name="connsiteY15" fmla="*/ 36751 h 282890"/>
                <a:gd name="connsiteX16" fmla="*/ 129400 w 170844"/>
                <a:gd name="connsiteY16" fmla="*/ 41527 h 282890"/>
                <a:gd name="connsiteX17" fmla="*/ 134179 w 170844"/>
                <a:gd name="connsiteY17" fmla="*/ 46499 h 282890"/>
                <a:gd name="connsiteX18" fmla="*/ 138567 w 170844"/>
                <a:gd name="connsiteY18" fmla="*/ 51373 h 282890"/>
                <a:gd name="connsiteX19" fmla="*/ 142857 w 170844"/>
                <a:gd name="connsiteY19" fmla="*/ 56929 h 282890"/>
                <a:gd name="connsiteX20" fmla="*/ 146855 w 170844"/>
                <a:gd name="connsiteY20" fmla="*/ 62388 h 282890"/>
                <a:gd name="connsiteX21" fmla="*/ 150561 w 170844"/>
                <a:gd name="connsiteY21" fmla="*/ 68139 h 282890"/>
                <a:gd name="connsiteX22" fmla="*/ 153779 w 170844"/>
                <a:gd name="connsiteY22" fmla="*/ 73988 h 282890"/>
                <a:gd name="connsiteX23" fmla="*/ 156899 w 170844"/>
                <a:gd name="connsiteY23" fmla="*/ 80227 h 282890"/>
                <a:gd name="connsiteX24" fmla="*/ 159922 w 170844"/>
                <a:gd name="connsiteY24" fmla="*/ 86466 h 282890"/>
                <a:gd name="connsiteX25" fmla="*/ 162263 w 170844"/>
                <a:gd name="connsiteY25" fmla="*/ 92900 h 282890"/>
                <a:gd name="connsiteX26" fmla="*/ 164603 w 170844"/>
                <a:gd name="connsiteY26" fmla="*/ 99431 h 282890"/>
                <a:gd name="connsiteX27" fmla="*/ 166456 w 170844"/>
                <a:gd name="connsiteY27" fmla="*/ 106060 h 282890"/>
                <a:gd name="connsiteX28" fmla="*/ 167919 w 170844"/>
                <a:gd name="connsiteY28" fmla="*/ 112883 h 282890"/>
                <a:gd name="connsiteX29" fmla="*/ 169284 w 170844"/>
                <a:gd name="connsiteY29" fmla="*/ 119804 h 282890"/>
                <a:gd name="connsiteX30" fmla="*/ 170161 w 170844"/>
                <a:gd name="connsiteY30" fmla="*/ 127018 h 282890"/>
                <a:gd name="connsiteX31" fmla="*/ 170747 w 170844"/>
                <a:gd name="connsiteY31" fmla="*/ 134134 h 282890"/>
                <a:gd name="connsiteX32" fmla="*/ 170844 w 170844"/>
                <a:gd name="connsiteY32" fmla="*/ 141445 h 282890"/>
                <a:gd name="connsiteX33" fmla="*/ 170747 w 170844"/>
                <a:gd name="connsiteY33" fmla="*/ 148659 h 282890"/>
                <a:gd name="connsiteX34" fmla="*/ 170161 w 170844"/>
                <a:gd name="connsiteY34" fmla="*/ 155970 h 282890"/>
                <a:gd name="connsiteX35" fmla="*/ 169284 w 170844"/>
                <a:gd name="connsiteY35" fmla="*/ 162989 h 282890"/>
                <a:gd name="connsiteX36" fmla="*/ 167919 w 170844"/>
                <a:gd name="connsiteY36" fmla="*/ 169910 h 282890"/>
                <a:gd name="connsiteX37" fmla="*/ 166456 w 170844"/>
                <a:gd name="connsiteY37" fmla="*/ 176733 h 282890"/>
                <a:gd name="connsiteX38" fmla="*/ 164603 w 170844"/>
                <a:gd name="connsiteY38" fmla="*/ 183460 h 282890"/>
                <a:gd name="connsiteX39" fmla="*/ 162263 w 170844"/>
                <a:gd name="connsiteY39" fmla="*/ 190088 h 282890"/>
                <a:gd name="connsiteX40" fmla="*/ 159922 w 170844"/>
                <a:gd name="connsiteY40" fmla="*/ 196522 h 282890"/>
                <a:gd name="connsiteX41" fmla="*/ 156899 w 170844"/>
                <a:gd name="connsiteY41" fmla="*/ 202761 h 282890"/>
                <a:gd name="connsiteX42" fmla="*/ 153779 w 170844"/>
                <a:gd name="connsiteY42" fmla="*/ 208805 h 282890"/>
                <a:gd name="connsiteX43" fmla="*/ 150561 w 170844"/>
                <a:gd name="connsiteY43" fmla="*/ 214848 h 282890"/>
                <a:gd name="connsiteX44" fmla="*/ 146855 w 170844"/>
                <a:gd name="connsiteY44" fmla="*/ 220600 h 282890"/>
                <a:gd name="connsiteX45" fmla="*/ 142857 w 170844"/>
                <a:gd name="connsiteY45" fmla="*/ 226059 h 282890"/>
                <a:gd name="connsiteX46" fmla="*/ 138567 w 170844"/>
                <a:gd name="connsiteY46" fmla="*/ 231420 h 282890"/>
                <a:gd name="connsiteX47" fmla="*/ 134179 w 170844"/>
                <a:gd name="connsiteY47" fmla="*/ 236489 h 282890"/>
                <a:gd name="connsiteX48" fmla="*/ 129400 w 170844"/>
                <a:gd name="connsiteY48" fmla="*/ 241461 h 282890"/>
                <a:gd name="connsiteX49" fmla="*/ 124622 w 170844"/>
                <a:gd name="connsiteY49" fmla="*/ 246042 h 282890"/>
                <a:gd name="connsiteX50" fmla="*/ 119551 w 170844"/>
                <a:gd name="connsiteY50" fmla="*/ 250624 h 282890"/>
                <a:gd name="connsiteX51" fmla="*/ 114188 w 170844"/>
                <a:gd name="connsiteY51" fmla="*/ 254816 h 282890"/>
                <a:gd name="connsiteX52" fmla="*/ 108532 w 170844"/>
                <a:gd name="connsiteY52" fmla="*/ 258715 h 282890"/>
                <a:gd name="connsiteX53" fmla="*/ 102779 w 170844"/>
                <a:gd name="connsiteY53" fmla="*/ 262419 h 282890"/>
                <a:gd name="connsiteX54" fmla="*/ 96928 w 170844"/>
                <a:gd name="connsiteY54" fmla="*/ 265831 h 282890"/>
                <a:gd name="connsiteX55" fmla="*/ 90882 w 170844"/>
                <a:gd name="connsiteY55" fmla="*/ 268950 h 282890"/>
                <a:gd name="connsiteX56" fmla="*/ 84446 w 170844"/>
                <a:gd name="connsiteY56" fmla="*/ 271777 h 282890"/>
                <a:gd name="connsiteX57" fmla="*/ 78010 w 170844"/>
                <a:gd name="connsiteY57" fmla="*/ 274312 h 282890"/>
                <a:gd name="connsiteX58" fmla="*/ 71574 w 170844"/>
                <a:gd name="connsiteY58" fmla="*/ 276554 h 282890"/>
                <a:gd name="connsiteX59" fmla="*/ 64846 w 170844"/>
                <a:gd name="connsiteY59" fmla="*/ 278309 h 282890"/>
                <a:gd name="connsiteX60" fmla="*/ 58020 w 170844"/>
                <a:gd name="connsiteY60" fmla="*/ 279966 h 282890"/>
                <a:gd name="connsiteX61" fmla="*/ 51096 w 170844"/>
                <a:gd name="connsiteY61" fmla="*/ 281233 h 282890"/>
                <a:gd name="connsiteX62" fmla="*/ 43880 w 170844"/>
                <a:gd name="connsiteY62" fmla="*/ 282208 h 282890"/>
                <a:gd name="connsiteX63" fmla="*/ 36761 w 170844"/>
                <a:gd name="connsiteY63" fmla="*/ 282793 h 282890"/>
                <a:gd name="connsiteX64" fmla="*/ 29448 w 170844"/>
                <a:gd name="connsiteY64" fmla="*/ 282890 h 282890"/>
                <a:gd name="connsiteX65" fmla="*/ 22232 w 170844"/>
                <a:gd name="connsiteY65" fmla="*/ 282793 h 282890"/>
                <a:gd name="connsiteX66" fmla="*/ 15113 w 170844"/>
                <a:gd name="connsiteY66" fmla="*/ 282208 h 282890"/>
                <a:gd name="connsiteX67" fmla="*/ 7897 w 170844"/>
                <a:gd name="connsiteY67" fmla="*/ 281233 h 282890"/>
                <a:gd name="connsiteX68" fmla="*/ 974 w 170844"/>
                <a:gd name="connsiteY68" fmla="*/ 279966 h 282890"/>
                <a:gd name="connsiteX69" fmla="*/ 0 w 170844"/>
                <a:gd name="connsiteY69" fmla="*/ 279729 h 282890"/>
                <a:gd name="connsiteX70" fmla="*/ 0 w 170844"/>
                <a:gd name="connsiteY70" fmla="*/ 3231 h 282890"/>
                <a:gd name="connsiteX71" fmla="*/ 974 w 170844"/>
                <a:gd name="connsiteY71" fmla="*/ 3022 h 282890"/>
                <a:gd name="connsiteX72" fmla="*/ 7897 w 170844"/>
                <a:gd name="connsiteY72" fmla="*/ 1657 h 282890"/>
                <a:gd name="connsiteX73" fmla="*/ 15113 w 170844"/>
                <a:gd name="connsiteY73" fmla="*/ 780 h 282890"/>
                <a:gd name="connsiteX74" fmla="*/ 22232 w 170844"/>
                <a:gd name="connsiteY74" fmla="*/ 195 h 28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70844" h="282890">
                  <a:moveTo>
                    <a:pt x="29448" y="0"/>
                  </a:moveTo>
                  <a:lnTo>
                    <a:pt x="36761" y="195"/>
                  </a:lnTo>
                  <a:lnTo>
                    <a:pt x="43880" y="780"/>
                  </a:lnTo>
                  <a:lnTo>
                    <a:pt x="51096" y="1657"/>
                  </a:lnTo>
                  <a:lnTo>
                    <a:pt x="58020" y="3022"/>
                  </a:lnTo>
                  <a:lnTo>
                    <a:pt x="64846" y="4484"/>
                  </a:lnTo>
                  <a:lnTo>
                    <a:pt x="71574" y="6434"/>
                  </a:lnTo>
                  <a:lnTo>
                    <a:pt x="78010" y="8676"/>
                  </a:lnTo>
                  <a:lnTo>
                    <a:pt x="84446" y="11211"/>
                  </a:lnTo>
                  <a:lnTo>
                    <a:pt x="90882" y="13940"/>
                  </a:lnTo>
                  <a:lnTo>
                    <a:pt x="96928" y="17059"/>
                  </a:lnTo>
                  <a:lnTo>
                    <a:pt x="102779" y="20569"/>
                  </a:lnTo>
                  <a:lnTo>
                    <a:pt x="108532" y="24273"/>
                  </a:lnTo>
                  <a:lnTo>
                    <a:pt x="114188" y="28075"/>
                  </a:lnTo>
                  <a:lnTo>
                    <a:pt x="119551" y="32364"/>
                  </a:lnTo>
                  <a:lnTo>
                    <a:pt x="124622" y="36751"/>
                  </a:lnTo>
                  <a:lnTo>
                    <a:pt x="129400" y="41527"/>
                  </a:lnTo>
                  <a:lnTo>
                    <a:pt x="134179" y="46499"/>
                  </a:lnTo>
                  <a:lnTo>
                    <a:pt x="138567" y="51373"/>
                  </a:lnTo>
                  <a:lnTo>
                    <a:pt x="142857" y="56929"/>
                  </a:lnTo>
                  <a:lnTo>
                    <a:pt x="146855" y="62388"/>
                  </a:lnTo>
                  <a:lnTo>
                    <a:pt x="150561" y="68139"/>
                  </a:lnTo>
                  <a:lnTo>
                    <a:pt x="153779" y="73988"/>
                  </a:lnTo>
                  <a:lnTo>
                    <a:pt x="156899" y="80227"/>
                  </a:lnTo>
                  <a:lnTo>
                    <a:pt x="159922" y="86466"/>
                  </a:lnTo>
                  <a:lnTo>
                    <a:pt x="162263" y="92900"/>
                  </a:lnTo>
                  <a:lnTo>
                    <a:pt x="164603" y="99431"/>
                  </a:lnTo>
                  <a:lnTo>
                    <a:pt x="166456" y="106060"/>
                  </a:lnTo>
                  <a:lnTo>
                    <a:pt x="167919" y="112883"/>
                  </a:lnTo>
                  <a:lnTo>
                    <a:pt x="169284" y="119804"/>
                  </a:lnTo>
                  <a:lnTo>
                    <a:pt x="170161" y="127018"/>
                  </a:lnTo>
                  <a:lnTo>
                    <a:pt x="170747" y="134134"/>
                  </a:lnTo>
                  <a:lnTo>
                    <a:pt x="170844" y="141445"/>
                  </a:lnTo>
                  <a:lnTo>
                    <a:pt x="170747" y="148659"/>
                  </a:lnTo>
                  <a:lnTo>
                    <a:pt x="170161" y="155970"/>
                  </a:lnTo>
                  <a:lnTo>
                    <a:pt x="169284" y="162989"/>
                  </a:lnTo>
                  <a:lnTo>
                    <a:pt x="167919" y="169910"/>
                  </a:lnTo>
                  <a:lnTo>
                    <a:pt x="166456" y="176733"/>
                  </a:lnTo>
                  <a:lnTo>
                    <a:pt x="164603" y="183460"/>
                  </a:lnTo>
                  <a:lnTo>
                    <a:pt x="162263" y="190088"/>
                  </a:lnTo>
                  <a:lnTo>
                    <a:pt x="159922" y="196522"/>
                  </a:lnTo>
                  <a:lnTo>
                    <a:pt x="156899" y="202761"/>
                  </a:lnTo>
                  <a:lnTo>
                    <a:pt x="153779" y="208805"/>
                  </a:lnTo>
                  <a:lnTo>
                    <a:pt x="150561" y="214848"/>
                  </a:lnTo>
                  <a:lnTo>
                    <a:pt x="146855" y="220600"/>
                  </a:lnTo>
                  <a:lnTo>
                    <a:pt x="142857" y="226059"/>
                  </a:lnTo>
                  <a:lnTo>
                    <a:pt x="138567" y="231420"/>
                  </a:lnTo>
                  <a:lnTo>
                    <a:pt x="134179" y="236489"/>
                  </a:lnTo>
                  <a:lnTo>
                    <a:pt x="129400" y="241461"/>
                  </a:lnTo>
                  <a:lnTo>
                    <a:pt x="124622" y="246042"/>
                  </a:lnTo>
                  <a:lnTo>
                    <a:pt x="119551" y="250624"/>
                  </a:lnTo>
                  <a:lnTo>
                    <a:pt x="114188" y="254816"/>
                  </a:lnTo>
                  <a:lnTo>
                    <a:pt x="108532" y="258715"/>
                  </a:lnTo>
                  <a:lnTo>
                    <a:pt x="102779" y="262419"/>
                  </a:lnTo>
                  <a:lnTo>
                    <a:pt x="96928" y="265831"/>
                  </a:lnTo>
                  <a:lnTo>
                    <a:pt x="90882" y="268950"/>
                  </a:lnTo>
                  <a:lnTo>
                    <a:pt x="84446" y="271777"/>
                  </a:lnTo>
                  <a:lnTo>
                    <a:pt x="78010" y="274312"/>
                  </a:lnTo>
                  <a:lnTo>
                    <a:pt x="71574" y="276554"/>
                  </a:lnTo>
                  <a:lnTo>
                    <a:pt x="64846" y="278309"/>
                  </a:lnTo>
                  <a:lnTo>
                    <a:pt x="58020" y="279966"/>
                  </a:lnTo>
                  <a:lnTo>
                    <a:pt x="51096" y="281233"/>
                  </a:lnTo>
                  <a:lnTo>
                    <a:pt x="43880" y="282208"/>
                  </a:lnTo>
                  <a:lnTo>
                    <a:pt x="36761" y="282793"/>
                  </a:lnTo>
                  <a:lnTo>
                    <a:pt x="29448" y="282890"/>
                  </a:lnTo>
                  <a:lnTo>
                    <a:pt x="22232" y="282793"/>
                  </a:lnTo>
                  <a:lnTo>
                    <a:pt x="15113" y="282208"/>
                  </a:lnTo>
                  <a:lnTo>
                    <a:pt x="7897" y="281233"/>
                  </a:lnTo>
                  <a:lnTo>
                    <a:pt x="974" y="279966"/>
                  </a:lnTo>
                  <a:lnTo>
                    <a:pt x="0" y="279729"/>
                  </a:lnTo>
                  <a:lnTo>
                    <a:pt x="0" y="3231"/>
                  </a:lnTo>
                  <a:lnTo>
                    <a:pt x="974" y="3022"/>
                  </a:lnTo>
                  <a:lnTo>
                    <a:pt x="7897" y="1657"/>
                  </a:lnTo>
                  <a:lnTo>
                    <a:pt x="15113" y="780"/>
                  </a:lnTo>
                  <a:lnTo>
                    <a:pt x="22232" y="195"/>
                  </a:ln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9" name="Freeform 2428"/>
            <p:cNvSpPr>
              <a:spLocks/>
            </p:cNvSpPr>
            <p:nvPr/>
          </p:nvSpPr>
          <p:spPr bwMode="auto">
            <a:xfrm>
              <a:off x="5832935" y="2844356"/>
              <a:ext cx="76514" cy="183650"/>
            </a:xfrm>
            <a:custGeom>
              <a:avLst/>
              <a:gdLst>
                <a:gd name="connsiteX0" fmla="*/ 18332 w 74758"/>
                <a:gd name="connsiteY0" fmla="*/ 0 h 176096"/>
                <a:gd name="connsiteX1" fmla="*/ 22884 w 74758"/>
                <a:gd name="connsiteY1" fmla="*/ 122 h 176096"/>
                <a:gd name="connsiteX2" fmla="*/ 27315 w 74758"/>
                <a:gd name="connsiteY2" fmla="*/ 486 h 176096"/>
                <a:gd name="connsiteX3" fmla="*/ 31807 w 74758"/>
                <a:gd name="connsiteY3" fmla="*/ 1032 h 176096"/>
                <a:gd name="connsiteX4" fmla="*/ 36118 w 74758"/>
                <a:gd name="connsiteY4" fmla="*/ 1881 h 176096"/>
                <a:gd name="connsiteX5" fmla="*/ 40367 w 74758"/>
                <a:gd name="connsiteY5" fmla="*/ 2791 h 176096"/>
                <a:gd name="connsiteX6" fmla="*/ 44555 w 74758"/>
                <a:gd name="connsiteY6" fmla="*/ 4005 h 176096"/>
                <a:gd name="connsiteX7" fmla="*/ 48561 w 74758"/>
                <a:gd name="connsiteY7" fmla="*/ 5401 h 176096"/>
                <a:gd name="connsiteX8" fmla="*/ 52568 w 74758"/>
                <a:gd name="connsiteY8" fmla="*/ 6979 h 176096"/>
                <a:gd name="connsiteX9" fmla="*/ 56574 w 74758"/>
                <a:gd name="connsiteY9" fmla="*/ 8678 h 176096"/>
                <a:gd name="connsiteX10" fmla="*/ 60338 w 74758"/>
                <a:gd name="connsiteY10" fmla="*/ 10619 h 176096"/>
                <a:gd name="connsiteX11" fmla="*/ 63980 w 74758"/>
                <a:gd name="connsiteY11" fmla="*/ 12804 h 176096"/>
                <a:gd name="connsiteX12" fmla="*/ 67561 w 74758"/>
                <a:gd name="connsiteY12" fmla="*/ 15110 h 176096"/>
                <a:gd name="connsiteX13" fmla="*/ 71082 w 74758"/>
                <a:gd name="connsiteY13" fmla="*/ 17477 h 176096"/>
                <a:gd name="connsiteX14" fmla="*/ 74420 w 74758"/>
                <a:gd name="connsiteY14" fmla="*/ 20146 h 176096"/>
                <a:gd name="connsiteX15" fmla="*/ 74758 w 74758"/>
                <a:gd name="connsiteY15" fmla="*/ 20439 h 176096"/>
                <a:gd name="connsiteX16" fmla="*/ 74758 w 74758"/>
                <a:gd name="connsiteY16" fmla="*/ 155706 h 176096"/>
                <a:gd name="connsiteX17" fmla="*/ 74420 w 74758"/>
                <a:gd name="connsiteY17" fmla="*/ 156011 h 176096"/>
                <a:gd name="connsiteX18" fmla="*/ 71082 w 74758"/>
                <a:gd name="connsiteY18" fmla="*/ 158620 h 176096"/>
                <a:gd name="connsiteX19" fmla="*/ 67561 w 74758"/>
                <a:gd name="connsiteY19" fmla="*/ 161047 h 176096"/>
                <a:gd name="connsiteX20" fmla="*/ 63980 w 74758"/>
                <a:gd name="connsiteY20" fmla="*/ 163353 h 176096"/>
                <a:gd name="connsiteX21" fmla="*/ 60338 w 74758"/>
                <a:gd name="connsiteY21" fmla="*/ 165477 h 176096"/>
                <a:gd name="connsiteX22" fmla="*/ 56574 w 74758"/>
                <a:gd name="connsiteY22" fmla="*/ 167419 h 176096"/>
                <a:gd name="connsiteX23" fmla="*/ 52568 w 74758"/>
                <a:gd name="connsiteY23" fmla="*/ 169178 h 176096"/>
                <a:gd name="connsiteX24" fmla="*/ 48561 w 74758"/>
                <a:gd name="connsiteY24" fmla="*/ 170756 h 176096"/>
                <a:gd name="connsiteX25" fmla="*/ 44555 w 74758"/>
                <a:gd name="connsiteY25" fmla="*/ 172152 h 176096"/>
                <a:gd name="connsiteX26" fmla="*/ 40367 w 74758"/>
                <a:gd name="connsiteY26" fmla="*/ 173245 h 176096"/>
                <a:gd name="connsiteX27" fmla="*/ 36118 w 74758"/>
                <a:gd name="connsiteY27" fmla="*/ 174276 h 176096"/>
                <a:gd name="connsiteX28" fmla="*/ 31807 w 74758"/>
                <a:gd name="connsiteY28" fmla="*/ 175065 h 176096"/>
                <a:gd name="connsiteX29" fmla="*/ 27315 w 74758"/>
                <a:gd name="connsiteY29" fmla="*/ 175672 h 176096"/>
                <a:gd name="connsiteX30" fmla="*/ 22884 w 74758"/>
                <a:gd name="connsiteY30" fmla="*/ 176036 h 176096"/>
                <a:gd name="connsiteX31" fmla="*/ 18332 w 74758"/>
                <a:gd name="connsiteY31" fmla="*/ 176096 h 176096"/>
                <a:gd name="connsiteX32" fmla="*/ 13840 w 74758"/>
                <a:gd name="connsiteY32" fmla="*/ 176036 h 176096"/>
                <a:gd name="connsiteX33" fmla="*/ 9408 w 74758"/>
                <a:gd name="connsiteY33" fmla="*/ 175672 h 176096"/>
                <a:gd name="connsiteX34" fmla="*/ 4916 w 74758"/>
                <a:gd name="connsiteY34" fmla="*/ 175065 h 176096"/>
                <a:gd name="connsiteX35" fmla="*/ 607 w 74758"/>
                <a:gd name="connsiteY35" fmla="*/ 174276 h 176096"/>
                <a:gd name="connsiteX36" fmla="*/ 0 w 74758"/>
                <a:gd name="connsiteY36" fmla="*/ 174128 h 176096"/>
                <a:gd name="connsiteX37" fmla="*/ 0 w 74758"/>
                <a:gd name="connsiteY37" fmla="*/ 2011 h 176096"/>
                <a:gd name="connsiteX38" fmla="*/ 607 w 74758"/>
                <a:gd name="connsiteY38" fmla="*/ 1881 h 176096"/>
                <a:gd name="connsiteX39" fmla="*/ 4916 w 74758"/>
                <a:gd name="connsiteY39" fmla="*/ 1032 h 176096"/>
                <a:gd name="connsiteX40" fmla="*/ 9408 w 74758"/>
                <a:gd name="connsiteY40" fmla="*/ 486 h 176096"/>
                <a:gd name="connsiteX41" fmla="*/ 13840 w 74758"/>
                <a:gd name="connsiteY41" fmla="*/ 122 h 17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4758" h="176096">
                  <a:moveTo>
                    <a:pt x="18332" y="0"/>
                  </a:moveTo>
                  <a:lnTo>
                    <a:pt x="22884" y="122"/>
                  </a:lnTo>
                  <a:lnTo>
                    <a:pt x="27315" y="486"/>
                  </a:lnTo>
                  <a:lnTo>
                    <a:pt x="31807" y="1032"/>
                  </a:lnTo>
                  <a:lnTo>
                    <a:pt x="36118" y="1881"/>
                  </a:lnTo>
                  <a:lnTo>
                    <a:pt x="40367" y="2791"/>
                  </a:lnTo>
                  <a:lnTo>
                    <a:pt x="44555" y="4005"/>
                  </a:lnTo>
                  <a:lnTo>
                    <a:pt x="48561" y="5401"/>
                  </a:lnTo>
                  <a:lnTo>
                    <a:pt x="52568" y="6979"/>
                  </a:lnTo>
                  <a:lnTo>
                    <a:pt x="56574" y="8678"/>
                  </a:lnTo>
                  <a:lnTo>
                    <a:pt x="60338" y="10619"/>
                  </a:lnTo>
                  <a:lnTo>
                    <a:pt x="63980" y="12804"/>
                  </a:lnTo>
                  <a:lnTo>
                    <a:pt x="67561" y="15110"/>
                  </a:lnTo>
                  <a:lnTo>
                    <a:pt x="71082" y="17477"/>
                  </a:lnTo>
                  <a:lnTo>
                    <a:pt x="74420" y="20146"/>
                  </a:lnTo>
                  <a:lnTo>
                    <a:pt x="74758" y="20439"/>
                  </a:lnTo>
                  <a:lnTo>
                    <a:pt x="74758" y="155706"/>
                  </a:lnTo>
                  <a:lnTo>
                    <a:pt x="74420" y="156011"/>
                  </a:lnTo>
                  <a:lnTo>
                    <a:pt x="71082" y="158620"/>
                  </a:lnTo>
                  <a:lnTo>
                    <a:pt x="67561" y="161047"/>
                  </a:lnTo>
                  <a:lnTo>
                    <a:pt x="63980" y="163353"/>
                  </a:lnTo>
                  <a:lnTo>
                    <a:pt x="60338" y="165477"/>
                  </a:lnTo>
                  <a:lnTo>
                    <a:pt x="56574" y="167419"/>
                  </a:lnTo>
                  <a:lnTo>
                    <a:pt x="52568" y="169178"/>
                  </a:lnTo>
                  <a:lnTo>
                    <a:pt x="48561" y="170756"/>
                  </a:lnTo>
                  <a:lnTo>
                    <a:pt x="44555" y="172152"/>
                  </a:lnTo>
                  <a:lnTo>
                    <a:pt x="40367" y="173245"/>
                  </a:lnTo>
                  <a:lnTo>
                    <a:pt x="36118" y="174276"/>
                  </a:lnTo>
                  <a:lnTo>
                    <a:pt x="31807" y="175065"/>
                  </a:lnTo>
                  <a:lnTo>
                    <a:pt x="27315" y="175672"/>
                  </a:lnTo>
                  <a:lnTo>
                    <a:pt x="22884" y="176036"/>
                  </a:lnTo>
                  <a:lnTo>
                    <a:pt x="18332" y="176096"/>
                  </a:lnTo>
                  <a:lnTo>
                    <a:pt x="13840" y="176036"/>
                  </a:lnTo>
                  <a:lnTo>
                    <a:pt x="9408" y="175672"/>
                  </a:lnTo>
                  <a:lnTo>
                    <a:pt x="4916" y="175065"/>
                  </a:lnTo>
                  <a:lnTo>
                    <a:pt x="607" y="174276"/>
                  </a:lnTo>
                  <a:lnTo>
                    <a:pt x="0" y="174128"/>
                  </a:lnTo>
                  <a:lnTo>
                    <a:pt x="0" y="2011"/>
                  </a:lnTo>
                  <a:lnTo>
                    <a:pt x="607" y="1881"/>
                  </a:lnTo>
                  <a:lnTo>
                    <a:pt x="4916" y="1032"/>
                  </a:lnTo>
                  <a:lnTo>
                    <a:pt x="9408" y="486"/>
                  </a:lnTo>
                  <a:lnTo>
                    <a:pt x="13840" y="122"/>
                  </a:ln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noAutofit/>
            </a:bodyPr>
            <a:lstStyle/>
            <a:p>
              <a:pPr defTabSz="1218118">
                <a:defRPr/>
              </a:pPr>
              <a:endParaRPr lang="en-US" sz="4220" kern="0" dirty="0">
                <a:solidFill>
                  <a:srgbClr val="505050"/>
                </a:solidFill>
              </a:endParaRPr>
            </a:p>
          </p:txBody>
        </p:sp>
        <p:sp>
          <p:nvSpPr>
            <p:cNvPr id="2430" name="Freeform 2429"/>
            <p:cNvSpPr>
              <a:spLocks/>
            </p:cNvSpPr>
            <p:nvPr/>
          </p:nvSpPr>
          <p:spPr bwMode="auto">
            <a:xfrm>
              <a:off x="5843466" y="3040095"/>
              <a:ext cx="65982" cy="204578"/>
            </a:xfrm>
            <a:custGeom>
              <a:avLst/>
              <a:gdLst>
                <a:gd name="connsiteX0" fmla="*/ 0 w 63574"/>
                <a:gd name="connsiteY0" fmla="*/ 0 h 196163"/>
                <a:gd name="connsiteX1" fmla="*/ 48421 w 63574"/>
                <a:gd name="connsiteY1" fmla="*/ 406 h 196163"/>
                <a:gd name="connsiteX2" fmla="*/ 54535 w 63574"/>
                <a:gd name="connsiteY2" fmla="*/ 477 h 196163"/>
                <a:gd name="connsiteX3" fmla="*/ 60505 w 63574"/>
                <a:gd name="connsiteY3" fmla="*/ 904 h 196163"/>
                <a:gd name="connsiteX4" fmla="*/ 63574 w 63574"/>
                <a:gd name="connsiteY4" fmla="*/ 1204 h 196163"/>
                <a:gd name="connsiteX5" fmla="*/ 63574 w 63574"/>
                <a:gd name="connsiteY5" fmla="*/ 196163 h 196163"/>
                <a:gd name="connsiteX6" fmla="*/ 0 w 63574"/>
                <a:gd name="connsiteY6" fmla="*/ 196163 h 19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74" h="196163">
                  <a:moveTo>
                    <a:pt x="0" y="0"/>
                  </a:moveTo>
                  <a:lnTo>
                    <a:pt x="48421" y="406"/>
                  </a:lnTo>
                  <a:lnTo>
                    <a:pt x="54535" y="477"/>
                  </a:lnTo>
                  <a:lnTo>
                    <a:pt x="60505" y="904"/>
                  </a:lnTo>
                  <a:lnTo>
                    <a:pt x="63574" y="1204"/>
                  </a:lnTo>
                  <a:lnTo>
                    <a:pt x="63574" y="196163"/>
                  </a:lnTo>
                  <a:lnTo>
                    <a:pt x="0" y="196163"/>
                  </a:ln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noAutofit/>
            </a:bodyPr>
            <a:lstStyle/>
            <a:p>
              <a:pPr defTabSz="1218118">
                <a:defRPr/>
              </a:pPr>
              <a:endParaRPr lang="en-US" sz="4220" kern="0" dirty="0">
                <a:solidFill>
                  <a:srgbClr val="505050"/>
                </a:solidFill>
              </a:endParaRPr>
            </a:p>
          </p:txBody>
        </p:sp>
        <p:sp>
          <p:nvSpPr>
            <p:cNvPr id="2431" name="Freeform 2430"/>
            <p:cNvSpPr/>
            <p:nvPr/>
          </p:nvSpPr>
          <p:spPr bwMode="auto">
            <a:xfrm flipH="1">
              <a:off x="5754669" y="3091757"/>
              <a:ext cx="154801" cy="209130"/>
            </a:xfrm>
            <a:custGeom>
              <a:avLst/>
              <a:gdLst>
                <a:gd name="connsiteX0" fmla="*/ 115729 w 149151"/>
                <a:gd name="connsiteY0" fmla="*/ 0 h 200527"/>
                <a:gd name="connsiteX1" fmla="*/ 0 w 149151"/>
                <a:gd name="connsiteY1" fmla="*/ 0 h 200527"/>
                <a:gd name="connsiteX2" fmla="*/ 0 w 149151"/>
                <a:gd name="connsiteY2" fmla="*/ 200527 h 200527"/>
                <a:gd name="connsiteX3" fmla="*/ 115729 w 149151"/>
                <a:gd name="connsiteY3" fmla="*/ 200527 h 200527"/>
                <a:gd name="connsiteX4" fmla="*/ 149151 w 149151"/>
                <a:gd name="connsiteY4" fmla="*/ 167105 h 200527"/>
                <a:gd name="connsiteX5" fmla="*/ 149151 w 149151"/>
                <a:gd name="connsiteY5" fmla="*/ 33422 h 200527"/>
                <a:gd name="connsiteX6" fmla="*/ 115729 w 149151"/>
                <a:gd name="connsiteY6" fmla="*/ 0 h 20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151" h="200527">
                  <a:moveTo>
                    <a:pt x="115729" y="0"/>
                  </a:moveTo>
                  <a:lnTo>
                    <a:pt x="0" y="0"/>
                  </a:lnTo>
                  <a:lnTo>
                    <a:pt x="0" y="200527"/>
                  </a:lnTo>
                  <a:lnTo>
                    <a:pt x="115729" y="200527"/>
                  </a:lnTo>
                  <a:cubicBezTo>
                    <a:pt x="134187" y="200527"/>
                    <a:pt x="149151" y="185563"/>
                    <a:pt x="149151" y="167105"/>
                  </a:cubicBezTo>
                  <a:lnTo>
                    <a:pt x="149151" y="33422"/>
                  </a:lnTo>
                  <a:cubicBezTo>
                    <a:pt x="149151" y="14964"/>
                    <a:pt x="134187" y="0"/>
                    <a:pt x="115729" y="0"/>
                  </a:cubicBez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noAutofit/>
            </a:bodyPr>
            <a:lstStyle/>
            <a:p>
              <a:pPr defTabSz="1218118">
                <a:defRPr/>
              </a:pPr>
              <a:endParaRPr lang="en-US" sz="4220" kern="0" dirty="0">
                <a:solidFill>
                  <a:srgbClr val="505050"/>
                </a:solidFill>
              </a:endParaRPr>
            </a:p>
          </p:txBody>
        </p:sp>
      </p:grpSp>
      <p:grpSp>
        <p:nvGrpSpPr>
          <p:cNvPr id="12" name="Group 11"/>
          <p:cNvGrpSpPr/>
          <p:nvPr/>
        </p:nvGrpSpPr>
        <p:grpSpPr>
          <a:xfrm>
            <a:off x="2893572" y="2580026"/>
            <a:ext cx="219143" cy="219144"/>
            <a:chOff x="2617061" y="3161153"/>
            <a:chExt cx="223601" cy="223602"/>
          </a:xfrm>
        </p:grpSpPr>
        <p:grpSp>
          <p:nvGrpSpPr>
            <p:cNvPr id="2215" name="Group 2214"/>
            <p:cNvGrpSpPr/>
            <p:nvPr/>
          </p:nvGrpSpPr>
          <p:grpSpPr>
            <a:xfrm>
              <a:off x="2647858" y="3246249"/>
              <a:ext cx="119322" cy="119375"/>
              <a:chOff x="4480937" y="2167997"/>
              <a:chExt cx="616667" cy="616940"/>
            </a:xfrm>
          </p:grpSpPr>
          <p:sp>
            <p:nvSpPr>
              <p:cNvPr id="2226" name="Freeform 2225"/>
              <p:cNvSpPr>
                <a:spLocks noChangeAspect="1"/>
              </p:cNvSpPr>
              <p:nvPr/>
            </p:nvSpPr>
            <p:spPr bwMode="auto">
              <a:xfrm>
                <a:off x="4599588" y="2269227"/>
                <a:ext cx="379362" cy="515710"/>
              </a:xfrm>
              <a:custGeom>
                <a:avLst/>
                <a:gdLst>
                  <a:gd name="connsiteX0" fmla="*/ 103478 w 309222"/>
                  <a:gd name="connsiteY0" fmla="*/ 145662 h 420358"/>
                  <a:gd name="connsiteX1" fmla="*/ 211389 w 309222"/>
                  <a:gd name="connsiteY1" fmla="*/ 145662 h 420358"/>
                  <a:gd name="connsiteX2" fmla="*/ 211389 w 309222"/>
                  <a:gd name="connsiteY2" fmla="*/ 145757 h 420358"/>
                  <a:gd name="connsiteX3" fmla="*/ 214426 w 309222"/>
                  <a:gd name="connsiteY3" fmla="*/ 145757 h 420358"/>
                  <a:gd name="connsiteX4" fmla="*/ 226315 w 309222"/>
                  <a:gd name="connsiteY4" fmla="*/ 145757 h 420358"/>
                  <a:gd name="connsiteX5" fmla="*/ 309222 w 309222"/>
                  <a:gd name="connsiteY5" fmla="*/ 228659 h 420358"/>
                  <a:gd name="connsiteX6" fmla="*/ 309222 w 309222"/>
                  <a:gd name="connsiteY6" fmla="*/ 331538 h 420358"/>
                  <a:gd name="connsiteX7" fmla="*/ 309222 w 309222"/>
                  <a:gd name="connsiteY7" fmla="*/ 357708 h 420358"/>
                  <a:gd name="connsiteX8" fmla="*/ 253204 w 309222"/>
                  <a:gd name="connsiteY8" fmla="*/ 395476 h 420358"/>
                  <a:gd name="connsiteX9" fmla="*/ 253204 w 309222"/>
                  <a:gd name="connsiteY9" fmla="*/ 393014 h 420358"/>
                  <a:gd name="connsiteX10" fmla="*/ 253204 w 309222"/>
                  <a:gd name="connsiteY10" fmla="*/ 248077 h 420358"/>
                  <a:gd name="connsiteX11" fmla="*/ 238265 w 309222"/>
                  <a:gd name="connsiteY11" fmla="*/ 248077 h 420358"/>
                  <a:gd name="connsiteX12" fmla="*/ 238265 w 309222"/>
                  <a:gd name="connsiteY12" fmla="*/ 397921 h 420358"/>
                  <a:gd name="connsiteX13" fmla="*/ 238265 w 309222"/>
                  <a:gd name="connsiteY13" fmla="*/ 403469 h 420358"/>
                  <a:gd name="connsiteX14" fmla="*/ 154612 w 309222"/>
                  <a:gd name="connsiteY14" fmla="*/ 420358 h 420358"/>
                  <a:gd name="connsiteX15" fmla="*/ 70957 w 309222"/>
                  <a:gd name="connsiteY15" fmla="*/ 403469 h 420358"/>
                  <a:gd name="connsiteX16" fmla="*/ 70957 w 309222"/>
                  <a:gd name="connsiteY16" fmla="*/ 397897 h 420358"/>
                  <a:gd name="connsiteX17" fmla="*/ 70957 w 309222"/>
                  <a:gd name="connsiteY17" fmla="*/ 248077 h 420358"/>
                  <a:gd name="connsiteX18" fmla="*/ 56018 w 309222"/>
                  <a:gd name="connsiteY18" fmla="*/ 248077 h 420358"/>
                  <a:gd name="connsiteX19" fmla="*/ 56018 w 309222"/>
                  <a:gd name="connsiteY19" fmla="*/ 393021 h 420358"/>
                  <a:gd name="connsiteX20" fmla="*/ 56018 w 309222"/>
                  <a:gd name="connsiteY20" fmla="*/ 395475 h 420358"/>
                  <a:gd name="connsiteX21" fmla="*/ 0 w 309222"/>
                  <a:gd name="connsiteY21" fmla="*/ 357706 h 420358"/>
                  <a:gd name="connsiteX22" fmla="*/ 0 w 309222"/>
                  <a:gd name="connsiteY22" fmla="*/ 331538 h 420358"/>
                  <a:gd name="connsiteX23" fmla="*/ 0 w 309222"/>
                  <a:gd name="connsiteY23" fmla="*/ 228659 h 420358"/>
                  <a:gd name="connsiteX24" fmla="*/ 83654 w 309222"/>
                  <a:gd name="connsiteY24" fmla="*/ 145757 h 420358"/>
                  <a:gd name="connsiteX25" fmla="*/ 95053 w 309222"/>
                  <a:gd name="connsiteY25" fmla="*/ 145757 h 420358"/>
                  <a:gd name="connsiteX26" fmla="*/ 103478 w 309222"/>
                  <a:gd name="connsiteY26" fmla="*/ 145757 h 420358"/>
                  <a:gd name="connsiteX27" fmla="*/ 154927 w 309222"/>
                  <a:gd name="connsiteY27" fmla="*/ 0 h 420358"/>
                  <a:gd name="connsiteX28" fmla="*/ 219428 w 309222"/>
                  <a:gd name="connsiteY28" fmla="*/ 64658 h 420358"/>
                  <a:gd name="connsiteX29" fmla="*/ 154927 w 309222"/>
                  <a:gd name="connsiteY29" fmla="*/ 129316 h 420358"/>
                  <a:gd name="connsiteX30" fmla="*/ 90427 w 309222"/>
                  <a:gd name="connsiteY30" fmla="*/ 64658 h 420358"/>
                  <a:gd name="connsiteX31" fmla="*/ 154927 w 309222"/>
                  <a:gd name="connsiteY31" fmla="*/ 0 h 42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09222" h="420358">
                    <a:moveTo>
                      <a:pt x="103478" y="145662"/>
                    </a:moveTo>
                    <a:lnTo>
                      <a:pt x="211389" y="145662"/>
                    </a:lnTo>
                    <a:lnTo>
                      <a:pt x="211389" y="145757"/>
                    </a:lnTo>
                    <a:lnTo>
                      <a:pt x="214426" y="145757"/>
                    </a:lnTo>
                    <a:cubicBezTo>
                      <a:pt x="219359" y="145757"/>
                      <a:pt x="223420" y="145757"/>
                      <a:pt x="226315" y="145757"/>
                    </a:cubicBezTo>
                    <a:cubicBezTo>
                      <a:pt x="271876" y="145757"/>
                      <a:pt x="309222" y="183100"/>
                      <a:pt x="309222" y="228659"/>
                    </a:cubicBezTo>
                    <a:cubicBezTo>
                      <a:pt x="309222" y="240235"/>
                      <a:pt x="309222" y="286353"/>
                      <a:pt x="309222" y="331538"/>
                    </a:cubicBezTo>
                    <a:lnTo>
                      <a:pt x="309222" y="357708"/>
                    </a:lnTo>
                    <a:lnTo>
                      <a:pt x="253204" y="395476"/>
                    </a:lnTo>
                    <a:lnTo>
                      <a:pt x="253204" y="393014"/>
                    </a:lnTo>
                    <a:cubicBezTo>
                      <a:pt x="253204" y="339660"/>
                      <a:pt x="253204" y="248077"/>
                      <a:pt x="253204" y="248077"/>
                    </a:cubicBezTo>
                    <a:cubicBezTo>
                      <a:pt x="238265" y="248077"/>
                      <a:pt x="238265" y="248077"/>
                      <a:pt x="238265" y="248077"/>
                    </a:cubicBezTo>
                    <a:cubicBezTo>
                      <a:pt x="238265" y="248096"/>
                      <a:pt x="238265" y="313953"/>
                      <a:pt x="238265" y="397921"/>
                    </a:cubicBezTo>
                    <a:lnTo>
                      <a:pt x="238265" y="403469"/>
                    </a:lnTo>
                    <a:lnTo>
                      <a:pt x="154612" y="420358"/>
                    </a:lnTo>
                    <a:lnTo>
                      <a:pt x="70957" y="403469"/>
                    </a:lnTo>
                    <a:lnTo>
                      <a:pt x="70957" y="397897"/>
                    </a:lnTo>
                    <a:cubicBezTo>
                      <a:pt x="70957" y="313929"/>
                      <a:pt x="70957" y="248077"/>
                      <a:pt x="70957" y="248077"/>
                    </a:cubicBezTo>
                    <a:cubicBezTo>
                      <a:pt x="56018" y="248077"/>
                      <a:pt x="56018" y="248077"/>
                      <a:pt x="56018" y="248077"/>
                    </a:cubicBezTo>
                    <a:cubicBezTo>
                      <a:pt x="56018" y="248111"/>
                      <a:pt x="56018" y="339679"/>
                      <a:pt x="56018" y="393021"/>
                    </a:cubicBezTo>
                    <a:lnTo>
                      <a:pt x="56018" y="395475"/>
                    </a:lnTo>
                    <a:lnTo>
                      <a:pt x="0" y="357706"/>
                    </a:lnTo>
                    <a:lnTo>
                      <a:pt x="0" y="331538"/>
                    </a:lnTo>
                    <a:cubicBezTo>
                      <a:pt x="0" y="286353"/>
                      <a:pt x="0" y="240235"/>
                      <a:pt x="0" y="228659"/>
                    </a:cubicBezTo>
                    <a:cubicBezTo>
                      <a:pt x="0" y="183100"/>
                      <a:pt x="37346" y="145757"/>
                      <a:pt x="83654" y="145757"/>
                    </a:cubicBezTo>
                    <a:cubicBezTo>
                      <a:pt x="86362" y="145757"/>
                      <a:pt x="90260" y="145757"/>
                      <a:pt x="95053" y="145757"/>
                    </a:cubicBezTo>
                    <a:lnTo>
                      <a:pt x="103478" y="145757"/>
                    </a:lnTo>
                    <a:close/>
                    <a:moveTo>
                      <a:pt x="154927" y="0"/>
                    </a:moveTo>
                    <a:cubicBezTo>
                      <a:pt x="190550" y="0"/>
                      <a:pt x="219428" y="28949"/>
                      <a:pt x="219428" y="64658"/>
                    </a:cubicBezTo>
                    <a:cubicBezTo>
                      <a:pt x="219428" y="100368"/>
                      <a:pt x="190550" y="129316"/>
                      <a:pt x="154927" y="129316"/>
                    </a:cubicBezTo>
                    <a:cubicBezTo>
                      <a:pt x="119305" y="129316"/>
                      <a:pt x="90427" y="100368"/>
                      <a:pt x="90427" y="64658"/>
                    </a:cubicBezTo>
                    <a:cubicBezTo>
                      <a:pt x="90427" y="28949"/>
                      <a:pt x="119305" y="0"/>
                      <a:pt x="154927" y="0"/>
                    </a:cubicBezTo>
                    <a:close/>
                  </a:path>
                </a:pathLst>
              </a:custGeom>
              <a:solidFill>
                <a:srgbClr val="FFFFFF">
                  <a:lumMod val="65000"/>
                </a:srgbClr>
              </a:solidFill>
              <a:ln>
                <a:noFill/>
              </a:ln>
              <a:effectLst/>
            </p:spPr>
            <p:txBody>
              <a:bodyPr vert="horz" wrap="square" lIns="91377" tIns="45690" rIns="91377" bIns="4569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18244">
                  <a:defRPr/>
                </a:pPr>
                <a:endParaRPr lang="en-US" dirty="0">
                  <a:solidFill>
                    <a:srgbClr val="5B6770"/>
                  </a:solidFill>
                </a:endParaRPr>
              </a:p>
            </p:txBody>
          </p:sp>
          <p:sp>
            <p:nvSpPr>
              <p:cNvPr id="2227" name="Oval 2226"/>
              <p:cNvSpPr/>
              <p:nvPr/>
            </p:nvSpPr>
            <p:spPr bwMode="auto">
              <a:xfrm>
                <a:off x="4480937" y="2167997"/>
                <a:ext cx="616667" cy="616667"/>
              </a:xfrm>
              <a:prstGeom prst="ellipse">
                <a:avLst/>
              </a:prstGeom>
              <a:no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16" name="Oval 2215"/>
            <p:cNvSpPr/>
            <p:nvPr/>
          </p:nvSpPr>
          <p:spPr bwMode="auto">
            <a:xfrm>
              <a:off x="2617061" y="3161153"/>
              <a:ext cx="223601" cy="223602"/>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7" name="Oval 2216"/>
            <p:cNvSpPr/>
            <p:nvPr/>
          </p:nvSpPr>
          <p:spPr bwMode="auto">
            <a:xfrm>
              <a:off x="2617061" y="3161153"/>
              <a:ext cx="223601" cy="223602"/>
            </a:xfrm>
            <a:prstGeom prst="ellipse">
              <a:avLst/>
            </a:prstGeom>
            <a:no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8" name="Rectangle 2217"/>
            <p:cNvSpPr/>
            <p:nvPr/>
          </p:nvSpPr>
          <p:spPr bwMode="auto">
            <a:xfrm>
              <a:off x="2663323" y="3205768"/>
              <a:ext cx="131078" cy="10016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9" name="Rectangle 2218"/>
            <p:cNvSpPr/>
            <p:nvPr/>
          </p:nvSpPr>
          <p:spPr bwMode="auto">
            <a:xfrm>
              <a:off x="2674240" y="3219176"/>
              <a:ext cx="109250" cy="7502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2000" kern="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2220" name="Trapezoid 2219"/>
            <p:cNvSpPr/>
            <p:nvPr/>
          </p:nvSpPr>
          <p:spPr bwMode="auto">
            <a:xfrm>
              <a:off x="2653418" y="3314797"/>
              <a:ext cx="150887" cy="28030"/>
            </a:xfrm>
            <a:prstGeom prst="trapezoid">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221" name="Group 2220"/>
            <p:cNvGrpSpPr/>
            <p:nvPr/>
          </p:nvGrpSpPr>
          <p:grpSpPr>
            <a:xfrm>
              <a:off x="2693949" y="3238188"/>
              <a:ext cx="70110" cy="43574"/>
              <a:chOff x="3579136" y="2492721"/>
              <a:chExt cx="296198" cy="184087"/>
            </a:xfrm>
            <a:solidFill>
              <a:schemeClr val="accent2"/>
            </a:solidFill>
          </p:grpSpPr>
          <p:sp>
            <p:nvSpPr>
              <p:cNvPr id="2222" name="Rectangle 2221"/>
              <p:cNvSpPr/>
              <p:nvPr/>
            </p:nvSpPr>
            <p:spPr bwMode="auto">
              <a:xfrm>
                <a:off x="3579136" y="2492721"/>
                <a:ext cx="45719" cy="18408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3" name="Rectangle 2222"/>
              <p:cNvSpPr/>
              <p:nvPr/>
            </p:nvSpPr>
            <p:spPr bwMode="auto">
              <a:xfrm>
                <a:off x="3660617" y="2518163"/>
                <a:ext cx="45719" cy="1586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4" name="Rectangle 2223"/>
              <p:cNvSpPr/>
              <p:nvPr/>
            </p:nvSpPr>
            <p:spPr bwMode="auto">
              <a:xfrm>
                <a:off x="3742098" y="2555761"/>
                <a:ext cx="45719" cy="1210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5" name="Rectangle 2224"/>
              <p:cNvSpPr/>
              <p:nvPr/>
            </p:nvSpPr>
            <p:spPr bwMode="auto">
              <a:xfrm>
                <a:off x="3829615" y="2586940"/>
                <a:ext cx="45719" cy="8986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5" name="Group 14"/>
          <p:cNvGrpSpPr/>
          <p:nvPr/>
        </p:nvGrpSpPr>
        <p:grpSpPr>
          <a:xfrm>
            <a:off x="905908" y="4006853"/>
            <a:ext cx="549426" cy="549427"/>
            <a:chOff x="626815" y="4654851"/>
            <a:chExt cx="484903" cy="484904"/>
          </a:xfrm>
        </p:grpSpPr>
        <p:sp>
          <p:nvSpPr>
            <p:cNvPr id="2248" name="Oval 2247"/>
            <p:cNvSpPr/>
            <p:nvPr/>
          </p:nvSpPr>
          <p:spPr bwMode="auto">
            <a:xfrm>
              <a:off x="626815" y="4654851"/>
              <a:ext cx="484903" cy="484904"/>
            </a:xfrm>
            <a:prstGeom prst="ellipse">
              <a:avLst/>
            </a:prstGeom>
            <a:solidFill>
              <a:schemeClr val="bg1"/>
            </a:solidFill>
            <a:ln w="19050" cap="flat" cmpd="sng" algn="ctr">
              <a:solidFill>
                <a:schemeClr val="accent1"/>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765"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61" name="Group 60"/>
            <p:cNvGrpSpPr/>
            <p:nvPr/>
          </p:nvGrpSpPr>
          <p:grpSpPr>
            <a:xfrm>
              <a:off x="699856" y="4765629"/>
              <a:ext cx="340237" cy="255418"/>
              <a:chOff x="2805818" y="3358168"/>
              <a:chExt cx="150887" cy="137059"/>
            </a:xfrm>
          </p:grpSpPr>
          <p:sp>
            <p:nvSpPr>
              <p:cNvPr id="2245" name="Rectangle 2244"/>
              <p:cNvSpPr/>
              <p:nvPr/>
            </p:nvSpPr>
            <p:spPr bwMode="auto">
              <a:xfrm>
                <a:off x="2815723" y="3358168"/>
                <a:ext cx="131078" cy="100161"/>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765" kern="0" dirty="0">
                  <a:gradFill>
                    <a:gsLst>
                      <a:gs pos="0">
                        <a:srgbClr val="FFFFFF"/>
                      </a:gs>
                      <a:gs pos="100000">
                        <a:srgbClr val="FFFFFF"/>
                      </a:gs>
                    </a:gsLst>
                    <a:lin ang="5400000" scaled="0"/>
                  </a:gradFill>
                  <a:ea typeface="Segoe UI" pitchFamily="34" charset="0"/>
                  <a:cs typeface="Segoe UI" pitchFamily="34" charset="0"/>
                </a:endParaRPr>
              </a:p>
            </p:txBody>
          </p:sp>
          <p:sp>
            <p:nvSpPr>
              <p:cNvPr id="2246" name="Rectangle 2245"/>
              <p:cNvSpPr/>
              <p:nvPr/>
            </p:nvSpPr>
            <p:spPr bwMode="auto">
              <a:xfrm>
                <a:off x="2826640" y="3371576"/>
                <a:ext cx="109250" cy="7502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765" kern="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2247" name="Trapezoid 2246"/>
              <p:cNvSpPr/>
              <p:nvPr/>
            </p:nvSpPr>
            <p:spPr bwMode="auto">
              <a:xfrm>
                <a:off x="2805818" y="3467197"/>
                <a:ext cx="150887" cy="28030"/>
              </a:xfrm>
              <a:prstGeom prst="trapezoid">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765"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924" name="Group 1923"/>
            <p:cNvGrpSpPr/>
            <p:nvPr/>
          </p:nvGrpSpPr>
          <p:grpSpPr>
            <a:xfrm>
              <a:off x="806371" y="4802256"/>
              <a:ext cx="110405" cy="119767"/>
              <a:chOff x="8223250" y="-6018213"/>
              <a:chExt cx="4492626" cy="4852988"/>
            </a:xfrm>
            <a:solidFill>
              <a:srgbClr val="0072C6"/>
            </a:solidFill>
          </p:grpSpPr>
          <p:sp>
            <p:nvSpPr>
              <p:cNvPr id="1953" name="Freeform 25"/>
              <p:cNvSpPr>
                <a:spLocks/>
              </p:cNvSpPr>
              <p:nvPr/>
            </p:nvSpPr>
            <p:spPr bwMode="auto">
              <a:xfrm>
                <a:off x="8223250" y="-6018213"/>
                <a:ext cx="4238625" cy="4852988"/>
              </a:xfrm>
              <a:custGeom>
                <a:avLst/>
                <a:gdLst>
                  <a:gd name="T0" fmla="*/ 539 w 2670"/>
                  <a:gd name="T1" fmla="*/ 2708 h 3057"/>
                  <a:gd name="T2" fmla="*/ 628 w 2670"/>
                  <a:gd name="T3" fmla="*/ 2471 h 3057"/>
                  <a:gd name="T4" fmla="*/ 623 w 2670"/>
                  <a:gd name="T5" fmla="*/ 2450 h 3057"/>
                  <a:gd name="T6" fmla="*/ 462 w 2670"/>
                  <a:gd name="T7" fmla="*/ 2262 h 3057"/>
                  <a:gd name="T8" fmla="*/ 405 w 2670"/>
                  <a:gd name="T9" fmla="*/ 2183 h 3057"/>
                  <a:gd name="T10" fmla="*/ 26 w 2670"/>
                  <a:gd name="T11" fmla="*/ 1904 h 3057"/>
                  <a:gd name="T12" fmla="*/ 251 w 2670"/>
                  <a:gd name="T13" fmla="*/ 1764 h 3057"/>
                  <a:gd name="T14" fmla="*/ 235 w 2670"/>
                  <a:gd name="T15" fmla="*/ 1631 h 3057"/>
                  <a:gd name="T16" fmla="*/ 236 w 2670"/>
                  <a:gd name="T17" fmla="*/ 1424 h 3057"/>
                  <a:gd name="T18" fmla="*/ 119 w 2670"/>
                  <a:gd name="T19" fmla="*/ 1351 h 3057"/>
                  <a:gd name="T20" fmla="*/ 90 w 2670"/>
                  <a:gd name="T21" fmla="*/ 960 h 3057"/>
                  <a:gd name="T22" fmla="*/ 350 w 2670"/>
                  <a:gd name="T23" fmla="*/ 979 h 3057"/>
                  <a:gd name="T24" fmla="*/ 400 w 2670"/>
                  <a:gd name="T25" fmla="*/ 895 h 3057"/>
                  <a:gd name="T26" fmla="*/ 543 w 2670"/>
                  <a:gd name="T27" fmla="*/ 693 h 3057"/>
                  <a:gd name="T28" fmla="*/ 544 w 2670"/>
                  <a:gd name="T29" fmla="*/ 670 h 3057"/>
                  <a:gd name="T30" fmla="*/ 436 w 2670"/>
                  <a:gd name="T31" fmla="*/ 439 h 3057"/>
                  <a:gd name="T32" fmla="*/ 899 w 2670"/>
                  <a:gd name="T33" fmla="*/ 404 h 3057"/>
                  <a:gd name="T34" fmla="*/ 1022 w 2670"/>
                  <a:gd name="T35" fmla="*/ 346 h 3057"/>
                  <a:gd name="T36" fmla="*/ 1218 w 2670"/>
                  <a:gd name="T37" fmla="*/ 282 h 3057"/>
                  <a:gd name="T38" fmla="*/ 1270 w 2670"/>
                  <a:gd name="T39" fmla="*/ 28 h 3057"/>
                  <a:gd name="T40" fmla="*/ 1284 w 2670"/>
                  <a:gd name="T41" fmla="*/ 14 h 3057"/>
                  <a:gd name="T42" fmla="*/ 1647 w 2670"/>
                  <a:gd name="T43" fmla="*/ 557 h 3057"/>
                  <a:gd name="T44" fmla="*/ 1482 w 2670"/>
                  <a:gd name="T45" fmla="*/ 549 h 3057"/>
                  <a:gd name="T46" fmla="*/ 1326 w 2670"/>
                  <a:gd name="T47" fmla="*/ 566 h 3057"/>
                  <a:gd name="T48" fmla="*/ 1176 w 2670"/>
                  <a:gd name="T49" fmla="*/ 607 h 3057"/>
                  <a:gd name="T50" fmla="*/ 1035 w 2670"/>
                  <a:gd name="T51" fmla="*/ 672 h 3057"/>
                  <a:gd name="T52" fmla="*/ 902 w 2670"/>
                  <a:gd name="T53" fmla="*/ 763 h 3057"/>
                  <a:gd name="T54" fmla="*/ 770 w 2670"/>
                  <a:gd name="T55" fmla="*/ 887 h 3057"/>
                  <a:gd name="T56" fmla="*/ 635 w 2670"/>
                  <a:gd name="T57" fmla="*/ 1089 h 3057"/>
                  <a:gd name="T58" fmla="*/ 555 w 2670"/>
                  <a:gd name="T59" fmla="*/ 1320 h 3057"/>
                  <a:gd name="T60" fmla="*/ 532 w 2670"/>
                  <a:gd name="T61" fmla="*/ 1535 h 3057"/>
                  <a:gd name="T62" fmla="*/ 565 w 2670"/>
                  <a:gd name="T63" fmla="*/ 1785 h 3057"/>
                  <a:gd name="T64" fmla="*/ 661 w 2670"/>
                  <a:gd name="T65" fmla="*/ 2015 h 3057"/>
                  <a:gd name="T66" fmla="*/ 811 w 2670"/>
                  <a:gd name="T67" fmla="*/ 2214 h 3057"/>
                  <a:gd name="T68" fmla="*/ 1008 w 2670"/>
                  <a:gd name="T69" fmla="*/ 2369 h 3057"/>
                  <a:gd name="T70" fmla="*/ 1207 w 2670"/>
                  <a:gd name="T71" fmla="*/ 2459 h 3057"/>
                  <a:gd name="T72" fmla="*/ 1475 w 2670"/>
                  <a:gd name="T73" fmla="*/ 2510 h 3057"/>
                  <a:gd name="T74" fmla="*/ 1743 w 2670"/>
                  <a:gd name="T75" fmla="*/ 2482 h 3057"/>
                  <a:gd name="T76" fmla="*/ 1962 w 2670"/>
                  <a:gd name="T77" fmla="*/ 2399 h 3057"/>
                  <a:gd name="T78" fmla="*/ 2184 w 2670"/>
                  <a:gd name="T79" fmla="*/ 2245 h 3057"/>
                  <a:gd name="T80" fmla="*/ 2353 w 2670"/>
                  <a:gd name="T81" fmla="*/ 2033 h 3057"/>
                  <a:gd name="T82" fmla="*/ 2649 w 2670"/>
                  <a:gd name="T83" fmla="*/ 2121 h 3057"/>
                  <a:gd name="T84" fmla="*/ 2560 w 2670"/>
                  <a:gd name="T85" fmla="*/ 2266 h 3057"/>
                  <a:gd name="T86" fmla="*/ 2479 w 2670"/>
                  <a:gd name="T87" fmla="*/ 2369 h 3057"/>
                  <a:gd name="T88" fmla="*/ 2596 w 2670"/>
                  <a:gd name="T89" fmla="*/ 2608 h 3057"/>
                  <a:gd name="T90" fmla="*/ 2136 w 2670"/>
                  <a:gd name="T91" fmla="*/ 2662 h 3057"/>
                  <a:gd name="T92" fmla="*/ 2113 w 2670"/>
                  <a:gd name="T93" fmla="*/ 2659 h 3057"/>
                  <a:gd name="T94" fmla="*/ 1887 w 2670"/>
                  <a:gd name="T95" fmla="*/ 2753 h 3057"/>
                  <a:gd name="T96" fmla="*/ 1793 w 2670"/>
                  <a:gd name="T97" fmla="*/ 2785 h 3057"/>
                  <a:gd name="T98" fmla="*/ 1755 w 2670"/>
                  <a:gd name="T99" fmla="*/ 3039 h 3057"/>
                  <a:gd name="T100" fmla="*/ 1415 w 2670"/>
                  <a:gd name="T101" fmla="*/ 3057 h 3057"/>
                  <a:gd name="T102" fmla="*/ 1351 w 2670"/>
                  <a:gd name="T103" fmla="*/ 2811 h 3057"/>
                  <a:gd name="T104" fmla="*/ 1336 w 2670"/>
                  <a:gd name="T105" fmla="*/ 2796 h 3057"/>
                  <a:gd name="T106" fmla="*/ 1092 w 2670"/>
                  <a:gd name="T107" fmla="*/ 2738 h 3057"/>
                  <a:gd name="T108" fmla="*/ 1000 w 2670"/>
                  <a:gd name="T109" fmla="*/ 2709 h 3057"/>
                  <a:gd name="T110" fmla="*/ 819 w 2670"/>
                  <a:gd name="T111" fmla="*/ 2894 h 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70" h="3057">
                    <a:moveTo>
                      <a:pt x="819" y="2894"/>
                    </a:moveTo>
                    <a:lnTo>
                      <a:pt x="819" y="2894"/>
                    </a:lnTo>
                    <a:lnTo>
                      <a:pt x="560" y="2724"/>
                    </a:lnTo>
                    <a:lnTo>
                      <a:pt x="560" y="2724"/>
                    </a:lnTo>
                    <a:lnTo>
                      <a:pt x="544" y="2713"/>
                    </a:lnTo>
                    <a:lnTo>
                      <a:pt x="539" y="2708"/>
                    </a:lnTo>
                    <a:lnTo>
                      <a:pt x="537" y="2704"/>
                    </a:lnTo>
                    <a:lnTo>
                      <a:pt x="536" y="2699"/>
                    </a:lnTo>
                    <a:lnTo>
                      <a:pt x="537" y="2692"/>
                    </a:lnTo>
                    <a:lnTo>
                      <a:pt x="544" y="2673"/>
                    </a:lnTo>
                    <a:lnTo>
                      <a:pt x="544" y="2673"/>
                    </a:lnTo>
                    <a:lnTo>
                      <a:pt x="628" y="2471"/>
                    </a:lnTo>
                    <a:lnTo>
                      <a:pt x="628" y="2471"/>
                    </a:lnTo>
                    <a:lnTo>
                      <a:pt x="629" y="2465"/>
                    </a:lnTo>
                    <a:lnTo>
                      <a:pt x="629" y="2459"/>
                    </a:lnTo>
                    <a:lnTo>
                      <a:pt x="627" y="2454"/>
                    </a:lnTo>
                    <a:lnTo>
                      <a:pt x="623" y="2450"/>
                    </a:lnTo>
                    <a:lnTo>
                      <a:pt x="623" y="2450"/>
                    </a:lnTo>
                    <a:lnTo>
                      <a:pt x="593" y="2421"/>
                    </a:lnTo>
                    <a:lnTo>
                      <a:pt x="565" y="2391"/>
                    </a:lnTo>
                    <a:lnTo>
                      <a:pt x="538" y="2359"/>
                    </a:lnTo>
                    <a:lnTo>
                      <a:pt x="512" y="2328"/>
                    </a:lnTo>
                    <a:lnTo>
                      <a:pt x="487" y="2296"/>
                    </a:lnTo>
                    <a:lnTo>
                      <a:pt x="462" y="2262"/>
                    </a:lnTo>
                    <a:lnTo>
                      <a:pt x="440" y="2227"/>
                    </a:lnTo>
                    <a:lnTo>
                      <a:pt x="417" y="2192"/>
                    </a:lnTo>
                    <a:lnTo>
                      <a:pt x="417" y="2192"/>
                    </a:lnTo>
                    <a:lnTo>
                      <a:pt x="414" y="2187"/>
                    </a:lnTo>
                    <a:lnTo>
                      <a:pt x="410" y="2184"/>
                    </a:lnTo>
                    <a:lnTo>
                      <a:pt x="405" y="2183"/>
                    </a:lnTo>
                    <a:lnTo>
                      <a:pt x="399" y="2184"/>
                    </a:lnTo>
                    <a:lnTo>
                      <a:pt x="399" y="2184"/>
                    </a:lnTo>
                    <a:lnTo>
                      <a:pt x="148" y="2226"/>
                    </a:lnTo>
                    <a:lnTo>
                      <a:pt x="148" y="2226"/>
                    </a:lnTo>
                    <a:lnTo>
                      <a:pt x="26" y="1904"/>
                    </a:lnTo>
                    <a:lnTo>
                      <a:pt x="26" y="1904"/>
                    </a:lnTo>
                    <a:lnTo>
                      <a:pt x="140" y="1834"/>
                    </a:lnTo>
                    <a:lnTo>
                      <a:pt x="140" y="1834"/>
                    </a:lnTo>
                    <a:lnTo>
                      <a:pt x="245" y="1769"/>
                    </a:lnTo>
                    <a:lnTo>
                      <a:pt x="245" y="1769"/>
                    </a:lnTo>
                    <a:lnTo>
                      <a:pt x="248" y="1767"/>
                    </a:lnTo>
                    <a:lnTo>
                      <a:pt x="251" y="1764"/>
                    </a:lnTo>
                    <a:lnTo>
                      <a:pt x="252" y="1760"/>
                    </a:lnTo>
                    <a:lnTo>
                      <a:pt x="252" y="1755"/>
                    </a:lnTo>
                    <a:lnTo>
                      <a:pt x="252" y="1755"/>
                    </a:lnTo>
                    <a:lnTo>
                      <a:pt x="245" y="1714"/>
                    </a:lnTo>
                    <a:lnTo>
                      <a:pt x="239" y="1673"/>
                    </a:lnTo>
                    <a:lnTo>
                      <a:pt x="235" y="1631"/>
                    </a:lnTo>
                    <a:lnTo>
                      <a:pt x="233" y="1590"/>
                    </a:lnTo>
                    <a:lnTo>
                      <a:pt x="232" y="1548"/>
                    </a:lnTo>
                    <a:lnTo>
                      <a:pt x="232" y="1507"/>
                    </a:lnTo>
                    <a:lnTo>
                      <a:pt x="233" y="1465"/>
                    </a:lnTo>
                    <a:lnTo>
                      <a:pt x="236" y="1424"/>
                    </a:lnTo>
                    <a:lnTo>
                      <a:pt x="236" y="1424"/>
                    </a:lnTo>
                    <a:lnTo>
                      <a:pt x="236" y="1417"/>
                    </a:lnTo>
                    <a:lnTo>
                      <a:pt x="234" y="1411"/>
                    </a:lnTo>
                    <a:lnTo>
                      <a:pt x="230" y="1407"/>
                    </a:lnTo>
                    <a:lnTo>
                      <a:pt x="225" y="1404"/>
                    </a:lnTo>
                    <a:lnTo>
                      <a:pt x="225" y="1404"/>
                    </a:lnTo>
                    <a:lnTo>
                      <a:pt x="119" y="1351"/>
                    </a:lnTo>
                    <a:lnTo>
                      <a:pt x="14" y="1298"/>
                    </a:lnTo>
                    <a:lnTo>
                      <a:pt x="14" y="1298"/>
                    </a:lnTo>
                    <a:lnTo>
                      <a:pt x="0" y="1290"/>
                    </a:lnTo>
                    <a:lnTo>
                      <a:pt x="0" y="1290"/>
                    </a:lnTo>
                    <a:lnTo>
                      <a:pt x="90" y="960"/>
                    </a:lnTo>
                    <a:lnTo>
                      <a:pt x="90" y="960"/>
                    </a:lnTo>
                    <a:lnTo>
                      <a:pt x="158" y="965"/>
                    </a:lnTo>
                    <a:lnTo>
                      <a:pt x="158" y="965"/>
                    </a:lnTo>
                    <a:lnTo>
                      <a:pt x="250" y="972"/>
                    </a:lnTo>
                    <a:lnTo>
                      <a:pt x="343" y="979"/>
                    </a:lnTo>
                    <a:lnTo>
                      <a:pt x="343" y="979"/>
                    </a:lnTo>
                    <a:lnTo>
                      <a:pt x="350" y="979"/>
                    </a:lnTo>
                    <a:lnTo>
                      <a:pt x="355" y="977"/>
                    </a:lnTo>
                    <a:lnTo>
                      <a:pt x="358" y="974"/>
                    </a:lnTo>
                    <a:lnTo>
                      <a:pt x="362" y="968"/>
                    </a:lnTo>
                    <a:lnTo>
                      <a:pt x="362" y="968"/>
                    </a:lnTo>
                    <a:lnTo>
                      <a:pt x="380" y="931"/>
                    </a:lnTo>
                    <a:lnTo>
                      <a:pt x="400" y="895"/>
                    </a:lnTo>
                    <a:lnTo>
                      <a:pt x="420" y="859"/>
                    </a:lnTo>
                    <a:lnTo>
                      <a:pt x="443" y="825"/>
                    </a:lnTo>
                    <a:lnTo>
                      <a:pt x="466" y="790"/>
                    </a:lnTo>
                    <a:lnTo>
                      <a:pt x="491" y="757"/>
                    </a:lnTo>
                    <a:lnTo>
                      <a:pt x="515" y="724"/>
                    </a:lnTo>
                    <a:lnTo>
                      <a:pt x="543" y="693"/>
                    </a:lnTo>
                    <a:lnTo>
                      <a:pt x="543" y="693"/>
                    </a:lnTo>
                    <a:lnTo>
                      <a:pt x="546" y="686"/>
                    </a:lnTo>
                    <a:lnTo>
                      <a:pt x="548" y="681"/>
                    </a:lnTo>
                    <a:lnTo>
                      <a:pt x="547" y="676"/>
                    </a:lnTo>
                    <a:lnTo>
                      <a:pt x="544" y="670"/>
                    </a:lnTo>
                    <a:lnTo>
                      <a:pt x="544" y="670"/>
                    </a:lnTo>
                    <a:lnTo>
                      <a:pt x="433" y="457"/>
                    </a:lnTo>
                    <a:lnTo>
                      <a:pt x="433" y="457"/>
                    </a:lnTo>
                    <a:lnTo>
                      <a:pt x="430" y="452"/>
                    </a:lnTo>
                    <a:lnTo>
                      <a:pt x="430" y="448"/>
                    </a:lnTo>
                    <a:lnTo>
                      <a:pt x="431" y="444"/>
                    </a:lnTo>
                    <a:lnTo>
                      <a:pt x="436" y="439"/>
                    </a:lnTo>
                    <a:lnTo>
                      <a:pt x="436" y="439"/>
                    </a:lnTo>
                    <a:lnTo>
                      <a:pt x="689" y="237"/>
                    </a:lnTo>
                    <a:lnTo>
                      <a:pt x="689" y="237"/>
                    </a:lnTo>
                    <a:lnTo>
                      <a:pt x="696" y="232"/>
                    </a:lnTo>
                    <a:lnTo>
                      <a:pt x="696" y="232"/>
                    </a:lnTo>
                    <a:lnTo>
                      <a:pt x="899" y="404"/>
                    </a:lnTo>
                    <a:lnTo>
                      <a:pt x="899" y="404"/>
                    </a:lnTo>
                    <a:lnTo>
                      <a:pt x="910" y="399"/>
                    </a:lnTo>
                    <a:lnTo>
                      <a:pt x="910" y="399"/>
                    </a:lnTo>
                    <a:lnTo>
                      <a:pt x="947" y="380"/>
                    </a:lnTo>
                    <a:lnTo>
                      <a:pt x="985" y="362"/>
                    </a:lnTo>
                    <a:lnTo>
                      <a:pt x="1022" y="346"/>
                    </a:lnTo>
                    <a:lnTo>
                      <a:pt x="1061" y="330"/>
                    </a:lnTo>
                    <a:lnTo>
                      <a:pt x="1100" y="317"/>
                    </a:lnTo>
                    <a:lnTo>
                      <a:pt x="1139" y="304"/>
                    </a:lnTo>
                    <a:lnTo>
                      <a:pt x="1178" y="293"/>
                    </a:lnTo>
                    <a:lnTo>
                      <a:pt x="1218" y="282"/>
                    </a:lnTo>
                    <a:lnTo>
                      <a:pt x="1218" y="282"/>
                    </a:lnTo>
                    <a:lnTo>
                      <a:pt x="1226" y="280"/>
                    </a:lnTo>
                    <a:lnTo>
                      <a:pt x="1230" y="276"/>
                    </a:lnTo>
                    <a:lnTo>
                      <a:pt x="1233" y="271"/>
                    </a:lnTo>
                    <a:lnTo>
                      <a:pt x="1235" y="264"/>
                    </a:lnTo>
                    <a:lnTo>
                      <a:pt x="1235" y="264"/>
                    </a:lnTo>
                    <a:lnTo>
                      <a:pt x="1270" y="28"/>
                    </a:lnTo>
                    <a:lnTo>
                      <a:pt x="1270" y="28"/>
                    </a:lnTo>
                    <a:lnTo>
                      <a:pt x="1271" y="21"/>
                    </a:lnTo>
                    <a:lnTo>
                      <a:pt x="1274" y="17"/>
                    </a:lnTo>
                    <a:lnTo>
                      <a:pt x="1278" y="15"/>
                    </a:lnTo>
                    <a:lnTo>
                      <a:pt x="1284" y="14"/>
                    </a:lnTo>
                    <a:lnTo>
                      <a:pt x="1284" y="14"/>
                    </a:lnTo>
                    <a:lnTo>
                      <a:pt x="1609" y="0"/>
                    </a:lnTo>
                    <a:lnTo>
                      <a:pt x="1609" y="0"/>
                    </a:lnTo>
                    <a:lnTo>
                      <a:pt x="1615" y="1"/>
                    </a:lnTo>
                    <a:lnTo>
                      <a:pt x="1615" y="1"/>
                    </a:lnTo>
                    <a:lnTo>
                      <a:pt x="1647" y="557"/>
                    </a:lnTo>
                    <a:lnTo>
                      <a:pt x="1647" y="557"/>
                    </a:lnTo>
                    <a:lnTo>
                      <a:pt x="1618" y="553"/>
                    </a:lnTo>
                    <a:lnTo>
                      <a:pt x="1591" y="551"/>
                    </a:lnTo>
                    <a:lnTo>
                      <a:pt x="1563" y="549"/>
                    </a:lnTo>
                    <a:lnTo>
                      <a:pt x="1537" y="548"/>
                    </a:lnTo>
                    <a:lnTo>
                      <a:pt x="1509" y="548"/>
                    </a:lnTo>
                    <a:lnTo>
                      <a:pt x="1482" y="549"/>
                    </a:lnTo>
                    <a:lnTo>
                      <a:pt x="1456" y="550"/>
                    </a:lnTo>
                    <a:lnTo>
                      <a:pt x="1429" y="552"/>
                    </a:lnTo>
                    <a:lnTo>
                      <a:pt x="1404" y="555"/>
                    </a:lnTo>
                    <a:lnTo>
                      <a:pt x="1377" y="558"/>
                    </a:lnTo>
                    <a:lnTo>
                      <a:pt x="1351" y="562"/>
                    </a:lnTo>
                    <a:lnTo>
                      <a:pt x="1326" y="566"/>
                    </a:lnTo>
                    <a:lnTo>
                      <a:pt x="1300" y="571"/>
                    </a:lnTo>
                    <a:lnTo>
                      <a:pt x="1275" y="577"/>
                    </a:lnTo>
                    <a:lnTo>
                      <a:pt x="1250" y="583"/>
                    </a:lnTo>
                    <a:lnTo>
                      <a:pt x="1226" y="590"/>
                    </a:lnTo>
                    <a:lnTo>
                      <a:pt x="1201" y="599"/>
                    </a:lnTo>
                    <a:lnTo>
                      <a:pt x="1176" y="607"/>
                    </a:lnTo>
                    <a:lnTo>
                      <a:pt x="1152" y="616"/>
                    </a:lnTo>
                    <a:lnTo>
                      <a:pt x="1128" y="626"/>
                    </a:lnTo>
                    <a:lnTo>
                      <a:pt x="1105" y="636"/>
                    </a:lnTo>
                    <a:lnTo>
                      <a:pt x="1081" y="648"/>
                    </a:lnTo>
                    <a:lnTo>
                      <a:pt x="1058" y="660"/>
                    </a:lnTo>
                    <a:lnTo>
                      <a:pt x="1035" y="672"/>
                    </a:lnTo>
                    <a:lnTo>
                      <a:pt x="1013" y="685"/>
                    </a:lnTo>
                    <a:lnTo>
                      <a:pt x="990" y="700"/>
                    </a:lnTo>
                    <a:lnTo>
                      <a:pt x="968" y="715"/>
                    </a:lnTo>
                    <a:lnTo>
                      <a:pt x="945" y="730"/>
                    </a:lnTo>
                    <a:lnTo>
                      <a:pt x="924" y="746"/>
                    </a:lnTo>
                    <a:lnTo>
                      <a:pt x="902" y="763"/>
                    </a:lnTo>
                    <a:lnTo>
                      <a:pt x="881" y="781"/>
                    </a:lnTo>
                    <a:lnTo>
                      <a:pt x="859" y="799"/>
                    </a:lnTo>
                    <a:lnTo>
                      <a:pt x="859" y="799"/>
                    </a:lnTo>
                    <a:lnTo>
                      <a:pt x="828" y="828"/>
                    </a:lnTo>
                    <a:lnTo>
                      <a:pt x="799" y="857"/>
                    </a:lnTo>
                    <a:lnTo>
                      <a:pt x="770" y="887"/>
                    </a:lnTo>
                    <a:lnTo>
                      <a:pt x="745" y="919"/>
                    </a:lnTo>
                    <a:lnTo>
                      <a:pt x="719" y="950"/>
                    </a:lnTo>
                    <a:lnTo>
                      <a:pt x="696" y="984"/>
                    </a:lnTo>
                    <a:lnTo>
                      <a:pt x="674" y="1018"/>
                    </a:lnTo>
                    <a:lnTo>
                      <a:pt x="655" y="1053"/>
                    </a:lnTo>
                    <a:lnTo>
                      <a:pt x="635" y="1089"/>
                    </a:lnTo>
                    <a:lnTo>
                      <a:pt x="618" y="1124"/>
                    </a:lnTo>
                    <a:lnTo>
                      <a:pt x="602" y="1162"/>
                    </a:lnTo>
                    <a:lnTo>
                      <a:pt x="588" y="1200"/>
                    </a:lnTo>
                    <a:lnTo>
                      <a:pt x="576" y="1239"/>
                    </a:lnTo>
                    <a:lnTo>
                      <a:pt x="564" y="1279"/>
                    </a:lnTo>
                    <a:lnTo>
                      <a:pt x="555" y="1320"/>
                    </a:lnTo>
                    <a:lnTo>
                      <a:pt x="547" y="1361"/>
                    </a:lnTo>
                    <a:lnTo>
                      <a:pt x="547" y="1361"/>
                    </a:lnTo>
                    <a:lnTo>
                      <a:pt x="540" y="1405"/>
                    </a:lnTo>
                    <a:lnTo>
                      <a:pt x="536" y="1448"/>
                    </a:lnTo>
                    <a:lnTo>
                      <a:pt x="533" y="1492"/>
                    </a:lnTo>
                    <a:lnTo>
                      <a:pt x="532" y="1535"/>
                    </a:lnTo>
                    <a:lnTo>
                      <a:pt x="533" y="1577"/>
                    </a:lnTo>
                    <a:lnTo>
                      <a:pt x="536" y="1620"/>
                    </a:lnTo>
                    <a:lnTo>
                      <a:pt x="541" y="1661"/>
                    </a:lnTo>
                    <a:lnTo>
                      <a:pt x="547" y="1703"/>
                    </a:lnTo>
                    <a:lnTo>
                      <a:pt x="555" y="1744"/>
                    </a:lnTo>
                    <a:lnTo>
                      <a:pt x="565" y="1785"/>
                    </a:lnTo>
                    <a:lnTo>
                      <a:pt x="578" y="1825"/>
                    </a:lnTo>
                    <a:lnTo>
                      <a:pt x="591" y="1865"/>
                    </a:lnTo>
                    <a:lnTo>
                      <a:pt x="606" y="1903"/>
                    </a:lnTo>
                    <a:lnTo>
                      <a:pt x="623" y="1942"/>
                    </a:lnTo>
                    <a:lnTo>
                      <a:pt x="641" y="1979"/>
                    </a:lnTo>
                    <a:lnTo>
                      <a:pt x="661" y="2015"/>
                    </a:lnTo>
                    <a:lnTo>
                      <a:pt x="682" y="2051"/>
                    </a:lnTo>
                    <a:lnTo>
                      <a:pt x="705" y="2085"/>
                    </a:lnTo>
                    <a:lnTo>
                      <a:pt x="729" y="2119"/>
                    </a:lnTo>
                    <a:lnTo>
                      <a:pt x="755" y="2152"/>
                    </a:lnTo>
                    <a:lnTo>
                      <a:pt x="782" y="2183"/>
                    </a:lnTo>
                    <a:lnTo>
                      <a:pt x="811" y="2214"/>
                    </a:lnTo>
                    <a:lnTo>
                      <a:pt x="841" y="2243"/>
                    </a:lnTo>
                    <a:lnTo>
                      <a:pt x="871" y="2271"/>
                    </a:lnTo>
                    <a:lnTo>
                      <a:pt x="904" y="2298"/>
                    </a:lnTo>
                    <a:lnTo>
                      <a:pt x="937" y="2322"/>
                    </a:lnTo>
                    <a:lnTo>
                      <a:pt x="972" y="2347"/>
                    </a:lnTo>
                    <a:lnTo>
                      <a:pt x="1008" y="2369"/>
                    </a:lnTo>
                    <a:lnTo>
                      <a:pt x="1044" y="2390"/>
                    </a:lnTo>
                    <a:lnTo>
                      <a:pt x="1083" y="2409"/>
                    </a:lnTo>
                    <a:lnTo>
                      <a:pt x="1122" y="2428"/>
                    </a:lnTo>
                    <a:lnTo>
                      <a:pt x="1162" y="2444"/>
                    </a:lnTo>
                    <a:lnTo>
                      <a:pt x="1162" y="2444"/>
                    </a:lnTo>
                    <a:lnTo>
                      <a:pt x="1207" y="2459"/>
                    </a:lnTo>
                    <a:lnTo>
                      <a:pt x="1252" y="2474"/>
                    </a:lnTo>
                    <a:lnTo>
                      <a:pt x="1296" y="2485"/>
                    </a:lnTo>
                    <a:lnTo>
                      <a:pt x="1341" y="2494"/>
                    </a:lnTo>
                    <a:lnTo>
                      <a:pt x="1386" y="2501"/>
                    </a:lnTo>
                    <a:lnTo>
                      <a:pt x="1431" y="2507"/>
                    </a:lnTo>
                    <a:lnTo>
                      <a:pt x="1475" y="2510"/>
                    </a:lnTo>
                    <a:lnTo>
                      <a:pt x="1520" y="2511"/>
                    </a:lnTo>
                    <a:lnTo>
                      <a:pt x="1565" y="2509"/>
                    </a:lnTo>
                    <a:lnTo>
                      <a:pt x="1609" y="2506"/>
                    </a:lnTo>
                    <a:lnTo>
                      <a:pt x="1654" y="2499"/>
                    </a:lnTo>
                    <a:lnTo>
                      <a:pt x="1699" y="2492"/>
                    </a:lnTo>
                    <a:lnTo>
                      <a:pt x="1743" y="2482"/>
                    </a:lnTo>
                    <a:lnTo>
                      <a:pt x="1788" y="2470"/>
                    </a:lnTo>
                    <a:lnTo>
                      <a:pt x="1832" y="2455"/>
                    </a:lnTo>
                    <a:lnTo>
                      <a:pt x="1877" y="2438"/>
                    </a:lnTo>
                    <a:lnTo>
                      <a:pt x="1877" y="2438"/>
                    </a:lnTo>
                    <a:lnTo>
                      <a:pt x="1920" y="2420"/>
                    </a:lnTo>
                    <a:lnTo>
                      <a:pt x="1962" y="2399"/>
                    </a:lnTo>
                    <a:lnTo>
                      <a:pt x="2003" y="2378"/>
                    </a:lnTo>
                    <a:lnTo>
                      <a:pt x="2042" y="2354"/>
                    </a:lnTo>
                    <a:lnTo>
                      <a:pt x="2080" y="2330"/>
                    </a:lnTo>
                    <a:lnTo>
                      <a:pt x="2116" y="2303"/>
                    </a:lnTo>
                    <a:lnTo>
                      <a:pt x="2151" y="2274"/>
                    </a:lnTo>
                    <a:lnTo>
                      <a:pt x="2184" y="2245"/>
                    </a:lnTo>
                    <a:lnTo>
                      <a:pt x="2216" y="2213"/>
                    </a:lnTo>
                    <a:lnTo>
                      <a:pt x="2247" y="2180"/>
                    </a:lnTo>
                    <a:lnTo>
                      <a:pt x="2275" y="2145"/>
                    </a:lnTo>
                    <a:lnTo>
                      <a:pt x="2303" y="2110"/>
                    </a:lnTo>
                    <a:lnTo>
                      <a:pt x="2329" y="2072"/>
                    </a:lnTo>
                    <a:lnTo>
                      <a:pt x="2353" y="2033"/>
                    </a:lnTo>
                    <a:lnTo>
                      <a:pt x="2377" y="1992"/>
                    </a:lnTo>
                    <a:lnTo>
                      <a:pt x="2399" y="1950"/>
                    </a:lnTo>
                    <a:lnTo>
                      <a:pt x="2399" y="1950"/>
                    </a:lnTo>
                    <a:lnTo>
                      <a:pt x="2670" y="2079"/>
                    </a:lnTo>
                    <a:lnTo>
                      <a:pt x="2670" y="2079"/>
                    </a:lnTo>
                    <a:lnTo>
                      <a:pt x="2649" y="2121"/>
                    </a:lnTo>
                    <a:lnTo>
                      <a:pt x="2626" y="2161"/>
                    </a:lnTo>
                    <a:lnTo>
                      <a:pt x="2626" y="2161"/>
                    </a:lnTo>
                    <a:lnTo>
                      <a:pt x="2611" y="2187"/>
                    </a:lnTo>
                    <a:lnTo>
                      <a:pt x="2595" y="2214"/>
                    </a:lnTo>
                    <a:lnTo>
                      <a:pt x="2578" y="2241"/>
                    </a:lnTo>
                    <a:lnTo>
                      <a:pt x="2560" y="2266"/>
                    </a:lnTo>
                    <a:lnTo>
                      <a:pt x="2542" y="2292"/>
                    </a:lnTo>
                    <a:lnTo>
                      <a:pt x="2523" y="2316"/>
                    </a:lnTo>
                    <a:lnTo>
                      <a:pt x="2504" y="2340"/>
                    </a:lnTo>
                    <a:lnTo>
                      <a:pt x="2483" y="2364"/>
                    </a:lnTo>
                    <a:lnTo>
                      <a:pt x="2483" y="2364"/>
                    </a:lnTo>
                    <a:lnTo>
                      <a:pt x="2479" y="2369"/>
                    </a:lnTo>
                    <a:lnTo>
                      <a:pt x="2477" y="2376"/>
                    </a:lnTo>
                    <a:lnTo>
                      <a:pt x="2477" y="2382"/>
                    </a:lnTo>
                    <a:lnTo>
                      <a:pt x="2480" y="2388"/>
                    </a:lnTo>
                    <a:lnTo>
                      <a:pt x="2480" y="2388"/>
                    </a:lnTo>
                    <a:lnTo>
                      <a:pt x="2538" y="2498"/>
                    </a:lnTo>
                    <a:lnTo>
                      <a:pt x="2596" y="2608"/>
                    </a:lnTo>
                    <a:lnTo>
                      <a:pt x="2596" y="2608"/>
                    </a:lnTo>
                    <a:lnTo>
                      <a:pt x="2327" y="2823"/>
                    </a:lnTo>
                    <a:lnTo>
                      <a:pt x="2327" y="2823"/>
                    </a:lnTo>
                    <a:lnTo>
                      <a:pt x="2316" y="2814"/>
                    </a:lnTo>
                    <a:lnTo>
                      <a:pt x="2316" y="2814"/>
                    </a:lnTo>
                    <a:lnTo>
                      <a:pt x="2136" y="2662"/>
                    </a:lnTo>
                    <a:lnTo>
                      <a:pt x="2136" y="2662"/>
                    </a:lnTo>
                    <a:lnTo>
                      <a:pt x="2130" y="2658"/>
                    </a:lnTo>
                    <a:lnTo>
                      <a:pt x="2125" y="2656"/>
                    </a:lnTo>
                    <a:lnTo>
                      <a:pt x="2120" y="2656"/>
                    </a:lnTo>
                    <a:lnTo>
                      <a:pt x="2113" y="2659"/>
                    </a:lnTo>
                    <a:lnTo>
                      <a:pt x="2113" y="2659"/>
                    </a:lnTo>
                    <a:lnTo>
                      <a:pt x="2076" y="2677"/>
                    </a:lnTo>
                    <a:lnTo>
                      <a:pt x="2039" y="2696"/>
                    </a:lnTo>
                    <a:lnTo>
                      <a:pt x="2002" y="2712"/>
                    </a:lnTo>
                    <a:lnTo>
                      <a:pt x="1963" y="2728"/>
                    </a:lnTo>
                    <a:lnTo>
                      <a:pt x="1925" y="2741"/>
                    </a:lnTo>
                    <a:lnTo>
                      <a:pt x="1887" y="2753"/>
                    </a:lnTo>
                    <a:lnTo>
                      <a:pt x="1847" y="2764"/>
                    </a:lnTo>
                    <a:lnTo>
                      <a:pt x="1807" y="2775"/>
                    </a:lnTo>
                    <a:lnTo>
                      <a:pt x="1807" y="2775"/>
                    </a:lnTo>
                    <a:lnTo>
                      <a:pt x="1801" y="2777"/>
                    </a:lnTo>
                    <a:lnTo>
                      <a:pt x="1796" y="2780"/>
                    </a:lnTo>
                    <a:lnTo>
                      <a:pt x="1793" y="2785"/>
                    </a:lnTo>
                    <a:lnTo>
                      <a:pt x="1791" y="2791"/>
                    </a:lnTo>
                    <a:lnTo>
                      <a:pt x="1791" y="2791"/>
                    </a:lnTo>
                    <a:lnTo>
                      <a:pt x="1758" y="3021"/>
                    </a:lnTo>
                    <a:lnTo>
                      <a:pt x="1758" y="3021"/>
                    </a:lnTo>
                    <a:lnTo>
                      <a:pt x="1756" y="3034"/>
                    </a:lnTo>
                    <a:lnTo>
                      <a:pt x="1755" y="3039"/>
                    </a:lnTo>
                    <a:lnTo>
                      <a:pt x="1752" y="3041"/>
                    </a:lnTo>
                    <a:lnTo>
                      <a:pt x="1750" y="3042"/>
                    </a:lnTo>
                    <a:lnTo>
                      <a:pt x="1746" y="3043"/>
                    </a:lnTo>
                    <a:lnTo>
                      <a:pt x="1734" y="3043"/>
                    </a:lnTo>
                    <a:lnTo>
                      <a:pt x="1734" y="3043"/>
                    </a:lnTo>
                    <a:lnTo>
                      <a:pt x="1415" y="3057"/>
                    </a:lnTo>
                    <a:lnTo>
                      <a:pt x="1415" y="3057"/>
                    </a:lnTo>
                    <a:lnTo>
                      <a:pt x="1411" y="3056"/>
                    </a:lnTo>
                    <a:lnTo>
                      <a:pt x="1411" y="3056"/>
                    </a:lnTo>
                    <a:lnTo>
                      <a:pt x="1390" y="2975"/>
                    </a:lnTo>
                    <a:lnTo>
                      <a:pt x="1390" y="2975"/>
                    </a:lnTo>
                    <a:lnTo>
                      <a:pt x="1351" y="2811"/>
                    </a:lnTo>
                    <a:lnTo>
                      <a:pt x="1351" y="2811"/>
                    </a:lnTo>
                    <a:lnTo>
                      <a:pt x="1349" y="2805"/>
                    </a:lnTo>
                    <a:lnTo>
                      <a:pt x="1346" y="2801"/>
                    </a:lnTo>
                    <a:lnTo>
                      <a:pt x="1342" y="2798"/>
                    </a:lnTo>
                    <a:lnTo>
                      <a:pt x="1336" y="2796"/>
                    </a:lnTo>
                    <a:lnTo>
                      <a:pt x="1336" y="2796"/>
                    </a:lnTo>
                    <a:lnTo>
                      <a:pt x="1294" y="2790"/>
                    </a:lnTo>
                    <a:lnTo>
                      <a:pt x="1253" y="2783"/>
                    </a:lnTo>
                    <a:lnTo>
                      <a:pt x="1212" y="2774"/>
                    </a:lnTo>
                    <a:lnTo>
                      <a:pt x="1172" y="2763"/>
                    </a:lnTo>
                    <a:lnTo>
                      <a:pt x="1132" y="2751"/>
                    </a:lnTo>
                    <a:lnTo>
                      <a:pt x="1092" y="2738"/>
                    </a:lnTo>
                    <a:lnTo>
                      <a:pt x="1054" y="2723"/>
                    </a:lnTo>
                    <a:lnTo>
                      <a:pt x="1015" y="2708"/>
                    </a:lnTo>
                    <a:lnTo>
                      <a:pt x="1015" y="2708"/>
                    </a:lnTo>
                    <a:lnTo>
                      <a:pt x="1009" y="2707"/>
                    </a:lnTo>
                    <a:lnTo>
                      <a:pt x="1004" y="2707"/>
                    </a:lnTo>
                    <a:lnTo>
                      <a:pt x="1000" y="2709"/>
                    </a:lnTo>
                    <a:lnTo>
                      <a:pt x="996" y="2713"/>
                    </a:lnTo>
                    <a:lnTo>
                      <a:pt x="996" y="2713"/>
                    </a:lnTo>
                    <a:lnTo>
                      <a:pt x="828" y="2884"/>
                    </a:lnTo>
                    <a:lnTo>
                      <a:pt x="828" y="2884"/>
                    </a:lnTo>
                    <a:lnTo>
                      <a:pt x="819" y="2894"/>
                    </a:lnTo>
                    <a:lnTo>
                      <a:pt x="819" y="2894"/>
                    </a:lnTo>
                    <a:close/>
                  </a:path>
                </a:pathLst>
              </a:custGeom>
              <a:grp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sp>
            <p:nvSpPr>
              <p:cNvPr id="1954" name="Freeform 26"/>
              <p:cNvSpPr>
                <a:spLocks/>
              </p:cNvSpPr>
              <p:nvPr/>
            </p:nvSpPr>
            <p:spPr bwMode="auto">
              <a:xfrm>
                <a:off x="10263188" y="-4344988"/>
                <a:ext cx="1300163" cy="1050925"/>
              </a:xfrm>
              <a:custGeom>
                <a:avLst/>
                <a:gdLst>
                  <a:gd name="T0" fmla="*/ 49 w 819"/>
                  <a:gd name="T1" fmla="*/ 662 h 662"/>
                  <a:gd name="T2" fmla="*/ 0 w 819"/>
                  <a:gd name="T3" fmla="*/ 600 h 662"/>
                  <a:gd name="T4" fmla="*/ 86 w 819"/>
                  <a:gd name="T5" fmla="*/ 533 h 662"/>
                  <a:gd name="T6" fmla="*/ 74 w 819"/>
                  <a:gd name="T7" fmla="*/ 501 h 662"/>
                  <a:gd name="T8" fmla="*/ 67 w 819"/>
                  <a:gd name="T9" fmla="*/ 469 h 662"/>
                  <a:gd name="T10" fmla="*/ 68 w 819"/>
                  <a:gd name="T11" fmla="*/ 438 h 662"/>
                  <a:gd name="T12" fmla="*/ 76 w 819"/>
                  <a:gd name="T13" fmla="*/ 406 h 662"/>
                  <a:gd name="T14" fmla="*/ 81 w 819"/>
                  <a:gd name="T15" fmla="*/ 394 h 662"/>
                  <a:gd name="T16" fmla="*/ 92 w 819"/>
                  <a:gd name="T17" fmla="*/ 372 h 662"/>
                  <a:gd name="T18" fmla="*/ 106 w 819"/>
                  <a:gd name="T19" fmla="*/ 353 h 662"/>
                  <a:gd name="T20" fmla="*/ 124 w 819"/>
                  <a:gd name="T21" fmla="*/ 335 h 662"/>
                  <a:gd name="T22" fmla="*/ 134 w 819"/>
                  <a:gd name="T23" fmla="*/ 327 h 662"/>
                  <a:gd name="T24" fmla="*/ 153 w 819"/>
                  <a:gd name="T25" fmla="*/ 316 h 662"/>
                  <a:gd name="T26" fmla="*/ 175 w 819"/>
                  <a:gd name="T27" fmla="*/ 306 h 662"/>
                  <a:gd name="T28" fmla="*/ 199 w 819"/>
                  <a:gd name="T29" fmla="*/ 300 h 662"/>
                  <a:gd name="T30" fmla="*/ 225 w 819"/>
                  <a:gd name="T31" fmla="*/ 296 h 662"/>
                  <a:gd name="T32" fmla="*/ 253 w 819"/>
                  <a:gd name="T33" fmla="*/ 299 h 662"/>
                  <a:gd name="T34" fmla="*/ 281 w 819"/>
                  <a:gd name="T35" fmla="*/ 306 h 662"/>
                  <a:gd name="T36" fmla="*/ 309 w 819"/>
                  <a:gd name="T37" fmla="*/ 319 h 662"/>
                  <a:gd name="T38" fmla="*/ 338 w 819"/>
                  <a:gd name="T39" fmla="*/ 338 h 662"/>
                  <a:gd name="T40" fmla="*/ 800 w 819"/>
                  <a:gd name="T41" fmla="*/ 0 h 662"/>
                  <a:gd name="T42" fmla="*/ 819 w 819"/>
                  <a:gd name="T43" fmla="*/ 22 h 662"/>
                  <a:gd name="T44" fmla="*/ 685 w 819"/>
                  <a:gd name="T45" fmla="*/ 140 h 662"/>
                  <a:gd name="T46" fmla="*/ 393 w 819"/>
                  <a:gd name="T47" fmla="*/ 398 h 662"/>
                  <a:gd name="T48" fmla="*/ 388 w 819"/>
                  <a:gd name="T49" fmla="*/ 403 h 662"/>
                  <a:gd name="T50" fmla="*/ 384 w 819"/>
                  <a:gd name="T51" fmla="*/ 415 h 662"/>
                  <a:gd name="T52" fmla="*/ 385 w 819"/>
                  <a:gd name="T53" fmla="*/ 422 h 662"/>
                  <a:gd name="T54" fmla="*/ 388 w 819"/>
                  <a:gd name="T55" fmla="*/ 447 h 662"/>
                  <a:gd name="T56" fmla="*/ 389 w 819"/>
                  <a:gd name="T57" fmla="*/ 470 h 662"/>
                  <a:gd name="T58" fmla="*/ 386 w 819"/>
                  <a:gd name="T59" fmla="*/ 493 h 662"/>
                  <a:gd name="T60" fmla="*/ 379 w 819"/>
                  <a:gd name="T61" fmla="*/ 513 h 662"/>
                  <a:gd name="T62" fmla="*/ 370 w 819"/>
                  <a:gd name="T63" fmla="*/ 534 h 662"/>
                  <a:gd name="T64" fmla="*/ 359 w 819"/>
                  <a:gd name="T65" fmla="*/ 552 h 662"/>
                  <a:gd name="T66" fmla="*/ 344 w 819"/>
                  <a:gd name="T67" fmla="*/ 570 h 662"/>
                  <a:gd name="T68" fmla="*/ 324 w 819"/>
                  <a:gd name="T69" fmla="*/ 586 h 662"/>
                  <a:gd name="T70" fmla="*/ 314 w 819"/>
                  <a:gd name="T71" fmla="*/ 593 h 662"/>
                  <a:gd name="T72" fmla="*/ 294 w 819"/>
                  <a:gd name="T73" fmla="*/ 604 h 662"/>
                  <a:gd name="T74" fmla="*/ 272 w 819"/>
                  <a:gd name="T75" fmla="*/ 613 h 662"/>
                  <a:gd name="T76" fmla="*/ 251 w 819"/>
                  <a:gd name="T77" fmla="*/ 618 h 662"/>
                  <a:gd name="T78" fmla="*/ 229 w 819"/>
                  <a:gd name="T79" fmla="*/ 620 h 662"/>
                  <a:gd name="T80" fmla="*/ 207 w 819"/>
                  <a:gd name="T81" fmla="*/ 618 h 662"/>
                  <a:gd name="T82" fmla="*/ 184 w 819"/>
                  <a:gd name="T83" fmla="*/ 612 h 662"/>
                  <a:gd name="T84" fmla="*/ 162 w 819"/>
                  <a:gd name="T85" fmla="*/ 603 h 662"/>
                  <a:gd name="T86" fmla="*/ 150 w 819"/>
                  <a:gd name="T87" fmla="*/ 597 h 662"/>
                  <a:gd name="T88" fmla="*/ 139 w 819"/>
                  <a:gd name="T89" fmla="*/ 594 h 662"/>
                  <a:gd name="T90" fmla="*/ 133 w 819"/>
                  <a:gd name="T91" fmla="*/ 594 h 662"/>
                  <a:gd name="T92" fmla="*/ 124 w 819"/>
                  <a:gd name="T93" fmla="*/ 600 h 662"/>
                  <a:gd name="T94" fmla="*/ 87 w 819"/>
                  <a:gd name="T95" fmla="*/ 631 h 662"/>
                  <a:gd name="T96" fmla="*/ 49 w 819"/>
                  <a:gd name="T97"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9" h="662">
                    <a:moveTo>
                      <a:pt x="49" y="662"/>
                    </a:moveTo>
                    <a:lnTo>
                      <a:pt x="49" y="662"/>
                    </a:lnTo>
                    <a:lnTo>
                      <a:pt x="0" y="600"/>
                    </a:lnTo>
                    <a:lnTo>
                      <a:pt x="0" y="600"/>
                    </a:lnTo>
                    <a:lnTo>
                      <a:pt x="86" y="533"/>
                    </a:lnTo>
                    <a:lnTo>
                      <a:pt x="86" y="533"/>
                    </a:lnTo>
                    <a:lnTo>
                      <a:pt x="79" y="517"/>
                    </a:lnTo>
                    <a:lnTo>
                      <a:pt x="74" y="501"/>
                    </a:lnTo>
                    <a:lnTo>
                      <a:pt x="69" y="486"/>
                    </a:lnTo>
                    <a:lnTo>
                      <a:pt x="67" y="469"/>
                    </a:lnTo>
                    <a:lnTo>
                      <a:pt x="67" y="454"/>
                    </a:lnTo>
                    <a:lnTo>
                      <a:pt x="68" y="438"/>
                    </a:lnTo>
                    <a:lnTo>
                      <a:pt x="71" y="422"/>
                    </a:lnTo>
                    <a:lnTo>
                      <a:pt x="76" y="406"/>
                    </a:lnTo>
                    <a:lnTo>
                      <a:pt x="76" y="406"/>
                    </a:lnTo>
                    <a:lnTo>
                      <a:pt x="81" y="394"/>
                    </a:lnTo>
                    <a:lnTo>
                      <a:pt x="86" y="382"/>
                    </a:lnTo>
                    <a:lnTo>
                      <a:pt x="92" y="372"/>
                    </a:lnTo>
                    <a:lnTo>
                      <a:pt x="99" y="362"/>
                    </a:lnTo>
                    <a:lnTo>
                      <a:pt x="106" y="353"/>
                    </a:lnTo>
                    <a:lnTo>
                      <a:pt x="114" y="344"/>
                    </a:lnTo>
                    <a:lnTo>
                      <a:pt x="124" y="335"/>
                    </a:lnTo>
                    <a:lnTo>
                      <a:pt x="134" y="327"/>
                    </a:lnTo>
                    <a:lnTo>
                      <a:pt x="134" y="327"/>
                    </a:lnTo>
                    <a:lnTo>
                      <a:pt x="143" y="321"/>
                    </a:lnTo>
                    <a:lnTo>
                      <a:pt x="153" y="316"/>
                    </a:lnTo>
                    <a:lnTo>
                      <a:pt x="164" y="311"/>
                    </a:lnTo>
                    <a:lnTo>
                      <a:pt x="175" y="306"/>
                    </a:lnTo>
                    <a:lnTo>
                      <a:pt x="187" y="303"/>
                    </a:lnTo>
                    <a:lnTo>
                      <a:pt x="199" y="300"/>
                    </a:lnTo>
                    <a:lnTo>
                      <a:pt x="213" y="297"/>
                    </a:lnTo>
                    <a:lnTo>
                      <a:pt x="225" y="296"/>
                    </a:lnTo>
                    <a:lnTo>
                      <a:pt x="239" y="297"/>
                    </a:lnTo>
                    <a:lnTo>
                      <a:pt x="253" y="299"/>
                    </a:lnTo>
                    <a:lnTo>
                      <a:pt x="267" y="302"/>
                    </a:lnTo>
                    <a:lnTo>
                      <a:pt x="281" y="306"/>
                    </a:lnTo>
                    <a:lnTo>
                      <a:pt x="295" y="312"/>
                    </a:lnTo>
                    <a:lnTo>
                      <a:pt x="309" y="319"/>
                    </a:lnTo>
                    <a:lnTo>
                      <a:pt x="323" y="328"/>
                    </a:lnTo>
                    <a:lnTo>
                      <a:pt x="338" y="338"/>
                    </a:lnTo>
                    <a:lnTo>
                      <a:pt x="338" y="338"/>
                    </a:lnTo>
                    <a:lnTo>
                      <a:pt x="800" y="0"/>
                    </a:lnTo>
                    <a:lnTo>
                      <a:pt x="800" y="0"/>
                    </a:lnTo>
                    <a:lnTo>
                      <a:pt x="819" y="22"/>
                    </a:lnTo>
                    <a:lnTo>
                      <a:pt x="819" y="22"/>
                    </a:lnTo>
                    <a:lnTo>
                      <a:pt x="685" y="140"/>
                    </a:lnTo>
                    <a:lnTo>
                      <a:pt x="685" y="140"/>
                    </a:lnTo>
                    <a:lnTo>
                      <a:pt x="393" y="398"/>
                    </a:lnTo>
                    <a:lnTo>
                      <a:pt x="393" y="398"/>
                    </a:lnTo>
                    <a:lnTo>
                      <a:pt x="388" y="403"/>
                    </a:lnTo>
                    <a:lnTo>
                      <a:pt x="385" y="408"/>
                    </a:lnTo>
                    <a:lnTo>
                      <a:pt x="384" y="415"/>
                    </a:lnTo>
                    <a:lnTo>
                      <a:pt x="385" y="422"/>
                    </a:lnTo>
                    <a:lnTo>
                      <a:pt x="385" y="422"/>
                    </a:lnTo>
                    <a:lnTo>
                      <a:pt x="387" y="435"/>
                    </a:lnTo>
                    <a:lnTo>
                      <a:pt x="388" y="447"/>
                    </a:lnTo>
                    <a:lnTo>
                      <a:pt x="389" y="459"/>
                    </a:lnTo>
                    <a:lnTo>
                      <a:pt x="389" y="470"/>
                    </a:lnTo>
                    <a:lnTo>
                      <a:pt x="388" y="482"/>
                    </a:lnTo>
                    <a:lnTo>
                      <a:pt x="386" y="493"/>
                    </a:lnTo>
                    <a:lnTo>
                      <a:pt x="383" y="503"/>
                    </a:lnTo>
                    <a:lnTo>
                      <a:pt x="379" y="513"/>
                    </a:lnTo>
                    <a:lnTo>
                      <a:pt x="375" y="524"/>
                    </a:lnTo>
                    <a:lnTo>
                      <a:pt x="370" y="534"/>
                    </a:lnTo>
                    <a:lnTo>
                      <a:pt x="365" y="543"/>
                    </a:lnTo>
                    <a:lnTo>
                      <a:pt x="359" y="552"/>
                    </a:lnTo>
                    <a:lnTo>
                      <a:pt x="351" y="561"/>
                    </a:lnTo>
                    <a:lnTo>
                      <a:pt x="344" y="570"/>
                    </a:lnTo>
                    <a:lnTo>
                      <a:pt x="334" y="578"/>
                    </a:lnTo>
                    <a:lnTo>
                      <a:pt x="324" y="586"/>
                    </a:lnTo>
                    <a:lnTo>
                      <a:pt x="324" y="586"/>
                    </a:lnTo>
                    <a:lnTo>
                      <a:pt x="314" y="593"/>
                    </a:lnTo>
                    <a:lnTo>
                      <a:pt x="304" y="599"/>
                    </a:lnTo>
                    <a:lnTo>
                      <a:pt x="294" y="604"/>
                    </a:lnTo>
                    <a:lnTo>
                      <a:pt x="283" y="610"/>
                    </a:lnTo>
                    <a:lnTo>
                      <a:pt x="272" y="613"/>
                    </a:lnTo>
                    <a:lnTo>
                      <a:pt x="262" y="616"/>
                    </a:lnTo>
                    <a:lnTo>
                      <a:pt x="251" y="618"/>
                    </a:lnTo>
                    <a:lnTo>
                      <a:pt x="239" y="619"/>
                    </a:lnTo>
                    <a:lnTo>
                      <a:pt x="229" y="620"/>
                    </a:lnTo>
                    <a:lnTo>
                      <a:pt x="218" y="619"/>
                    </a:lnTo>
                    <a:lnTo>
                      <a:pt x="207" y="618"/>
                    </a:lnTo>
                    <a:lnTo>
                      <a:pt x="195" y="615"/>
                    </a:lnTo>
                    <a:lnTo>
                      <a:pt x="184" y="612"/>
                    </a:lnTo>
                    <a:lnTo>
                      <a:pt x="173" y="609"/>
                    </a:lnTo>
                    <a:lnTo>
                      <a:pt x="162" y="603"/>
                    </a:lnTo>
                    <a:lnTo>
                      <a:pt x="150" y="597"/>
                    </a:lnTo>
                    <a:lnTo>
                      <a:pt x="150" y="597"/>
                    </a:lnTo>
                    <a:lnTo>
                      <a:pt x="143" y="594"/>
                    </a:lnTo>
                    <a:lnTo>
                      <a:pt x="139" y="594"/>
                    </a:lnTo>
                    <a:lnTo>
                      <a:pt x="136" y="594"/>
                    </a:lnTo>
                    <a:lnTo>
                      <a:pt x="133" y="594"/>
                    </a:lnTo>
                    <a:lnTo>
                      <a:pt x="130" y="596"/>
                    </a:lnTo>
                    <a:lnTo>
                      <a:pt x="124" y="600"/>
                    </a:lnTo>
                    <a:lnTo>
                      <a:pt x="124" y="600"/>
                    </a:lnTo>
                    <a:lnTo>
                      <a:pt x="87" y="631"/>
                    </a:lnTo>
                    <a:lnTo>
                      <a:pt x="49" y="662"/>
                    </a:lnTo>
                    <a:lnTo>
                      <a:pt x="49" y="662"/>
                    </a:lnTo>
                    <a:close/>
                  </a:path>
                </a:pathLst>
              </a:custGeom>
              <a:grp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sp>
            <p:nvSpPr>
              <p:cNvPr id="1955" name="Freeform 27"/>
              <p:cNvSpPr>
                <a:spLocks/>
              </p:cNvSpPr>
              <p:nvPr/>
            </p:nvSpPr>
            <p:spPr bwMode="auto">
              <a:xfrm>
                <a:off x="11436350" y="-5548313"/>
                <a:ext cx="452438" cy="546100"/>
              </a:xfrm>
              <a:custGeom>
                <a:avLst/>
                <a:gdLst>
                  <a:gd name="T0" fmla="*/ 0 w 285"/>
                  <a:gd name="T1" fmla="*/ 279 h 344"/>
                  <a:gd name="T2" fmla="*/ 0 w 285"/>
                  <a:gd name="T3" fmla="*/ 279 h 344"/>
                  <a:gd name="T4" fmla="*/ 6 w 285"/>
                  <a:gd name="T5" fmla="*/ 267 h 344"/>
                  <a:gd name="T6" fmla="*/ 9 w 285"/>
                  <a:gd name="T7" fmla="*/ 261 h 344"/>
                  <a:gd name="T8" fmla="*/ 12 w 285"/>
                  <a:gd name="T9" fmla="*/ 254 h 344"/>
                  <a:gd name="T10" fmla="*/ 12 w 285"/>
                  <a:gd name="T11" fmla="*/ 254 h 344"/>
                  <a:gd name="T12" fmla="*/ 182 w 285"/>
                  <a:gd name="T13" fmla="*/ 22 h 344"/>
                  <a:gd name="T14" fmla="*/ 182 w 285"/>
                  <a:gd name="T15" fmla="*/ 22 h 344"/>
                  <a:gd name="T16" fmla="*/ 190 w 285"/>
                  <a:gd name="T17" fmla="*/ 13 h 344"/>
                  <a:gd name="T18" fmla="*/ 198 w 285"/>
                  <a:gd name="T19" fmla="*/ 7 h 344"/>
                  <a:gd name="T20" fmla="*/ 207 w 285"/>
                  <a:gd name="T21" fmla="*/ 3 h 344"/>
                  <a:gd name="T22" fmla="*/ 218 w 285"/>
                  <a:gd name="T23" fmla="*/ 0 h 344"/>
                  <a:gd name="T24" fmla="*/ 227 w 285"/>
                  <a:gd name="T25" fmla="*/ 0 h 344"/>
                  <a:gd name="T26" fmla="*/ 238 w 285"/>
                  <a:gd name="T27" fmla="*/ 2 h 344"/>
                  <a:gd name="T28" fmla="*/ 248 w 285"/>
                  <a:gd name="T29" fmla="*/ 7 h 344"/>
                  <a:gd name="T30" fmla="*/ 259 w 285"/>
                  <a:gd name="T31" fmla="*/ 13 h 344"/>
                  <a:gd name="T32" fmla="*/ 259 w 285"/>
                  <a:gd name="T33" fmla="*/ 13 h 344"/>
                  <a:gd name="T34" fmla="*/ 269 w 285"/>
                  <a:gd name="T35" fmla="*/ 21 h 344"/>
                  <a:gd name="T36" fmla="*/ 276 w 285"/>
                  <a:gd name="T37" fmla="*/ 30 h 344"/>
                  <a:gd name="T38" fmla="*/ 281 w 285"/>
                  <a:gd name="T39" fmla="*/ 40 h 344"/>
                  <a:gd name="T40" fmla="*/ 284 w 285"/>
                  <a:gd name="T41" fmla="*/ 49 h 344"/>
                  <a:gd name="T42" fmla="*/ 285 w 285"/>
                  <a:gd name="T43" fmla="*/ 59 h 344"/>
                  <a:gd name="T44" fmla="*/ 284 w 285"/>
                  <a:gd name="T45" fmla="*/ 69 h 344"/>
                  <a:gd name="T46" fmla="*/ 280 w 285"/>
                  <a:gd name="T47" fmla="*/ 79 h 344"/>
                  <a:gd name="T48" fmla="*/ 274 w 285"/>
                  <a:gd name="T49" fmla="*/ 90 h 344"/>
                  <a:gd name="T50" fmla="*/ 274 w 285"/>
                  <a:gd name="T51" fmla="*/ 90 h 344"/>
                  <a:gd name="T52" fmla="*/ 104 w 285"/>
                  <a:gd name="T53" fmla="*/ 322 h 344"/>
                  <a:gd name="T54" fmla="*/ 104 w 285"/>
                  <a:gd name="T55" fmla="*/ 322 h 344"/>
                  <a:gd name="T56" fmla="*/ 98 w 285"/>
                  <a:gd name="T57" fmla="*/ 329 h 344"/>
                  <a:gd name="T58" fmla="*/ 91 w 285"/>
                  <a:gd name="T59" fmla="*/ 335 h 344"/>
                  <a:gd name="T60" fmla="*/ 84 w 285"/>
                  <a:gd name="T61" fmla="*/ 339 h 344"/>
                  <a:gd name="T62" fmla="*/ 76 w 285"/>
                  <a:gd name="T63" fmla="*/ 342 h 344"/>
                  <a:gd name="T64" fmla="*/ 68 w 285"/>
                  <a:gd name="T65" fmla="*/ 344 h 344"/>
                  <a:gd name="T66" fmla="*/ 60 w 285"/>
                  <a:gd name="T67" fmla="*/ 344 h 344"/>
                  <a:gd name="T68" fmla="*/ 52 w 285"/>
                  <a:gd name="T69" fmla="*/ 343 h 344"/>
                  <a:gd name="T70" fmla="*/ 44 w 285"/>
                  <a:gd name="T71" fmla="*/ 340 h 344"/>
                  <a:gd name="T72" fmla="*/ 44 w 285"/>
                  <a:gd name="T73" fmla="*/ 340 h 344"/>
                  <a:gd name="T74" fmla="*/ 33 w 285"/>
                  <a:gd name="T75" fmla="*/ 335 h 344"/>
                  <a:gd name="T76" fmla="*/ 24 w 285"/>
                  <a:gd name="T77" fmla="*/ 330 h 344"/>
                  <a:gd name="T78" fmla="*/ 17 w 285"/>
                  <a:gd name="T79" fmla="*/ 323 h 344"/>
                  <a:gd name="T80" fmla="*/ 10 w 285"/>
                  <a:gd name="T81" fmla="*/ 316 h 344"/>
                  <a:gd name="T82" fmla="*/ 6 w 285"/>
                  <a:gd name="T83" fmla="*/ 308 h 344"/>
                  <a:gd name="T84" fmla="*/ 2 w 285"/>
                  <a:gd name="T85" fmla="*/ 298 h 344"/>
                  <a:gd name="T86" fmla="*/ 1 w 285"/>
                  <a:gd name="T87" fmla="*/ 289 h 344"/>
                  <a:gd name="T88" fmla="*/ 0 w 285"/>
                  <a:gd name="T89" fmla="*/ 279 h 344"/>
                  <a:gd name="T90" fmla="*/ 0 w 285"/>
                  <a:gd name="T91" fmla="*/ 27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5" h="344">
                    <a:moveTo>
                      <a:pt x="0" y="279"/>
                    </a:moveTo>
                    <a:lnTo>
                      <a:pt x="0" y="279"/>
                    </a:lnTo>
                    <a:lnTo>
                      <a:pt x="6" y="267"/>
                    </a:lnTo>
                    <a:lnTo>
                      <a:pt x="9" y="261"/>
                    </a:lnTo>
                    <a:lnTo>
                      <a:pt x="12" y="254"/>
                    </a:lnTo>
                    <a:lnTo>
                      <a:pt x="12" y="254"/>
                    </a:lnTo>
                    <a:lnTo>
                      <a:pt x="182" y="22"/>
                    </a:lnTo>
                    <a:lnTo>
                      <a:pt x="182" y="22"/>
                    </a:lnTo>
                    <a:lnTo>
                      <a:pt x="190" y="13"/>
                    </a:lnTo>
                    <a:lnTo>
                      <a:pt x="198" y="7"/>
                    </a:lnTo>
                    <a:lnTo>
                      <a:pt x="207" y="3"/>
                    </a:lnTo>
                    <a:lnTo>
                      <a:pt x="218" y="0"/>
                    </a:lnTo>
                    <a:lnTo>
                      <a:pt x="227" y="0"/>
                    </a:lnTo>
                    <a:lnTo>
                      <a:pt x="238" y="2"/>
                    </a:lnTo>
                    <a:lnTo>
                      <a:pt x="248" y="7"/>
                    </a:lnTo>
                    <a:lnTo>
                      <a:pt x="259" y="13"/>
                    </a:lnTo>
                    <a:lnTo>
                      <a:pt x="259" y="13"/>
                    </a:lnTo>
                    <a:lnTo>
                      <a:pt x="269" y="21"/>
                    </a:lnTo>
                    <a:lnTo>
                      <a:pt x="276" y="30"/>
                    </a:lnTo>
                    <a:lnTo>
                      <a:pt x="281" y="40"/>
                    </a:lnTo>
                    <a:lnTo>
                      <a:pt x="284" y="49"/>
                    </a:lnTo>
                    <a:lnTo>
                      <a:pt x="285" y="59"/>
                    </a:lnTo>
                    <a:lnTo>
                      <a:pt x="284" y="69"/>
                    </a:lnTo>
                    <a:lnTo>
                      <a:pt x="280" y="79"/>
                    </a:lnTo>
                    <a:lnTo>
                      <a:pt x="274" y="90"/>
                    </a:lnTo>
                    <a:lnTo>
                      <a:pt x="274" y="90"/>
                    </a:lnTo>
                    <a:lnTo>
                      <a:pt x="104" y="322"/>
                    </a:lnTo>
                    <a:lnTo>
                      <a:pt x="104" y="322"/>
                    </a:lnTo>
                    <a:lnTo>
                      <a:pt x="98" y="329"/>
                    </a:lnTo>
                    <a:lnTo>
                      <a:pt x="91" y="335"/>
                    </a:lnTo>
                    <a:lnTo>
                      <a:pt x="84" y="339"/>
                    </a:lnTo>
                    <a:lnTo>
                      <a:pt x="76" y="342"/>
                    </a:lnTo>
                    <a:lnTo>
                      <a:pt x="68" y="344"/>
                    </a:lnTo>
                    <a:lnTo>
                      <a:pt x="60" y="344"/>
                    </a:lnTo>
                    <a:lnTo>
                      <a:pt x="52" y="343"/>
                    </a:lnTo>
                    <a:lnTo>
                      <a:pt x="44" y="340"/>
                    </a:lnTo>
                    <a:lnTo>
                      <a:pt x="44" y="340"/>
                    </a:lnTo>
                    <a:lnTo>
                      <a:pt x="33" y="335"/>
                    </a:lnTo>
                    <a:lnTo>
                      <a:pt x="24" y="330"/>
                    </a:lnTo>
                    <a:lnTo>
                      <a:pt x="17" y="323"/>
                    </a:lnTo>
                    <a:lnTo>
                      <a:pt x="10" y="316"/>
                    </a:lnTo>
                    <a:lnTo>
                      <a:pt x="6" y="308"/>
                    </a:lnTo>
                    <a:lnTo>
                      <a:pt x="2" y="298"/>
                    </a:lnTo>
                    <a:lnTo>
                      <a:pt x="1" y="289"/>
                    </a:lnTo>
                    <a:lnTo>
                      <a:pt x="0" y="279"/>
                    </a:lnTo>
                    <a:lnTo>
                      <a:pt x="0" y="279"/>
                    </a:lnTo>
                    <a:close/>
                  </a:path>
                </a:pathLst>
              </a:custGeom>
              <a:grp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sp>
            <p:nvSpPr>
              <p:cNvPr id="1956" name="Freeform 28"/>
              <p:cNvSpPr>
                <a:spLocks/>
              </p:cNvSpPr>
              <p:nvPr/>
            </p:nvSpPr>
            <p:spPr bwMode="auto">
              <a:xfrm>
                <a:off x="12091988" y="-3597275"/>
                <a:ext cx="623888" cy="230188"/>
              </a:xfrm>
              <a:custGeom>
                <a:avLst/>
                <a:gdLst>
                  <a:gd name="T0" fmla="*/ 190 w 393"/>
                  <a:gd name="T1" fmla="*/ 130 h 145"/>
                  <a:gd name="T2" fmla="*/ 190 w 393"/>
                  <a:gd name="T3" fmla="*/ 130 h 145"/>
                  <a:gd name="T4" fmla="*/ 51 w 393"/>
                  <a:gd name="T5" fmla="*/ 115 h 145"/>
                  <a:gd name="T6" fmla="*/ 51 w 393"/>
                  <a:gd name="T7" fmla="*/ 115 h 145"/>
                  <a:gd name="T8" fmla="*/ 43 w 393"/>
                  <a:gd name="T9" fmla="*/ 114 h 145"/>
                  <a:gd name="T10" fmla="*/ 35 w 393"/>
                  <a:gd name="T11" fmla="*/ 112 h 145"/>
                  <a:gd name="T12" fmla="*/ 29 w 393"/>
                  <a:gd name="T13" fmla="*/ 109 h 145"/>
                  <a:gd name="T14" fmla="*/ 22 w 393"/>
                  <a:gd name="T15" fmla="*/ 106 h 145"/>
                  <a:gd name="T16" fmla="*/ 16 w 393"/>
                  <a:gd name="T17" fmla="*/ 101 h 145"/>
                  <a:gd name="T18" fmla="*/ 11 w 393"/>
                  <a:gd name="T19" fmla="*/ 96 h 145"/>
                  <a:gd name="T20" fmla="*/ 7 w 393"/>
                  <a:gd name="T21" fmla="*/ 89 h 145"/>
                  <a:gd name="T22" fmla="*/ 4 w 393"/>
                  <a:gd name="T23" fmla="*/ 81 h 145"/>
                  <a:gd name="T24" fmla="*/ 4 w 393"/>
                  <a:gd name="T25" fmla="*/ 81 h 145"/>
                  <a:gd name="T26" fmla="*/ 2 w 393"/>
                  <a:gd name="T27" fmla="*/ 73 h 145"/>
                  <a:gd name="T28" fmla="*/ 1 w 393"/>
                  <a:gd name="T29" fmla="*/ 64 h 145"/>
                  <a:gd name="T30" fmla="*/ 0 w 393"/>
                  <a:gd name="T31" fmla="*/ 56 h 145"/>
                  <a:gd name="T32" fmla="*/ 1 w 393"/>
                  <a:gd name="T33" fmla="*/ 47 h 145"/>
                  <a:gd name="T34" fmla="*/ 3 w 393"/>
                  <a:gd name="T35" fmla="*/ 39 h 145"/>
                  <a:gd name="T36" fmla="*/ 6 w 393"/>
                  <a:gd name="T37" fmla="*/ 31 h 145"/>
                  <a:gd name="T38" fmla="*/ 10 w 393"/>
                  <a:gd name="T39" fmla="*/ 24 h 145"/>
                  <a:gd name="T40" fmla="*/ 16 w 393"/>
                  <a:gd name="T41" fmla="*/ 17 h 145"/>
                  <a:gd name="T42" fmla="*/ 16 w 393"/>
                  <a:gd name="T43" fmla="*/ 17 h 145"/>
                  <a:gd name="T44" fmla="*/ 21 w 393"/>
                  <a:gd name="T45" fmla="*/ 13 h 145"/>
                  <a:gd name="T46" fmla="*/ 25 w 393"/>
                  <a:gd name="T47" fmla="*/ 9 h 145"/>
                  <a:gd name="T48" fmla="*/ 30 w 393"/>
                  <a:gd name="T49" fmla="*/ 6 h 145"/>
                  <a:gd name="T50" fmla="*/ 35 w 393"/>
                  <a:gd name="T51" fmla="*/ 3 h 145"/>
                  <a:gd name="T52" fmla="*/ 40 w 393"/>
                  <a:gd name="T53" fmla="*/ 2 h 145"/>
                  <a:gd name="T54" fmla="*/ 45 w 393"/>
                  <a:gd name="T55" fmla="*/ 1 h 145"/>
                  <a:gd name="T56" fmla="*/ 51 w 393"/>
                  <a:gd name="T57" fmla="*/ 0 h 145"/>
                  <a:gd name="T58" fmla="*/ 56 w 393"/>
                  <a:gd name="T59" fmla="*/ 1 h 145"/>
                  <a:gd name="T60" fmla="*/ 56 w 393"/>
                  <a:gd name="T61" fmla="*/ 1 h 145"/>
                  <a:gd name="T62" fmla="*/ 204 w 393"/>
                  <a:gd name="T63" fmla="*/ 17 h 145"/>
                  <a:gd name="T64" fmla="*/ 351 w 393"/>
                  <a:gd name="T65" fmla="*/ 32 h 145"/>
                  <a:gd name="T66" fmla="*/ 351 w 393"/>
                  <a:gd name="T67" fmla="*/ 32 h 145"/>
                  <a:gd name="T68" fmla="*/ 360 w 393"/>
                  <a:gd name="T69" fmla="*/ 34 h 145"/>
                  <a:gd name="T70" fmla="*/ 368 w 393"/>
                  <a:gd name="T71" fmla="*/ 37 h 145"/>
                  <a:gd name="T72" fmla="*/ 376 w 393"/>
                  <a:gd name="T73" fmla="*/ 42 h 145"/>
                  <a:gd name="T74" fmla="*/ 382 w 393"/>
                  <a:gd name="T75" fmla="*/ 48 h 145"/>
                  <a:gd name="T76" fmla="*/ 387 w 393"/>
                  <a:gd name="T77" fmla="*/ 57 h 145"/>
                  <a:gd name="T78" fmla="*/ 390 w 393"/>
                  <a:gd name="T79" fmla="*/ 65 h 145"/>
                  <a:gd name="T80" fmla="*/ 392 w 393"/>
                  <a:gd name="T81" fmla="*/ 73 h 145"/>
                  <a:gd name="T82" fmla="*/ 393 w 393"/>
                  <a:gd name="T83" fmla="*/ 83 h 145"/>
                  <a:gd name="T84" fmla="*/ 393 w 393"/>
                  <a:gd name="T85" fmla="*/ 83 h 145"/>
                  <a:gd name="T86" fmla="*/ 392 w 393"/>
                  <a:gd name="T87" fmla="*/ 97 h 145"/>
                  <a:gd name="T88" fmla="*/ 389 w 393"/>
                  <a:gd name="T89" fmla="*/ 108 h 145"/>
                  <a:gd name="T90" fmla="*/ 385 w 393"/>
                  <a:gd name="T91" fmla="*/ 118 h 145"/>
                  <a:gd name="T92" fmla="*/ 380 w 393"/>
                  <a:gd name="T93" fmla="*/ 126 h 145"/>
                  <a:gd name="T94" fmla="*/ 374 w 393"/>
                  <a:gd name="T95" fmla="*/ 133 h 145"/>
                  <a:gd name="T96" fmla="*/ 365 w 393"/>
                  <a:gd name="T97" fmla="*/ 139 h 145"/>
                  <a:gd name="T98" fmla="*/ 356 w 393"/>
                  <a:gd name="T99" fmla="*/ 143 h 145"/>
                  <a:gd name="T100" fmla="*/ 345 w 393"/>
                  <a:gd name="T101" fmla="*/ 144 h 145"/>
                  <a:gd name="T102" fmla="*/ 345 w 393"/>
                  <a:gd name="T103" fmla="*/ 144 h 145"/>
                  <a:gd name="T104" fmla="*/ 337 w 393"/>
                  <a:gd name="T105" fmla="*/ 145 h 145"/>
                  <a:gd name="T106" fmla="*/ 329 w 393"/>
                  <a:gd name="T107" fmla="*/ 144 h 145"/>
                  <a:gd name="T108" fmla="*/ 329 w 393"/>
                  <a:gd name="T109" fmla="*/ 144 h 145"/>
                  <a:gd name="T110" fmla="*/ 190 w 393"/>
                  <a:gd name="T111" fmla="*/ 128 h 145"/>
                  <a:gd name="T112" fmla="*/ 190 w 393"/>
                  <a:gd name="T113" fmla="*/ 128 h 145"/>
                  <a:gd name="T114" fmla="*/ 190 w 393"/>
                  <a:gd name="T115" fmla="*/ 130 h 145"/>
                  <a:gd name="T116" fmla="*/ 190 w 393"/>
                  <a:gd name="T117" fmla="*/ 1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3" h="145">
                    <a:moveTo>
                      <a:pt x="190" y="130"/>
                    </a:moveTo>
                    <a:lnTo>
                      <a:pt x="190" y="130"/>
                    </a:lnTo>
                    <a:lnTo>
                      <a:pt x="51" y="115"/>
                    </a:lnTo>
                    <a:lnTo>
                      <a:pt x="51" y="115"/>
                    </a:lnTo>
                    <a:lnTo>
                      <a:pt x="43" y="114"/>
                    </a:lnTo>
                    <a:lnTo>
                      <a:pt x="35" y="112"/>
                    </a:lnTo>
                    <a:lnTo>
                      <a:pt x="29" y="109"/>
                    </a:lnTo>
                    <a:lnTo>
                      <a:pt x="22" y="106"/>
                    </a:lnTo>
                    <a:lnTo>
                      <a:pt x="16" y="101"/>
                    </a:lnTo>
                    <a:lnTo>
                      <a:pt x="11" y="96"/>
                    </a:lnTo>
                    <a:lnTo>
                      <a:pt x="7" y="89"/>
                    </a:lnTo>
                    <a:lnTo>
                      <a:pt x="4" y="81"/>
                    </a:lnTo>
                    <a:lnTo>
                      <a:pt x="4" y="81"/>
                    </a:lnTo>
                    <a:lnTo>
                      <a:pt x="2" y="73"/>
                    </a:lnTo>
                    <a:lnTo>
                      <a:pt x="1" y="64"/>
                    </a:lnTo>
                    <a:lnTo>
                      <a:pt x="0" y="56"/>
                    </a:lnTo>
                    <a:lnTo>
                      <a:pt x="1" y="47"/>
                    </a:lnTo>
                    <a:lnTo>
                      <a:pt x="3" y="39"/>
                    </a:lnTo>
                    <a:lnTo>
                      <a:pt x="6" y="31"/>
                    </a:lnTo>
                    <a:lnTo>
                      <a:pt x="10" y="24"/>
                    </a:lnTo>
                    <a:lnTo>
                      <a:pt x="16" y="17"/>
                    </a:lnTo>
                    <a:lnTo>
                      <a:pt x="16" y="17"/>
                    </a:lnTo>
                    <a:lnTo>
                      <a:pt x="21" y="13"/>
                    </a:lnTo>
                    <a:lnTo>
                      <a:pt x="25" y="9"/>
                    </a:lnTo>
                    <a:lnTo>
                      <a:pt x="30" y="6"/>
                    </a:lnTo>
                    <a:lnTo>
                      <a:pt x="35" y="3"/>
                    </a:lnTo>
                    <a:lnTo>
                      <a:pt x="40" y="2"/>
                    </a:lnTo>
                    <a:lnTo>
                      <a:pt x="45" y="1"/>
                    </a:lnTo>
                    <a:lnTo>
                      <a:pt x="51" y="0"/>
                    </a:lnTo>
                    <a:lnTo>
                      <a:pt x="56" y="1"/>
                    </a:lnTo>
                    <a:lnTo>
                      <a:pt x="56" y="1"/>
                    </a:lnTo>
                    <a:lnTo>
                      <a:pt x="204" y="17"/>
                    </a:lnTo>
                    <a:lnTo>
                      <a:pt x="351" y="32"/>
                    </a:lnTo>
                    <a:lnTo>
                      <a:pt x="351" y="32"/>
                    </a:lnTo>
                    <a:lnTo>
                      <a:pt x="360" y="34"/>
                    </a:lnTo>
                    <a:lnTo>
                      <a:pt x="368" y="37"/>
                    </a:lnTo>
                    <a:lnTo>
                      <a:pt x="376" y="42"/>
                    </a:lnTo>
                    <a:lnTo>
                      <a:pt x="382" y="48"/>
                    </a:lnTo>
                    <a:lnTo>
                      <a:pt x="387" y="57"/>
                    </a:lnTo>
                    <a:lnTo>
                      <a:pt x="390" y="65"/>
                    </a:lnTo>
                    <a:lnTo>
                      <a:pt x="392" y="73"/>
                    </a:lnTo>
                    <a:lnTo>
                      <a:pt x="393" y="83"/>
                    </a:lnTo>
                    <a:lnTo>
                      <a:pt x="393" y="83"/>
                    </a:lnTo>
                    <a:lnTo>
                      <a:pt x="392" y="97"/>
                    </a:lnTo>
                    <a:lnTo>
                      <a:pt x="389" y="108"/>
                    </a:lnTo>
                    <a:lnTo>
                      <a:pt x="385" y="118"/>
                    </a:lnTo>
                    <a:lnTo>
                      <a:pt x="380" y="126"/>
                    </a:lnTo>
                    <a:lnTo>
                      <a:pt x="374" y="133"/>
                    </a:lnTo>
                    <a:lnTo>
                      <a:pt x="365" y="139"/>
                    </a:lnTo>
                    <a:lnTo>
                      <a:pt x="356" y="143"/>
                    </a:lnTo>
                    <a:lnTo>
                      <a:pt x="345" y="144"/>
                    </a:lnTo>
                    <a:lnTo>
                      <a:pt x="345" y="144"/>
                    </a:lnTo>
                    <a:lnTo>
                      <a:pt x="337" y="145"/>
                    </a:lnTo>
                    <a:lnTo>
                      <a:pt x="329" y="144"/>
                    </a:lnTo>
                    <a:lnTo>
                      <a:pt x="329" y="144"/>
                    </a:lnTo>
                    <a:lnTo>
                      <a:pt x="190" y="128"/>
                    </a:lnTo>
                    <a:lnTo>
                      <a:pt x="190" y="128"/>
                    </a:lnTo>
                    <a:lnTo>
                      <a:pt x="190" y="130"/>
                    </a:lnTo>
                    <a:lnTo>
                      <a:pt x="190" y="130"/>
                    </a:lnTo>
                    <a:close/>
                  </a:path>
                </a:pathLst>
              </a:custGeom>
              <a:grp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sp>
            <p:nvSpPr>
              <p:cNvPr id="1957" name="Freeform 29"/>
              <p:cNvSpPr>
                <a:spLocks/>
              </p:cNvSpPr>
              <p:nvPr/>
            </p:nvSpPr>
            <p:spPr bwMode="auto">
              <a:xfrm>
                <a:off x="11976100" y="-4660900"/>
                <a:ext cx="592138" cy="369888"/>
              </a:xfrm>
              <a:custGeom>
                <a:avLst/>
                <a:gdLst>
                  <a:gd name="T0" fmla="*/ 52 w 373"/>
                  <a:gd name="T1" fmla="*/ 233 h 233"/>
                  <a:gd name="T2" fmla="*/ 52 w 373"/>
                  <a:gd name="T3" fmla="*/ 233 h 233"/>
                  <a:gd name="T4" fmla="*/ 42 w 373"/>
                  <a:gd name="T5" fmla="*/ 230 h 233"/>
                  <a:gd name="T6" fmla="*/ 33 w 373"/>
                  <a:gd name="T7" fmla="*/ 226 h 233"/>
                  <a:gd name="T8" fmla="*/ 25 w 373"/>
                  <a:gd name="T9" fmla="*/ 221 h 233"/>
                  <a:gd name="T10" fmla="*/ 19 w 373"/>
                  <a:gd name="T11" fmla="*/ 214 h 233"/>
                  <a:gd name="T12" fmla="*/ 13 w 373"/>
                  <a:gd name="T13" fmla="*/ 207 h 233"/>
                  <a:gd name="T14" fmla="*/ 8 w 373"/>
                  <a:gd name="T15" fmla="*/ 198 h 233"/>
                  <a:gd name="T16" fmla="*/ 3 w 373"/>
                  <a:gd name="T17" fmla="*/ 188 h 233"/>
                  <a:gd name="T18" fmla="*/ 1 w 373"/>
                  <a:gd name="T19" fmla="*/ 176 h 233"/>
                  <a:gd name="T20" fmla="*/ 1 w 373"/>
                  <a:gd name="T21" fmla="*/ 176 h 233"/>
                  <a:gd name="T22" fmla="*/ 0 w 373"/>
                  <a:gd name="T23" fmla="*/ 168 h 233"/>
                  <a:gd name="T24" fmla="*/ 1 w 373"/>
                  <a:gd name="T25" fmla="*/ 160 h 233"/>
                  <a:gd name="T26" fmla="*/ 3 w 373"/>
                  <a:gd name="T27" fmla="*/ 152 h 233"/>
                  <a:gd name="T28" fmla="*/ 7 w 373"/>
                  <a:gd name="T29" fmla="*/ 145 h 233"/>
                  <a:gd name="T30" fmla="*/ 12 w 373"/>
                  <a:gd name="T31" fmla="*/ 137 h 233"/>
                  <a:gd name="T32" fmla="*/ 17 w 373"/>
                  <a:gd name="T33" fmla="*/ 132 h 233"/>
                  <a:gd name="T34" fmla="*/ 24 w 373"/>
                  <a:gd name="T35" fmla="*/ 126 h 233"/>
                  <a:gd name="T36" fmla="*/ 32 w 373"/>
                  <a:gd name="T37" fmla="*/ 122 h 233"/>
                  <a:gd name="T38" fmla="*/ 32 w 373"/>
                  <a:gd name="T39" fmla="*/ 122 h 233"/>
                  <a:gd name="T40" fmla="*/ 296 w 373"/>
                  <a:gd name="T41" fmla="*/ 5 h 233"/>
                  <a:gd name="T42" fmla="*/ 296 w 373"/>
                  <a:gd name="T43" fmla="*/ 5 h 233"/>
                  <a:gd name="T44" fmla="*/ 307 w 373"/>
                  <a:gd name="T45" fmla="*/ 1 h 233"/>
                  <a:gd name="T46" fmla="*/ 318 w 373"/>
                  <a:gd name="T47" fmla="*/ 0 h 233"/>
                  <a:gd name="T48" fmla="*/ 328 w 373"/>
                  <a:gd name="T49" fmla="*/ 1 h 233"/>
                  <a:gd name="T50" fmla="*/ 337 w 373"/>
                  <a:gd name="T51" fmla="*/ 4 h 233"/>
                  <a:gd name="T52" fmla="*/ 346 w 373"/>
                  <a:gd name="T53" fmla="*/ 10 h 233"/>
                  <a:gd name="T54" fmla="*/ 354 w 373"/>
                  <a:gd name="T55" fmla="*/ 17 h 233"/>
                  <a:gd name="T56" fmla="*/ 361 w 373"/>
                  <a:gd name="T57" fmla="*/ 26 h 233"/>
                  <a:gd name="T58" fmla="*/ 367 w 373"/>
                  <a:gd name="T59" fmla="*/ 37 h 233"/>
                  <a:gd name="T60" fmla="*/ 367 w 373"/>
                  <a:gd name="T61" fmla="*/ 37 h 233"/>
                  <a:gd name="T62" fmla="*/ 371 w 373"/>
                  <a:gd name="T63" fmla="*/ 48 h 233"/>
                  <a:gd name="T64" fmla="*/ 373 w 373"/>
                  <a:gd name="T65" fmla="*/ 60 h 233"/>
                  <a:gd name="T66" fmla="*/ 373 w 373"/>
                  <a:gd name="T67" fmla="*/ 70 h 233"/>
                  <a:gd name="T68" fmla="*/ 371 w 373"/>
                  <a:gd name="T69" fmla="*/ 79 h 233"/>
                  <a:gd name="T70" fmla="*/ 367 w 373"/>
                  <a:gd name="T71" fmla="*/ 88 h 233"/>
                  <a:gd name="T72" fmla="*/ 361 w 373"/>
                  <a:gd name="T73" fmla="*/ 96 h 233"/>
                  <a:gd name="T74" fmla="*/ 352 w 373"/>
                  <a:gd name="T75" fmla="*/ 103 h 233"/>
                  <a:gd name="T76" fmla="*/ 342 w 373"/>
                  <a:gd name="T77" fmla="*/ 109 h 233"/>
                  <a:gd name="T78" fmla="*/ 342 w 373"/>
                  <a:gd name="T79" fmla="*/ 109 h 233"/>
                  <a:gd name="T80" fmla="*/ 78 w 373"/>
                  <a:gd name="T81" fmla="*/ 225 h 233"/>
                  <a:gd name="T82" fmla="*/ 78 w 373"/>
                  <a:gd name="T83" fmla="*/ 225 h 233"/>
                  <a:gd name="T84" fmla="*/ 72 w 373"/>
                  <a:gd name="T85" fmla="*/ 228 h 233"/>
                  <a:gd name="T86" fmla="*/ 65 w 373"/>
                  <a:gd name="T87" fmla="*/ 229 h 233"/>
                  <a:gd name="T88" fmla="*/ 52 w 373"/>
                  <a:gd name="T89" fmla="*/ 233 h 233"/>
                  <a:gd name="T90" fmla="*/ 52 w 373"/>
                  <a:gd name="T91"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3" h="233">
                    <a:moveTo>
                      <a:pt x="52" y="233"/>
                    </a:moveTo>
                    <a:lnTo>
                      <a:pt x="52" y="233"/>
                    </a:lnTo>
                    <a:lnTo>
                      <a:pt x="42" y="230"/>
                    </a:lnTo>
                    <a:lnTo>
                      <a:pt x="33" y="226"/>
                    </a:lnTo>
                    <a:lnTo>
                      <a:pt x="25" y="221"/>
                    </a:lnTo>
                    <a:lnTo>
                      <a:pt x="19" y="214"/>
                    </a:lnTo>
                    <a:lnTo>
                      <a:pt x="13" y="207"/>
                    </a:lnTo>
                    <a:lnTo>
                      <a:pt x="8" y="198"/>
                    </a:lnTo>
                    <a:lnTo>
                      <a:pt x="3" y="188"/>
                    </a:lnTo>
                    <a:lnTo>
                      <a:pt x="1" y="176"/>
                    </a:lnTo>
                    <a:lnTo>
                      <a:pt x="1" y="176"/>
                    </a:lnTo>
                    <a:lnTo>
                      <a:pt x="0" y="168"/>
                    </a:lnTo>
                    <a:lnTo>
                      <a:pt x="1" y="160"/>
                    </a:lnTo>
                    <a:lnTo>
                      <a:pt x="3" y="152"/>
                    </a:lnTo>
                    <a:lnTo>
                      <a:pt x="7" y="145"/>
                    </a:lnTo>
                    <a:lnTo>
                      <a:pt x="12" y="137"/>
                    </a:lnTo>
                    <a:lnTo>
                      <a:pt x="17" y="132"/>
                    </a:lnTo>
                    <a:lnTo>
                      <a:pt x="24" y="126"/>
                    </a:lnTo>
                    <a:lnTo>
                      <a:pt x="32" y="122"/>
                    </a:lnTo>
                    <a:lnTo>
                      <a:pt x="32" y="122"/>
                    </a:lnTo>
                    <a:lnTo>
                      <a:pt x="296" y="5"/>
                    </a:lnTo>
                    <a:lnTo>
                      <a:pt x="296" y="5"/>
                    </a:lnTo>
                    <a:lnTo>
                      <a:pt x="307" y="1"/>
                    </a:lnTo>
                    <a:lnTo>
                      <a:pt x="318" y="0"/>
                    </a:lnTo>
                    <a:lnTo>
                      <a:pt x="328" y="1"/>
                    </a:lnTo>
                    <a:lnTo>
                      <a:pt x="337" y="4"/>
                    </a:lnTo>
                    <a:lnTo>
                      <a:pt x="346" y="10"/>
                    </a:lnTo>
                    <a:lnTo>
                      <a:pt x="354" y="17"/>
                    </a:lnTo>
                    <a:lnTo>
                      <a:pt x="361" y="26"/>
                    </a:lnTo>
                    <a:lnTo>
                      <a:pt x="367" y="37"/>
                    </a:lnTo>
                    <a:lnTo>
                      <a:pt x="367" y="37"/>
                    </a:lnTo>
                    <a:lnTo>
                      <a:pt x="371" y="48"/>
                    </a:lnTo>
                    <a:lnTo>
                      <a:pt x="373" y="60"/>
                    </a:lnTo>
                    <a:lnTo>
                      <a:pt x="373" y="70"/>
                    </a:lnTo>
                    <a:lnTo>
                      <a:pt x="371" y="79"/>
                    </a:lnTo>
                    <a:lnTo>
                      <a:pt x="367" y="88"/>
                    </a:lnTo>
                    <a:lnTo>
                      <a:pt x="361" y="96"/>
                    </a:lnTo>
                    <a:lnTo>
                      <a:pt x="352" y="103"/>
                    </a:lnTo>
                    <a:lnTo>
                      <a:pt x="342" y="109"/>
                    </a:lnTo>
                    <a:lnTo>
                      <a:pt x="342" y="109"/>
                    </a:lnTo>
                    <a:lnTo>
                      <a:pt x="78" y="225"/>
                    </a:lnTo>
                    <a:lnTo>
                      <a:pt x="78" y="225"/>
                    </a:lnTo>
                    <a:lnTo>
                      <a:pt x="72" y="228"/>
                    </a:lnTo>
                    <a:lnTo>
                      <a:pt x="65" y="229"/>
                    </a:lnTo>
                    <a:lnTo>
                      <a:pt x="52" y="233"/>
                    </a:lnTo>
                    <a:lnTo>
                      <a:pt x="52" y="233"/>
                    </a:lnTo>
                    <a:close/>
                  </a:path>
                </a:pathLst>
              </a:custGeom>
              <a:grp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grpSp>
      </p:grpSp>
      <p:grpSp>
        <p:nvGrpSpPr>
          <p:cNvPr id="2759" name="Group 2758"/>
          <p:cNvGrpSpPr/>
          <p:nvPr/>
        </p:nvGrpSpPr>
        <p:grpSpPr>
          <a:xfrm>
            <a:off x="6827338" y="4223660"/>
            <a:ext cx="532524" cy="533055"/>
            <a:chOff x="7933572" y="4542064"/>
            <a:chExt cx="1940798" cy="1940798"/>
          </a:xfrm>
        </p:grpSpPr>
        <p:sp>
          <p:nvSpPr>
            <p:cNvPr id="2003" name="Freeform 2002"/>
            <p:cNvSpPr>
              <a:spLocks/>
            </p:cNvSpPr>
            <p:nvPr/>
          </p:nvSpPr>
          <p:spPr bwMode="auto">
            <a:xfrm>
              <a:off x="8090149" y="5615198"/>
              <a:ext cx="393826" cy="659241"/>
            </a:xfrm>
            <a:custGeom>
              <a:avLst/>
              <a:gdLst>
                <a:gd name="connsiteX0" fmla="*/ 245554 w 517805"/>
                <a:gd name="connsiteY0" fmla="*/ 0 h 866775"/>
                <a:gd name="connsiteX1" fmla="*/ 517805 w 517805"/>
                <a:gd name="connsiteY1" fmla="*/ 273223 h 866775"/>
                <a:gd name="connsiteX2" fmla="*/ 517805 w 517805"/>
                <a:gd name="connsiteY2" fmla="*/ 423966 h 866775"/>
                <a:gd name="connsiteX3" fmla="*/ 362904 w 517805"/>
                <a:gd name="connsiteY3" fmla="*/ 668924 h 866775"/>
                <a:gd name="connsiteX4" fmla="*/ 306576 w 517805"/>
                <a:gd name="connsiteY4" fmla="*/ 866775 h 866775"/>
                <a:gd name="connsiteX5" fmla="*/ 259194 w 517805"/>
                <a:gd name="connsiteY5" fmla="*/ 866775 h 866775"/>
                <a:gd name="connsiteX6" fmla="*/ 228136 w 517805"/>
                <a:gd name="connsiteY6" fmla="*/ 843551 h 866775"/>
                <a:gd name="connsiteX7" fmla="*/ 56083 w 517805"/>
                <a:gd name="connsiteY7" fmla="*/ 671498 h 866775"/>
                <a:gd name="connsiteX8" fmla="*/ 0 w 517805"/>
                <a:gd name="connsiteY8" fmla="*/ 596499 h 866775"/>
                <a:gd name="connsiteX9" fmla="*/ 4988 w 517805"/>
                <a:gd name="connsiteY9" fmla="*/ 586487 h 866775"/>
                <a:gd name="connsiteX10" fmla="*/ 24938 w 517805"/>
                <a:gd name="connsiteY10" fmla="*/ 546445 h 866775"/>
                <a:gd name="connsiteX11" fmla="*/ 6162 w 517805"/>
                <a:gd name="connsiteY11" fmla="*/ 423966 h 866775"/>
                <a:gd name="connsiteX12" fmla="*/ 6162 w 517805"/>
                <a:gd name="connsiteY12" fmla="*/ 273223 h 866775"/>
                <a:gd name="connsiteX13" fmla="*/ 245554 w 517805"/>
                <a:gd name="connsiteY13" fmla="*/ 0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805" h="866775">
                  <a:moveTo>
                    <a:pt x="245554" y="0"/>
                  </a:moveTo>
                  <a:cubicBezTo>
                    <a:pt x="395762" y="0"/>
                    <a:pt x="517805" y="122479"/>
                    <a:pt x="517805" y="273223"/>
                  </a:cubicBezTo>
                  <a:cubicBezTo>
                    <a:pt x="517805" y="423966"/>
                    <a:pt x="517805" y="423966"/>
                    <a:pt x="517805" y="423966"/>
                  </a:cubicBezTo>
                  <a:cubicBezTo>
                    <a:pt x="517805" y="532313"/>
                    <a:pt x="456783" y="626528"/>
                    <a:pt x="362904" y="668924"/>
                  </a:cubicBezTo>
                  <a:cubicBezTo>
                    <a:pt x="306576" y="866775"/>
                    <a:pt x="306576" y="866775"/>
                    <a:pt x="306576" y="866775"/>
                  </a:cubicBezTo>
                  <a:lnTo>
                    <a:pt x="259194" y="866775"/>
                  </a:lnTo>
                  <a:lnTo>
                    <a:pt x="228136" y="843551"/>
                  </a:lnTo>
                  <a:cubicBezTo>
                    <a:pt x="165450" y="791818"/>
                    <a:pt x="107816" y="734183"/>
                    <a:pt x="56083" y="671498"/>
                  </a:cubicBezTo>
                  <a:lnTo>
                    <a:pt x="0" y="596499"/>
                  </a:lnTo>
                  <a:lnTo>
                    <a:pt x="4988" y="586487"/>
                  </a:lnTo>
                  <a:cubicBezTo>
                    <a:pt x="24938" y="546445"/>
                    <a:pt x="24938" y="546445"/>
                    <a:pt x="24938" y="546445"/>
                  </a:cubicBezTo>
                  <a:cubicBezTo>
                    <a:pt x="10856" y="508759"/>
                    <a:pt x="6162" y="466363"/>
                    <a:pt x="6162" y="423966"/>
                  </a:cubicBezTo>
                  <a:cubicBezTo>
                    <a:pt x="6162" y="273223"/>
                    <a:pt x="6162" y="273223"/>
                    <a:pt x="6162" y="273223"/>
                  </a:cubicBezTo>
                  <a:cubicBezTo>
                    <a:pt x="6162" y="122479"/>
                    <a:pt x="90653" y="0"/>
                    <a:pt x="245554" y="0"/>
                  </a:cubicBez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noAutofit/>
            </a:bodyPr>
            <a:lstStyle/>
            <a:p>
              <a:pPr defTabSz="913874">
                <a:defRPr/>
              </a:pPr>
              <a:endParaRPr lang="en-US" sz="1765" kern="0" dirty="0">
                <a:solidFill>
                  <a:srgbClr val="505050"/>
                </a:solidFill>
              </a:endParaRPr>
            </a:p>
          </p:txBody>
        </p:sp>
        <p:sp>
          <p:nvSpPr>
            <p:cNvPr id="2004" name="Freeform 9"/>
            <p:cNvSpPr>
              <a:spLocks/>
            </p:cNvSpPr>
            <p:nvPr/>
          </p:nvSpPr>
          <p:spPr bwMode="auto">
            <a:xfrm>
              <a:off x="8288374" y="5181741"/>
              <a:ext cx="1243623" cy="687011"/>
            </a:xfrm>
            <a:custGeom>
              <a:avLst/>
              <a:gdLst>
                <a:gd name="T0" fmla="*/ 348 w 348"/>
                <a:gd name="T1" fmla="*/ 187 h 192"/>
                <a:gd name="T2" fmla="*/ 343 w 348"/>
                <a:gd name="T3" fmla="*/ 192 h 192"/>
                <a:gd name="T4" fmla="*/ 5 w 348"/>
                <a:gd name="T5" fmla="*/ 192 h 192"/>
                <a:gd name="T6" fmla="*/ 0 w 348"/>
                <a:gd name="T7" fmla="*/ 187 h 192"/>
                <a:gd name="T8" fmla="*/ 0 w 348"/>
                <a:gd name="T9" fmla="*/ 5 h 192"/>
                <a:gd name="T10" fmla="*/ 5 w 348"/>
                <a:gd name="T11" fmla="*/ 0 h 192"/>
                <a:gd name="T12" fmla="*/ 343 w 348"/>
                <a:gd name="T13" fmla="*/ 0 h 192"/>
                <a:gd name="T14" fmla="*/ 348 w 348"/>
                <a:gd name="T15" fmla="*/ 5 h 192"/>
                <a:gd name="T16" fmla="*/ 348 w 348"/>
                <a:gd name="T17" fmla="*/ 18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192">
                  <a:moveTo>
                    <a:pt x="348" y="187"/>
                  </a:moveTo>
                  <a:cubicBezTo>
                    <a:pt x="348" y="190"/>
                    <a:pt x="345" y="192"/>
                    <a:pt x="343" y="192"/>
                  </a:cubicBezTo>
                  <a:cubicBezTo>
                    <a:pt x="5" y="192"/>
                    <a:pt x="5" y="192"/>
                    <a:pt x="5" y="192"/>
                  </a:cubicBezTo>
                  <a:cubicBezTo>
                    <a:pt x="2" y="192"/>
                    <a:pt x="0" y="190"/>
                    <a:pt x="0" y="187"/>
                  </a:cubicBezTo>
                  <a:cubicBezTo>
                    <a:pt x="0" y="5"/>
                    <a:pt x="0" y="5"/>
                    <a:pt x="0" y="5"/>
                  </a:cubicBezTo>
                  <a:cubicBezTo>
                    <a:pt x="0" y="2"/>
                    <a:pt x="2" y="0"/>
                    <a:pt x="5" y="0"/>
                  </a:cubicBezTo>
                  <a:cubicBezTo>
                    <a:pt x="343" y="0"/>
                    <a:pt x="343" y="0"/>
                    <a:pt x="343" y="0"/>
                  </a:cubicBezTo>
                  <a:cubicBezTo>
                    <a:pt x="345" y="0"/>
                    <a:pt x="348" y="2"/>
                    <a:pt x="348" y="5"/>
                  </a:cubicBezTo>
                  <a:lnTo>
                    <a:pt x="348" y="1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0" name="Rectangle 12"/>
            <p:cNvSpPr>
              <a:spLocks noChangeArrowheads="1"/>
            </p:cNvSpPr>
            <p:nvPr/>
          </p:nvSpPr>
          <p:spPr bwMode="auto">
            <a:xfrm>
              <a:off x="9070770" y="5178312"/>
              <a:ext cx="466056" cy="693759"/>
            </a:xfrm>
            <a:prstGeom prst="rect">
              <a:avLst/>
            </a:prstGeom>
            <a:solidFill>
              <a:schemeClr val="bg1">
                <a:lumMod val="95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1" name="Rectangle 13"/>
            <p:cNvSpPr>
              <a:spLocks noChangeArrowheads="1"/>
            </p:cNvSpPr>
            <p:nvPr/>
          </p:nvSpPr>
          <p:spPr bwMode="auto">
            <a:xfrm>
              <a:off x="9070765" y="5174496"/>
              <a:ext cx="32094" cy="693759"/>
            </a:xfrm>
            <a:prstGeom prst="rect">
              <a:avLst/>
            </a:prstGeom>
            <a:solidFill>
              <a:schemeClr val="bg1">
                <a:lumMod val="75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5" name="Rectangle 28"/>
            <p:cNvSpPr>
              <a:spLocks noChangeArrowheads="1"/>
            </p:cNvSpPr>
            <p:nvPr/>
          </p:nvSpPr>
          <p:spPr bwMode="auto">
            <a:xfrm>
              <a:off x="9149721" y="5454936"/>
              <a:ext cx="333495" cy="26776"/>
            </a:xfrm>
            <a:prstGeom prst="rect">
              <a:avLst/>
            </a:prstGeom>
            <a:solidFill>
              <a:schemeClr val="tx1">
                <a:lumMod val="60000"/>
                <a:lumOff val="40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7" name="Rectangle 30"/>
            <p:cNvSpPr>
              <a:spLocks noChangeArrowheads="1"/>
            </p:cNvSpPr>
            <p:nvPr/>
          </p:nvSpPr>
          <p:spPr bwMode="auto">
            <a:xfrm>
              <a:off x="9149721" y="5521089"/>
              <a:ext cx="333495" cy="26776"/>
            </a:xfrm>
            <a:prstGeom prst="rect">
              <a:avLst/>
            </a:prstGeom>
            <a:solidFill>
              <a:schemeClr val="tx1">
                <a:lumMod val="60000"/>
                <a:lumOff val="40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8" name="Rectangle 31"/>
            <p:cNvSpPr>
              <a:spLocks noChangeArrowheads="1"/>
            </p:cNvSpPr>
            <p:nvPr/>
          </p:nvSpPr>
          <p:spPr bwMode="auto">
            <a:xfrm>
              <a:off x="9149721" y="5587242"/>
              <a:ext cx="333495" cy="26776"/>
            </a:xfrm>
            <a:prstGeom prst="rect">
              <a:avLst/>
            </a:prstGeom>
            <a:solidFill>
              <a:schemeClr val="tx1">
                <a:lumMod val="60000"/>
                <a:lumOff val="40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9" name="Rectangle 32"/>
            <p:cNvSpPr>
              <a:spLocks noChangeArrowheads="1"/>
            </p:cNvSpPr>
            <p:nvPr/>
          </p:nvSpPr>
          <p:spPr bwMode="auto">
            <a:xfrm>
              <a:off x="9149721" y="5653395"/>
              <a:ext cx="333495" cy="26776"/>
            </a:xfrm>
            <a:prstGeom prst="rect">
              <a:avLst/>
            </a:prstGeom>
            <a:solidFill>
              <a:schemeClr val="tx1">
                <a:lumMod val="60000"/>
                <a:lumOff val="40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62" name="Rectangle 35"/>
            <p:cNvSpPr>
              <a:spLocks noChangeArrowheads="1"/>
            </p:cNvSpPr>
            <p:nvPr/>
          </p:nvSpPr>
          <p:spPr bwMode="auto">
            <a:xfrm>
              <a:off x="9139104" y="5249991"/>
              <a:ext cx="354728" cy="141322"/>
            </a:xfrm>
            <a:prstGeom prst="rect">
              <a:avLst/>
            </a:prstGeom>
            <a:solidFill>
              <a:schemeClr val="accent1"/>
            </a:solidFill>
            <a:ln>
              <a:noFill/>
            </a:ln>
          </p:spPr>
          <p:txBody>
            <a:bodyPr vert="horz" wrap="square" lIns="0" tIns="0" rIns="0" bIns="0" numCol="1" anchor="ctr" anchorCtr="0" compatLnSpc="1">
              <a:prstTxWarp prst="textNoShape">
                <a:avLst/>
              </a:prstTxWarp>
            </a:bodyPr>
            <a:lstStyle/>
            <a:p>
              <a:pPr algn="ctr" defTabSz="913874">
                <a:defRPr/>
              </a:pPr>
              <a:endParaRPr lang="en-US" sz="490" b="1" kern="0" dirty="0">
                <a:solidFill>
                  <a:prstClr val="white"/>
                </a:solidFill>
              </a:endParaRPr>
            </a:p>
          </p:txBody>
        </p:sp>
        <p:sp>
          <p:nvSpPr>
            <p:cNvPr id="2063" name="Rectangle 36"/>
            <p:cNvSpPr>
              <a:spLocks noChangeArrowheads="1"/>
            </p:cNvSpPr>
            <p:nvPr/>
          </p:nvSpPr>
          <p:spPr bwMode="auto">
            <a:xfrm>
              <a:off x="9334475" y="5769337"/>
              <a:ext cx="143724" cy="37374"/>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06" name="Freeform 165"/>
            <p:cNvSpPr>
              <a:spLocks/>
            </p:cNvSpPr>
            <p:nvPr/>
          </p:nvSpPr>
          <p:spPr bwMode="auto">
            <a:xfrm>
              <a:off x="8334256" y="5987078"/>
              <a:ext cx="143682" cy="92971"/>
            </a:xfrm>
            <a:custGeom>
              <a:avLst/>
              <a:gdLst>
                <a:gd name="T0" fmla="*/ 26 w 40"/>
                <a:gd name="T1" fmla="*/ 26 h 26"/>
                <a:gd name="T2" fmla="*/ 0 w 40"/>
                <a:gd name="T3" fmla="*/ 0 h 26"/>
                <a:gd name="T4" fmla="*/ 40 w 40"/>
                <a:gd name="T5" fmla="*/ 0 h 26"/>
                <a:gd name="T6" fmla="*/ 26 w 40"/>
                <a:gd name="T7" fmla="*/ 26 h 26"/>
              </a:gdLst>
              <a:ahLst/>
              <a:cxnLst>
                <a:cxn ang="0">
                  <a:pos x="T0" y="T1"/>
                </a:cxn>
                <a:cxn ang="0">
                  <a:pos x="T2" y="T3"/>
                </a:cxn>
                <a:cxn ang="0">
                  <a:pos x="T4" y="T5"/>
                </a:cxn>
                <a:cxn ang="0">
                  <a:pos x="T6" y="T7"/>
                </a:cxn>
              </a:cxnLst>
              <a:rect l="0" t="0" r="r" b="b"/>
              <a:pathLst>
                <a:path w="40" h="26">
                  <a:moveTo>
                    <a:pt x="26" y="26"/>
                  </a:moveTo>
                  <a:cubicBezTo>
                    <a:pt x="0" y="0"/>
                    <a:pt x="0" y="0"/>
                    <a:pt x="0" y="0"/>
                  </a:cubicBezTo>
                  <a:cubicBezTo>
                    <a:pt x="40" y="0"/>
                    <a:pt x="40" y="0"/>
                    <a:pt x="40" y="0"/>
                  </a:cubicBezTo>
                  <a:cubicBezTo>
                    <a:pt x="38" y="10"/>
                    <a:pt x="33" y="19"/>
                    <a:pt x="26" y="26"/>
                  </a:cubicBez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31" name="Freeform 132"/>
            <p:cNvSpPr>
              <a:spLocks/>
            </p:cNvSpPr>
            <p:nvPr/>
          </p:nvSpPr>
          <p:spPr bwMode="auto">
            <a:xfrm>
              <a:off x="8538391" y="5677416"/>
              <a:ext cx="44330" cy="129295"/>
            </a:xfrm>
            <a:custGeom>
              <a:avLst/>
              <a:gdLst>
                <a:gd name="T0" fmla="*/ 0 w 24"/>
                <a:gd name="T1" fmla="*/ 0 h 70"/>
                <a:gd name="T2" fmla="*/ 0 w 24"/>
                <a:gd name="T3" fmla="*/ 14 h 70"/>
                <a:gd name="T4" fmla="*/ 0 w 24"/>
                <a:gd name="T5" fmla="*/ 70 h 70"/>
                <a:gd name="T6" fmla="*/ 24 w 24"/>
                <a:gd name="T7" fmla="*/ 70 h 70"/>
                <a:gd name="T8" fmla="*/ 24 w 24"/>
                <a:gd name="T9" fmla="*/ 2 h 70"/>
                <a:gd name="T10" fmla="*/ 24 w 24"/>
                <a:gd name="T11" fmla="*/ 0 h 70"/>
                <a:gd name="T12" fmla="*/ 0 w 2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24" h="70">
                  <a:moveTo>
                    <a:pt x="0" y="0"/>
                  </a:moveTo>
                  <a:lnTo>
                    <a:pt x="0" y="14"/>
                  </a:lnTo>
                  <a:lnTo>
                    <a:pt x="0" y="70"/>
                  </a:lnTo>
                  <a:lnTo>
                    <a:pt x="24" y="70"/>
                  </a:lnTo>
                  <a:lnTo>
                    <a:pt x="24" y="2"/>
                  </a:lnTo>
                  <a:lnTo>
                    <a:pt x="24" y="0"/>
                  </a:lnTo>
                  <a:lnTo>
                    <a:pt x="0" y="0"/>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32" name="Freeform 133"/>
            <p:cNvSpPr>
              <a:spLocks/>
            </p:cNvSpPr>
            <p:nvPr/>
          </p:nvSpPr>
          <p:spPr bwMode="auto">
            <a:xfrm>
              <a:off x="8623071" y="5557356"/>
              <a:ext cx="44330" cy="249355"/>
            </a:xfrm>
            <a:custGeom>
              <a:avLst/>
              <a:gdLst>
                <a:gd name="T0" fmla="*/ 0 w 24"/>
                <a:gd name="T1" fmla="*/ 0 h 135"/>
                <a:gd name="T2" fmla="*/ 0 w 24"/>
                <a:gd name="T3" fmla="*/ 67 h 135"/>
                <a:gd name="T4" fmla="*/ 0 w 24"/>
                <a:gd name="T5" fmla="*/ 135 h 135"/>
                <a:gd name="T6" fmla="*/ 24 w 24"/>
                <a:gd name="T7" fmla="*/ 135 h 135"/>
                <a:gd name="T8" fmla="*/ 24 w 24"/>
                <a:gd name="T9" fmla="*/ 56 h 135"/>
                <a:gd name="T10" fmla="*/ 24 w 24"/>
                <a:gd name="T11" fmla="*/ 0 h 135"/>
                <a:gd name="T12" fmla="*/ 0 w 24"/>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24" h="135">
                  <a:moveTo>
                    <a:pt x="0" y="0"/>
                  </a:moveTo>
                  <a:lnTo>
                    <a:pt x="0" y="67"/>
                  </a:lnTo>
                  <a:lnTo>
                    <a:pt x="0" y="135"/>
                  </a:lnTo>
                  <a:lnTo>
                    <a:pt x="24" y="135"/>
                  </a:lnTo>
                  <a:lnTo>
                    <a:pt x="24" y="56"/>
                  </a:lnTo>
                  <a:lnTo>
                    <a:pt x="24" y="0"/>
                  </a:lnTo>
                  <a:lnTo>
                    <a:pt x="0" y="0"/>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33" name="Freeform 134"/>
            <p:cNvSpPr>
              <a:spLocks/>
            </p:cNvSpPr>
            <p:nvPr/>
          </p:nvSpPr>
          <p:spPr bwMode="auto">
            <a:xfrm>
              <a:off x="8707752" y="5444685"/>
              <a:ext cx="44330" cy="362026"/>
            </a:xfrm>
            <a:custGeom>
              <a:avLst/>
              <a:gdLst>
                <a:gd name="T0" fmla="*/ 0 w 24"/>
                <a:gd name="T1" fmla="*/ 0 h 196"/>
                <a:gd name="T2" fmla="*/ 0 w 24"/>
                <a:gd name="T3" fmla="*/ 114 h 196"/>
                <a:gd name="T4" fmla="*/ 0 w 24"/>
                <a:gd name="T5" fmla="*/ 196 h 196"/>
                <a:gd name="T6" fmla="*/ 24 w 24"/>
                <a:gd name="T7" fmla="*/ 196 h 196"/>
                <a:gd name="T8" fmla="*/ 24 w 24"/>
                <a:gd name="T9" fmla="*/ 105 h 196"/>
                <a:gd name="T10" fmla="*/ 24 w 24"/>
                <a:gd name="T11" fmla="*/ 0 h 196"/>
                <a:gd name="T12" fmla="*/ 0 w 24"/>
                <a:gd name="T13" fmla="*/ 0 h 196"/>
              </a:gdLst>
              <a:ahLst/>
              <a:cxnLst>
                <a:cxn ang="0">
                  <a:pos x="T0" y="T1"/>
                </a:cxn>
                <a:cxn ang="0">
                  <a:pos x="T2" y="T3"/>
                </a:cxn>
                <a:cxn ang="0">
                  <a:pos x="T4" y="T5"/>
                </a:cxn>
                <a:cxn ang="0">
                  <a:pos x="T6" y="T7"/>
                </a:cxn>
                <a:cxn ang="0">
                  <a:pos x="T8" y="T9"/>
                </a:cxn>
                <a:cxn ang="0">
                  <a:pos x="T10" y="T11"/>
                </a:cxn>
                <a:cxn ang="0">
                  <a:pos x="T12" y="T13"/>
                </a:cxn>
              </a:cxnLst>
              <a:rect l="0" t="0" r="r" b="b"/>
              <a:pathLst>
                <a:path w="24" h="196">
                  <a:moveTo>
                    <a:pt x="0" y="0"/>
                  </a:moveTo>
                  <a:lnTo>
                    <a:pt x="0" y="114"/>
                  </a:lnTo>
                  <a:lnTo>
                    <a:pt x="0" y="196"/>
                  </a:lnTo>
                  <a:lnTo>
                    <a:pt x="24" y="196"/>
                  </a:lnTo>
                  <a:lnTo>
                    <a:pt x="24" y="105"/>
                  </a:lnTo>
                  <a:lnTo>
                    <a:pt x="24" y="0"/>
                  </a:lnTo>
                  <a:lnTo>
                    <a:pt x="0" y="0"/>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35" name="Freeform 136"/>
            <p:cNvSpPr>
              <a:spLocks/>
            </p:cNvSpPr>
            <p:nvPr/>
          </p:nvSpPr>
          <p:spPr bwMode="auto">
            <a:xfrm>
              <a:off x="8372725" y="5681110"/>
              <a:ext cx="42483" cy="125601"/>
            </a:xfrm>
            <a:custGeom>
              <a:avLst/>
              <a:gdLst>
                <a:gd name="T0" fmla="*/ 0 w 23"/>
                <a:gd name="T1" fmla="*/ 0 h 68"/>
                <a:gd name="T2" fmla="*/ 0 w 23"/>
                <a:gd name="T3" fmla="*/ 38 h 68"/>
                <a:gd name="T4" fmla="*/ 0 w 23"/>
                <a:gd name="T5" fmla="*/ 68 h 68"/>
                <a:gd name="T6" fmla="*/ 23 w 23"/>
                <a:gd name="T7" fmla="*/ 68 h 68"/>
                <a:gd name="T8" fmla="*/ 23 w 23"/>
                <a:gd name="T9" fmla="*/ 26 h 68"/>
                <a:gd name="T10" fmla="*/ 23 w 23"/>
                <a:gd name="T11" fmla="*/ 0 h 68"/>
                <a:gd name="T12" fmla="*/ 0 w 23"/>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3" h="68">
                  <a:moveTo>
                    <a:pt x="0" y="0"/>
                  </a:moveTo>
                  <a:lnTo>
                    <a:pt x="0" y="38"/>
                  </a:lnTo>
                  <a:lnTo>
                    <a:pt x="0" y="68"/>
                  </a:lnTo>
                  <a:lnTo>
                    <a:pt x="23" y="68"/>
                  </a:lnTo>
                  <a:lnTo>
                    <a:pt x="23" y="26"/>
                  </a:lnTo>
                  <a:lnTo>
                    <a:pt x="23" y="0"/>
                  </a:lnTo>
                  <a:lnTo>
                    <a:pt x="0" y="0"/>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36" name="Freeform 137"/>
            <p:cNvSpPr>
              <a:spLocks/>
            </p:cNvSpPr>
            <p:nvPr/>
          </p:nvSpPr>
          <p:spPr bwMode="auto">
            <a:xfrm>
              <a:off x="8455558" y="5544427"/>
              <a:ext cx="42483" cy="262284"/>
            </a:xfrm>
            <a:custGeom>
              <a:avLst/>
              <a:gdLst>
                <a:gd name="T0" fmla="*/ 0 w 23"/>
                <a:gd name="T1" fmla="*/ 0 h 142"/>
                <a:gd name="T2" fmla="*/ 0 w 23"/>
                <a:gd name="T3" fmla="*/ 107 h 142"/>
                <a:gd name="T4" fmla="*/ 0 w 23"/>
                <a:gd name="T5" fmla="*/ 142 h 142"/>
                <a:gd name="T6" fmla="*/ 23 w 23"/>
                <a:gd name="T7" fmla="*/ 142 h 142"/>
                <a:gd name="T8" fmla="*/ 23 w 23"/>
                <a:gd name="T9" fmla="*/ 98 h 142"/>
                <a:gd name="T10" fmla="*/ 23 w 23"/>
                <a:gd name="T11" fmla="*/ 0 h 142"/>
                <a:gd name="T12" fmla="*/ 0 w 23"/>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23" h="142">
                  <a:moveTo>
                    <a:pt x="0" y="0"/>
                  </a:moveTo>
                  <a:lnTo>
                    <a:pt x="0" y="107"/>
                  </a:lnTo>
                  <a:lnTo>
                    <a:pt x="0" y="142"/>
                  </a:lnTo>
                  <a:lnTo>
                    <a:pt x="23" y="142"/>
                  </a:lnTo>
                  <a:lnTo>
                    <a:pt x="23" y="98"/>
                  </a:lnTo>
                  <a:lnTo>
                    <a:pt x="23" y="0"/>
                  </a:lnTo>
                  <a:lnTo>
                    <a:pt x="0" y="0"/>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09" name="Freeform 2008"/>
            <p:cNvSpPr>
              <a:spLocks/>
            </p:cNvSpPr>
            <p:nvPr/>
          </p:nvSpPr>
          <p:spPr bwMode="auto">
            <a:xfrm>
              <a:off x="8173671" y="5070661"/>
              <a:ext cx="1468199" cy="916417"/>
            </a:xfrm>
            <a:custGeom>
              <a:avLst/>
              <a:gdLst>
                <a:gd name="connsiteX0" fmla="*/ 174305 w 1930400"/>
                <a:gd name="connsiteY0" fmla="*/ 146050 h 1204913"/>
                <a:gd name="connsiteX1" fmla="*/ 150812 w 1930400"/>
                <a:gd name="connsiteY1" fmla="*/ 169573 h 1204913"/>
                <a:gd name="connsiteX2" fmla="*/ 150812 w 1930400"/>
                <a:gd name="connsiteY2" fmla="*/ 1025815 h 1204913"/>
                <a:gd name="connsiteX3" fmla="*/ 174305 w 1930400"/>
                <a:gd name="connsiteY3" fmla="*/ 1049338 h 1204913"/>
                <a:gd name="connsiteX4" fmla="*/ 1762444 w 1930400"/>
                <a:gd name="connsiteY4" fmla="*/ 1049338 h 1204913"/>
                <a:gd name="connsiteX5" fmla="*/ 1785937 w 1930400"/>
                <a:gd name="connsiteY5" fmla="*/ 1025815 h 1204913"/>
                <a:gd name="connsiteX6" fmla="*/ 1785937 w 1930400"/>
                <a:gd name="connsiteY6" fmla="*/ 169573 h 1204913"/>
                <a:gd name="connsiteX7" fmla="*/ 1762444 w 1930400"/>
                <a:gd name="connsiteY7" fmla="*/ 146050 h 1204913"/>
                <a:gd name="connsiteX8" fmla="*/ 174305 w 1930400"/>
                <a:gd name="connsiteY8" fmla="*/ 146050 h 1204913"/>
                <a:gd name="connsiteX9" fmla="*/ 28181 w 1930400"/>
                <a:gd name="connsiteY9" fmla="*/ 0 h 1204913"/>
                <a:gd name="connsiteX10" fmla="*/ 1906916 w 1930400"/>
                <a:gd name="connsiteY10" fmla="*/ 0 h 1204913"/>
                <a:gd name="connsiteX11" fmla="*/ 1930400 w 1930400"/>
                <a:gd name="connsiteY11" fmla="*/ 28240 h 1204913"/>
                <a:gd name="connsiteX12" fmla="*/ 1930400 w 1930400"/>
                <a:gd name="connsiteY12" fmla="*/ 1176673 h 1204913"/>
                <a:gd name="connsiteX13" fmla="*/ 1906916 w 1930400"/>
                <a:gd name="connsiteY13" fmla="*/ 1204913 h 1204913"/>
                <a:gd name="connsiteX14" fmla="*/ 28181 w 1930400"/>
                <a:gd name="connsiteY14" fmla="*/ 1204913 h 1204913"/>
                <a:gd name="connsiteX15" fmla="*/ 0 w 1930400"/>
                <a:gd name="connsiteY15" fmla="*/ 1176673 h 1204913"/>
                <a:gd name="connsiteX16" fmla="*/ 0 w 1930400"/>
                <a:gd name="connsiteY16" fmla="*/ 28240 h 1204913"/>
                <a:gd name="connsiteX17" fmla="*/ 28181 w 1930400"/>
                <a:gd name="connsiteY17" fmla="*/ 0 h 120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30400" h="1204913">
                  <a:moveTo>
                    <a:pt x="174305" y="146050"/>
                  </a:moveTo>
                  <a:cubicBezTo>
                    <a:pt x="160210" y="146050"/>
                    <a:pt x="150812" y="155459"/>
                    <a:pt x="150812" y="169573"/>
                  </a:cubicBezTo>
                  <a:cubicBezTo>
                    <a:pt x="150812" y="169573"/>
                    <a:pt x="150812" y="169573"/>
                    <a:pt x="150812" y="1025815"/>
                  </a:cubicBezTo>
                  <a:cubicBezTo>
                    <a:pt x="150812" y="1039929"/>
                    <a:pt x="160210" y="1049338"/>
                    <a:pt x="174305" y="1049338"/>
                  </a:cubicBezTo>
                  <a:cubicBezTo>
                    <a:pt x="174305" y="1049338"/>
                    <a:pt x="174305" y="1049338"/>
                    <a:pt x="1762444" y="1049338"/>
                  </a:cubicBezTo>
                  <a:cubicBezTo>
                    <a:pt x="1771841" y="1049338"/>
                    <a:pt x="1785937" y="1039929"/>
                    <a:pt x="1785937" y="1025815"/>
                  </a:cubicBezTo>
                  <a:lnTo>
                    <a:pt x="1785937" y="169573"/>
                  </a:lnTo>
                  <a:cubicBezTo>
                    <a:pt x="1785937" y="155459"/>
                    <a:pt x="1771841" y="146050"/>
                    <a:pt x="1762444" y="146050"/>
                  </a:cubicBezTo>
                  <a:cubicBezTo>
                    <a:pt x="1762444" y="146050"/>
                    <a:pt x="1762444" y="146050"/>
                    <a:pt x="174305" y="146050"/>
                  </a:cubicBezTo>
                  <a:close/>
                  <a:moveTo>
                    <a:pt x="28181" y="0"/>
                  </a:moveTo>
                  <a:cubicBezTo>
                    <a:pt x="1906916" y="0"/>
                    <a:pt x="1906916" y="0"/>
                    <a:pt x="1906916" y="0"/>
                  </a:cubicBezTo>
                  <a:cubicBezTo>
                    <a:pt x="1921007" y="0"/>
                    <a:pt x="1930400" y="14120"/>
                    <a:pt x="1930400" y="28240"/>
                  </a:cubicBezTo>
                  <a:lnTo>
                    <a:pt x="1930400" y="1176673"/>
                  </a:lnTo>
                  <a:cubicBezTo>
                    <a:pt x="1930400" y="1190793"/>
                    <a:pt x="1921007" y="1204913"/>
                    <a:pt x="1906916" y="1204913"/>
                  </a:cubicBezTo>
                  <a:cubicBezTo>
                    <a:pt x="28181" y="1204913"/>
                    <a:pt x="28181" y="1204913"/>
                    <a:pt x="28181" y="1204913"/>
                  </a:cubicBezTo>
                  <a:cubicBezTo>
                    <a:pt x="14091" y="1204913"/>
                    <a:pt x="0" y="1190793"/>
                    <a:pt x="0" y="1176673"/>
                  </a:cubicBezTo>
                  <a:cubicBezTo>
                    <a:pt x="0" y="28240"/>
                    <a:pt x="0" y="28240"/>
                    <a:pt x="0" y="28240"/>
                  </a:cubicBezTo>
                  <a:cubicBezTo>
                    <a:pt x="0" y="14120"/>
                    <a:pt x="14091" y="0"/>
                    <a:pt x="28181"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874">
                <a:defRPr/>
              </a:pPr>
              <a:endParaRPr lang="en-US" sz="1765" kern="0" dirty="0">
                <a:solidFill>
                  <a:srgbClr val="505050"/>
                </a:solidFill>
              </a:endParaRPr>
            </a:p>
          </p:txBody>
        </p:sp>
        <p:sp>
          <p:nvSpPr>
            <p:cNvPr id="2010" name="Freeform 161"/>
            <p:cNvSpPr>
              <a:spLocks/>
            </p:cNvSpPr>
            <p:nvPr/>
          </p:nvSpPr>
          <p:spPr bwMode="auto">
            <a:xfrm>
              <a:off x="8095190" y="5518606"/>
              <a:ext cx="171450" cy="185940"/>
            </a:xfrm>
            <a:custGeom>
              <a:avLst/>
              <a:gdLst>
                <a:gd name="T0" fmla="*/ 43 w 48"/>
                <a:gd name="T1" fmla="*/ 9 h 52"/>
                <a:gd name="T2" fmla="*/ 43 w 48"/>
                <a:gd name="T3" fmla="*/ 26 h 52"/>
                <a:gd name="T4" fmla="*/ 22 w 48"/>
                <a:gd name="T5" fmla="*/ 47 h 52"/>
                <a:gd name="T6" fmla="*/ 5 w 48"/>
                <a:gd name="T7" fmla="*/ 47 h 52"/>
                <a:gd name="T8" fmla="*/ 5 w 48"/>
                <a:gd name="T9" fmla="*/ 30 h 52"/>
                <a:gd name="T10" fmla="*/ 35 w 48"/>
                <a:gd name="T11" fmla="*/ 0 h 52"/>
                <a:gd name="T12" fmla="*/ 43 w 48"/>
                <a:gd name="T13" fmla="*/ 9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3" y="9"/>
                  </a:moveTo>
                  <a:cubicBezTo>
                    <a:pt x="48" y="14"/>
                    <a:pt x="48" y="21"/>
                    <a:pt x="43" y="26"/>
                  </a:cubicBezTo>
                  <a:cubicBezTo>
                    <a:pt x="22" y="47"/>
                    <a:pt x="22" y="47"/>
                    <a:pt x="22" y="47"/>
                  </a:cubicBezTo>
                  <a:cubicBezTo>
                    <a:pt x="17" y="52"/>
                    <a:pt x="9" y="52"/>
                    <a:pt x="5" y="47"/>
                  </a:cubicBezTo>
                  <a:cubicBezTo>
                    <a:pt x="0" y="43"/>
                    <a:pt x="0" y="35"/>
                    <a:pt x="5" y="30"/>
                  </a:cubicBezTo>
                  <a:cubicBezTo>
                    <a:pt x="35" y="0"/>
                    <a:pt x="35" y="0"/>
                    <a:pt x="35" y="0"/>
                  </a:cubicBezTo>
                  <a:lnTo>
                    <a:pt x="43" y="9"/>
                  </a:ln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11" name="Freeform 162"/>
            <p:cNvSpPr>
              <a:spLocks/>
            </p:cNvSpPr>
            <p:nvPr/>
          </p:nvSpPr>
          <p:spPr bwMode="auto">
            <a:xfrm>
              <a:off x="8095190" y="5604331"/>
              <a:ext cx="103837" cy="260799"/>
            </a:xfrm>
            <a:custGeom>
              <a:avLst/>
              <a:gdLst>
                <a:gd name="T0" fmla="*/ 0 w 29"/>
                <a:gd name="T1" fmla="*/ 55 h 73"/>
                <a:gd name="T2" fmla="*/ 15 w 29"/>
                <a:gd name="T3" fmla="*/ 70 h 73"/>
                <a:gd name="T4" fmla="*/ 15 w 29"/>
                <a:gd name="T5" fmla="*/ 70 h 73"/>
                <a:gd name="T6" fmla="*/ 29 w 29"/>
                <a:gd name="T7" fmla="*/ 65 h 73"/>
                <a:gd name="T8" fmla="*/ 29 w 29"/>
                <a:gd name="T9" fmla="*/ 8 h 73"/>
                <a:gd name="T10" fmla="*/ 15 w 29"/>
                <a:gd name="T11" fmla="*/ 3 h 73"/>
                <a:gd name="T12" fmla="*/ 15 w 29"/>
                <a:gd name="T13" fmla="*/ 3 h 73"/>
                <a:gd name="T14" fmla="*/ 0 w 29"/>
                <a:gd name="T15" fmla="*/ 18 h 73"/>
                <a:gd name="T16" fmla="*/ 0 w 29"/>
                <a:gd name="T17"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3">
                  <a:moveTo>
                    <a:pt x="0" y="55"/>
                  </a:moveTo>
                  <a:cubicBezTo>
                    <a:pt x="0" y="63"/>
                    <a:pt x="6" y="70"/>
                    <a:pt x="15" y="70"/>
                  </a:cubicBezTo>
                  <a:cubicBezTo>
                    <a:pt x="15" y="70"/>
                    <a:pt x="15" y="70"/>
                    <a:pt x="15" y="70"/>
                  </a:cubicBezTo>
                  <a:cubicBezTo>
                    <a:pt x="23" y="70"/>
                    <a:pt x="29" y="73"/>
                    <a:pt x="29" y="65"/>
                  </a:cubicBezTo>
                  <a:cubicBezTo>
                    <a:pt x="29" y="8"/>
                    <a:pt x="29" y="8"/>
                    <a:pt x="29" y="8"/>
                  </a:cubicBezTo>
                  <a:cubicBezTo>
                    <a:pt x="29" y="0"/>
                    <a:pt x="23" y="3"/>
                    <a:pt x="15" y="3"/>
                  </a:cubicBezTo>
                  <a:cubicBezTo>
                    <a:pt x="15" y="3"/>
                    <a:pt x="15" y="3"/>
                    <a:pt x="15" y="3"/>
                  </a:cubicBezTo>
                  <a:cubicBezTo>
                    <a:pt x="6" y="3"/>
                    <a:pt x="0" y="9"/>
                    <a:pt x="0" y="18"/>
                  </a:cubicBezTo>
                  <a:lnTo>
                    <a:pt x="0" y="55"/>
                  </a:ln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12" name="Freeform 163"/>
            <p:cNvSpPr>
              <a:spLocks/>
            </p:cNvSpPr>
            <p:nvPr/>
          </p:nvSpPr>
          <p:spPr bwMode="auto">
            <a:xfrm>
              <a:off x="8180916" y="5518606"/>
              <a:ext cx="49503" cy="42260"/>
            </a:xfrm>
            <a:custGeom>
              <a:avLst/>
              <a:gdLst>
                <a:gd name="T0" fmla="*/ 11 w 14"/>
                <a:gd name="T1" fmla="*/ 0 h 12"/>
                <a:gd name="T2" fmla="*/ 14 w 14"/>
                <a:gd name="T3" fmla="*/ 3 h 12"/>
                <a:gd name="T4" fmla="*/ 9 w 14"/>
                <a:gd name="T5" fmla="*/ 8 h 12"/>
                <a:gd name="T6" fmla="*/ 0 w 14"/>
                <a:gd name="T7" fmla="*/ 11 h 12"/>
                <a:gd name="T8" fmla="*/ 11 w 14"/>
                <a:gd name="T9" fmla="*/ 0 h 12"/>
              </a:gdLst>
              <a:ahLst/>
              <a:cxnLst>
                <a:cxn ang="0">
                  <a:pos x="T0" y="T1"/>
                </a:cxn>
                <a:cxn ang="0">
                  <a:pos x="T2" y="T3"/>
                </a:cxn>
                <a:cxn ang="0">
                  <a:pos x="T4" y="T5"/>
                </a:cxn>
                <a:cxn ang="0">
                  <a:pos x="T6" y="T7"/>
                </a:cxn>
                <a:cxn ang="0">
                  <a:pos x="T8" y="T9"/>
                </a:cxn>
              </a:cxnLst>
              <a:rect l="0" t="0" r="r" b="b"/>
              <a:pathLst>
                <a:path w="14" h="12">
                  <a:moveTo>
                    <a:pt x="11" y="0"/>
                  </a:moveTo>
                  <a:cubicBezTo>
                    <a:pt x="14" y="3"/>
                    <a:pt x="14" y="3"/>
                    <a:pt x="14" y="3"/>
                  </a:cubicBezTo>
                  <a:cubicBezTo>
                    <a:pt x="9" y="8"/>
                    <a:pt x="9" y="8"/>
                    <a:pt x="9" y="8"/>
                  </a:cubicBezTo>
                  <a:cubicBezTo>
                    <a:pt x="7" y="11"/>
                    <a:pt x="3" y="12"/>
                    <a:pt x="0" y="11"/>
                  </a:cubicBezTo>
                  <a:lnTo>
                    <a:pt x="11" y="0"/>
                  </a:ln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13" name="Freeform 2012"/>
            <p:cNvSpPr>
              <a:spLocks/>
            </p:cNvSpPr>
            <p:nvPr/>
          </p:nvSpPr>
          <p:spPr bwMode="auto">
            <a:xfrm>
              <a:off x="8162805" y="5783027"/>
              <a:ext cx="171450" cy="429904"/>
            </a:xfrm>
            <a:custGeom>
              <a:avLst/>
              <a:gdLst>
                <a:gd name="connsiteX0" fmla="*/ 0 w 225425"/>
                <a:gd name="connsiteY0" fmla="*/ 0 h 565240"/>
                <a:gd name="connsiteX1" fmla="*/ 225425 w 225425"/>
                <a:gd name="connsiteY1" fmla="*/ 296863 h 565240"/>
                <a:gd name="connsiteX2" fmla="*/ 90699 w 225425"/>
                <a:gd name="connsiteY2" fmla="*/ 553304 h 565240"/>
                <a:gd name="connsiteX3" fmla="*/ 69179 w 225425"/>
                <a:gd name="connsiteY3" fmla="*/ 565240 h 565240"/>
                <a:gd name="connsiteX4" fmla="*/ 42473 w 225425"/>
                <a:gd name="connsiteY4" fmla="*/ 540968 h 565240"/>
                <a:gd name="connsiteX5" fmla="*/ 0 w 225425"/>
                <a:gd name="connsiteY5" fmla="*/ 494237 h 56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425" h="565240">
                  <a:moveTo>
                    <a:pt x="0" y="0"/>
                  </a:moveTo>
                  <a:cubicBezTo>
                    <a:pt x="131498" y="37697"/>
                    <a:pt x="225425" y="155500"/>
                    <a:pt x="225425" y="296863"/>
                  </a:cubicBezTo>
                  <a:cubicBezTo>
                    <a:pt x="225425" y="402885"/>
                    <a:pt x="172591" y="498305"/>
                    <a:pt x="90699" y="553304"/>
                  </a:cubicBezTo>
                  <a:lnTo>
                    <a:pt x="69179" y="565240"/>
                  </a:lnTo>
                  <a:lnTo>
                    <a:pt x="42473" y="540968"/>
                  </a:lnTo>
                  <a:lnTo>
                    <a:pt x="0" y="494237"/>
                  </a:ln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noAutofit/>
            </a:bodyPr>
            <a:lstStyle/>
            <a:p>
              <a:pPr defTabSz="913874">
                <a:defRPr/>
              </a:pPr>
              <a:endParaRPr lang="en-US" sz="1765" kern="0" dirty="0">
                <a:solidFill>
                  <a:srgbClr val="505050"/>
                </a:solidFill>
              </a:endParaRPr>
            </a:p>
          </p:txBody>
        </p:sp>
        <p:grpSp>
          <p:nvGrpSpPr>
            <p:cNvPr id="2014" name="Group 2013"/>
            <p:cNvGrpSpPr/>
            <p:nvPr/>
          </p:nvGrpSpPr>
          <p:grpSpPr>
            <a:xfrm>
              <a:off x="8713379" y="5657457"/>
              <a:ext cx="873229" cy="702281"/>
              <a:chOff x="4665703" y="6298070"/>
              <a:chExt cx="594442" cy="478071"/>
            </a:xfrm>
            <a:solidFill>
              <a:srgbClr val="FFFFFF">
                <a:lumMod val="65000"/>
              </a:srgbClr>
            </a:solidFill>
          </p:grpSpPr>
          <p:sp>
            <p:nvSpPr>
              <p:cNvPr id="2016" name="Freeform 166"/>
              <p:cNvSpPr>
                <a:spLocks/>
              </p:cNvSpPr>
              <p:nvPr/>
            </p:nvSpPr>
            <p:spPr bwMode="auto">
              <a:xfrm>
                <a:off x="4665703" y="6298070"/>
                <a:ext cx="189865" cy="188221"/>
              </a:xfrm>
              <a:custGeom>
                <a:avLst/>
                <a:gdLst>
                  <a:gd name="T0" fmla="*/ 78 w 78"/>
                  <a:gd name="T1" fmla="*/ 60 h 77"/>
                  <a:gd name="T2" fmla="*/ 23 w 78"/>
                  <a:gd name="T3" fmla="*/ 5 h 77"/>
                  <a:gd name="T4" fmla="*/ 5 w 78"/>
                  <a:gd name="T5" fmla="*/ 5 h 77"/>
                  <a:gd name="T6" fmla="*/ 5 w 78"/>
                  <a:gd name="T7" fmla="*/ 22 h 77"/>
                  <a:gd name="T8" fmla="*/ 60 w 78"/>
                  <a:gd name="T9" fmla="*/ 77 h 77"/>
                  <a:gd name="T10" fmla="*/ 78 w 78"/>
                  <a:gd name="T11" fmla="*/ 60 h 77"/>
                </a:gdLst>
                <a:ahLst/>
                <a:cxnLst>
                  <a:cxn ang="0">
                    <a:pos x="T0" y="T1"/>
                  </a:cxn>
                  <a:cxn ang="0">
                    <a:pos x="T2" y="T3"/>
                  </a:cxn>
                  <a:cxn ang="0">
                    <a:pos x="T4" y="T5"/>
                  </a:cxn>
                  <a:cxn ang="0">
                    <a:pos x="T6" y="T7"/>
                  </a:cxn>
                  <a:cxn ang="0">
                    <a:pos x="T8" y="T9"/>
                  </a:cxn>
                  <a:cxn ang="0">
                    <a:pos x="T10" y="T11"/>
                  </a:cxn>
                </a:cxnLst>
                <a:rect l="0" t="0" r="r" b="b"/>
                <a:pathLst>
                  <a:path w="78" h="77">
                    <a:moveTo>
                      <a:pt x="78" y="60"/>
                    </a:moveTo>
                    <a:cubicBezTo>
                      <a:pt x="23" y="5"/>
                      <a:pt x="23" y="5"/>
                      <a:pt x="23" y="5"/>
                    </a:cubicBezTo>
                    <a:cubicBezTo>
                      <a:pt x="18" y="0"/>
                      <a:pt x="10" y="0"/>
                      <a:pt x="5" y="5"/>
                    </a:cubicBezTo>
                    <a:cubicBezTo>
                      <a:pt x="0" y="10"/>
                      <a:pt x="0" y="17"/>
                      <a:pt x="5" y="22"/>
                    </a:cubicBezTo>
                    <a:cubicBezTo>
                      <a:pt x="60" y="77"/>
                      <a:pt x="60" y="77"/>
                      <a:pt x="60" y="77"/>
                    </a:cubicBezTo>
                    <a:lnTo>
                      <a:pt x="78" y="60"/>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17" name="Freeform 178"/>
              <p:cNvSpPr>
                <a:spLocks/>
              </p:cNvSpPr>
              <p:nvPr/>
            </p:nvSpPr>
            <p:spPr bwMode="auto">
              <a:xfrm>
                <a:off x="4804609" y="6347386"/>
                <a:ext cx="327949" cy="323839"/>
              </a:xfrm>
              <a:custGeom>
                <a:avLst/>
                <a:gdLst>
                  <a:gd name="T0" fmla="*/ 233 w 399"/>
                  <a:gd name="T1" fmla="*/ 394 h 394"/>
                  <a:gd name="T2" fmla="*/ 399 w 399"/>
                  <a:gd name="T3" fmla="*/ 287 h 394"/>
                  <a:gd name="T4" fmla="*/ 254 w 399"/>
                  <a:gd name="T5" fmla="*/ 0 h 394"/>
                  <a:gd name="T6" fmla="*/ 198 w 399"/>
                  <a:gd name="T7" fmla="*/ 47 h 394"/>
                  <a:gd name="T8" fmla="*/ 130 w 399"/>
                  <a:gd name="T9" fmla="*/ 83 h 394"/>
                  <a:gd name="T10" fmla="*/ 56 w 399"/>
                  <a:gd name="T11" fmla="*/ 112 h 394"/>
                  <a:gd name="T12" fmla="*/ 0 w 399"/>
                  <a:gd name="T13" fmla="*/ 160 h 394"/>
                  <a:gd name="T14" fmla="*/ 233 w 399"/>
                  <a:gd name="T15" fmla="*/ 394 h 3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9" h="394">
                    <a:moveTo>
                      <a:pt x="233" y="394"/>
                    </a:moveTo>
                    <a:lnTo>
                      <a:pt x="399" y="287"/>
                    </a:lnTo>
                    <a:lnTo>
                      <a:pt x="254" y="0"/>
                    </a:lnTo>
                    <a:lnTo>
                      <a:pt x="198" y="47"/>
                    </a:lnTo>
                    <a:lnTo>
                      <a:pt x="130" y="83"/>
                    </a:lnTo>
                    <a:lnTo>
                      <a:pt x="56" y="112"/>
                    </a:lnTo>
                    <a:lnTo>
                      <a:pt x="0" y="160"/>
                    </a:lnTo>
                    <a:lnTo>
                      <a:pt x="233" y="394"/>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18" name="Freeform 179"/>
              <p:cNvSpPr>
                <a:spLocks/>
              </p:cNvSpPr>
              <p:nvPr/>
            </p:nvSpPr>
            <p:spPr bwMode="auto">
              <a:xfrm>
                <a:off x="4843239" y="6388482"/>
                <a:ext cx="70686" cy="70686"/>
              </a:xfrm>
              <a:custGeom>
                <a:avLst/>
                <a:gdLst>
                  <a:gd name="T0" fmla="*/ 29 w 29"/>
                  <a:gd name="T1" fmla="*/ 12 h 29"/>
                  <a:gd name="T2" fmla="*/ 22 w 29"/>
                  <a:gd name="T3" fmla="*/ 5 h 29"/>
                  <a:gd name="T4" fmla="*/ 5 w 29"/>
                  <a:gd name="T5" fmla="*/ 5 h 29"/>
                  <a:gd name="T6" fmla="*/ 5 w 29"/>
                  <a:gd name="T7" fmla="*/ 23 h 29"/>
                  <a:gd name="T8" fmla="*/ 11 w 29"/>
                  <a:gd name="T9" fmla="*/ 29 h 29"/>
                  <a:gd name="T10" fmla="*/ 29 w 29"/>
                  <a:gd name="T11" fmla="*/ 12 h 29"/>
                </a:gdLst>
                <a:ahLst/>
                <a:cxnLst>
                  <a:cxn ang="0">
                    <a:pos x="T0" y="T1"/>
                  </a:cxn>
                  <a:cxn ang="0">
                    <a:pos x="T2" y="T3"/>
                  </a:cxn>
                  <a:cxn ang="0">
                    <a:pos x="T4" y="T5"/>
                  </a:cxn>
                  <a:cxn ang="0">
                    <a:pos x="T6" y="T7"/>
                  </a:cxn>
                  <a:cxn ang="0">
                    <a:pos x="T8" y="T9"/>
                  </a:cxn>
                  <a:cxn ang="0">
                    <a:pos x="T10" y="T11"/>
                  </a:cxn>
                </a:cxnLst>
                <a:rect l="0" t="0" r="r" b="b"/>
                <a:pathLst>
                  <a:path w="29" h="29">
                    <a:moveTo>
                      <a:pt x="29" y="12"/>
                    </a:moveTo>
                    <a:cubicBezTo>
                      <a:pt x="22" y="5"/>
                      <a:pt x="22" y="5"/>
                      <a:pt x="22" y="5"/>
                    </a:cubicBezTo>
                    <a:cubicBezTo>
                      <a:pt x="17" y="0"/>
                      <a:pt x="9" y="0"/>
                      <a:pt x="5" y="5"/>
                    </a:cubicBezTo>
                    <a:cubicBezTo>
                      <a:pt x="0" y="10"/>
                      <a:pt x="0" y="18"/>
                      <a:pt x="5" y="23"/>
                    </a:cubicBezTo>
                    <a:cubicBezTo>
                      <a:pt x="11" y="29"/>
                      <a:pt x="11" y="29"/>
                      <a:pt x="11" y="29"/>
                    </a:cubicBezTo>
                    <a:lnTo>
                      <a:pt x="29" y="12"/>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19" name="Freeform 180"/>
              <p:cNvSpPr>
                <a:spLocks/>
              </p:cNvSpPr>
              <p:nvPr/>
            </p:nvSpPr>
            <p:spPr bwMode="auto">
              <a:xfrm>
                <a:off x="4896665" y="6359714"/>
                <a:ext cx="70686" cy="70686"/>
              </a:xfrm>
              <a:custGeom>
                <a:avLst/>
                <a:gdLst>
                  <a:gd name="T0" fmla="*/ 29 w 29"/>
                  <a:gd name="T1" fmla="*/ 11 h 29"/>
                  <a:gd name="T2" fmla="*/ 22 w 29"/>
                  <a:gd name="T3" fmla="*/ 4 h 29"/>
                  <a:gd name="T4" fmla="*/ 5 w 29"/>
                  <a:gd name="T5" fmla="*/ 4 h 29"/>
                  <a:gd name="T6" fmla="*/ 5 w 29"/>
                  <a:gd name="T7" fmla="*/ 22 h 29"/>
                  <a:gd name="T8" fmla="*/ 12 w 29"/>
                  <a:gd name="T9" fmla="*/ 29 h 29"/>
                  <a:gd name="T10" fmla="*/ 29 w 29"/>
                  <a:gd name="T11" fmla="*/ 11 h 29"/>
                </a:gdLst>
                <a:ahLst/>
                <a:cxnLst>
                  <a:cxn ang="0">
                    <a:pos x="T0" y="T1"/>
                  </a:cxn>
                  <a:cxn ang="0">
                    <a:pos x="T2" y="T3"/>
                  </a:cxn>
                  <a:cxn ang="0">
                    <a:pos x="T4" y="T5"/>
                  </a:cxn>
                  <a:cxn ang="0">
                    <a:pos x="T6" y="T7"/>
                  </a:cxn>
                  <a:cxn ang="0">
                    <a:pos x="T8" y="T9"/>
                  </a:cxn>
                  <a:cxn ang="0">
                    <a:pos x="T10" y="T11"/>
                  </a:cxn>
                </a:cxnLst>
                <a:rect l="0" t="0" r="r" b="b"/>
                <a:pathLst>
                  <a:path w="29" h="29">
                    <a:moveTo>
                      <a:pt x="29" y="11"/>
                    </a:moveTo>
                    <a:cubicBezTo>
                      <a:pt x="22" y="4"/>
                      <a:pt x="22" y="4"/>
                      <a:pt x="22" y="4"/>
                    </a:cubicBezTo>
                    <a:cubicBezTo>
                      <a:pt x="18" y="0"/>
                      <a:pt x="10" y="0"/>
                      <a:pt x="5" y="4"/>
                    </a:cubicBezTo>
                    <a:cubicBezTo>
                      <a:pt x="0" y="9"/>
                      <a:pt x="0" y="17"/>
                      <a:pt x="5" y="22"/>
                    </a:cubicBezTo>
                    <a:cubicBezTo>
                      <a:pt x="12" y="29"/>
                      <a:pt x="12" y="29"/>
                      <a:pt x="12" y="29"/>
                    </a:cubicBezTo>
                    <a:lnTo>
                      <a:pt x="29" y="11"/>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0" name="Freeform 181"/>
              <p:cNvSpPr>
                <a:spLocks/>
              </p:cNvSpPr>
              <p:nvPr/>
            </p:nvSpPr>
            <p:spPr bwMode="auto">
              <a:xfrm>
                <a:off x="4957487" y="6335056"/>
                <a:ext cx="58357" cy="70686"/>
              </a:xfrm>
              <a:custGeom>
                <a:avLst/>
                <a:gdLst>
                  <a:gd name="T0" fmla="*/ 24 w 24"/>
                  <a:gd name="T1" fmla="*/ 16 h 29"/>
                  <a:gd name="T2" fmla="*/ 23 w 24"/>
                  <a:gd name="T3" fmla="*/ 5 h 29"/>
                  <a:gd name="T4" fmla="*/ 5 w 24"/>
                  <a:gd name="T5" fmla="*/ 5 h 29"/>
                  <a:gd name="T6" fmla="*/ 5 w 24"/>
                  <a:gd name="T7" fmla="*/ 22 h 29"/>
                  <a:gd name="T8" fmla="*/ 12 w 24"/>
                  <a:gd name="T9" fmla="*/ 29 h 29"/>
                  <a:gd name="T10" fmla="*/ 24 w 24"/>
                  <a:gd name="T11" fmla="*/ 16 h 29"/>
                </a:gdLst>
                <a:ahLst/>
                <a:cxnLst>
                  <a:cxn ang="0">
                    <a:pos x="T0" y="T1"/>
                  </a:cxn>
                  <a:cxn ang="0">
                    <a:pos x="T2" y="T3"/>
                  </a:cxn>
                  <a:cxn ang="0">
                    <a:pos x="T4" y="T5"/>
                  </a:cxn>
                  <a:cxn ang="0">
                    <a:pos x="T6" y="T7"/>
                  </a:cxn>
                  <a:cxn ang="0">
                    <a:pos x="T8" y="T9"/>
                  </a:cxn>
                  <a:cxn ang="0">
                    <a:pos x="T10" y="T11"/>
                  </a:cxn>
                </a:cxnLst>
                <a:rect l="0" t="0" r="r" b="b"/>
                <a:pathLst>
                  <a:path w="24" h="29">
                    <a:moveTo>
                      <a:pt x="24" y="16"/>
                    </a:moveTo>
                    <a:cubicBezTo>
                      <a:pt x="23" y="5"/>
                      <a:pt x="23" y="5"/>
                      <a:pt x="23" y="5"/>
                    </a:cubicBezTo>
                    <a:cubicBezTo>
                      <a:pt x="18" y="0"/>
                      <a:pt x="10" y="0"/>
                      <a:pt x="5" y="5"/>
                    </a:cubicBezTo>
                    <a:cubicBezTo>
                      <a:pt x="0" y="9"/>
                      <a:pt x="0" y="17"/>
                      <a:pt x="5" y="22"/>
                    </a:cubicBezTo>
                    <a:cubicBezTo>
                      <a:pt x="12" y="29"/>
                      <a:pt x="12" y="29"/>
                      <a:pt x="12" y="29"/>
                    </a:cubicBezTo>
                    <a:lnTo>
                      <a:pt x="24" y="16"/>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1" name="Freeform 182"/>
              <p:cNvSpPr>
                <a:spLocks/>
              </p:cNvSpPr>
              <p:nvPr/>
            </p:nvSpPr>
            <p:spPr bwMode="auto">
              <a:xfrm>
                <a:off x="4809540" y="6501085"/>
                <a:ext cx="213701" cy="152878"/>
              </a:xfrm>
              <a:custGeom>
                <a:avLst/>
                <a:gdLst>
                  <a:gd name="T0" fmla="*/ 88 w 88"/>
                  <a:gd name="T1" fmla="*/ 63 h 63"/>
                  <a:gd name="T2" fmla="*/ 23 w 88"/>
                  <a:gd name="T3" fmla="*/ 40 h 63"/>
                  <a:gd name="T4" fmla="*/ 30 w 88"/>
                  <a:gd name="T5" fmla="*/ 0 h 63"/>
                  <a:gd name="T6" fmla="*/ 88 w 88"/>
                  <a:gd name="T7" fmla="*/ 63 h 63"/>
                </a:gdLst>
                <a:ahLst/>
                <a:cxnLst>
                  <a:cxn ang="0">
                    <a:pos x="T0" y="T1"/>
                  </a:cxn>
                  <a:cxn ang="0">
                    <a:pos x="T2" y="T3"/>
                  </a:cxn>
                  <a:cxn ang="0">
                    <a:pos x="T4" y="T5"/>
                  </a:cxn>
                  <a:cxn ang="0">
                    <a:pos x="T6" y="T7"/>
                  </a:cxn>
                </a:cxnLst>
                <a:rect l="0" t="0" r="r" b="b"/>
                <a:pathLst>
                  <a:path w="88" h="63">
                    <a:moveTo>
                      <a:pt x="88" y="63"/>
                    </a:moveTo>
                    <a:cubicBezTo>
                      <a:pt x="88" y="63"/>
                      <a:pt x="42" y="60"/>
                      <a:pt x="23" y="40"/>
                    </a:cubicBezTo>
                    <a:cubicBezTo>
                      <a:pt x="0" y="15"/>
                      <a:pt x="30" y="0"/>
                      <a:pt x="30" y="0"/>
                    </a:cubicBezTo>
                    <a:lnTo>
                      <a:pt x="88" y="63"/>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2" name="Freeform 183"/>
              <p:cNvSpPr>
                <a:spLocks/>
              </p:cNvSpPr>
              <p:nvPr/>
            </p:nvSpPr>
            <p:spPr bwMode="auto">
              <a:xfrm>
                <a:off x="4794746" y="6486291"/>
                <a:ext cx="119180" cy="124111"/>
              </a:xfrm>
              <a:custGeom>
                <a:avLst/>
                <a:gdLst>
                  <a:gd name="T0" fmla="*/ 45 w 49"/>
                  <a:gd name="T1" fmla="*/ 32 h 51"/>
                  <a:gd name="T2" fmla="*/ 44 w 49"/>
                  <a:gd name="T3" fmla="*/ 47 h 51"/>
                  <a:gd name="T4" fmla="*/ 44 w 49"/>
                  <a:gd name="T5" fmla="*/ 47 h 51"/>
                  <a:gd name="T6" fmla="*/ 29 w 49"/>
                  <a:gd name="T7" fmla="*/ 46 h 51"/>
                  <a:gd name="T8" fmla="*/ 4 w 49"/>
                  <a:gd name="T9" fmla="*/ 19 h 51"/>
                  <a:gd name="T10" fmla="*/ 5 w 49"/>
                  <a:gd name="T11" fmla="*/ 4 h 51"/>
                  <a:gd name="T12" fmla="*/ 5 w 49"/>
                  <a:gd name="T13" fmla="*/ 4 h 51"/>
                  <a:gd name="T14" fmla="*/ 20 w 49"/>
                  <a:gd name="T15" fmla="*/ 5 h 51"/>
                  <a:gd name="T16" fmla="*/ 45 w 49"/>
                  <a:gd name="T17"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1">
                    <a:moveTo>
                      <a:pt x="45" y="32"/>
                    </a:moveTo>
                    <a:cubicBezTo>
                      <a:pt x="49" y="36"/>
                      <a:pt x="49" y="43"/>
                      <a:pt x="44" y="47"/>
                    </a:cubicBezTo>
                    <a:cubicBezTo>
                      <a:pt x="44" y="47"/>
                      <a:pt x="44" y="47"/>
                      <a:pt x="44" y="47"/>
                    </a:cubicBezTo>
                    <a:cubicBezTo>
                      <a:pt x="40" y="51"/>
                      <a:pt x="33" y="50"/>
                      <a:pt x="29" y="46"/>
                    </a:cubicBezTo>
                    <a:cubicBezTo>
                      <a:pt x="4" y="19"/>
                      <a:pt x="4" y="19"/>
                      <a:pt x="4" y="19"/>
                    </a:cubicBezTo>
                    <a:cubicBezTo>
                      <a:pt x="0" y="15"/>
                      <a:pt x="1" y="8"/>
                      <a:pt x="5" y="4"/>
                    </a:cubicBezTo>
                    <a:cubicBezTo>
                      <a:pt x="5" y="4"/>
                      <a:pt x="5" y="4"/>
                      <a:pt x="5" y="4"/>
                    </a:cubicBezTo>
                    <a:cubicBezTo>
                      <a:pt x="9" y="0"/>
                      <a:pt x="16" y="1"/>
                      <a:pt x="20" y="5"/>
                    </a:cubicBezTo>
                    <a:lnTo>
                      <a:pt x="45" y="32"/>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3" name="Freeform 184"/>
              <p:cNvSpPr>
                <a:spLocks/>
              </p:cNvSpPr>
              <p:nvPr/>
            </p:nvSpPr>
            <p:spPr bwMode="auto">
              <a:xfrm>
                <a:off x="4804609" y="6478894"/>
                <a:ext cx="67398" cy="78083"/>
              </a:xfrm>
              <a:custGeom>
                <a:avLst/>
                <a:gdLst>
                  <a:gd name="T0" fmla="*/ 10 w 28"/>
                  <a:gd name="T1" fmla="*/ 27 h 32"/>
                  <a:gd name="T2" fmla="*/ 9 w 28"/>
                  <a:gd name="T3" fmla="*/ 9 h 32"/>
                  <a:gd name="T4" fmla="*/ 28 w 28"/>
                  <a:gd name="T5" fmla="*/ 18 h 32"/>
                  <a:gd name="T6" fmla="*/ 21 w 28"/>
                  <a:gd name="T7" fmla="*/ 32 h 32"/>
                  <a:gd name="T8" fmla="*/ 10 w 28"/>
                  <a:gd name="T9" fmla="*/ 27 h 32"/>
                </a:gdLst>
                <a:ahLst/>
                <a:cxnLst>
                  <a:cxn ang="0">
                    <a:pos x="T0" y="T1"/>
                  </a:cxn>
                  <a:cxn ang="0">
                    <a:pos x="T2" y="T3"/>
                  </a:cxn>
                  <a:cxn ang="0">
                    <a:pos x="T4" y="T5"/>
                  </a:cxn>
                  <a:cxn ang="0">
                    <a:pos x="T6" y="T7"/>
                  </a:cxn>
                  <a:cxn ang="0">
                    <a:pos x="T8" y="T9"/>
                  </a:cxn>
                </a:cxnLst>
                <a:rect l="0" t="0" r="r" b="b"/>
                <a:pathLst>
                  <a:path w="28" h="32">
                    <a:moveTo>
                      <a:pt x="10" y="27"/>
                    </a:moveTo>
                    <a:cubicBezTo>
                      <a:pt x="10" y="27"/>
                      <a:pt x="18" y="18"/>
                      <a:pt x="9" y="9"/>
                    </a:cubicBezTo>
                    <a:cubicBezTo>
                      <a:pt x="0" y="0"/>
                      <a:pt x="28" y="18"/>
                      <a:pt x="28" y="18"/>
                    </a:cubicBezTo>
                    <a:cubicBezTo>
                      <a:pt x="21" y="32"/>
                      <a:pt x="21" y="32"/>
                      <a:pt x="21" y="32"/>
                    </a:cubicBezTo>
                    <a:lnTo>
                      <a:pt x="10" y="27"/>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4" name="Freeform 185"/>
              <p:cNvSpPr>
                <a:spLocks/>
              </p:cNvSpPr>
              <p:nvPr/>
            </p:nvSpPr>
            <p:spPr bwMode="auto">
              <a:xfrm>
                <a:off x="4728992" y="6456701"/>
                <a:ext cx="126577" cy="87946"/>
              </a:xfrm>
              <a:custGeom>
                <a:avLst/>
                <a:gdLst>
                  <a:gd name="T0" fmla="*/ 5 w 52"/>
                  <a:gd name="T1" fmla="*/ 7 h 36"/>
                  <a:gd name="T2" fmla="*/ 0 w 52"/>
                  <a:gd name="T3" fmla="*/ 16 h 36"/>
                  <a:gd name="T4" fmla="*/ 9 w 52"/>
                  <a:gd name="T5" fmla="*/ 21 h 36"/>
                  <a:gd name="T6" fmla="*/ 36 w 52"/>
                  <a:gd name="T7" fmla="*/ 34 h 36"/>
                  <a:gd name="T8" fmla="*/ 50 w 52"/>
                  <a:gd name="T9" fmla="*/ 29 h 36"/>
                  <a:gd name="T10" fmla="*/ 45 w 52"/>
                  <a:gd name="T11" fmla="*/ 16 h 36"/>
                  <a:gd name="T12" fmla="*/ 18 w 52"/>
                  <a:gd name="T13" fmla="*/ 3 h 36"/>
                  <a:gd name="T14" fmla="*/ 5 w 52"/>
                  <a:gd name="T15" fmla="*/ 7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6">
                    <a:moveTo>
                      <a:pt x="5" y="7"/>
                    </a:moveTo>
                    <a:cubicBezTo>
                      <a:pt x="0" y="16"/>
                      <a:pt x="0" y="16"/>
                      <a:pt x="0" y="16"/>
                    </a:cubicBezTo>
                    <a:cubicBezTo>
                      <a:pt x="9" y="21"/>
                      <a:pt x="9" y="21"/>
                      <a:pt x="9" y="21"/>
                    </a:cubicBezTo>
                    <a:cubicBezTo>
                      <a:pt x="36" y="34"/>
                      <a:pt x="36" y="34"/>
                      <a:pt x="36" y="34"/>
                    </a:cubicBezTo>
                    <a:cubicBezTo>
                      <a:pt x="41" y="36"/>
                      <a:pt x="47" y="34"/>
                      <a:pt x="50" y="29"/>
                    </a:cubicBezTo>
                    <a:cubicBezTo>
                      <a:pt x="52" y="25"/>
                      <a:pt x="50" y="19"/>
                      <a:pt x="45" y="16"/>
                    </a:cubicBezTo>
                    <a:cubicBezTo>
                      <a:pt x="18" y="3"/>
                      <a:pt x="18" y="3"/>
                      <a:pt x="18" y="3"/>
                    </a:cubicBezTo>
                    <a:cubicBezTo>
                      <a:pt x="13" y="0"/>
                      <a:pt x="7" y="2"/>
                      <a:pt x="5" y="7"/>
                    </a:cubicBez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5" name="Freeform 2024"/>
              <p:cNvSpPr>
                <a:spLocks/>
              </p:cNvSpPr>
              <p:nvPr/>
            </p:nvSpPr>
            <p:spPr bwMode="auto">
              <a:xfrm>
                <a:off x="4952556" y="6512592"/>
                <a:ext cx="307589" cy="263549"/>
              </a:xfrm>
              <a:custGeom>
                <a:avLst/>
                <a:gdLst>
                  <a:gd name="connsiteX0" fmla="*/ 268305 w 594088"/>
                  <a:gd name="connsiteY0" fmla="*/ 0 h 509028"/>
                  <a:gd name="connsiteX1" fmla="*/ 594088 w 594088"/>
                  <a:gd name="connsiteY1" fmla="*/ 253686 h 509028"/>
                  <a:gd name="connsiteX2" fmla="*/ 559511 w 594088"/>
                  <a:gd name="connsiteY2" fmla="*/ 291732 h 509028"/>
                  <a:gd name="connsiteX3" fmla="*/ 371666 w 594088"/>
                  <a:gd name="connsiteY3" fmla="*/ 446717 h 509028"/>
                  <a:gd name="connsiteX4" fmla="*/ 269099 w 594088"/>
                  <a:gd name="connsiteY4" fmla="*/ 509028 h 509028"/>
                  <a:gd name="connsiteX5" fmla="*/ 0 w 594088"/>
                  <a:gd name="connsiteY5" fmla="*/ 222266 h 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4088" h="509028">
                    <a:moveTo>
                      <a:pt x="268305" y="0"/>
                    </a:moveTo>
                    <a:lnTo>
                      <a:pt x="594088" y="253686"/>
                    </a:lnTo>
                    <a:lnTo>
                      <a:pt x="559511" y="291732"/>
                    </a:lnTo>
                    <a:cubicBezTo>
                      <a:pt x="502089" y="349153"/>
                      <a:pt x="439190" y="401099"/>
                      <a:pt x="371666" y="446717"/>
                    </a:cubicBezTo>
                    <a:lnTo>
                      <a:pt x="269099" y="509028"/>
                    </a:lnTo>
                    <a:lnTo>
                      <a:pt x="0" y="222266"/>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grpSp>
        <p:sp>
          <p:nvSpPr>
            <p:cNvPr id="2015" name="Oval 2014"/>
            <p:cNvSpPr/>
            <p:nvPr/>
          </p:nvSpPr>
          <p:spPr>
            <a:xfrm>
              <a:off x="7933572" y="4542064"/>
              <a:ext cx="1940798" cy="1940798"/>
            </a:xfrm>
            <a:prstGeom prst="ellipse">
              <a:avLst/>
            </a:prstGeom>
            <a:noFill/>
            <a:ln w="19050" cap="flat" cmpd="sng" algn="ctr">
              <a:solidFill>
                <a:srgbClr val="0072C6"/>
              </a:solidFill>
              <a:prstDash val="solid"/>
            </a:ln>
            <a:effectLst/>
          </p:spPr>
          <p:txBody>
            <a:bodyPr rot="0" spcFirstLastPara="0" vertOverflow="overflow" horzOverflow="overflow" vert="horz" wrap="square" lIns="89604" tIns="89604" rIns="89604" bIns="89604" numCol="1" spcCol="0" rtlCol="0" fromWordArt="0" anchor="ctr" anchorCtr="0" forceAA="0" compatLnSpc="1">
              <a:prstTxWarp prst="textNoShape">
                <a:avLst/>
              </a:prstTxWarp>
              <a:noAutofit/>
            </a:bodyPr>
            <a:lstStyle/>
            <a:p>
              <a:pPr algn="ctr" defTabSz="913874">
                <a:defRPr/>
              </a:pPr>
              <a:endParaRPr lang="en-US" sz="1567" kern="0" dirty="0">
                <a:solidFill>
                  <a:srgbClr val="0072C6"/>
                </a:solidFill>
                <a:latin typeface="Segoe UI Semibold" panose="020B0702040204020203" pitchFamily="34" charset="0"/>
                <a:cs typeface="Segoe UI Semibold" panose="020B0702040204020203" pitchFamily="34" charset="0"/>
              </a:endParaRPr>
            </a:p>
          </p:txBody>
        </p:sp>
        <p:sp>
          <p:nvSpPr>
            <p:cNvPr id="2758" name="Oval 2757"/>
            <p:cNvSpPr/>
            <p:nvPr/>
          </p:nvSpPr>
          <p:spPr bwMode="auto">
            <a:xfrm>
              <a:off x="8846820" y="5243182"/>
              <a:ext cx="154940" cy="1549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31" name="Oval 2330"/>
            <p:cNvSpPr/>
            <p:nvPr/>
          </p:nvSpPr>
          <p:spPr bwMode="auto">
            <a:xfrm>
              <a:off x="8846820" y="5451462"/>
              <a:ext cx="154940" cy="1549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65" name="Group 1964"/>
          <p:cNvGrpSpPr/>
          <p:nvPr/>
        </p:nvGrpSpPr>
        <p:grpSpPr>
          <a:xfrm>
            <a:off x="6153259" y="4221359"/>
            <a:ext cx="537699" cy="537699"/>
            <a:chOff x="3375363" y="5849391"/>
            <a:chExt cx="204644" cy="204644"/>
          </a:xfrm>
        </p:grpSpPr>
        <p:sp>
          <p:nvSpPr>
            <p:cNvPr id="1997" name="Oval 1996"/>
            <p:cNvSpPr/>
            <p:nvPr/>
          </p:nvSpPr>
          <p:spPr bwMode="auto">
            <a:xfrm>
              <a:off x="3375363" y="5849391"/>
              <a:ext cx="204644" cy="204644"/>
            </a:xfrm>
            <a:prstGeom prst="ellipse">
              <a:avLst/>
            </a:prstGeom>
            <a:solidFill>
              <a:srgbClr val="FFFFFF"/>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98" name="Group 1997"/>
            <p:cNvGrpSpPr/>
            <p:nvPr/>
          </p:nvGrpSpPr>
          <p:grpSpPr>
            <a:xfrm>
              <a:off x="3424195" y="5897768"/>
              <a:ext cx="108249" cy="95465"/>
              <a:chOff x="3424195" y="5897768"/>
              <a:chExt cx="108249" cy="95465"/>
            </a:xfrm>
          </p:grpSpPr>
          <p:sp>
            <p:nvSpPr>
              <p:cNvPr id="1999" name="Freeform 132"/>
              <p:cNvSpPr>
                <a:spLocks/>
              </p:cNvSpPr>
              <p:nvPr/>
            </p:nvSpPr>
            <p:spPr bwMode="auto">
              <a:xfrm>
                <a:off x="3483807" y="5959138"/>
                <a:ext cx="18078" cy="34095"/>
              </a:xfrm>
              <a:custGeom>
                <a:avLst/>
                <a:gdLst>
                  <a:gd name="T0" fmla="*/ 0 w 24"/>
                  <a:gd name="T1" fmla="*/ 0 h 70"/>
                  <a:gd name="T2" fmla="*/ 0 w 24"/>
                  <a:gd name="T3" fmla="*/ 14 h 70"/>
                  <a:gd name="T4" fmla="*/ 0 w 24"/>
                  <a:gd name="T5" fmla="*/ 70 h 70"/>
                  <a:gd name="T6" fmla="*/ 24 w 24"/>
                  <a:gd name="T7" fmla="*/ 70 h 70"/>
                  <a:gd name="T8" fmla="*/ 24 w 24"/>
                  <a:gd name="T9" fmla="*/ 2 h 70"/>
                  <a:gd name="T10" fmla="*/ 24 w 24"/>
                  <a:gd name="T11" fmla="*/ 0 h 70"/>
                  <a:gd name="T12" fmla="*/ 0 w 2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24" h="70">
                    <a:moveTo>
                      <a:pt x="0" y="0"/>
                    </a:moveTo>
                    <a:lnTo>
                      <a:pt x="0" y="14"/>
                    </a:lnTo>
                    <a:lnTo>
                      <a:pt x="0" y="70"/>
                    </a:lnTo>
                    <a:lnTo>
                      <a:pt x="24" y="70"/>
                    </a:lnTo>
                    <a:lnTo>
                      <a:pt x="24" y="2"/>
                    </a:lnTo>
                    <a:lnTo>
                      <a:pt x="24" y="0"/>
                    </a:lnTo>
                    <a:lnTo>
                      <a:pt x="0" y="0"/>
                    </a:lnTo>
                    <a:close/>
                  </a:path>
                </a:pathLst>
              </a:custGeom>
              <a:solidFill>
                <a:srgbClr val="0072C6"/>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00" name="Freeform 134"/>
              <p:cNvSpPr>
                <a:spLocks/>
              </p:cNvSpPr>
              <p:nvPr/>
            </p:nvSpPr>
            <p:spPr bwMode="auto">
              <a:xfrm>
                <a:off x="3514366" y="5897768"/>
                <a:ext cx="18078" cy="95465"/>
              </a:xfrm>
              <a:custGeom>
                <a:avLst/>
                <a:gdLst>
                  <a:gd name="T0" fmla="*/ 0 w 24"/>
                  <a:gd name="T1" fmla="*/ 0 h 196"/>
                  <a:gd name="T2" fmla="*/ 0 w 24"/>
                  <a:gd name="T3" fmla="*/ 114 h 196"/>
                  <a:gd name="T4" fmla="*/ 0 w 24"/>
                  <a:gd name="T5" fmla="*/ 196 h 196"/>
                  <a:gd name="T6" fmla="*/ 24 w 24"/>
                  <a:gd name="T7" fmla="*/ 196 h 196"/>
                  <a:gd name="T8" fmla="*/ 24 w 24"/>
                  <a:gd name="T9" fmla="*/ 105 h 196"/>
                  <a:gd name="T10" fmla="*/ 24 w 24"/>
                  <a:gd name="T11" fmla="*/ 0 h 196"/>
                  <a:gd name="T12" fmla="*/ 0 w 24"/>
                  <a:gd name="T13" fmla="*/ 0 h 196"/>
                </a:gdLst>
                <a:ahLst/>
                <a:cxnLst>
                  <a:cxn ang="0">
                    <a:pos x="T0" y="T1"/>
                  </a:cxn>
                  <a:cxn ang="0">
                    <a:pos x="T2" y="T3"/>
                  </a:cxn>
                  <a:cxn ang="0">
                    <a:pos x="T4" y="T5"/>
                  </a:cxn>
                  <a:cxn ang="0">
                    <a:pos x="T6" y="T7"/>
                  </a:cxn>
                  <a:cxn ang="0">
                    <a:pos x="T8" y="T9"/>
                  </a:cxn>
                  <a:cxn ang="0">
                    <a:pos x="T10" y="T11"/>
                  </a:cxn>
                  <a:cxn ang="0">
                    <a:pos x="T12" y="T13"/>
                  </a:cxn>
                </a:cxnLst>
                <a:rect l="0" t="0" r="r" b="b"/>
                <a:pathLst>
                  <a:path w="24" h="196">
                    <a:moveTo>
                      <a:pt x="0" y="0"/>
                    </a:moveTo>
                    <a:lnTo>
                      <a:pt x="0" y="114"/>
                    </a:lnTo>
                    <a:lnTo>
                      <a:pt x="0" y="196"/>
                    </a:lnTo>
                    <a:lnTo>
                      <a:pt x="24" y="196"/>
                    </a:lnTo>
                    <a:lnTo>
                      <a:pt x="24" y="105"/>
                    </a:lnTo>
                    <a:lnTo>
                      <a:pt x="24" y="0"/>
                    </a:lnTo>
                    <a:lnTo>
                      <a:pt x="0" y="0"/>
                    </a:lnTo>
                    <a:close/>
                  </a:path>
                </a:pathLst>
              </a:custGeom>
              <a:solidFill>
                <a:srgbClr val="0072C6"/>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01" name="Freeform 136"/>
              <p:cNvSpPr>
                <a:spLocks/>
              </p:cNvSpPr>
              <p:nvPr/>
            </p:nvSpPr>
            <p:spPr bwMode="auto">
              <a:xfrm>
                <a:off x="3424195" y="5960113"/>
                <a:ext cx="17325" cy="33120"/>
              </a:xfrm>
              <a:custGeom>
                <a:avLst/>
                <a:gdLst>
                  <a:gd name="T0" fmla="*/ 0 w 23"/>
                  <a:gd name="T1" fmla="*/ 0 h 68"/>
                  <a:gd name="T2" fmla="*/ 0 w 23"/>
                  <a:gd name="T3" fmla="*/ 38 h 68"/>
                  <a:gd name="T4" fmla="*/ 0 w 23"/>
                  <a:gd name="T5" fmla="*/ 68 h 68"/>
                  <a:gd name="T6" fmla="*/ 23 w 23"/>
                  <a:gd name="T7" fmla="*/ 68 h 68"/>
                  <a:gd name="T8" fmla="*/ 23 w 23"/>
                  <a:gd name="T9" fmla="*/ 26 h 68"/>
                  <a:gd name="T10" fmla="*/ 23 w 23"/>
                  <a:gd name="T11" fmla="*/ 0 h 68"/>
                  <a:gd name="T12" fmla="*/ 0 w 23"/>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3" h="68">
                    <a:moveTo>
                      <a:pt x="0" y="0"/>
                    </a:moveTo>
                    <a:lnTo>
                      <a:pt x="0" y="38"/>
                    </a:lnTo>
                    <a:lnTo>
                      <a:pt x="0" y="68"/>
                    </a:lnTo>
                    <a:lnTo>
                      <a:pt x="23" y="68"/>
                    </a:lnTo>
                    <a:lnTo>
                      <a:pt x="23" y="26"/>
                    </a:lnTo>
                    <a:lnTo>
                      <a:pt x="23" y="0"/>
                    </a:lnTo>
                    <a:lnTo>
                      <a:pt x="0" y="0"/>
                    </a:lnTo>
                    <a:close/>
                  </a:path>
                </a:pathLst>
              </a:custGeom>
              <a:solidFill>
                <a:srgbClr val="0072C6"/>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02" name="Freeform 137"/>
              <p:cNvSpPr>
                <a:spLocks/>
              </p:cNvSpPr>
              <p:nvPr/>
            </p:nvSpPr>
            <p:spPr bwMode="auto">
              <a:xfrm>
                <a:off x="3454001" y="5924070"/>
                <a:ext cx="17325" cy="69163"/>
              </a:xfrm>
              <a:custGeom>
                <a:avLst/>
                <a:gdLst>
                  <a:gd name="T0" fmla="*/ 0 w 23"/>
                  <a:gd name="T1" fmla="*/ 0 h 142"/>
                  <a:gd name="T2" fmla="*/ 0 w 23"/>
                  <a:gd name="T3" fmla="*/ 107 h 142"/>
                  <a:gd name="T4" fmla="*/ 0 w 23"/>
                  <a:gd name="T5" fmla="*/ 142 h 142"/>
                  <a:gd name="T6" fmla="*/ 23 w 23"/>
                  <a:gd name="T7" fmla="*/ 142 h 142"/>
                  <a:gd name="T8" fmla="*/ 23 w 23"/>
                  <a:gd name="T9" fmla="*/ 98 h 142"/>
                  <a:gd name="T10" fmla="*/ 23 w 23"/>
                  <a:gd name="T11" fmla="*/ 0 h 142"/>
                  <a:gd name="T12" fmla="*/ 0 w 23"/>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23" h="142">
                    <a:moveTo>
                      <a:pt x="0" y="0"/>
                    </a:moveTo>
                    <a:lnTo>
                      <a:pt x="0" y="107"/>
                    </a:lnTo>
                    <a:lnTo>
                      <a:pt x="0" y="142"/>
                    </a:lnTo>
                    <a:lnTo>
                      <a:pt x="23" y="142"/>
                    </a:lnTo>
                    <a:lnTo>
                      <a:pt x="23" y="98"/>
                    </a:lnTo>
                    <a:lnTo>
                      <a:pt x="23" y="0"/>
                    </a:lnTo>
                    <a:lnTo>
                      <a:pt x="0" y="0"/>
                    </a:lnTo>
                    <a:close/>
                  </a:path>
                </a:pathLst>
              </a:custGeom>
              <a:solidFill>
                <a:srgbClr val="0072C6"/>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grpSp>
      </p:grpSp>
      <p:grpSp>
        <p:nvGrpSpPr>
          <p:cNvPr id="60" name="Group 59"/>
          <p:cNvGrpSpPr/>
          <p:nvPr/>
        </p:nvGrpSpPr>
        <p:grpSpPr>
          <a:xfrm>
            <a:off x="4650608" y="2916220"/>
            <a:ext cx="367750" cy="367751"/>
            <a:chOff x="4426896" y="3526870"/>
            <a:chExt cx="341118" cy="341119"/>
          </a:xfrm>
        </p:grpSpPr>
        <p:sp>
          <p:nvSpPr>
            <p:cNvPr id="1428" name="Oval 1427"/>
            <p:cNvSpPr/>
            <p:nvPr/>
          </p:nvSpPr>
          <p:spPr bwMode="auto">
            <a:xfrm>
              <a:off x="4426896" y="3526870"/>
              <a:ext cx="341118" cy="341119"/>
            </a:xfrm>
            <a:prstGeom prst="ellipse">
              <a:avLst/>
            </a:prstGeom>
            <a:solidFill>
              <a:srgbClr val="FFFFFF">
                <a:alpha val="74902"/>
              </a:srgbClr>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90" name="Group 1789"/>
            <p:cNvGrpSpPr>
              <a:grpSpLocks noChangeAspect="1"/>
            </p:cNvGrpSpPr>
            <p:nvPr/>
          </p:nvGrpSpPr>
          <p:grpSpPr>
            <a:xfrm>
              <a:off x="4497389" y="3587032"/>
              <a:ext cx="195515" cy="225040"/>
              <a:chOff x="6983648" y="1445099"/>
              <a:chExt cx="547340" cy="626953"/>
            </a:xfrm>
          </p:grpSpPr>
          <p:grpSp>
            <p:nvGrpSpPr>
              <p:cNvPr id="1861" name="Group 1860"/>
              <p:cNvGrpSpPr/>
              <p:nvPr/>
            </p:nvGrpSpPr>
            <p:grpSpPr>
              <a:xfrm>
                <a:off x="7194775" y="1531034"/>
                <a:ext cx="142870" cy="365650"/>
                <a:chOff x="7010073" y="1548130"/>
                <a:chExt cx="1648459" cy="4218939"/>
              </a:xfrm>
              <a:solidFill>
                <a:srgbClr val="00188F"/>
              </a:solidFill>
            </p:grpSpPr>
            <p:sp>
              <p:nvSpPr>
                <p:cNvPr id="1863"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0072C6">
                    <a:lumMod val="40000"/>
                    <a:lumOff val="60000"/>
                  </a:srgbClr>
                </a:solidFill>
                <a:ln w="9525">
                  <a:noFill/>
                  <a:round/>
                  <a:headEnd/>
                  <a:tailEnd/>
                </a:ln>
              </p:spPr>
              <p:txBody>
                <a:bodyPr vert="horz" wrap="square" lIns="91388" tIns="45694" rIns="91388" bIns="45694" numCol="1" anchor="t" anchorCtr="0" compatLnSpc="1">
                  <a:prstTxWarp prst="textNoShape">
                    <a:avLst/>
                  </a:prstTxWarp>
                </a:bodyPr>
                <a:lstStyle/>
                <a:p>
                  <a:pPr defTabSz="913698">
                    <a:defRPr/>
                  </a:pPr>
                  <a:endParaRPr lang="en-US" sz="1600" kern="0" dirty="0">
                    <a:solidFill>
                      <a:srgbClr val="00188F"/>
                    </a:solidFill>
                  </a:endParaRPr>
                </a:p>
              </p:txBody>
            </p:sp>
            <p:sp>
              <p:nvSpPr>
                <p:cNvPr id="1864"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0072C6"/>
                </a:solidFill>
                <a:ln w="3175">
                  <a:noFill/>
                  <a:round/>
                  <a:headEnd/>
                  <a:tailEnd/>
                </a:ln>
              </p:spPr>
              <p:txBody>
                <a:bodyPr vert="horz" wrap="square" lIns="91388" tIns="45694" rIns="91388" bIns="45694" numCol="1" anchor="t" anchorCtr="0" compatLnSpc="1">
                  <a:prstTxWarp prst="textNoShape">
                    <a:avLst/>
                  </a:prstTxWarp>
                </a:bodyPr>
                <a:lstStyle/>
                <a:p>
                  <a:pPr defTabSz="913698">
                    <a:defRPr/>
                  </a:pPr>
                  <a:endParaRPr lang="en-US" sz="1600" kern="0" dirty="0">
                    <a:solidFill>
                      <a:srgbClr val="00188F"/>
                    </a:solidFill>
                  </a:endParaRPr>
                </a:p>
              </p:txBody>
            </p:sp>
          </p:grpSp>
          <p:sp>
            <p:nvSpPr>
              <p:cNvPr id="1862"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790" name="Freeform 11"/>
          <p:cNvSpPr>
            <a:spLocks/>
          </p:cNvSpPr>
          <p:nvPr/>
        </p:nvSpPr>
        <p:spPr bwMode="auto">
          <a:xfrm flipH="1">
            <a:off x="7280267" y="2903050"/>
            <a:ext cx="554323" cy="860121"/>
          </a:xfrm>
          <a:custGeom>
            <a:avLst/>
            <a:gdLst>
              <a:gd name="T0" fmla="*/ 358 w 1085"/>
              <a:gd name="T1" fmla="*/ 46 h 1681"/>
              <a:gd name="T2" fmla="*/ 397 w 1085"/>
              <a:gd name="T3" fmla="*/ 18 h 1681"/>
              <a:gd name="T4" fmla="*/ 443 w 1085"/>
              <a:gd name="T5" fmla="*/ 4 h 1681"/>
              <a:gd name="T6" fmla="*/ 526 w 1085"/>
              <a:gd name="T7" fmla="*/ 0 h 1681"/>
              <a:gd name="T8" fmla="*/ 590 w 1085"/>
              <a:gd name="T9" fmla="*/ 0 h 1681"/>
              <a:gd name="T10" fmla="*/ 740 w 1085"/>
              <a:gd name="T11" fmla="*/ 0 h 1681"/>
              <a:gd name="T12" fmla="*/ 865 w 1085"/>
              <a:gd name="T13" fmla="*/ 5 h 1681"/>
              <a:gd name="T14" fmla="*/ 938 w 1085"/>
              <a:gd name="T15" fmla="*/ 19 h 1681"/>
              <a:gd name="T16" fmla="*/ 984 w 1085"/>
              <a:gd name="T17" fmla="*/ 36 h 1681"/>
              <a:gd name="T18" fmla="*/ 1023 w 1085"/>
              <a:gd name="T19" fmla="*/ 61 h 1681"/>
              <a:gd name="T20" fmla="*/ 1050 w 1085"/>
              <a:gd name="T21" fmla="*/ 94 h 1681"/>
              <a:gd name="T22" fmla="*/ 1068 w 1085"/>
              <a:gd name="T23" fmla="*/ 136 h 1681"/>
              <a:gd name="T24" fmla="*/ 1082 w 1085"/>
              <a:gd name="T25" fmla="*/ 210 h 1681"/>
              <a:gd name="T26" fmla="*/ 1084 w 1085"/>
              <a:gd name="T27" fmla="*/ 368 h 1681"/>
              <a:gd name="T28" fmla="*/ 1084 w 1085"/>
              <a:gd name="T29" fmla="*/ 690 h 1681"/>
              <a:gd name="T30" fmla="*/ 1082 w 1085"/>
              <a:gd name="T31" fmla="*/ 762 h 1681"/>
              <a:gd name="T32" fmla="*/ 1079 w 1085"/>
              <a:gd name="T33" fmla="*/ 783 h 1681"/>
              <a:gd name="T34" fmla="*/ 1054 w 1085"/>
              <a:gd name="T35" fmla="*/ 811 h 1681"/>
              <a:gd name="T36" fmla="*/ 1018 w 1085"/>
              <a:gd name="T37" fmla="*/ 824 h 1681"/>
              <a:gd name="T38" fmla="*/ 980 w 1085"/>
              <a:gd name="T39" fmla="*/ 819 h 1681"/>
              <a:gd name="T40" fmla="*/ 953 w 1085"/>
              <a:gd name="T41" fmla="*/ 794 h 1681"/>
              <a:gd name="T42" fmla="*/ 947 w 1085"/>
              <a:gd name="T43" fmla="*/ 775 h 1681"/>
              <a:gd name="T44" fmla="*/ 944 w 1085"/>
              <a:gd name="T45" fmla="*/ 706 h 1681"/>
              <a:gd name="T46" fmla="*/ 943 w 1085"/>
              <a:gd name="T47" fmla="*/ 398 h 1681"/>
              <a:gd name="T48" fmla="*/ 891 w 1085"/>
              <a:gd name="T49" fmla="*/ 274 h 1681"/>
              <a:gd name="T50" fmla="*/ 891 w 1085"/>
              <a:gd name="T51" fmla="*/ 1573 h 1681"/>
              <a:gd name="T52" fmla="*/ 890 w 1085"/>
              <a:gd name="T53" fmla="*/ 1600 h 1681"/>
              <a:gd name="T54" fmla="*/ 874 w 1085"/>
              <a:gd name="T55" fmla="*/ 1636 h 1681"/>
              <a:gd name="T56" fmla="*/ 849 w 1085"/>
              <a:gd name="T57" fmla="*/ 1663 h 1681"/>
              <a:gd name="T58" fmla="*/ 814 w 1085"/>
              <a:gd name="T59" fmla="*/ 1679 h 1681"/>
              <a:gd name="T60" fmla="*/ 775 w 1085"/>
              <a:gd name="T61" fmla="*/ 1680 h 1681"/>
              <a:gd name="T62" fmla="*/ 749 w 1085"/>
              <a:gd name="T63" fmla="*/ 1672 h 1681"/>
              <a:gd name="T64" fmla="*/ 731 w 1085"/>
              <a:gd name="T65" fmla="*/ 1665 h 1681"/>
              <a:gd name="T66" fmla="*/ 721 w 1085"/>
              <a:gd name="T67" fmla="*/ 1650 h 1681"/>
              <a:gd name="T68" fmla="*/ 710 w 1085"/>
              <a:gd name="T69" fmla="*/ 1616 h 1681"/>
              <a:gd name="T70" fmla="*/ 707 w 1085"/>
              <a:gd name="T71" fmla="*/ 1495 h 1681"/>
              <a:gd name="T72" fmla="*/ 707 w 1085"/>
              <a:gd name="T73" fmla="*/ 1016 h 1681"/>
              <a:gd name="T74" fmla="*/ 703 w 1085"/>
              <a:gd name="T75" fmla="*/ 825 h 1681"/>
              <a:gd name="T76" fmla="*/ 655 w 1085"/>
              <a:gd name="T77" fmla="*/ 917 h 1681"/>
              <a:gd name="T78" fmla="*/ 655 w 1085"/>
              <a:gd name="T79" fmla="*/ 1411 h 1681"/>
              <a:gd name="T80" fmla="*/ 654 w 1085"/>
              <a:gd name="T81" fmla="*/ 1609 h 1681"/>
              <a:gd name="T82" fmla="*/ 645 w 1085"/>
              <a:gd name="T83" fmla="*/ 1635 h 1681"/>
              <a:gd name="T84" fmla="*/ 629 w 1085"/>
              <a:gd name="T85" fmla="*/ 1656 h 1681"/>
              <a:gd name="T86" fmla="*/ 601 w 1085"/>
              <a:gd name="T87" fmla="*/ 1672 h 1681"/>
              <a:gd name="T88" fmla="*/ 549 w 1085"/>
              <a:gd name="T89" fmla="*/ 1680 h 1681"/>
              <a:gd name="T90" fmla="*/ 501 w 1085"/>
              <a:gd name="T91" fmla="*/ 1665 h 1681"/>
              <a:gd name="T92" fmla="*/ 482 w 1085"/>
              <a:gd name="T93" fmla="*/ 1648 h 1681"/>
              <a:gd name="T94" fmla="*/ 469 w 1085"/>
              <a:gd name="T95" fmla="*/ 1627 h 1681"/>
              <a:gd name="T96" fmla="*/ 463 w 1085"/>
              <a:gd name="T97" fmla="*/ 1600 h 1681"/>
              <a:gd name="T98" fmla="*/ 461 w 1085"/>
              <a:gd name="T99" fmla="*/ 1241 h 1681"/>
              <a:gd name="T100" fmla="*/ 461 w 1085"/>
              <a:gd name="T101" fmla="*/ 190 h 1681"/>
              <a:gd name="T102" fmla="*/ 377 w 1085"/>
              <a:gd name="T103" fmla="*/ 285 h 1681"/>
              <a:gd name="T104" fmla="*/ 216 w 1085"/>
              <a:gd name="T105" fmla="*/ 482 h 1681"/>
              <a:gd name="T106" fmla="*/ 129 w 1085"/>
              <a:gd name="T107" fmla="*/ 575 h 1681"/>
              <a:gd name="T108" fmla="*/ 110 w 1085"/>
              <a:gd name="T109" fmla="*/ 586 h 1681"/>
              <a:gd name="T110" fmla="*/ 75 w 1085"/>
              <a:gd name="T111" fmla="*/ 590 h 1681"/>
              <a:gd name="T112" fmla="*/ 38 w 1085"/>
              <a:gd name="T113" fmla="*/ 575 h 1681"/>
              <a:gd name="T114" fmla="*/ 11 w 1085"/>
              <a:gd name="T115" fmla="*/ 544 h 1681"/>
              <a:gd name="T116" fmla="*/ 0 w 1085"/>
              <a:gd name="T117" fmla="*/ 504 h 1681"/>
              <a:gd name="T118" fmla="*/ 11 w 1085"/>
              <a:gd name="T119" fmla="*/ 469 h 1681"/>
              <a:gd name="T120" fmla="*/ 56 w 1085"/>
              <a:gd name="T121" fmla="*/ 411 h 1681"/>
              <a:gd name="T122" fmla="*/ 264 w 1085"/>
              <a:gd name="T123" fmla="*/ 160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5" h="1681">
                <a:moveTo>
                  <a:pt x="346" y="59"/>
                </a:moveTo>
                <a:lnTo>
                  <a:pt x="346" y="59"/>
                </a:lnTo>
                <a:lnTo>
                  <a:pt x="358" y="46"/>
                </a:lnTo>
                <a:lnTo>
                  <a:pt x="370" y="35"/>
                </a:lnTo>
                <a:lnTo>
                  <a:pt x="382" y="26"/>
                </a:lnTo>
                <a:lnTo>
                  <a:pt x="397" y="18"/>
                </a:lnTo>
                <a:lnTo>
                  <a:pt x="411" y="12"/>
                </a:lnTo>
                <a:lnTo>
                  <a:pt x="426" y="8"/>
                </a:lnTo>
                <a:lnTo>
                  <a:pt x="443" y="4"/>
                </a:lnTo>
                <a:lnTo>
                  <a:pt x="459" y="1"/>
                </a:lnTo>
                <a:lnTo>
                  <a:pt x="492" y="0"/>
                </a:lnTo>
                <a:lnTo>
                  <a:pt x="526" y="0"/>
                </a:lnTo>
                <a:lnTo>
                  <a:pt x="558" y="0"/>
                </a:lnTo>
                <a:lnTo>
                  <a:pt x="590" y="0"/>
                </a:lnTo>
                <a:lnTo>
                  <a:pt x="590" y="0"/>
                </a:lnTo>
                <a:lnTo>
                  <a:pt x="641" y="1"/>
                </a:lnTo>
                <a:lnTo>
                  <a:pt x="690" y="1"/>
                </a:lnTo>
                <a:lnTo>
                  <a:pt x="740" y="0"/>
                </a:lnTo>
                <a:lnTo>
                  <a:pt x="791" y="0"/>
                </a:lnTo>
                <a:lnTo>
                  <a:pt x="840" y="2"/>
                </a:lnTo>
                <a:lnTo>
                  <a:pt x="865" y="5"/>
                </a:lnTo>
                <a:lnTo>
                  <a:pt x="889" y="9"/>
                </a:lnTo>
                <a:lnTo>
                  <a:pt x="913" y="14"/>
                </a:lnTo>
                <a:lnTo>
                  <a:pt x="938" y="19"/>
                </a:lnTo>
                <a:lnTo>
                  <a:pt x="961" y="27"/>
                </a:lnTo>
                <a:lnTo>
                  <a:pt x="984" y="36"/>
                </a:lnTo>
                <a:lnTo>
                  <a:pt x="984" y="36"/>
                </a:lnTo>
                <a:lnTo>
                  <a:pt x="998" y="43"/>
                </a:lnTo>
                <a:lnTo>
                  <a:pt x="1011" y="50"/>
                </a:lnTo>
                <a:lnTo>
                  <a:pt x="1023" y="61"/>
                </a:lnTo>
                <a:lnTo>
                  <a:pt x="1033" y="71"/>
                </a:lnTo>
                <a:lnTo>
                  <a:pt x="1042" y="83"/>
                </a:lnTo>
                <a:lnTo>
                  <a:pt x="1050" y="94"/>
                </a:lnTo>
                <a:lnTo>
                  <a:pt x="1057" y="108"/>
                </a:lnTo>
                <a:lnTo>
                  <a:pt x="1063" y="121"/>
                </a:lnTo>
                <a:lnTo>
                  <a:pt x="1068" y="136"/>
                </a:lnTo>
                <a:lnTo>
                  <a:pt x="1072" y="151"/>
                </a:lnTo>
                <a:lnTo>
                  <a:pt x="1079" y="181"/>
                </a:lnTo>
                <a:lnTo>
                  <a:pt x="1082" y="210"/>
                </a:lnTo>
                <a:lnTo>
                  <a:pt x="1085" y="240"/>
                </a:lnTo>
                <a:lnTo>
                  <a:pt x="1085" y="240"/>
                </a:lnTo>
                <a:lnTo>
                  <a:pt x="1084" y="368"/>
                </a:lnTo>
                <a:lnTo>
                  <a:pt x="1085" y="497"/>
                </a:lnTo>
                <a:lnTo>
                  <a:pt x="1085" y="626"/>
                </a:lnTo>
                <a:lnTo>
                  <a:pt x="1084" y="690"/>
                </a:lnTo>
                <a:lnTo>
                  <a:pt x="1082" y="754"/>
                </a:lnTo>
                <a:lnTo>
                  <a:pt x="1082" y="754"/>
                </a:lnTo>
                <a:lnTo>
                  <a:pt x="1082" y="762"/>
                </a:lnTo>
                <a:lnTo>
                  <a:pt x="1082" y="770"/>
                </a:lnTo>
                <a:lnTo>
                  <a:pt x="1081" y="776"/>
                </a:lnTo>
                <a:lnTo>
                  <a:pt x="1079" y="783"/>
                </a:lnTo>
                <a:lnTo>
                  <a:pt x="1072" y="794"/>
                </a:lnTo>
                <a:lnTo>
                  <a:pt x="1064" y="803"/>
                </a:lnTo>
                <a:lnTo>
                  <a:pt x="1054" y="811"/>
                </a:lnTo>
                <a:lnTo>
                  <a:pt x="1044" y="817"/>
                </a:lnTo>
                <a:lnTo>
                  <a:pt x="1031" y="821"/>
                </a:lnTo>
                <a:lnTo>
                  <a:pt x="1018" y="824"/>
                </a:lnTo>
                <a:lnTo>
                  <a:pt x="1005" y="824"/>
                </a:lnTo>
                <a:lnTo>
                  <a:pt x="992" y="823"/>
                </a:lnTo>
                <a:lnTo>
                  <a:pt x="980" y="819"/>
                </a:lnTo>
                <a:lnTo>
                  <a:pt x="970" y="812"/>
                </a:lnTo>
                <a:lnTo>
                  <a:pt x="961" y="804"/>
                </a:lnTo>
                <a:lnTo>
                  <a:pt x="953" y="794"/>
                </a:lnTo>
                <a:lnTo>
                  <a:pt x="951" y="788"/>
                </a:lnTo>
                <a:lnTo>
                  <a:pt x="948" y="781"/>
                </a:lnTo>
                <a:lnTo>
                  <a:pt x="947" y="775"/>
                </a:lnTo>
                <a:lnTo>
                  <a:pt x="946" y="767"/>
                </a:lnTo>
                <a:lnTo>
                  <a:pt x="946" y="767"/>
                </a:lnTo>
                <a:lnTo>
                  <a:pt x="944" y="706"/>
                </a:lnTo>
                <a:lnTo>
                  <a:pt x="943" y="644"/>
                </a:lnTo>
                <a:lnTo>
                  <a:pt x="943" y="522"/>
                </a:lnTo>
                <a:lnTo>
                  <a:pt x="943" y="398"/>
                </a:lnTo>
                <a:lnTo>
                  <a:pt x="943" y="275"/>
                </a:lnTo>
                <a:lnTo>
                  <a:pt x="943" y="275"/>
                </a:lnTo>
                <a:lnTo>
                  <a:pt x="891" y="274"/>
                </a:lnTo>
                <a:lnTo>
                  <a:pt x="891" y="274"/>
                </a:lnTo>
                <a:lnTo>
                  <a:pt x="891" y="923"/>
                </a:lnTo>
                <a:lnTo>
                  <a:pt x="891" y="1573"/>
                </a:lnTo>
                <a:lnTo>
                  <a:pt x="891" y="1573"/>
                </a:lnTo>
                <a:lnTo>
                  <a:pt x="891" y="1587"/>
                </a:lnTo>
                <a:lnTo>
                  <a:pt x="890" y="1600"/>
                </a:lnTo>
                <a:lnTo>
                  <a:pt x="886" y="1613"/>
                </a:lnTo>
                <a:lnTo>
                  <a:pt x="881" y="1625"/>
                </a:lnTo>
                <a:lnTo>
                  <a:pt x="874" y="1636"/>
                </a:lnTo>
                <a:lnTo>
                  <a:pt x="867" y="1647"/>
                </a:lnTo>
                <a:lnTo>
                  <a:pt x="858" y="1656"/>
                </a:lnTo>
                <a:lnTo>
                  <a:pt x="849" y="1663"/>
                </a:lnTo>
                <a:lnTo>
                  <a:pt x="837" y="1670"/>
                </a:lnTo>
                <a:lnTo>
                  <a:pt x="825" y="1675"/>
                </a:lnTo>
                <a:lnTo>
                  <a:pt x="814" y="1679"/>
                </a:lnTo>
                <a:lnTo>
                  <a:pt x="801" y="1681"/>
                </a:lnTo>
                <a:lnTo>
                  <a:pt x="788" y="1681"/>
                </a:lnTo>
                <a:lnTo>
                  <a:pt x="775" y="1680"/>
                </a:lnTo>
                <a:lnTo>
                  <a:pt x="762" y="1678"/>
                </a:lnTo>
                <a:lnTo>
                  <a:pt x="749" y="1672"/>
                </a:lnTo>
                <a:lnTo>
                  <a:pt x="749" y="1672"/>
                </a:lnTo>
                <a:lnTo>
                  <a:pt x="743" y="1670"/>
                </a:lnTo>
                <a:lnTo>
                  <a:pt x="736" y="1667"/>
                </a:lnTo>
                <a:lnTo>
                  <a:pt x="731" y="1665"/>
                </a:lnTo>
                <a:lnTo>
                  <a:pt x="727" y="1661"/>
                </a:lnTo>
                <a:lnTo>
                  <a:pt x="723" y="1656"/>
                </a:lnTo>
                <a:lnTo>
                  <a:pt x="721" y="1650"/>
                </a:lnTo>
                <a:lnTo>
                  <a:pt x="716" y="1640"/>
                </a:lnTo>
                <a:lnTo>
                  <a:pt x="712" y="1628"/>
                </a:lnTo>
                <a:lnTo>
                  <a:pt x="710" y="1616"/>
                </a:lnTo>
                <a:lnTo>
                  <a:pt x="708" y="1591"/>
                </a:lnTo>
                <a:lnTo>
                  <a:pt x="708" y="1591"/>
                </a:lnTo>
                <a:lnTo>
                  <a:pt x="707" y="1495"/>
                </a:lnTo>
                <a:lnTo>
                  <a:pt x="707" y="1400"/>
                </a:lnTo>
                <a:lnTo>
                  <a:pt x="707" y="1207"/>
                </a:lnTo>
                <a:lnTo>
                  <a:pt x="707" y="1016"/>
                </a:lnTo>
                <a:lnTo>
                  <a:pt x="705" y="921"/>
                </a:lnTo>
                <a:lnTo>
                  <a:pt x="703" y="825"/>
                </a:lnTo>
                <a:lnTo>
                  <a:pt x="703" y="825"/>
                </a:lnTo>
                <a:lnTo>
                  <a:pt x="658" y="819"/>
                </a:lnTo>
                <a:lnTo>
                  <a:pt x="658" y="819"/>
                </a:lnTo>
                <a:lnTo>
                  <a:pt x="655" y="917"/>
                </a:lnTo>
                <a:lnTo>
                  <a:pt x="655" y="1016"/>
                </a:lnTo>
                <a:lnTo>
                  <a:pt x="655" y="1214"/>
                </a:lnTo>
                <a:lnTo>
                  <a:pt x="655" y="1411"/>
                </a:lnTo>
                <a:lnTo>
                  <a:pt x="655" y="1510"/>
                </a:lnTo>
                <a:lnTo>
                  <a:pt x="654" y="1609"/>
                </a:lnTo>
                <a:lnTo>
                  <a:pt x="654" y="1609"/>
                </a:lnTo>
                <a:lnTo>
                  <a:pt x="651" y="1618"/>
                </a:lnTo>
                <a:lnTo>
                  <a:pt x="649" y="1627"/>
                </a:lnTo>
                <a:lnTo>
                  <a:pt x="645" y="1635"/>
                </a:lnTo>
                <a:lnTo>
                  <a:pt x="639" y="1643"/>
                </a:lnTo>
                <a:lnTo>
                  <a:pt x="634" y="1649"/>
                </a:lnTo>
                <a:lnTo>
                  <a:pt x="629" y="1656"/>
                </a:lnTo>
                <a:lnTo>
                  <a:pt x="623" y="1661"/>
                </a:lnTo>
                <a:lnTo>
                  <a:pt x="615" y="1665"/>
                </a:lnTo>
                <a:lnTo>
                  <a:pt x="601" y="1672"/>
                </a:lnTo>
                <a:lnTo>
                  <a:pt x="584" y="1678"/>
                </a:lnTo>
                <a:lnTo>
                  <a:pt x="567" y="1680"/>
                </a:lnTo>
                <a:lnTo>
                  <a:pt x="549" y="1680"/>
                </a:lnTo>
                <a:lnTo>
                  <a:pt x="532" y="1678"/>
                </a:lnTo>
                <a:lnTo>
                  <a:pt x="517" y="1672"/>
                </a:lnTo>
                <a:lnTo>
                  <a:pt x="501" y="1665"/>
                </a:lnTo>
                <a:lnTo>
                  <a:pt x="495" y="1659"/>
                </a:lnTo>
                <a:lnTo>
                  <a:pt x="488" y="1654"/>
                </a:lnTo>
                <a:lnTo>
                  <a:pt x="482" y="1648"/>
                </a:lnTo>
                <a:lnTo>
                  <a:pt x="477" y="1641"/>
                </a:lnTo>
                <a:lnTo>
                  <a:pt x="473" y="1635"/>
                </a:lnTo>
                <a:lnTo>
                  <a:pt x="469" y="1627"/>
                </a:lnTo>
                <a:lnTo>
                  <a:pt x="466" y="1619"/>
                </a:lnTo>
                <a:lnTo>
                  <a:pt x="464" y="1610"/>
                </a:lnTo>
                <a:lnTo>
                  <a:pt x="463" y="1600"/>
                </a:lnTo>
                <a:lnTo>
                  <a:pt x="463" y="1591"/>
                </a:lnTo>
                <a:lnTo>
                  <a:pt x="463" y="1591"/>
                </a:lnTo>
                <a:lnTo>
                  <a:pt x="461" y="1241"/>
                </a:lnTo>
                <a:lnTo>
                  <a:pt x="461" y="890"/>
                </a:lnTo>
                <a:lnTo>
                  <a:pt x="463" y="540"/>
                </a:lnTo>
                <a:lnTo>
                  <a:pt x="461" y="190"/>
                </a:lnTo>
                <a:lnTo>
                  <a:pt x="461" y="190"/>
                </a:lnTo>
                <a:lnTo>
                  <a:pt x="419" y="238"/>
                </a:lnTo>
                <a:lnTo>
                  <a:pt x="377" y="285"/>
                </a:lnTo>
                <a:lnTo>
                  <a:pt x="296" y="383"/>
                </a:lnTo>
                <a:lnTo>
                  <a:pt x="256" y="433"/>
                </a:lnTo>
                <a:lnTo>
                  <a:pt x="216" y="482"/>
                </a:lnTo>
                <a:lnTo>
                  <a:pt x="173" y="528"/>
                </a:lnTo>
                <a:lnTo>
                  <a:pt x="129" y="575"/>
                </a:lnTo>
                <a:lnTo>
                  <a:pt x="129" y="575"/>
                </a:lnTo>
                <a:lnTo>
                  <a:pt x="123" y="578"/>
                </a:lnTo>
                <a:lnTo>
                  <a:pt x="116" y="582"/>
                </a:lnTo>
                <a:lnTo>
                  <a:pt x="110" y="586"/>
                </a:lnTo>
                <a:lnTo>
                  <a:pt x="102" y="589"/>
                </a:lnTo>
                <a:lnTo>
                  <a:pt x="89" y="590"/>
                </a:lnTo>
                <a:lnTo>
                  <a:pt x="75" y="590"/>
                </a:lnTo>
                <a:lnTo>
                  <a:pt x="62" y="588"/>
                </a:lnTo>
                <a:lnTo>
                  <a:pt x="49" y="582"/>
                </a:lnTo>
                <a:lnTo>
                  <a:pt x="38" y="575"/>
                </a:lnTo>
                <a:lnTo>
                  <a:pt x="27" y="566"/>
                </a:lnTo>
                <a:lnTo>
                  <a:pt x="18" y="555"/>
                </a:lnTo>
                <a:lnTo>
                  <a:pt x="11" y="544"/>
                </a:lnTo>
                <a:lnTo>
                  <a:pt x="5" y="531"/>
                </a:lnTo>
                <a:lnTo>
                  <a:pt x="2" y="518"/>
                </a:lnTo>
                <a:lnTo>
                  <a:pt x="0" y="504"/>
                </a:lnTo>
                <a:lnTo>
                  <a:pt x="3" y="489"/>
                </a:lnTo>
                <a:lnTo>
                  <a:pt x="8" y="476"/>
                </a:lnTo>
                <a:lnTo>
                  <a:pt x="11" y="469"/>
                </a:lnTo>
                <a:lnTo>
                  <a:pt x="16" y="462"/>
                </a:lnTo>
                <a:lnTo>
                  <a:pt x="16" y="462"/>
                </a:lnTo>
                <a:lnTo>
                  <a:pt x="56" y="411"/>
                </a:lnTo>
                <a:lnTo>
                  <a:pt x="97" y="360"/>
                </a:lnTo>
                <a:lnTo>
                  <a:pt x="180" y="259"/>
                </a:lnTo>
                <a:lnTo>
                  <a:pt x="264" y="160"/>
                </a:lnTo>
                <a:lnTo>
                  <a:pt x="346" y="59"/>
                </a:lnTo>
                <a:lnTo>
                  <a:pt x="346" y="59"/>
                </a:lnTo>
                <a:close/>
              </a:path>
            </a:pathLst>
          </a:custGeom>
          <a:solidFill>
            <a:srgbClr val="505050">
              <a:lumMod val="60000"/>
              <a:lumOff val="40000"/>
            </a:srgbClr>
          </a:solidFill>
          <a:ln>
            <a:noFill/>
          </a:ln>
        </p:spPr>
        <p:txBody>
          <a:bodyPr vert="horz" wrap="square" lIns="91388" tIns="45694" rIns="91388" bIns="45694" numCol="1" anchor="t" anchorCtr="0" compatLnSpc="1">
            <a:prstTxWarp prst="textNoShape">
              <a:avLst/>
            </a:prstTxWarp>
            <a:noAutofit/>
          </a:bodyPr>
          <a:lstStyle/>
          <a:p>
            <a:pPr defTabSz="913698">
              <a:defRPr/>
            </a:pPr>
            <a:endParaRPr lang="en-US" kern="0" dirty="0">
              <a:solidFill>
                <a:srgbClr val="000000"/>
              </a:solidFill>
            </a:endParaRPr>
          </a:p>
        </p:txBody>
      </p:sp>
      <p:sp>
        <p:nvSpPr>
          <p:cNvPr id="791" name="Freeform 12"/>
          <p:cNvSpPr>
            <a:spLocks/>
          </p:cNvSpPr>
          <p:nvPr/>
        </p:nvSpPr>
        <p:spPr bwMode="auto">
          <a:xfrm flipH="1">
            <a:off x="7404351" y="2701348"/>
            <a:ext cx="169775" cy="170798"/>
          </a:xfrm>
          <a:custGeom>
            <a:avLst/>
            <a:gdLst>
              <a:gd name="T0" fmla="*/ 333 w 333"/>
              <a:gd name="T1" fmla="*/ 166 h 333"/>
              <a:gd name="T2" fmla="*/ 331 w 333"/>
              <a:gd name="T3" fmla="*/ 200 h 333"/>
              <a:gd name="T4" fmla="*/ 320 w 333"/>
              <a:gd name="T5" fmla="*/ 231 h 333"/>
              <a:gd name="T6" fmla="*/ 305 w 333"/>
              <a:gd name="T7" fmla="*/ 259 h 333"/>
              <a:gd name="T8" fmla="*/ 285 w 333"/>
              <a:gd name="T9" fmla="*/ 284 h 333"/>
              <a:gd name="T10" fmla="*/ 260 w 333"/>
              <a:gd name="T11" fmla="*/ 304 h 333"/>
              <a:gd name="T12" fmla="*/ 231 w 333"/>
              <a:gd name="T13" fmla="*/ 320 h 333"/>
              <a:gd name="T14" fmla="*/ 200 w 333"/>
              <a:gd name="T15" fmla="*/ 329 h 333"/>
              <a:gd name="T16" fmla="*/ 167 w 333"/>
              <a:gd name="T17" fmla="*/ 333 h 333"/>
              <a:gd name="T18" fmla="*/ 150 w 333"/>
              <a:gd name="T19" fmla="*/ 331 h 333"/>
              <a:gd name="T20" fmla="*/ 118 w 333"/>
              <a:gd name="T21" fmla="*/ 325 h 333"/>
              <a:gd name="T22" fmla="*/ 88 w 333"/>
              <a:gd name="T23" fmla="*/ 312 h 333"/>
              <a:gd name="T24" fmla="*/ 61 w 333"/>
              <a:gd name="T25" fmla="*/ 295 h 333"/>
              <a:gd name="T26" fmla="*/ 39 w 333"/>
              <a:gd name="T27" fmla="*/ 272 h 333"/>
              <a:gd name="T28" fmla="*/ 21 w 333"/>
              <a:gd name="T29" fmla="*/ 245 h 333"/>
              <a:gd name="T30" fmla="*/ 8 w 333"/>
              <a:gd name="T31" fmla="*/ 215 h 333"/>
              <a:gd name="T32" fmla="*/ 1 w 333"/>
              <a:gd name="T33" fmla="*/ 183 h 333"/>
              <a:gd name="T34" fmla="*/ 0 w 333"/>
              <a:gd name="T35" fmla="*/ 166 h 333"/>
              <a:gd name="T36" fmla="*/ 4 w 333"/>
              <a:gd name="T37" fmla="*/ 133 h 333"/>
              <a:gd name="T38" fmla="*/ 13 w 333"/>
              <a:gd name="T39" fmla="*/ 102 h 333"/>
              <a:gd name="T40" fmla="*/ 28 w 333"/>
              <a:gd name="T41" fmla="*/ 73 h 333"/>
              <a:gd name="T42" fmla="*/ 49 w 333"/>
              <a:gd name="T43" fmla="*/ 49 h 333"/>
              <a:gd name="T44" fmla="*/ 74 w 333"/>
              <a:gd name="T45" fmla="*/ 28 h 333"/>
              <a:gd name="T46" fmla="*/ 102 w 333"/>
              <a:gd name="T47" fmla="*/ 12 h 333"/>
              <a:gd name="T48" fmla="*/ 133 w 333"/>
              <a:gd name="T49" fmla="*/ 2 h 333"/>
              <a:gd name="T50" fmla="*/ 167 w 333"/>
              <a:gd name="T51" fmla="*/ 0 h 333"/>
              <a:gd name="T52" fmla="*/ 183 w 333"/>
              <a:gd name="T53" fmla="*/ 0 h 333"/>
              <a:gd name="T54" fmla="*/ 217 w 333"/>
              <a:gd name="T55" fmla="*/ 7 h 333"/>
              <a:gd name="T56" fmla="*/ 247 w 333"/>
              <a:gd name="T57" fmla="*/ 19 h 333"/>
              <a:gd name="T58" fmla="*/ 272 w 333"/>
              <a:gd name="T59" fmla="*/ 37 h 333"/>
              <a:gd name="T60" fmla="*/ 296 w 333"/>
              <a:gd name="T61" fmla="*/ 60 h 333"/>
              <a:gd name="T62" fmla="*/ 314 w 333"/>
              <a:gd name="T63" fmla="*/ 86 h 333"/>
              <a:gd name="T64" fmla="*/ 327 w 333"/>
              <a:gd name="T65" fmla="*/ 117 h 333"/>
              <a:gd name="T66" fmla="*/ 333 w 333"/>
              <a:gd name="T67" fmla="*/ 149 h 333"/>
              <a:gd name="T68" fmla="*/ 333 w 333"/>
              <a:gd name="T69" fmla="*/ 166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3" h="333">
                <a:moveTo>
                  <a:pt x="333" y="166"/>
                </a:moveTo>
                <a:lnTo>
                  <a:pt x="333" y="166"/>
                </a:lnTo>
                <a:lnTo>
                  <a:pt x="333" y="183"/>
                </a:lnTo>
                <a:lnTo>
                  <a:pt x="331" y="200"/>
                </a:lnTo>
                <a:lnTo>
                  <a:pt x="327" y="215"/>
                </a:lnTo>
                <a:lnTo>
                  <a:pt x="320" y="231"/>
                </a:lnTo>
                <a:lnTo>
                  <a:pt x="314" y="245"/>
                </a:lnTo>
                <a:lnTo>
                  <a:pt x="305" y="259"/>
                </a:lnTo>
                <a:lnTo>
                  <a:pt x="296" y="272"/>
                </a:lnTo>
                <a:lnTo>
                  <a:pt x="285" y="284"/>
                </a:lnTo>
                <a:lnTo>
                  <a:pt x="272" y="295"/>
                </a:lnTo>
                <a:lnTo>
                  <a:pt x="260" y="304"/>
                </a:lnTo>
                <a:lnTo>
                  <a:pt x="247" y="312"/>
                </a:lnTo>
                <a:lnTo>
                  <a:pt x="231" y="320"/>
                </a:lnTo>
                <a:lnTo>
                  <a:pt x="217" y="325"/>
                </a:lnTo>
                <a:lnTo>
                  <a:pt x="200" y="329"/>
                </a:lnTo>
                <a:lnTo>
                  <a:pt x="183" y="331"/>
                </a:lnTo>
                <a:lnTo>
                  <a:pt x="167" y="333"/>
                </a:lnTo>
                <a:lnTo>
                  <a:pt x="167" y="333"/>
                </a:lnTo>
                <a:lnTo>
                  <a:pt x="150" y="331"/>
                </a:lnTo>
                <a:lnTo>
                  <a:pt x="133" y="329"/>
                </a:lnTo>
                <a:lnTo>
                  <a:pt x="118" y="325"/>
                </a:lnTo>
                <a:lnTo>
                  <a:pt x="102" y="320"/>
                </a:lnTo>
                <a:lnTo>
                  <a:pt x="88" y="312"/>
                </a:lnTo>
                <a:lnTo>
                  <a:pt x="74" y="304"/>
                </a:lnTo>
                <a:lnTo>
                  <a:pt x="61" y="295"/>
                </a:lnTo>
                <a:lnTo>
                  <a:pt x="49" y="284"/>
                </a:lnTo>
                <a:lnTo>
                  <a:pt x="39" y="272"/>
                </a:lnTo>
                <a:lnTo>
                  <a:pt x="28" y="259"/>
                </a:lnTo>
                <a:lnTo>
                  <a:pt x="21" y="245"/>
                </a:lnTo>
                <a:lnTo>
                  <a:pt x="13" y="231"/>
                </a:lnTo>
                <a:lnTo>
                  <a:pt x="8" y="215"/>
                </a:lnTo>
                <a:lnTo>
                  <a:pt x="4" y="200"/>
                </a:lnTo>
                <a:lnTo>
                  <a:pt x="1" y="183"/>
                </a:lnTo>
                <a:lnTo>
                  <a:pt x="0" y="166"/>
                </a:lnTo>
                <a:lnTo>
                  <a:pt x="0" y="166"/>
                </a:lnTo>
                <a:lnTo>
                  <a:pt x="1" y="149"/>
                </a:lnTo>
                <a:lnTo>
                  <a:pt x="4" y="133"/>
                </a:lnTo>
                <a:lnTo>
                  <a:pt x="8" y="117"/>
                </a:lnTo>
                <a:lnTo>
                  <a:pt x="13" y="102"/>
                </a:lnTo>
                <a:lnTo>
                  <a:pt x="21" y="86"/>
                </a:lnTo>
                <a:lnTo>
                  <a:pt x="28" y="73"/>
                </a:lnTo>
                <a:lnTo>
                  <a:pt x="39" y="60"/>
                </a:lnTo>
                <a:lnTo>
                  <a:pt x="49" y="49"/>
                </a:lnTo>
                <a:lnTo>
                  <a:pt x="61" y="37"/>
                </a:lnTo>
                <a:lnTo>
                  <a:pt x="74" y="28"/>
                </a:lnTo>
                <a:lnTo>
                  <a:pt x="88" y="19"/>
                </a:lnTo>
                <a:lnTo>
                  <a:pt x="102" y="12"/>
                </a:lnTo>
                <a:lnTo>
                  <a:pt x="118" y="7"/>
                </a:lnTo>
                <a:lnTo>
                  <a:pt x="133" y="2"/>
                </a:lnTo>
                <a:lnTo>
                  <a:pt x="150" y="0"/>
                </a:lnTo>
                <a:lnTo>
                  <a:pt x="167" y="0"/>
                </a:lnTo>
                <a:lnTo>
                  <a:pt x="167" y="0"/>
                </a:lnTo>
                <a:lnTo>
                  <a:pt x="183" y="0"/>
                </a:lnTo>
                <a:lnTo>
                  <a:pt x="200" y="2"/>
                </a:lnTo>
                <a:lnTo>
                  <a:pt x="217" y="7"/>
                </a:lnTo>
                <a:lnTo>
                  <a:pt x="231" y="12"/>
                </a:lnTo>
                <a:lnTo>
                  <a:pt x="247" y="19"/>
                </a:lnTo>
                <a:lnTo>
                  <a:pt x="260" y="28"/>
                </a:lnTo>
                <a:lnTo>
                  <a:pt x="272" y="37"/>
                </a:lnTo>
                <a:lnTo>
                  <a:pt x="285" y="49"/>
                </a:lnTo>
                <a:lnTo>
                  <a:pt x="296" y="60"/>
                </a:lnTo>
                <a:lnTo>
                  <a:pt x="305" y="73"/>
                </a:lnTo>
                <a:lnTo>
                  <a:pt x="314" y="86"/>
                </a:lnTo>
                <a:lnTo>
                  <a:pt x="320" y="102"/>
                </a:lnTo>
                <a:lnTo>
                  <a:pt x="327" y="117"/>
                </a:lnTo>
                <a:lnTo>
                  <a:pt x="331" y="133"/>
                </a:lnTo>
                <a:lnTo>
                  <a:pt x="333" y="149"/>
                </a:lnTo>
                <a:lnTo>
                  <a:pt x="333" y="166"/>
                </a:lnTo>
                <a:lnTo>
                  <a:pt x="333" y="166"/>
                </a:lnTo>
                <a:close/>
              </a:path>
            </a:pathLst>
          </a:custGeom>
          <a:solidFill>
            <a:srgbClr val="505050">
              <a:lumMod val="60000"/>
              <a:lumOff val="40000"/>
            </a:srgbClr>
          </a:solidFill>
          <a:ln>
            <a:noFill/>
          </a:ln>
        </p:spPr>
        <p:txBody>
          <a:bodyPr vert="horz" wrap="square" lIns="91388" tIns="45694" rIns="91388" bIns="45694" numCol="1" anchor="t" anchorCtr="0" compatLnSpc="1">
            <a:prstTxWarp prst="textNoShape">
              <a:avLst/>
            </a:prstTxWarp>
            <a:noAutofit/>
          </a:bodyPr>
          <a:lstStyle/>
          <a:p>
            <a:pPr defTabSz="913698">
              <a:defRPr/>
            </a:pPr>
            <a:endParaRPr lang="en-US" kern="0" dirty="0">
              <a:solidFill>
                <a:srgbClr val="000000"/>
              </a:solidFill>
            </a:endParaRPr>
          </a:p>
        </p:txBody>
      </p:sp>
      <p:grpSp>
        <p:nvGrpSpPr>
          <p:cNvPr id="792" name="Group 791"/>
          <p:cNvGrpSpPr/>
          <p:nvPr/>
        </p:nvGrpSpPr>
        <p:grpSpPr>
          <a:xfrm>
            <a:off x="8240332" y="2263106"/>
            <a:ext cx="524947" cy="527106"/>
            <a:chOff x="7768558" y="393311"/>
            <a:chExt cx="913874" cy="913874"/>
          </a:xfrm>
        </p:grpSpPr>
        <p:sp>
          <p:nvSpPr>
            <p:cNvPr id="793" name="Oval 792"/>
            <p:cNvSpPr/>
            <p:nvPr/>
          </p:nvSpPr>
          <p:spPr bwMode="auto">
            <a:xfrm>
              <a:off x="7768558" y="393311"/>
              <a:ext cx="913874" cy="913874"/>
            </a:xfrm>
            <a:prstGeom prst="ellipse">
              <a:avLst/>
            </a:prstGeom>
            <a:solidFill>
              <a:srgbClr val="FFFFFF"/>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794" name="Group 793"/>
            <p:cNvGrpSpPr/>
            <p:nvPr/>
          </p:nvGrpSpPr>
          <p:grpSpPr>
            <a:xfrm>
              <a:off x="7948085" y="559050"/>
              <a:ext cx="554820" cy="530972"/>
              <a:chOff x="2873376" y="3679825"/>
              <a:chExt cx="701675" cy="671513"/>
            </a:xfrm>
            <a:solidFill>
              <a:schemeClr val="accent1"/>
            </a:solidFill>
          </p:grpSpPr>
          <p:sp>
            <p:nvSpPr>
              <p:cNvPr id="795" name="Freeform 395"/>
              <p:cNvSpPr>
                <a:spLocks noEditPoints="1"/>
              </p:cNvSpPr>
              <p:nvPr/>
            </p:nvSpPr>
            <p:spPr bwMode="auto">
              <a:xfrm>
                <a:off x="2873376" y="3679825"/>
                <a:ext cx="701675" cy="425450"/>
              </a:xfrm>
              <a:custGeom>
                <a:avLst/>
                <a:gdLst>
                  <a:gd name="T0" fmla="*/ 522 w 1767"/>
                  <a:gd name="T1" fmla="*/ 265 h 1070"/>
                  <a:gd name="T2" fmla="*/ 665 w 1767"/>
                  <a:gd name="T3" fmla="*/ 169 h 1070"/>
                  <a:gd name="T4" fmla="*/ 852 w 1767"/>
                  <a:gd name="T5" fmla="*/ 173 h 1070"/>
                  <a:gd name="T6" fmla="*/ 960 w 1767"/>
                  <a:gd name="T7" fmla="*/ 168 h 1070"/>
                  <a:gd name="T8" fmla="*/ 1086 w 1767"/>
                  <a:gd name="T9" fmla="*/ 35 h 1070"/>
                  <a:gd name="T10" fmla="*/ 1290 w 1767"/>
                  <a:gd name="T11" fmla="*/ 6 h 1070"/>
                  <a:gd name="T12" fmla="*/ 1497 w 1767"/>
                  <a:gd name="T13" fmla="*/ 173 h 1070"/>
                  <a:gd name="T14" fmla="*/ 1580 w 1767"/>
                  <a:gd name="T15" fmla="*/ 263 h 1070"/>
                  <a:gd name="T16" fmla="*/ 1729 w 1767"/>
                  <a:gd name="T17" fmla="*/ 393 h 1070"/>
                  <a:gd name="T18" fmla="*/ 1767 w 1767"/>
                  <a:gd name="T19" fmla="*/ 567 h 1070"/>
                  <a:gd name="T20" fmla="*/ 1696 w 1767"/>
                  <a:gd name="T21" fmla="*/ 732 h 1070"/>
                  <a:gd name="T22" fmla="*/ 1453 w 1767"/>
                  <a:gd name="T23" fmla="*/ 753 h 1070"/>
                  <a:gd name="T24" fmla="*/ 1503 w 1767"/>
                  <a:gd name="T25" fmla="*/ 1064 h 1070"/>
                  <a:gd name="T26" fmla="*/ 1371 w 1767"/>
                  <a:gd name="T27" fmla="*/ 866 h 1070"/>
                  <a:gd name="T28" fmla="*/ 1342 w 1767"/>
                  <a:gd name="T29" fmla="*/ 929 h 1070"/>
                  <a:gd name="T30" fmla="*/ 1302 w 1767"/>
                  <a:gd name="T31" fmla="*/ 1051 h 1070"/>
                  <a:gd name="T32" fmla="*/ 1197 w 1767"/>
                  <a:gd name="T33" fmla="*/ 1059 h 1070"/>
                  <a:gd name="T34" fmla="*/ 1144 w 1767"/>
                  <a:gd name="T35" fmla="*/ 940 h 1070"/>
                  <a:gd name="T36" fmla="*/ 1094 w 1767"/>
                  <a:gd name="T37" fmla="*/ 1009 h 1070"/>
                  <a:gd name="T38" fmla="*/ 1008 w 1767"/>
                  <a:gd name="T39" fmla="*/ 1070 h 1070"/>
                  <a:gd name="T40" fmla="*/ 912 w 1767"/>
                  <a:gd name="T41" fmla="*/ 1009 h 1070"/>
                  <a:gd name="T42" fmla="*/ 905 w 1767"/>
                  <a:gd name="T43" fmla="*/ 877 h 1070"/>
                  <a:gd name="T44" fmla="*/ 915 w 1767"/>
                  <a:gd name="T45" fmla="*/ 791 h 1070"/>
                  <a:gd name="T46" fmla="*/ 761 w 1767"/>
                  <a:gd name="T47" fmla="*/ 750 h 1070"/>
                  <a:gd name="T48" fmla="*/ 8 w 1767"/>
                  <a:gd name="T49" fmla="*/ 725 h 1070"/>
                  <a:gd name="T50" fmla="*/ 41 w 1767"/>
                  <a:gd name="T51" fmla="*/ 506 h 1070"/>
                  <a:gd name="T52" fmla="*/ 217 w 1767"/>
                  <a:gd name="T53" fmla="*/ 370 h 1070"/>
                  <a:gd name="T54" fmla="*/ 453 w 1767"/>
                  <a:gd name="T55" fmla="*/ 403 h 1070"/>
                  <a:gd name="T56" fmla="*/ 951 w 1767"/>
                  <a:gd name="T57" fmla="*/ 413 h 1070"/>
                  <a:gd name="T58" fmla="*/ 834 w 1767"/>
                  <a:gd name="T59" fmla="*/ 269 h 1070"/>
                  <a:gd name="T60" fmla="*/ 669 w 1767"/>
                  <a:gd name="T61" fmla="*/ 269 h 1070"/>
                  <a:gd name="T62" fmla="*/ 561 w 1767"/>
                  <a:gd name="T63" fmla="*/ 391 h 1070"/>
                  <a:gd name="T64" fmla="*/ 581 w 1767"/>
                  <a:gd name="T65" fmla="*/ 559 h 1070"/>
                  <a:gd name="T66" fmla="*/ 723 w 1767"/>
                  <a:gd name="T67" fmla="*/ 655 h 1070"/>
                  <a:gd name="T68" fmla="*/ 970 w 1767"/>
                  <a:gd name="T69" fmla="*/ 657 h 1070"/>
                  <a:gd name="T70" fmla="*/ 1058 w 1767"/>
                  <a:gd name="T71" fmla="*/ 810 h 1070"/>
                  <a:gd name="T72" fmla="*/ 1209 w 1767"/>
                  <a:gd name="T73" fmla="*/ 842 h 1070"/>
                  <a:gd name="T74" fmla="*/ 1347 w 1767"/>
                  <a:gd name="T75" fmla="*/ 746 h 1070"/>
                  <a:gd name="T76" fmla="*/ 1628 w 1767"/>
                  <a:gd name="T77" fmla="*/ 659 h 1070"/>
                  <a:gd name="T78" fmla="*/ 1669 w 1767"/>
                  <a:gd name="T79" fmla="*/ 509 h 1070"/>
                  <a:gd name="T80" fmla="*/ 1587 w 1767"/>
                  <a:gd name="T81" fmla="*/ 374 h 1070"/>
                  <a:gd name="T82" fmla="*/ 1453 w 1767"/>
                  <a:gd name="T83" fmla="*/ 338 h 1070"/>
                  <a:gd name="T84" fmla="*/ 1421 w 1767"/>
                  <a:gd name="T85" fmla="*/ 241 h 1070"/>
                  <a:gd name="T86" fmla="*/ 1347 w 1767"/>
                  <a:gd name="T87" fmla="*/ 133 h 1070"/>
                  <a:gd name="T88" fmla="*/ 1224 w 1767"/>
                  <a:gd name="T89" fmla="*/ 95 h 1070"/>
                  <a:gd name="T90" fmla="*/ 1107 w 1767"/>
                  <a:gd name="T91" fmla="*/ 135 h 1070"/>
                  <a:gd name="T92" fmla="*/ 1030 w 1767"/>
                  <a:gd name="T93" fmla="*/ 250 h 1070"/>
                  <a:gd name="T94" fmla="*/ 1050 w 1767"/>
                  <a:gd name="T95" fmla="*/ 432 h 1070"/>
                  <a:gd name="T96" fmla="*/ 501 w 1767"/>
                  <a:gd name="T97" fmla="*/ 611 h 1070"/>
                  <a:gd name="T98" fmla="*/ 424 w 1767"/>
                  <a:gd name="T99" fmla="*/ 498 h 1070"/>
                  <a:gd name="T100" fmla="*/ 280 w 1767"/>
                  <a:gd name="T101" fmla="*/ 454 h 1070"/>
                  <a:gd name="T102" fmla="*/ 162 w 1767"/>
                  <a:gd name="T103" fmla="*/ 506 h 1070"/>
                  <a:gd name="T104" fmla="*/ 99 w 1767"/>
                  <a:gd name="T105" fmla="*/ 616 h 1070"/>
                  <a:gd name="T106" fmla="*/ 973 w 1767"/>
                  <a:gd name="T107" fmla="*/ 885 h 1070"/>
                  <a:gd name="T108" fmla="*/ 981 w 1767"/>
                  <a:gd name="T109" fmla="*/ 1002 h 1070"/>
                  <a:gd name="T110" fmla="*/ 1026 w 1767"/>
                  <a:gd name="T111" fmla="*/ 999 h 1070"/>
                  <a:gd name="T112" fmla="*/ 1030 w 1767"/>
                  <a:gd name="T113" fmla="*/ 905 h 1070"/>
                  <a:gd name="T114" fmla="*/ 1212 w 1767"/>
                  <a:gd name="T115" fmla="*/ 941 h 1070"/>
                  <a:gd name="T116" fmla="*/ 1229 w 1767"/>
                  <a:gd name="T117" fmla="*/ 1007 h 1070"/>
                  <a:gd name="T118" fmla="*/ 1271 w 1767"/>
                  <a:gd name="T119" fmla="*/ 986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7" h="1070">
                    <a:moveTo>
                      <a:pt x="459" y="405"/>
                    </a:moveTo>
                    <a:lnTo>
                      <a:pt x="459" y="405"/>
                    </a:lnTo>
                    <a:lnTo>
                      <a:pt x="464" y="385"/>
                    </a:lnTo>
                    <a:lnTo>
                      <a:pt x="469" y="366"/>
                    </a:lnTo>
                    <a:lnTo>
                      <a:pt x="476" y="347"/>
                    </a:lnTo>
                    <a:lnTo>
                      <a:pt x="483" y="330"/>
                    </a:lnTo>
                    <a:lnTo>
                      <a:pt x="492" y="313"/>
                    </a:lnTo>
                    <a:lnTo>
                      <a:pt x="501" y="295"/>
                    </a:lnTo>
                    <a:lnTo>
                      <a:pt x="510" y="281"/>
                    </a:lnTo>
                    <a:lnTo>
                      <a:pt x="522" y="265"/>
                    </a:lnTo>
                    <a:lnTo>
                      <a:pt x="534" y="252"/>
                    </a:lnTo>
                    <a:lnTo>
                      <a:pt x="547" y="238"/>
                    </a:lnTo>
                    <a:lnTo>
                      <a:pt x="561" y="225"/>
                    </a:lnTo>
                    <a:lnTo>
                      <a:pt x="577" y="214"/>
                    </a:lnTo>
                    <a:lnTo>
                      <a:pt x="593" y="204"/>
                    </a:lnTo>
                    <a:lnTo>
                      <a:pt x="610" y="193"/>
                    </a:lnTo>
                    <a:lnTo>
                      <a:pt x="627" y="184"/>
                    </a:lnTo>
                    <a:lnTo>
                      <a:pt x="647" y="176"/>
                    </a:lnTo>
                    <a:lnTo>
                      <a:pt x="647" y="176"/>
                    </a:lnTo>
                    <a:lnTo>
                      <a:pt x="665" y="169"/>
                    </a:lnTo>
                    <a:lnTo>
                      <a:pt x="685" y="164"/>
                    </a:lnTo>
                    <a:lnTo>
                      <a:pt x="704" y="160"/>
                    </a:lnTo>
                    <a:lnTo>
                      <a:pt x="724" y="157"/>
                    </a:lnTo>
                    <a:lnTo>
                      <a:pt x="742" y="156"/>
                    </a:lnTo>
                    <a:lnTo>
                      <a:pt x="761" y="155"/>
                    </a:lnTo>
                    <a:lnTo>
                      <a:pt x="780" y="156"/>
                    </a:lnTo>
                    <a:lnTo>
                      <a:pt x="798" y="159"/>
                    </a:lnTo>
                    <a:lnTo>
                      <a:pt x="817" y="163"/>
                    </a:lnTo>
                    <a:lnTo>
                      <a:pt x="834" y="167"/>
                    </a:lnTo>
                    <a:lnTo>
                      <a:pt x="852" y="173"/>
                    </a:lnTo>
                    <a:lnTo>
                      <a:pt x="870" y="180"/>
                    </a:lnTo>
                    <a:lnTo>
                      <a:pt x="887" y="188"/>
                    </a:lnTo>
                    <a:lnTo>
                      <a:pt x="904" y="198"/>
                    </a:lnTo>
                    <a:lnTo>
                      <a:pt x="921" y="209"/>
                    </a:lnTo>
                    <a:lnTo>
                      <a:pt x="939" y="221"/>
                    </a:lnTo>
                    <a:lnTo>
                      <a:pt x="939" y="221"/>
                    </a:lnTo>
                    <a:lnTo>
                      <a:pt x="945" y="202"/>
                    </a:lnTo>
                    <a:lnTo>
                      <a:pt x="952" y="185"/>
                    </a:lnTo>
                    <a:lnTo>
                      <a:pt x="952" y="185"/>
                    </a:lnTo>
                    <a:lnTo>
                      <a:pt x="960" y="168"/>
                    </a:lnTo>
                    <a:lnTo>
                      <a:pt x="969" y="151"/>
                    </a:lnTo>
                    <a:lnTo>
                      <a:pt x="980" y="133"/>
                    </a:lnTo>
                    <a:lnTo>
                      <a:pt x="990" y="118"/>
                    </a:lnTo>
                    <a:lnTo>
                      <a:pt x="1001" y="103"/>
                    </a:lnTo>
                    <a:lnTo>
                      <a:pt x="1013" y="90"/>
                    </a:lnTo>
                    <a:lnTo>
                      <a:pt x="1026" y="76"/>
                    </a:lnTo>
                    <a:lnTo>
                      <a:pt x="1039" y="66"/>
                    </a:lnTo>
                    <a:lnTo>
                      <a:pt x="1054" y="54"/>
                    </a:lnTo>
                    <a:lnTo>
                      <a:pt x="1070" y="45"/>
                    </a:lnTo>
                    <a:lnTo>
                      <a:pt x="1086" y="35"/>
                    </a:lnTo>
                    <a:lnTo>
                      <a:pt x="1102" y="27"/>
                    </a:lnTo>
                    <a:lnTo>
                      <a:pt x="1119" y="21"/>
                    </a:lnTo>
                    <a:lnTo>
                      <a:pt x="1137" y="14"/>
                    </a:lnTo>
                    <a:lnTo>
                      <a:pt x="1156" y="9"/>
                    </a:lnTo>
                    <a:lnTo>
                      <a:pt x="1176" y="5"/>
                    </a:lnTo>
                    <a:lnTo>
                      <a:pt x="1176" y="5"/>
                    </a:lnTo>
                    <a:lnTo>
                      <a:pt x="1205" y="1"/>
                    </a:lnTo>
                    <a:lnTo>
                      <a:pt x="1234" y="0"/>
                    </a:lnTo>
                    <a:lnTo>
                      <a:pt x="1262" y="2"/>
                    </a:lnTo>
                    <a:lnTo>
                      <a:pt x="1290" y="6"/>
                    </a:lnTo>
                    <a:lnTo>
                      <a:pt x="1316" y="14"/>
                    </a:lnTo>
                    <a:lnTo>
                      <a:pt x="1343" y="23"/>
                    </a:lnTo>
                    <a:lnTo>
                      <a:pt x="1367" y="35"/>
                    </a:lnTo>
                    <a:lnTo>
                      <a:pt x="1391" y="49"/>
                    </a:lnTo>
                    <a:lnTo>
                      <a:pt x="1413" y="65"/>
                    </a:lnTo>
                    <a:lnTo>
                      <a:pt x="1433" y="83"/>
                    </a:lnTo>
                    <a:lnTo>
                      <a:pt x="1452" y="103"/>
                    </a:lnTo>
                    <a:lnTo>
                      <a:pt x="1469" y="124"/>
                    </a:lnTo>
                    <a:lnTo>
                      <a:pt x="1484" y="148"/>
                    </a:lnTo>
                    <a:lnTo>
                      <a:pt x="1497" y="173"/>
                    </a:lnTo>
                    <a:lnTo>
                      <a:pt x="1507" y="198"/>
                    </a:lnTo>
                    <a:lnTo>
                      <a:pt x="1515" y="226"/>
                    </a:lnTo>
                    <a:lnTo>
                      <a:pt x="1515" y="226"/>
                    </a:lnTo>
                    <a:lnTo>
                      <a:pt x="1518" y="236"/>
                    </a:lnTo>
                    <a:lnTo>
                      <a:pt x="1522" y="242"/>
                    </a:lnTo>
                    <a:lnTo>
                      <a:pt x="1529" y="246"/>
                    </a:lnTo>
                    <a:lnTo>
                      <a:pt x="1538" y="250"/>
                    </a:lnTo>
                    <a:lnTo>
                      <a:pt x="1538" y="250"/>
                    </a:lnTo>
                    <a:lnTo>
                      <a:pt x="1560" y="257"/>
                    </a:lnTo>
                    <a:lnTo>
                      <a:pt x="1580" y="263"/>
                    </a:lnTo>
                    <a:lnTo>
                      <a:pt x="1600" y="271"/>
                    </a:lnTo>
                    <a:lnTo>
                      <a:pt x="1619" y="282"/>
                    </a:lnTo>
                    <a:lnTo>
                      <a:pt x="1636" y="291"/>
                    </a:lnTo>
                    <a:lnTo>
                      <a:pt x="1652" y="303"/>
                    </a:lnTo>
                    <a:lnTo>
                      <a:pt x="1668" y="315"/>
                    </a:lnTo>
                    <a:lnTo>
                      <a:pt x="1682" y="328"/>
                    </a:lnTo>
                    <a:lnTo>
                      <a:pt x="1696" y="343"/>
                    </a:lnTo>
                    <a:lnTo>
                      <a:pt x="1708" y="359"/>
                    </a:lnTo>
                    <a:lnTo>
                      <a:pt x="1720" y="375"/>
                    </a:lnTo>
                    <a:lnTo>
                      <a:pt x="1729" y="393"/>
                    </a:lnTo>
                    <a:lnTo>
                      <a:pt x="1738" y="412"/>
                    </a:lnTo>
                    <a:lnTo>
                      <a:pt x="1746" y="431"/>
                    </a:lnTo>
                    <a:lnTo>
                      <a:pt x="1753" y="452"/>
                    </a:lnTo>
                    <a:lnTo>
                      <a:pt x="1759" y="473"/>
                    </a:lnTo>
                    <a:lnTo>
                      <a:pt x="1759" y="473"/>
                    </a:lnTo>
                    <a:lnTo>
                      <a:pt x="1763" y="493"/>
                    </a:lnTo>
                    <a:lnTo>
                      <a:pt x="1766" y="511"/>
                    </a:lnTo>
                    <a:lnTo>
                      <a:pt x="1767" y="530"/>
                    </a:lnTo>
                    <a:lnTo>
                      <a:pt x="1767" y="549"/>
                    </a:lnTo>
                    <a:lnTo>
                      <a:pt x="1767" y="567"/>
                    </a:lnTo>
                    <a:lnTo>
                      <a:pt x="1765" y="584"/>
                    </a:lnTo>
                    <a:lnTo>
                      <a:pt x="1762" y="602"/>
                    </a:lnTo>
                    <a:lnTo>
                      <a:pt x="1757" y="619"/>
                    </a:lnTo>
                    <a:lnTo>
                      <a:pt x="1751" y="636"/>
                    </a:lnTo>
                    <a:lnTo>
                      <a:pt x="1745" y="653"/>
                    </a:lnTo>
                    <a:lnTo>
                      <a:pt x="1738" y="669"/>
                    </a:lnTo>
                    <a:lnTo>
                      <a:pt x="1729" y="685"/>
                    </a:lnTo>
                    <a:lnTo>
                      <a:pt x="1718" y="701"/>
                    </a:lnTo>
                    <a:lnTo>
                      <a:pt x="1708" y="717"/>
                    </a:lnTo>
                    <a:lnTo>
                      <a:pt x="1696" y="732"/>
                    </a:lnTo>
                    <a:lnTo>
                      <a:pt x="1682" y="746"/>
                    </a:lnTo>
                    <a:lnTo>
                      <a:pt x="1682" y="746"/>
                    </a:lnTo>
                    <a:lnTo>
                      <a:pt x="1680" y="749"/>
                    </a:lnTo>
                    <a:lnTo>
                      <a:pt x="1676" y="751"/>
                    </a:lnTo>
                    <a:lnTo>
                      <a:pt x="1672" y="753"/>
                    </a:lnTo>
                    <a:lnTo>
                      <a:pt x="1668" y="753"/>
                    </a:lnTo>
                    <a:lnTo>
                      <a:pt x="1668" y="753"/>
                    </a:lnTo>
                    <a:lnTo>
                      <a:pt x="1457" y="751"/>
                    </a:lnTo>
                    <a:lnTo>
                      <a:pt x="1457" y="751"/>
                    </a:lnTo>
                    <a:lnTo>
                      <a:pt x="1453" y="753"/>
                    </a:lnTo>
                    <a:lnTo>
                      <a:pt x="1450" y="753"/>
                    </a:lnTo>
                    <a:lnTo>
                      <a:pt x="1448" y="755"/>
                    </a:lnTo>
                    <a:lnTo>
                      <a:pt x="1446" y="758"/>
                    </a:lnTo>
                    <a:lnTo>
                      <a:pt x="1446" y="758"/>
                    </a:lnTo>
                    <a:lnTo>
                      <a:pt x="1425" y="801"/>
                    </a:lnTo>
                    <a:lnTo>
                      <a:pt x="1425" y="801"/>
                    </a:lnTo>
                    <a:lnTo>
                      <a:pt x="1503" y="801"/>
                    </a:lnTo>
                    <a:lnTo>
                      <a:pt x="1503" y="801"/>
                    </a:lnTo>
                    <a:lnTo>
                      <a:pt x="1503" y="1064"/>
                    </a:lnTo>
                    <a:lnTo>
                      <a:pt x="1503" y="1064"/>
                    </a:lnTo>
                    <a:lnTo>
                      <a:pt x="1436" y="1064"/>
                    </a:lnTo>
                    <a:lnTo>
                      <a:pt x="1436" y="1064"/>
                    </a:lnTo>
                    <a:lnTo>
                      <a:pt x="1436" y="858"/>
                    </a:lnTo>
                    <a:lnTo>
                      <a:pt x="1436" y="858"/>
                    </a:lnTo>
                    <a:lnTo>
                      <a:pt x="1421" y="858"/>
                    </a:lnTo>
                    <a:lnTo>
                      <a:pt x="1405" y="858"/>
                    </a:lnTo>
                    <a:lnTo>
                      <a:pt x="1405" y="858"/>
                    </a:lnTo>
                    <a:lnTo>
                      <a:pt x="1393" y="858"/>
                    </a:lnTo>
                    <a:lnTo>
                      <a:pt x="1381" y="860"/>
                    </a:lnTo>
                    <a:lnTo>
                      <a:pt x="1371" y="866"/>
                    </a:lnTo>
                    <a:lnTo>
                      <a:pt x="1359" y="873"/>
                    </a:lnTo>
                    <a:lnTo>
                      <a:pt x="1359" y="873"/>
                    </a:lnTo>
                    <a:lnTo>
                      <a:pt x="1350" y="881"/>
                    </a:lnTo>
                    <a:lnTo>
                      <a:pt x="1347" y="887"/>
                    </a:lnTo>
                    <a:lnTo>
                      <a:pt x="1344" y="892"/>
                    </a:lnTo>
                    <a:lnTo>
                      <a:pt x="1342" y="897"/>
                    </a:lnTo>
                    <a:lnTo>
                      <a:pt x="1340" y="903"/>
                    </a:lnTo>
                    <a:lnTo>
                      <a:pt x="1340" y="915"/>
                    </a:lnTo>
                    <a:lnTo>
                      <a:pt x="1340" y="915"/>
                    </a:lnTo>
                    <a:lnTo>
                      <a:pt x="1342" y="929"/>
                    </a:lnTo>
                    <a:lnTo>
                      <a:pt x="1342" y="944"/>
                    </a:lnTo>
                    <a:lnTo>
                      <a:pt x="1340" y="972"/>
                    </a:lnTo>
                    <a:lnTo>
                      <a:pt x="1340" y="972"/>
                    </a:lnTo>
                    <a:lnTo>
                      <a:pt x="1340" y="988"/>
                    </a:lnTo>
                    <a:lnTo>
                      <a:pt x="1336" y="1001"/>
                    </a:lnTo>
                    <a:lnTo>
                      <a:pt x="1332" y="1014"/>
                    </a:lnTo>
                    <a:lnTo>
                      <a:pt x="1327" y="1025"/>
                    </a:lnTo>
                    <a:lnTo>
                      <a:pt x="1319" y="1035"/>
                    </a:lnTo>
                    <a:lnTo>
                      <a:pt x="1311" y="1045"/>
                    </a:lnTo>
                    <a:lnTo>
                      <a:pt x="1302" y="1051"/>
                    </a:lnTo>
                    <a:lnTo>
                      <a:pt x="1291" y="1058"/>
                    </a:lnTo>
                    <a:lnTo>
                      <a:pt x="1281" y="1063"/>
                    </a:lnTo>
                    <a:lnTo>
                      <a:pt x="1269" y="1067"/>
                    </a:lnTo>
                    <a:lnTo>
                      <a:pt x="1257" y="1068"/>
                    </a:lnTo>
                    <a:lnTo>
                      <a:pt x="1245" y="1070"/>
                    </a:lnTo>
                    <a:lnTo>
                      <a:pt x="1233" y="1068"/>
                    </a:lnTo>
                    <a:lnTo>
                      <a:pt x="1221" y="1067"/>
                    </a:lnTo>
                    <a:lnTo>
                      <a:pt x="1209" y="1063"/>
                    </a:lnTo>
                    <a:lnTo>
                      <a:pt x="1197" y="1059"/>
                    </a:lnTo>
                    <a:lnTo>
                      <a:pt x="1197" y="1059"/>
                    </a:lnTo>
                    <a:lnTo>
                      <a:pt x="1184" y="1051"/>
                    </a:lnTo>
                    <a:lnTo>
                      <a:pt x="1173" y="1042"/>
                    </a:lnTo>
                    <a:lnTo>
                      <a:pt x="1164" y="1033"/>
                    </a:lnTo>
                    <a:lnTo>
                      <a:pt x="1157" y="1022"/>
                    </a:lnTo>
                    <a:lnTo>
                      <a:pt x="1152" y="1010"/>
                    </a:lnTo>
                    <a:lnTo>
                      <a:pt x="1148" y="998"/>
                    </a:lnTo>
                    <a:lnTo>
                      <a:pt x="1145" y="984"/>
                    </a:lnTo>
                    <a:lnTo>
                      <a:pt x="1144" y="969"/>
                    </a:lnTo>
                    <a:lnTo>
                      <a:pt x="1144" y="969"/>
                    </a:lnTo>
                    <a:lnTo>
                      <a:pt x="1144" y="940"/>
                    </a:lnTo>
                    <a:lnTo>
                      <a:pt x="1144" y="940"/>
                    </a:lnTo>
                    <a:lnTo>
                      <a:pt x="1102" y="933"/>
                    </a:lnTo>
                    <a:lnTo>
                      <a:pt x="1102" y="933"/>
                    </a:lnTo>
                    <a:lnTo>
                      <a:pt x="1102" y="942"/>
                    </a:lnTo>
                    <a:lnTo>
                      <a:pt x="1102" y="942"/>
                    </a:lnTo>
                    <a:lnTo>
                      <a:pt x="1100" y="972"/>
                    </a:lnTo>
                    <a:lnTo>
                      <a:pt x="1099" y="986"/>
                    </a:lnTo>
                    <a:lnTo>
                      <a:pt x="1096" y="999"/>
                    </a:lnTo>
                    <a:lnTo>
                      <a:pt x="1096" y="999"/>
                    </a:lnTo>
                    <a:lnTo>
                      <a:pt x="1094" y="1009"/>
                    </a:lnTo>
                    <a:lnTo>
                      <a:pt x="1091" y="1018"/>
                    </a:lnTo>
                    <a:lnTo>
                      <a:pt x="1086" y="1026"/>
                    </a:lnTo>
                    <a:lnTo>
                      <a:pt x="1080" y="1034"/>
                    </a:lnTo>
                    <a:lnTo>
                      <a:pt x="1075" y="1041"/>
                    </a:lnTo>
                    <a:lnTo>
                      <a:pt x="1069" y="1046"/>
                    </a:lnTo>
                    <a:lnTo>
                      <a:pt x="1062" y="1051"/>
                    </a:lnTo>
                    <a:lnTo>
                      <a:pt x="1055" y="1056"/>
                    </a:lnTo>
                    <a:lnTo>
                      <a:pt x="1039" y="1063"/>
                    </a:lnTo>
                    <a:lnTo>
                      <a:pt x="1023" y="1068"/>
                    </a:lnTo>
                    <a:lnTo>
                      <a:pt x="1008" y="1070"/>
                    </a:lnTo>
                    <a:lnTo>
                      <a:pt x="992" y="1068"/>
                    </a:lnTo>
                    <a:lnTo>
                      <a:pt x="992" y="1068"/>
                    </a:lnTo>
                    <a:lnTo>
                      <a:pt x="978" y="1066"/>
                    </a:lnTo>
                    <a:lnTo>
                      <a:pt x="965" y="1062"/>
                    </a:lnTo>
                    <a:lnTo>
                      <a:pt x="953" y="1056"/>
                    </a:lnTo>
                    <a:lnTo>
                      <a:pt x="943" y="1051"/>
                    </a:lnTo>
                    <a:lnTo>
                      <a:pt x="933" y="1043"/>
                    </a:lnTo>
                    <a:lnTo>
                      <a:pt x="925" y="1033"/>
                    </a:lnTo>
                    <a:lnTo>
                      <a:pt x="917" y="1022"/>
                    </a:lnTo>
                    <a:lnTo>
                      <a:pt x="912" y="1009"/>
                    </a:lnTo>
                    <a:lnTo>
                      <a:pt x="912" y="1009"/>
                    </a:lnTo>
                    <a:lnTo>
                      <a:pt x="909" y="1001"/>
                    </a:lnTo>
                    <a:lnTo>
                      <a:pt x="907" y="993"/>
                    </a:lnTo>
                    <a:lnTo>
                      <a:pt x="904" y="974"/>
                    </a:lnTo>
                    <a:lnTo>
                      <a:pt x="904" y="974"/>
                    </a:lnTo>
                    <a:lnTo>
                      <a:pt x="904" y="937"/>
                    </a:lnTo>
                    <a:lnTo>
                      <a:pt x="904" y="900"/>
                    </a:lnTo>
                    <a:lnTo>
                      <a:pt x="904" y="900"/>
                    </a:lnTo>
                    <a:lnTo>
                      <a:pt x="904" y="889"/>
                    </a:lnTo>
                    <a:lnTo>
                      <a:pt x="905" y="877"/>
                    </a:lnTo>
                    <a:lnTo>
                      <a:pt x="908" y="868"/>
                    </a:lnTo>
                    <a:lnTo>
                      <a:pt x="911" y="858"/>
                    </a:lnTo>
                    <a:lnTo>
                      <a:pt x="915" y="848"/>
                    </a:lnTo>
                    <a:lnTo>
                      <a:pt x="920" y="839"/>
                    </a:lnTo>
                    <a:lnTo>
                      <a:pt x="927" y="830"/>
                    </a:lnTo>
                    <a:lnTo>
                      <a:pt x="933" y="822"/>
                    </a:lnTo>
                    <a:lnTo>
                      <a:pt x="933" y="822"/>
                    </a:lnTo>
                    <a:lnTo>
                      <a:pt x="924" y="806"/>
                    </a:lnTo>
                    <a:lnTo>
                      <a:pt x="915" y="791"/>
                    </a:lnTo>
                    <a:lnTo>
                      <a:pt x="915" y="791"/>
                    </a:lnTo>
                    <a:lnTo>
                      <a:pt x="905" y="774"/>
                    </a:lnTo>
                    <a:lnTo>
                      <a:pt x="898" y="757"/>
                    </a:lnTo>
                    <a:lnTo>
                      <a:pt x="898" y="757"/>
                    </a:lnTo>
                    <a:lnTo>
                      <a:pt x="896" y="754"/>
                    </a:lnTo>
                    <a:lnTo>
                      <a:pt x="894" y="751"/>
                    </a:lnTo>
                    <a:lnTo>
                      <a:pt x="891" y="751"/>
                    </a:lnTo>
                    <a:lnTo>
                      <a:pt x="888" y="751"/>
                    </a:lnTo>
                    <a:lnTo>
                      <a:pt x="888" y="751"/>
                    </a:lnTo>
                    <a:lnTo>
                      <a:pt x="761" y="750"/>
                    </a:lnTo>
                    <a:lnTo>
                      <a:pt x="761" y="750"/>
                    </a:lnTo>
                    <a:lnTo>
                      <a:pt x="341" y="750"/>
                    </a:lnTo>
                    <a:lnTo>
                      <a:pt x="341" y="750"/>
                    </a:lnTo>
                    <a:lnTo>
                      <a:pt x="24" y="749"/>
                    </a:lnTo>
                    <a:lnTo>
                      <a:pt x="24" y="749"/>
                    </a:lnTo>
                    <a:lnTo>
                      <a:pt x="18" y="749"/>
                    </a:lnTo>
                    <a:lnTo>
                      <a:pt x="16" y="747"/>
                    </a:lnTo>
                    <a:lnTo>
                      <a:pt x="15" y="745"/>
                    </a:lnTo>
                    <a:lnTo>
                      <a:pt x="12" y="741"/>
                    </a:lnTo>
                    <a:lnTo>
                      <a:pt x="12" y="741"/>
                    </a:lnTo>
                    <a:lnTo>
                      <a:pt x="8" y="725"/>
                    </a:lnTo>
                    <a:lnTo>
                      <a:pt x="5" y="710"/>
                    </a:lnTo>
                    <a:lnTo>
                      <a:pt x="3" y="694"/>
                    </a:lnTo>
                    <a:lnTo>
                      <a:pt x="1" y="680"/>
                    </a:lnTo>
                    <a:lnTo>
                      <a:pt x="0" y="664"/>
                    </a:lnTo>
                    <a:lnTo>
                      <a:pt x="0" y="648"/>
                    </a:lnTo>
                    <a:lnTo>
                      <a:pt x="3" y="619"/>
                    </a:lnTo>
                    <a:lnTo>
                      <a:pt x="8" y="588"/>
                    </a:lnTo>
                    <a:lnTo>
                      <a:pt x="16" y="561"/>
                    </a:lnTo>
                    <a:lnTo>
                      <a:pt x="28" y="533"/>
                    </a:lnTo>
                    <a:lnTo>
                      <a:pt x="41" y="506"/>
                    </a:lnTo>
                    <a:lnTo>
                      <a:pt x="57" y="481"/>
                    </a:lnTo>
                    <a:lnTo>
                      <a:pt x="77" y="457"/>
                    </a:lnTo>
                    <a:lnTo>
                      <a:pt x="97" y="436"/>
                    </a:lnTo>
                    <a:lnTo>
                      <a:pt x="121" y="417"/>
                    </a:lnTo>
                    <a:lnTo>
                      <a:pt x="146" y="400"/>
                    </a:lnTo>
                    <a:lnTo>
                      <a:pt x="159" y="393"/>
                    </a:lnTo>
                    <a:lnTo>
                      <a:pt x="172" y="385"/>
                    </a:lnTo>
                    <a:lnTo>
                      <a:pt x="187" y="380"/>
                    </a:lnTo>
                    <a:lnTo>
                      <a:pt x="201" y="375"/>
                    </a:lnTo>
                    <a:lnTo>
                      <a:pt x="217" y="370"/>
                    </a:lnTo>
                    <a:lnTo>
                      <a:pt x="232" y="366"/>
                    </a:lnTo>
                    <a:lnTo>
                      <a:pt x="232" y="366"/>
                    </a:lnTo>
                    <a:lnTo>
                      <a:pt x="261" y="362"/>
                    </a:lnTo>
                    <a:lnTo>
                      <a:pt x="290" y="359"/>
                    </a:lnTo>
                    <a:lnTo>
                      <a:pt x="318" y="359"/>
                    </a:lnTo>
                    <a:lnTo>
                      <a:pt x="346" y="363"/>
                    </a:lnTo>
                    <a:lnTo>
                      <a:pt x="374" y="368"/>
                    </a:lnTo>
                    <a:lnTo>
                      <a:pt x="400" y="378"/>
                    </a:lnTo>
                    <a:lnTo>
                      <a:pt x="427" y="388"/>
                    </a:lnTo>
                    <a:lnTo>
                      <a:pt x="453" y="403"/>
                    </a:lnTo>
                    <a:lnTo>
                      <a:pt x="453" y="403"/>
                    </a:lnTo>
                    <a:lnTo>
                      <a:pt x="457" y="405"/>
                    </a:lnTo>
                    <a:lnTo>
                      <a:pt x="457" y="405"/>
                    </a:lnTo>
                    <a:lnTo>
                      <a:pt x="459" y="405"/>
                    </a:lnTo>
                    <a:lnTo>
                      <a:pt x="459" y="405"/>
                    </a:lnTo>
                    <a:close/>
                    <a:moveTo>
                      <a:pt x="956" y="453"/>
                    </a:moveTo>
                    <a:lnTo>
                      <a:pt x="956" y="453"/>
                    </a:lnTo>
                    <a:lnTo>
                      <a:pt x="955" y="433"/>
                    </a:lnTo>
                    <a:lnTo>
                      <a:pt x="951" y="413"/>
                    </a:lnTo>
                    <a:lnTo>
                      <a:pt x="951" y="413"/>
                    </a:lnTo>
                    <a:lnTo>
                      <a:pt x="945" y="393"/>
                    </a:lnTo>
                    <a:lnTo>
                      <a:pt x="939" y="374"/>
                    </a:lnTo>
                    <a:lnTo>
                      <a:pt x="929" y="356"/>
                    </a:lnTo>
                    <a:lnTo>
                      <a:pt x="920" y="340"/>
                    </a:lnTo>
                    <a:lnTo>
                      <a:pt x="908" y="324"/>
                    </a:lnTo>
                    <a:lnTo>
                      <a:pt x="896" y="310"/>
                    </a:lnTo>
                    <a:lnTo>
                      <a:pt x="882" y="298"/>
                    </a:lnTo>
                    <a:lnTo>
                      <a:pt x="867" y="286"/>
                    </a:lnTo>
                    <a:lnTo>
                      <a:pt x="851" y="277"/>
                    </a:lnTo>
                    <a:lnTo>
                      <a:pt x="834" y="269"/>
                    </a:lnTo>
                    <a:lnTo>
                      <a:pt x="817" y="262"/>
                    </a:lnTo>
                    <a:lnTo>
                      <a:pt x="798" y="257"/>
                    </a:lnTo>
                    <a:lnTo>
                      <a:pt x="778" y="253"/>
                    </a:lnTo>
                    <a:lnTo>
                      <a:pt x="758" y="252"/>
                    </a:lnTo>
                    <a:lnTo>
                      <a:pt x="738" y="253"/>
                    </a:lnTo>
                    <a:lnTo>
                      <a:pt x="719" y="254"/>
                    </a:lnTo>
                    <a:lnTo>
                      <a:pt x="719" y="254"/>
                    </a:lnTo>
                    <a:lnTo>
                      <a:pt x="701" y="258"/>
                    </a:lnTo>
                    <a:lnTo>
                      <a:pt x="685" y="263"/>
                    </a:lnTo>
                    <a:lnTo>
                      <a:pt x="669" y="269"/>
                    </a:lnTo>
                    <a:lnTo>
                      <a:pt x="655" y="277"/>
                    </a:lnTo>
                    <a:lnTo>
                      <a:pt x="640" y="286"/>
                    </a:lnTo>
                    <a:lnTo>
                      <a:pt x="627" y="295"/>
                    </a:lnTo>
                    <a:lnTo>
                      <a:pt x="614" y="307"/>
                    </a:lnTo>
                    <a:lnTo>
                      <a:pt x="602" y="319"/>
                    </a:lnTo>
                    <a:lnTo>
                      <a:pt x="591" y="332"/>
                    </a:lnTo>
                    <a:lnTo>
                      <a:pt x="582" y="346"/>
                    </a:lnTo>
                    <a:lnTo>
                      <a:pt x="574" y="360"/>
                    </a:lnTo>
                    <a:lnTo>
                      <a:pt x="566" y="376"/>
                    </a:lnTo>
                    <a:lnTo>
                      <a:pt x="561" y="391"/>
                    </a:lnTo>
                    <a:lnTo>
                      <a:pt x="555" y="408"/>
                    </a:lnTo>
                    <a:lnTo>
                      <a:pt x="553" y="424"/>
                    </a:lnTo>
                    <a:lnTo>
                      <a:pt x="551" y="441"/>
                    </a:lnTo>
                    <a:lnTo>
                      <a:pt x="551" y="441"/>
                    </a:lnTo>
                    <a:lnTo>
                      <a:pt x="551" y="462"/>
                    </a:lnTo>
                    <a:lnTo>
                      <a:pt x="553" y="484"/>
                    </a:lnTo>
                    <a:lnTo>
                      <a:pt x="557" y="503"/>
                    </a:lnTo>
                    <a:lnTo>
                      <a:pt x="563" y="523"/>
                    </a:lnTo>
                    <a:lnTo>
                      <a:pt x="570" y="542"/>
                    </a:lnTo>
                    <a:lnTo>
                      <a:pt x="581" y="559"/>
                    </a:lnTo>
                    <a:lnTo>
                      <a:pt x="593" y="576"/>
                    </a:lnTo>
                    <a:lnTo>
                      <a:pt x="606" y="592"/>
                    </a:lnTo>
                    <a:lnTo>
                      <a:pt x="606" y="592"/>
                    </a:lnTo>
                    <a:lnTo>
                      <a:pt x="620" y="607"/>
                    </a:lnTo>
                    <a:lnTo>
                      <a:pt x="635" y="619"/>
                    </a:lnTo>
                    <a:lnTo>
                      <a:pt x="651" y="629"/>
                    </a:lnTo>
                    <a:lnTo>
                      <a:pt x="667" y="639"/>
                    </a:lnTo>
                    <a:lnTo>
                      <a:pt x="685" y="647"/>
                    </a:lnTo>
                    <a:lnTo>
                      <a:pt x="703" y="652"/>
                    </a:lnTo>
                    <a:lnTo>
                      <a:pt x="723" y="655"/>
                    </a:lnTo>
                    <a:lnTo>
                      <a:pt x="741" y="657"/>
                    </a:lnTo>
                    <a:lnTo>
                      <a:pt x="741" y="657"/>
                    </a:lnTo>
                    <a:lnTo>
                      <a:pt x="776" y="657"/>
                    </a:lnTo>
                    <a:lnTo>
                      <a:pt x="810" y="657"/>
                    </a:lnTo>
                    <a:lnTo>
                      <a:pt x="879" y="657"/>
                    </a:lnTo>
                    <a:lnTo>
                      <a:pt x="879" y="657"/>
                    </a:lnTo>
                    <a:lnTo>
                      <a:pt x="966" y="657"/>
                    </a:lnTo>
                    <a:lnTo>
                      <a:pt x="966" y="657"/>
                    </a:lnTo>
                    <a:lnTo>
                      <a:pt x="970" y="657"/>
                    </a:lnTo>
                    <a:lnTo>
                      <a:pt x="970" y="657"/>
                    </a:lnTo>
                    <a:lnTo>
                      <a:pt x="973" y="676"/>
                    </a:lnTo>
                    <a:lnTo>
                      <a:pt x="977" y="694"/>
                    </a:lnTo>
                    <a:lnTo>
                      <a:pt x="982" y="712"/>
                    </a:lnTo>
                    <a:lnTo>
                      <a:pt x="989" y="729"/>
                    </a:lnTo>
                    <a:lnTo>
                      <a:pt x="997" y="745"/>
                    </a:lnTo>
                    <a:lnTo>
                      <a:pt x="1008" y="759"/>
                    </a:lnTo>
                    <a:lnTo>
                      <a:pt x="1018" y="774"/>
                    </a:lnTo>
                    <a:lnTo>
                      <a:pt x="1030" y="787"/>
                    </a:lnTo>
                    <a:lnTo>
                      <a:pt x="1043" y="799"/>
                    </a:lnTo>
                    <a:lnTo>
                      <a:pt x="1058" y="810"/>
                    </a:lnTo>
                    <a:lnTo>
                      <a:pt x="1073" y="819"/>
                    </a:lnTo>
                    <a:lnTo>
                      <a:pt x="1088" y="827"/>
                    </a:lnTo>
                    <a:lnTo>
                      <a:pt x="1106" y="834"/>
                    </a:lnTo>
                    <a:lnTo>
                      <a:pt x="1123" y="839"/>
                    </a:lnTo>
                    <a:lnTo>
                      <a:pt x="1141" y="843"/>
                    </a:lnTo>
                    <a:lnTo>
                      <a:pt x="1160" y="846"/>
                    </a:lnTo>
                    <a:lnTo>
                      <a:pt x="1160" y="846"/>
                    </a:lnTo>
                    <a:lnTo>
                      <a:pt x="1177" y="846"/>
                    </a:lnTo>
                    <a:lnTo>
                      <a:pt x="1193" y="844"/>
                    </a:lnTo>
                    <a:lnTo>
                      <a:pt x="1209" y="842"/>
                    </a:lnTo>
                    <a:lnTo>
                      <a:pt x="1225" y="839"/>
                    </a:lnTo>
                    <a:lnTo>
                      <a:pt x="1241" y="834"/>
                    </a:lnTo>
                    <a:lnTo>
                      <a:pt x="1255" y="827"/>
                    </a:lnTo>
                    <a:lnTo>
                      <a:pt x="1270" y="820"/>
                    </a:lnTo>
                    <a:lnTo>
                      <a:pt x="1285" y="811"/>
                    </a:lnTo>
                    <a:lnTo>
                      <a:pt x="1285" y="811"/>
                    </a:lnTo>
                    <a:lnTo>
                      <a:pt x="1303" y="797"/>
                    </a:lnTo>
                    <a:lnTo>
                      <a:pt x="1320" y="781"/>
                    </a:lnTo>
                    <a:lnTo>
                      <a:pt x="1334" y="763"/>
                    </a:lnTo>
                    <a:lnTo>
                      <a:pt x="1347" y="746"/>
                    </a:lnTo>
                    <a:lnTo>
                      <a:pt x="1356" y="726"/>
                    </a:lnTo>
                    <a:lnTo>
                      <a:pt x="1364" y="705"/>
                    </a:lnTo>
                    <a:lnTo>
                      <a:pt x="1371" y="683"/>
                    </a:lnTo>
                    <a:lnTo>
                      <a:pt x="1375" y="659"/>
                    </a:lnTo>
                    <a:lnTo>
                      <a:pt x="1375" y="659"/>
                    </a:lnTo>
                    <a:lnTo>
                      <a:pt x="1383" y="659"/>
                    </a:lnTo>
                    <a:lnTo>
                      <a:pt x="1383" y="659"/>
                    </a:lnTo>
                    <a:lnTo>
                      <a:pt x="1623" y="660"/>
                    </a:lnTo>
                    <a:lnTo>
                      <a:pt x="1623" y="660"/>
                    </a:lnTo>
                    <a:lnTo>
                      <a:pt x="1628" y="659"/>
                    </a:lnTo>
                    <a:lnTo>
                      <a:pt x="1632" y="657"/>
                    </a:lnTo>
                    <a:lnTo>
                      <a:pt x="1635" y="655"/>
                    </a:lnTo>
                    <a:lnTo>
                      <a:pt x="1637" y="652"/>
                    </a:lnTo>
                    <a:lnTo>
                      <a:pt x="1637" y="652"/>
                    </a:lnTo>
                    <a:lnTo>
                      <a:pt x="1651" y="628"/>
                    </a:lnTo>
                    <a:lnTo>
                      <a:pt x="1661" y="606"/>
                    </a:lnTo>
                    <a:lnTo>
                      <a:pt x="1668" y="582"/>
                    </a:lnTo>
                    <a:lnTo>
                      <a:pt x="1672" y="558"/>
                    </a:lnTo>
                    <a:lnTo>
                      <a:pt x="1672" y="533"/>
                    </a:lnTo>
                    <a:lnTo>
                      <a:pt x="1669" y="509"/>
                    </a:lnTo>
                    <a:lnTo>
                      <a:pt x="1664" y="484"/>
                    </a:lnTo>
                    <a:lnTo>
                      <a:pt x="1655" y="458"/>
                    </a:lnTo>
                    <a:lnTo>
                      <a:pt x="1655" y="458"/>
                    </a:lnTo>
                    <a:lnTo>
                      <a:pt x="1648" y="444"/>
                    </a:lnTo>
                    <a:lnTo>
                      <a:pt x="1640" y="431"/>
                    </a:lnTo>
                    <a:lnTo>
                      <a:pt x="1631" y="417"/>
                    </a:lnTo>
                    <a:lnTo>
                      <a:pt x="1621" y="405"/>
                    </a:lnTo>
                    <a:lnTo>
                      <a:pt x="1611" y="393"/>
                    </a:lnTo>
                    <a:lnTo>
                      <a:pt x="1599" y="383"/>
                    </a:lnTo>
                    <a:lnTo>
                      <a:pt x="1587" y="374"/>
                    </a:lnTo>
                    <a:lnTo>
                      <a:pt x="1574" y="366"/>
                    </a:lnTo>
                    <a:lnTo>
                      <a:pt x="1560" y="358"/>
                    </a:lnTo>
                    <a:lnTo>
                      <a:pt x="1546" y="351"/>
                    </a:lnTo>
                    <a:lnTo>
                      <a:pt x="1531" y="346"/>
                    </a:lnTo>
                    <a:lnTo>
                      <a:pt x="1517" y="342"/>
                    </a:lnTo>
                    <a:lnTo>
                      <a:pt x="1501" y="339"/>
                    </a:lnTo>
                    <a:lnTo>
                      <a:pt x="1485" y="338"/>
                    </a:lnTo>
                    <a:lnTo>
                      <a:pt x="1469" y="336"/>
                    </a:lnTo>
                    <a:lnTo>
                      <a:pt x="1453" y="338"/>
                    </a:lnTo>
                    <a:lnTo>
                      <a:pt x="1453" y="338"/>
                    </a:lnTo>
                    <a:lnTo>
                      <a:pt x="1425" y="340"/>
                    </a:lnTo>
                    <a:lnTo>
                      <a:pt x="1425" y="340"/>
                    </a:lnTo>
                    <a:lnTo>
                      <a:pt x="1425" y="335"/>
                    </a:lnTo>
                    <a:lnTo>
                      <a:pt x="1425" y="335"/>
                    </a:lnTo>
                    <a:lnTo>
                      <a:pt x="1429" y="311"/>
                    </a:lnTo>
                    <a:lnTo>
                      <a:pt x="1429" y="287"/>
                    </a:lnTo>
                    <a:lnTo>
                      <a:pt x="1429" y="275"/>
                    </a:lnTo>
                    <a:lnTo>
                      <a:pt x="1427" y="263"/>
                    </a:lnTo>
                    <a:lnTo>
                      <a:pt x="1424" y="253"/>
                    </a:lnTo>
                    <a:lnTo>
                      <a:pt x="1421" y="241"/>
                    </a:lnTo>
                    <a:lnTo>
                      <a:pt x="1421" y="241"/>
                    </a:lnTo>
                    <a:lnTo>
                      <a:pt x="1416" y="226"/>
                    </a:lnTo>
                    <a:lnTo>
                      <a:pt x="1409" y="212"/>
                    </a:lnTo>
                    <a:lnTo>
                      <a:pt x="1403" y="198"/>
                    </a:lnTo>
                    <a:lnTo>
                      <a:pt x="1395" y="185"/>
                    </a:lnTo>
                    <a:lnTo>
                      <a:pt x="1387" y="173"/>
                    </a:lnTo>
                    <a:lnTo>
                      <a:pt x="1377" y="163"/>
                    </a:lnTo>
                    <a:lnTo>
                      <a:pt x="1368" y="152"/>
                    </a:lnTo>
                    <a:lnTo>
                      <a:pt x="1358" y="143"/>
                    </a:lnTo>
                    <a:lnTo>
                      <a:pt x="1347" y="133"/>
                    </a:lnTo>
                    <a:lnTo>
                      <a:pt x="1335" y="126"/>
                    </a:lnTo>
                    <a:lnTo>
                      <a:pt x="1323" y="119"/>
                    </a:lnTo>
                    <a:lnTo>
                      <a:pt x="1310" y="114"/>
                    </a:lnTo>
                    <a:lnTo>
                      <a:pt x="1297" y="108"/>
                    </a:lnTo>
                    <a:lnTo>
                      <a:pt x="1282" y="103"/>
                    </a:lnTo>
                    <a:lnTo>
                      <a:pt x="1267" y="100"/>
                    </a:lnTo>
                    <a:lnTo>
                      <a:pt x="1252" y="98"/>
                    </a:lnTo>
                    <a:lnTo>
                      <a:pt x="1252" y="98"/>
                    </a:lnTo>
                    <a:lnTo>
                      <a:pt x="1237" y="96"/>
                    </a:lnTo>
                    <a:lnTo>
                      <a:pt x="1224" y="95"/>
                    </a:lnTo>
                    <a:lnTo>
                      <a:pt x="1210" y="96"/>
                    </a:lnTo>
                    <a:lnTo>
                      <a:pt x="1198" y="98"/>
                    </a:lnTo>
                    <a:lnTo>
                      <a:pt x="1185" y="99"/>
                    </a:lnTo>
                    <a:lnTo>
                      <a:pt x="1173" y="102"/>
                    </a:lnTo>
                    <a:lnTo>
                      <a:pt x="1161" y="106"/>
                    </a:lnTo>
                    <a:lnTo>
                      <a:pt x="1149" y="110"/>
                    </a:lnTo>
                    <a:lnTo>
                      <a:pt x="1139" y="115"/>
                    </a:lnTo>
                    <a:lnTo>
                      <a:pt x="1128" y="120"/>
                    </a:lnTo>
                    <a:lnTo>
                      <a:pt x="1118" y="127"/>
                    </a:lnTo>
                    <a:lnTo>
                      <a:pt x="1107" y="135"/>
                    </a:lnTo>
                    <a:lnTo>
                      <a:pt x="1087" y="152"/>
                    </a:lnTo>
                    <a:lnTo>
                      <a:pt x="1069" y="172"/>
                    </a:lnTo>
                    <a:lnTo>
                      <a:pt x="1069" y="172"/>
                    </a:lnTo>
                    <a:lnTo>
                      <a:pt x="1061" y="183"/>
                    </a:lnTo>
                    <a:lnTo>
                      <a:pt x="1054" y="193"/>
                    </a:lnTo>
                    <a:lnTo>
                      <a:pt x="1047" y="205"/>
                    </a:lnTo>
                    <a:lnTo>
                      <a:pt x="1042" y="216"/>
                    </a:lnTo>
                    <a:lnTo>
                      <a:pt x="1037" y="228"/>
                    </a:lnTo>
                    <a:lnTo>
                      <a:pt x="1033" y="238"/>
                    </a:lnTo>
                    <a:lnTo>
                      <a:pt x="1030" y="250"/>
                    </a:lnTo>
                    <a:lnTo>
                      <a:pt x="1027" y="262"/>
                    </a:lnTo>
                    <a:lnTo>
                      <a:pt x="1026" y="286"/>
                    </a:lnTo>
                    <a:lnTo>
                      <a:pt x="1026" y="310"/>
                    </a:lnTo>
                    <a:lnTo>
                      <a:pt x="1030" y="335"/>
                    </a:lnTo>
                    <a:lnTo>
                      <a:pt x="1035" y="360"/>
                    </a:lnTo>
                    <a:lnTo>
                      <a:pt x="1035" y="360"/>
                    </a:lnTo>
                    <a:lnTo>
                      <a:pt x="1042" y="387"/>
                    </a:lnTo>
                    <a:lnTo>
                      <a:pt x="1047" y="412"/>
                    </a:lnTo>
                    <a:lnTo>
                      <a:pt x="1047" y="412"/>
                    </a:lnTo>
                    <a:lnTo>
                      <a:pt x="1050" y="432"/>
                    </a:lnTo>
                    <a:lnTo>
                      <a:pt x="1051" y="453"/>
                    </a:lnTo>
                    <a:lnTo>
                      <a:pt x="1051" y="453"/>
                    </a:lnTo>
                    <a:lnTo>
                      <a:pt x="956" y="453"/>
                    </a:lnTo>
                    <a:lnTo>
                      <a:pt x="956" y="453"/>
                    </a:lnTo>
                    <a:close/>
                    <a:moveTo>
                      <a:pt x="536" y="656"/>
                    </a:moveTo>
                    <a:lnTo>
                      <a:pt x="536" y="656"/>
                    </a:lnTo>
                    <a:lnTo>
                      <a:pt x="529" y="649"/>
                    </a:lnTo>
                    <a:lnTo>
                      <a:pt x="529" y="649"/>
                    </a:lnTo>
                    <a:lnTo>
                      <a:pt x="514" y="631"/>
                    </a:lnTo>
                    <a:lnTo>
                      <a:pt x="501" y="611"/>
                    </a:lnTo>
                    <a:lnTo>
                      <a:pt x="489" y="591"/>
                    </a:lnTo>
                    <a:lnTo>
                      <a:pt x="479" y="570"/>
                    </a:lnTo>
                    <a:lnTo>
                      <a:pt x="479" y="570"/>
                    </a:lnTo>
                    <a:lnTo>
                      <a:pt x="473" y="558"/>
                    </a:lnTo>
                    <a:lnTo>
                      <a:pt x="473" y="558"/>
                    </a:lnTo>
                    <a:lnTo>
                      <a:pt x="465" y="543"/>
                    </a:lnTo>
                    <a:lnTo>
                      <a:pt x="456" y="531"/>
                    </a:lnTo>
                    <a:lnTo>
                      <a:pt x="447" y="519"/>
                    </a:lnTo>
                    <a:lnTo>
                      <a:pt x="436" y="509"/>
                    </a:lnTo>
                    <a:lnTo>
                      <a:pt x="424" y="498"/>
                    </a:lnTo>
                    <a:lnTo>
                      <a:pt x="411" y="489"/>
                    </a:lnTo>
                    <a:lnTo>
                      <a:pt x="399" y="481"/>
                    </a:lnTo>
                    <a:lnTo>
                      <a:pt x="384" y="474"/>
                    </a:lnTo>
                    <a:lnTo>
                      <a:pt x="371" y="468"/>
                    </a:lnTo>
                    <a:lnTo>
                      <a:pt x="357" y="462"/>
                    </a:lnTo>
                    <a:lnTo>
                      <a:pt x="341" y="458"/>
                    </a:lnTo>
                    <a:lnTo>
                      <a:pt x="326" y="456"/>
                    </a:lnTo>
                    <a:lnTo>
                      <a:pt x="310" y="454"/>
                    </a:lnTo>
                    <a:lnTo>
                      <a:pt x="296" y="454"/>
                    </a:lnTo>
                    <a:lnTo>
                      <a:pt x="280" y="454"/>
                    </a:lnTo>
                    <a:lnTo>
                      <a:pt x="264" y="457"/>
                    </a:lnTo>
                    <a:lnTo>
                      <a:pt x="264" y="457"/>
                    </a:lnTo>
                    <a:lnTo>
                      <a:pt x="249" y="461"/>
                    </a:lnTo>
                    <a:lnTo>
                      <a:pt x="235" y="465"/>
                    </a:lnTo>
                    <a:lnTo>
                      <a:pt x="220" y="469"/>
                    </a:lnTo>
                    <a:lnTo>
                      <a:pt x="208" y="476"/>
                    </a:lnTo>
                    <a:lnTo>
                      <a:pt x="195" y="482"/>
                    </a:lnTo>
                    <a:lnTo>
                      <a:pt x="183" y="489"/>
                    </a:lnTo>
                    <a:lnTo>
                      <a:pt x="172" y="497"/>
                    </a:lnTo>
                    <a:lnTo>
                      <a:pt x="162" y="506"/>
                    </a:lnTo>
                    <a:lnTo>
                      <a:pt x="152" y="515"/>
                    </a:lnTo>
                    <a:lnTo>
                      <a:pt x="143" y="526"/>
                    </a:lnTo>
                    <a:lnTo>
                      <a:pt x="134" y="537"/>
                    </a:lnTo>
                    <a:lnTo>
                      <a:pt x="126" y="549"/>
                    </a:lnTo>
                    <a:lnTo>
                      <a:pt x="119" y="562"/>
                    </a:lnTo>
                    <a:lnTo>
                      <a:pt x="113" y="575"/>
                    </a:lnTo>
                    <a:lnTo>
                      <a:pt x="107" y="590"/>
                    </a:lnTo>
                    <a:lnTo>
                      <a:pt x="102" y="604"/>
                    </a:lnTo>
                    <a:lnTo>
                      <a:pt x="102" y="604"/>
                    </a:lnTo>
                    <a:lnTo>
                      <a:pt x="99" y="616"/>
                    </a:lnTo>
                    <a:lnTo>
                      <a:pt x="97" y="629"/>
                    </a:lnTo>
                    <a:lnTo>
                      <a:pt x="95" y="643"/>
                    </a:lnTo>
                    <a:lnTo>
                      <a:pt x="95" y="656"/>
                    </a:lnTo>
                    <a:lnTo>
                      <a:pt x="95" y="656"/>
                    </a:lnTo>
                    <a:lnTo>
                      <a:pt x="536" y="656"/>
                    </a:lnTo>
                    <a:lnTo>
                      <a:pt x="536" y="656"/>
                    </a:lnTo>
                    <a:close/>
                    <a:moveTo>
                      <a:pt x="977" y="869"/>
                    </a:moveTo>
                    <a:lnTo>
                      <a:pt x="977" y="869"/>
                    </a:lnTo>
                    <a:lnTo>
                      <a:pt x="974" y="877"/>
                    </a:lnTo>
                    <a:lnTo>
                      <a:pt x="973" y="885"/>
                    </a:lnTo>
                    <a:lnTo>
                      <a:pt x="973" y="885"/>
                    </a:lnTo>
                    <a:lnTo>
                      <a:pt x="972" y="940"/>
                    </a:lnTo>
                    <a:lnTo>
                      <a:pt x="972" y="940"/>
                    </a:lnTo>
                    <a:lnTo>
                      <a:pt x="972" y="961"/>
                    </a:lnTo>
                    <a:lnTo>
                      <a:pt x="973" y="981"/>
                    </a:lnTo>
                    <a:lnTo>
                      <a:pt x="973" y="981"/>
                    </a:lnTo>
                    <a:lnTo>
                      <a:pt x="973" y="988"/>
                    </a:lnTo>
                    <a:lnTo>
                      <a:pt x="976" y="993"/>
                    </a:lnTo>
                    <a:lnTo>
                      <a:pt x="978" y="998"/>
                    </a:lnTo>
                    <a:lnTo>
                      <a:pt x="981" y="1002"/>
                    </a:lnTo>
                    <a:lnTo>
                      <a:pt x="985" y="1005"/>
                    </a:lnTo>
                    <a:lnTo>
                      <a:pt x="990" y="1007"/>
                    </a:lnTo>
                    <a:lnTo>
                      <a:pt x="996" y="1010"/>
                    </a:lnTo>
                    <a:lnTo>
                      <a:pt x="1001" y="1010"/>
                    </a:lnTo>
                    <a:lnTo>
                      <a:pt x="1001" y="1010"/>
                    </a:lnTo>
                    <a:lnTo>
                      <a:pt x="1008" y="1010"/>
                    </a:lnTo>
                    <a:lnTo>
                      <a:pt x="1013" y="1009"/>
                    </a:lnTo>
                    <a:lnTo>
                      <a:pt x="1018" y="1007"/>
                    </a:lnTo>
                    <a:lnTo>
                      <a:pt x="1022" y="1003"/>
                    </a:lnTo>
                    <a:lnTo>
                      <a:pt x="1026" y="999"/>
                    </a:lnTo>
                    <a:lnTo>
                      <a:pt x="1029" y="995"/>
                    </a:lnTo>
                    <a:lnTo>
                      <a:pt x="1031" y="989"/>
                    </a:lnTo>
                    <a:lnTo>
                      <a:pt x="1031" y="984"/>
                    </a:lnTo>
                    <a:lnTo>
                      <a:pt x="1031" y="984"/>
                    </a:lnTo>
                    <a:lnTo>
                      <a:pt x="1033" y="946"/>
                    </a:lnTo>
                    <a:lnTo>
                      <a:pt x="1033" y="909"/>
                    </a:lnTo>
                    <a:lnTo>
                      <a:pt x="1033" y="909"/>
                    </a:lnTo>
                    <a:lnTo>
                      <a:pt x="1033" y="907"/>
                    </a:lnTo>
                    <a:lnTo>
                      <a:pt x="1030" y="905"/>
                    </a:lnTo>
                    <a:lnTo>
                      <a:pt x="1030" y="905"/>
                    </a:lnTo>
                    <a:lnTo>
                      <a:pt x="977" y="869"/>
                    </a:lnTo>
                    <a:lnTo>
                      <a:pt x="977" y="869"/>
                    </a:lnTo>
                    <a:close/>
                    <a:moveTo>
                      <a:pt x="1274" y="924"/>
                    </a:moveTo>
                    <a:lnTo>
                      <a:pt x="1274" y="924"/>
                    </a:lnTo>
                    <a:lnTo>
                      <a:pt x="1270" y="924"/>
                    </a:lnTo>
                    <a:lnTo>
                      <a:pt x="1270" y="924"/>
                    </a:lnTo>
                    <a:lnTo>
                      <a:pt x="1216" y="937"/>
                    </a:lnTo>
                    <a:lnTo>
                      <a:pt x="1216" y="937"/>
                    </a:lnTo>
                    <a:lnTo>
                      <a:pt x="1213" y="938"/>
                    </a:lnTo>
                    <a:lnTo>
                      <a:pt x="1212" y="941"/>
                    </a:lnTo>
                    <a:lnTo>
                      <a:pt x="1212" y="941"/>
                    </a:lnTo>
                    <a:lnTo>
                      <a:pt x="1212" y="965"/>
                    </a:lnTo>
                    <a:lnTo>
                      <a:pt x="1213" y="977"/>
                    </a:lnTo>
                    <a:lnTo>
                      <a:pt x="1214" y="988"/>
                    </a:lnTo>
                    <a:lnTo>
                      <a:pt x="1214" y="988"/>
                    </a:lnTo>
                    <a:lnTo>
                      <a:pt x="1216" y="993"/>
                    </a:lnTo>
                    <a:lnTo>
                      <a:pt x="1218" y="998"/>
                    </a:lnTo>
                    <a:lnTo>
                      <a:pt x="1221" y="1002"/>
                    </a:lnTo>
                    <a:lnTo>
                      <a:pt x="1225" y="1005"/>
                    </a:lnTo>
                    <a:lnTo>
                      <a:pt x="1229" y="1007"/>
                    </a:lnTo>
                    <a:lnTo>
                      <a:pt x="1233" y="1009"/>
                    </a:lnTo>
                    <a:lnTo>
                      <a:pt x="1244" y="1010"/>
                    </a:lnTo>
                    <a:lnTo>
                      <a:pt x="1244" y="1010"/>
                    </a:lnTo>
                    <a:lnTo>
                      <a:pt x="1254" y="1009"/>
                    </a:lnTo>
                    <a:lnTo>
                      <a:pt x="1259" y="1006"/>
                    </a:lnTo>
                    <a:lnTo>
                      <a:pt x="1262" y="1003"/>
                    </a:lnTo>
                    <a:lnTo>
                      <a:pt x="1266" y="1001"/>
                    </a:lnTo>
                    <a:lnTo>
                      <a:pt x="1269" y="997"/>
                    </a:lnTo>
                    <a:lnTo>
                      <a:pt x="1270" y="991"/>
                    </a:lnTo>
                    <a:lnTo>
                      <a:pt x="1271" y="986"/>
                    </a:lnTo>
                    <a:lnTo>
                      <a:pt x="1271" y="986"/>
                    </a:lnTo>
                    <a:lnTo>
                      <a:pt x="1274" y="956"/>
                    </a:lnTo>
                    <a:lnTo>
                      <a:pt x="1274" y="924"/>
                    </a:lnTo>
                    <a:lnTo>
                      <a:pt x="1274" y="9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96" name="Freeform 396"/>
              <p:cNvSpPr>
                <a:spLocks noEditPoints="1"/>
              </p:cNvSpPr>
              <p:nvPr/>
            </p:nvSpPr>
            <p:spPr bwMode="auto">
              <a:xfrm>
                <a:off x="3487738" y="3995738"/>
                <a:ext cx="79375" cy="109538"/>
              </a:xfrm>
              <a:custGeom>
                <a:avLst/>
                <a:gdLst>
                  <a:gd name="T0" fmla="*/ 0 w 199"/>
                  <a:gd name="T1" fmla="*/ 138 h 275"/>
                  <a:gd name="T2" fmla="*/ 3 w 199"/>
                  <a:gd name="T3" fmla="*/ 93 h 275"/>
                  <a:gd name="T4" fmla="*/ 4 w 199"/>
                  <a:gd name="T5" fmla="*/ 78 h 275"/>
                  <a:gd name="T6" fmla="*/ 14 w 199"/>
                  <a:gd name="T7" fmla="*/ 49 h 275"/>
                  <a:gd name="T8" fmla="*/ 31 w 199"/>
                  <a:gd name="T9" fmla="*/ 27 h 275"/>
                  <a:gd name="T10" fmla="*/ 56 w 199"/>
                  <a:gd name="T11" fmla="*/ 11 h 275"/>
                  <a:gd name="T12" fmla="*/ 85 w 199"/>
                  <a:gd name="T13" fmla="*/ 2 h 275"/>
                  <a:gd name="T14" fmla="*/ 100 w 199"/>
                  <a:gd name="T15" fmla="*/ 0 h 275"/>
                  <a:gd name="T16" fmla="*/ 128 w 199"/>
                  <a:gd name="T17" fmla="*/ 4 h 275"/>
                  <a:gd name="T18" fmla="*/ 152 w 199"/>
                  <a:gd name="T19" fmla="*/ 13 h 275"/>
                  <a:gd name="T20" fmla="*/ 173 w 199"/>
                  <a:gd name="T21" fmla="*/ 31 h 275"/>
                  <a:gd name="T22" fmla="*/ 182 w 199"/>
                  <a:gd name="T23" fmla="*/ 41 h 275"/>
                  <a:gd name="T24" fmla="*/ 194 w 199"/>
                  <a:gd name="T25" fmla="*/ 68 h 275"/>
                  <a:gd name="T26" fmla="*/ 199 w 199"/>
                  <a:gd name="T27" fmla="*/ 97 h 275"/>
                  <a:gd name="T28" fmla="*/ 199 w 199"/>
                  <a:gd name="T29" fmla="*/ 178 h 275"/>
                  <a:gd name="T30" fmla="*/ 197 w 199"/>
                  <a:gd name="T31" fmla="*/ 195 h 275"/>
                  <a:gd name="T32" fmla="*/ 187 w 199"/>
                  <a:gd name="T33" fmla="*/ 226 h 275"/>
                  <a:gd name="T34" fmla="*/ 169 w 199"/>
                  <a:gd name="T35" fmla="*/ 250 h 275"/>
                  <a:gd name="T36" fmla="*/ 142 w 199"/>
                  <a:gd name="T37" fmla="*/ 267 h 275"/>
                  <a:gd name="T38" fmla="*/ 128 w 199"/>
                  <a:gd name="T39" fmla="*/ 271 h 275"/>
                  <a:gd name="T40" fmla="*/ 93 w 199"/>
                  <a:gd name="T41" fmla="*/ 275 h 275"/>
                  <a:gd name="T42" fmla="*/ 61 w 199"/>
                  <a:gd name="T43" fmla="*/ 267 h 275"/>
                  <a:gd name="T44" fmla="*/ 35 w 199"/>
                  <a:gd name="T45" fmla="*/ 251 h 275"/>
                  <a:gd name="T46" fmla="*/ 15 w 199"/>
                  <a:gd name="T47" fmla="*/ 226 h 275"/>
                  <a:gd name="T48" fmla="*/ 8 w 199"/>
                  <a:gd name="T49" fmla="*/ 215 h 275"/>
                  <a:gd name="T50" fmla="*/ 3 w 199"/>
                  <a:gd name="T51" fmla="*/ 190 h 275"/>
                  <a:gd name="T52" fmla="*/ 2 w 199"/>
                  <a:gd name="T53" fmla="*/ 178 h 275"/>
                  <a:gd name="T54" fmla="*/ 2 w 199"/>
                  <a:gd name="T55" fmla="*/ 138 h 275"/>
                  <a:gd name="T56" fmla="*/ 0 w 199"/>
                  <a:gd name="T57" fmla="*/ 138 h 275"/>
                  <a:gd name="T58" fmla="*/ 130 w 199"/>
                  <a:gd name="T59" fmla="*/ 137 h 275"/>
                  <a:gd name="T60" fmla="*/ 130 w 199"/>
                  <a:gd name="T61" fmla="*/ 92 h 275"/>
                  <a:gd name="T62" fmla="*/ 129 w 199"/>
                  <a:gd name="T63" fmla="*/ 80 h 275"/>
                  <a:gd name="T64" fmla="*/ 124 w 199"/>
                  <a:gd name="T65" fmla="*/ 71 h 275"/>
                  <a:gd name="T66" fmla="*/ 116 w 199"/>
                  <a:gd name="T67" fmla="*/ 64 h 275"/>
                  <a:gd name="T68" fmla="*/ 107 w 199"/>
                  <a:gd name="T69" fmla="*/ 61 h 275"/>
                  <a:gd name="T70" fmla="*/ 99 w 199"/>
                  <a:gd name="T71" fmla="*/ 60 h 275"/>
                  <a:gd name="T72" fmla="*/ 85 w 199"/>
                  <a:gd name="T73" fmla="*/ 64 h 275"/>
                  <a:gd name="T74" fmla="*/ 76 w 199"/>
                  <a:gd name="T75" fmla="*/ 72 h 275"/>
                  <a:gd name="T76" fmla="*/ 71 w 199"/>
                  <a:gd name="T77" fmla="*/ 84 h 275"/>
                  <a:gd name="T78" fmla="*/ 71 w 199"/>
                  <a:gd name="T79" fmla="*/ 92 h 275"/>
                  <a:gd name="T80" fmla="*/ 71 w 199"/>
                  <a:gd name="T81" fmla="*/ 185 h 275"/>
                  <a:gd name="T82" fmla="*/ 72 w 199"/>
                  <a:gd name="T83" fmla="*/ 195 h 275"/>
                  <a:gd name="T84" fmla="*/ 83 w 199"/>
                  <a:gd name="T85" fmla="*/ 210 h 275"/>
                  <a:gd name="T86" fmla="*/ 91 w 199"/>
                  <a:gd name="T87" fmla="*/ 214 h 275"/>
                  <a:gd name="T88" fmla="*/ 107 w 199"/>
                  <a:gd name="T89" fmla="*/ 215 h 275"/>
                  <a:gd name="T90" fmla="*/ 118 w 199"/>
                  <a:gd name="T91" fmla="*/ 210 h 275"/>
                  <a:gd name="T92" fmla="*/ 128 w 199"/>
                  <a:gd name="T93" fmla="*/ 199 h 275"/>
                  <a:gd name="T94" fmla="*/ 130 w 199"/>
                  <a:gd name="T95" fmla="*/ 183 h 275"/>
                  <a:gd name="T96" fmla="*/ 132 w 199"/>
                  <a:gd name="T97" fmla="*/ 161 h 275"/>
                  <a:gd name="T98" fmla="*/ 130 w 199"/>
                  <a:gd name="T99" fmla="*/ 13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9" h="275">
                    <a:moveTo>
                      <a:pt x="0" y="138"/>
                    </a:moveTo>
                    <a:lnTo>
                      <a:pt x="0" y="138"/>
                    </a:lnTo>
                    <a:lnTo>
                      <a:pt x="2" y="108"/>
                    </a:lnTo>
                    <a:lnTo>
                      <a:pt x="3" y="93"/>
                    </a:lnTo>
                    <a:lnTo>
                      <a:pt x="4" y="78"/>
                    </a:lnTo>
                    <a:lnTo>
                      <a:pt x="4" y="78"/>
                    </a:lnTo>
                    <a:lnTo>
                      <a:pt x="8" y="64"/>
                    </a:lnTo>
                    <a:lnTo>
                      <a:pt x="14" y="49"/>
                    </a:lnTo>
                    <a:lnTo>
                      <a:pt x="22" y="37"/>
                    </a:lnTo>
                    <a:lnTo>
                      <a:pt x="31" y="27"/>
                    </a:lnTo>
                    <a:lnTo>
                      <a:pt x="43" y="17"/>
                    </a:lnTo>
                    <a:lnTo>
                      <a:pt x="56" y="11"/>
                    </a:lnTo>
                    <a:lnTo>
                      <a:pt x="71" y="6"/>
                    </a:lnTo>
                    <a:lnTo>
                      <a:pt x="85" y="2"/>
                    </a:lnTo>
                    <a:lnTo>
                      <a:pt x="85" y="2"/>
                    </a:lnTo>
                    <a:lnTo>
                      <a:pt x="100" y="0"/>
                    </a:lnTo>
                    <a:lnTo>
                      <a:pt x="115" y="2"/>
                    </a:lnTo>
                    <a:lnTo>
                      <a:pt x="128" y="4"/>
                    </a:lnTo>
                    <a:lnTo>
                      <a:pt x="140" y="8"/>
                    </a:lnTo>
                    <a:lnTo>
                      <a:pt x="152" y="13"/>
                    </a:lnTo>
                    <a:lnTo>
                      <a:pt x="162" y="21"/>
                    </a:lnTo>
                    <a:lnTo>
                      <a:pt x="173" y="31"/>
                    </a:lnTo>
                    <a:lnTo>
                      <a:pt x="182" y="41"/>
                    </a:lnTo>
                    <a:lnTo>
                      <a:pt x="182" y="41"/>
                    </a:lnTo>
                    <a:lnTo>
                      <a:pt x="190" y="55"/>
                    </a:lnTo>
                    <a:lnTo>
                      <a:pt x="194" y="68"/>
                    </a:lnTo>
                    <a:lnTo>
                      <a:pt x="198" y="82"/>
                    </a:lnTo>
                    <a:lnTo>
                      <a:pt x="199" y="97"/>
                    </a:lnTo>
                    <a:lnTo>
                      <a:pt x="199" y="97"/>
                    </a:lnTo>
                    <a:lnTo>
                      <a:pt x="199" y="178"/>
                    </a:lnTo>
                    <a:lnTo>
                      <a:pt x="199" y="178"/>
                    </a:lnTo>
                    <a:lnTo>
                      <a:pt x="197" y="195"/>
                    </a:lnTo>
                    <a:lnTo>
                      <a:pt x="193" y="211"/>
                    </a:lnTo>
                    <a:lnTo>
                      <a:pt x="187" y="226"/>
                    </a:lnTo>
                    <a:lnTo>
                      <a:pt x="179" y="239"/>
                    </a:lnTo>
                    <a:lnTo>
                      <a:pt x="169" y="250"/>
                    </a:lnTo>
                    <a:lnTo>
                      <a:pt x="157" y="259"/>
                    </a:lnTo>
                    <a:lnTo>
                      <a:pt x="142" y="267"/>
                    </a:lnTo>
                    <a:lnTo>
                      <a:pt x="128" y="271"/>
                    </a:lnTo>
                    <a:lnTo>
                      <a:pt x="128" y="271"/>
                    </a:lnTo>
                    <a:lnTo>
                      <a:pt x="111" y="275"/>
                    </a:lnTo>
                    <a:lnTo>
                      <a:pt x="93" y="275"/>
                    </a:lnTo>
                    <a:lnTo>
                      <a:pt x="77" y="272"/>
                    </a:lnTo>
                    <a:lnTo>
                      <a:pt x="61" y="267"/>
                    </a:lnTo>
                    <a:lnTo>
                      <a:pt x="48" y="260"/>
                    </a:lnTo>
                    <a:lnTo>
                      <a:pt x="35" y="251"/>
                    </a:lnTo>
                    <a:lnTo>
                      <a:pt x="23" y="239"/>
                    </a:lnTo>
                    <a:lnTo>
                      <a:pt x="15" y="226"/>
                    </a:lnTo>
                    <a:lnTo>
                      <a:pt x="15" y="226"/>
                    </a:lnTo>
                    <a:lnTo>
                      <a:pt x="8" y="215"/>
                    </a:lnTo>
                    <a:lnTo>
                      <a:pt x="6" y="203"/>
                    </a:lnTo>
                    <a:lnTo>
                      <a:pt x="3" y="190"/>
                    </a:lnTo>
                    <a:lnTo>
                      <a:pt x="2" y="178"/>
                    </a:lnTo>
                    <a:lnTo>
                      <a:pt x="2" y="178"/>
                    </a:lnTo>
                    <a:lnTo>
                      <a:pt x="2" y="138"/>
                    </a:lnTo>
                    <a:lnTo>
                      <a:pt x="2" y="138"/>
                    </a:lnTo>
                    <a:lnTo>
                      <a:pt x="0" y="138"/>
                    </a:lnTo>
                    <a:lnTo>
                      <a:pt x="0" y="138"/>
                    </a:lnTo>
                    <a:close/>
                    <a:moveTo>
                      <a:pt x="130" y="137"/>
                    </a:moveTo>
                    <a:lnTo>
                      <a:pt x="130" y="137"/>
                    </a:lnTo>
                    <a:lnTo>
                      <a:pt x="130" y="92"/>
                    </a:lnTo>
                    <a:lnTo>
                      <a:pt x="130" y="92"/>
                    </a:lnTo>
                    <a:lnTo>
                      <a:pt x="130" y="86"/>
                    </a:lnTo>
                    <a:lnTo>
                      <a:pt x="129" y="80"/>
                    </a:lnTo>
                    <a:lnTo>
                      <a:pt x="126" y="74"/>
                    </a:lnTo>
                    <a:lnTo>
                      <a:pt x="124" y="71"/>
                    </a:lnTo>
                    <a:lnTo>
                      <a:pt x="120" y="67"/>
                    </a:lnTo>
                    <a:lnTo>
                      <a:pt x="116" y="64"/>
                    </a:lnTo>
                    <a:lnTo>
                      <a:pt x="112" y="61"/>
                    </a:lnTo>
                    <a:lnTo>
                      <a:pt x="107" y="61"/>
                    </a:lnTo>
                    <a:lnTo>
                      <a:pt x="107" y="61"/>
                    </a:lnTo>
                    <a:lnTo>
                      <a:pt x="99" y="60"/>
                    </a:lnTo>
                    <a:lnTo>
                      <a:pt x="92" y="61"/>
                    </a:lnTo>
                    <a:lnTo>
                      <a:pt x="85" y="64"/>
                    </a:lnTo>
                    <a:lnTo>
                      <a:pt x="80" y="67"/>
                    </a:lnTo>
                    <a:lnTo>
                      <a:pt x="76" y="72"/>
                    </a:lnTo>
                    <a:lnTo>
                      <a:pt x="73" y="77"/>
                    </a:lnTo>
                    <a:lnTo>
                      <a:pt x="71" y="84"/>
                    </a:lnTo>
                    <a:lnTo>
                      <a:pt x="71" y="92"/>
                    </a:lnTo>
                    <a:lnTo>
                      <a:pt x="71" y="92"/>
                    </a:lnTo>
                    <a:lnTo>
                      <a:pt x="69" y="138"/>
                    </a:lnTo>
                    <a:lnTo>
                      <a:pt x="71" y="185"/>
                    </a:lnTo>
                    <a:lnTo>
                      <a:pt x="71" y="185"/>
                    </a:lnTo>
                    <a:lnTo>
                      <a:pt x="72" y="195"/>
                    </a:lnTo>
                    <a:lnTo>
                      <a:pt x="76" y="203"/>
                    </a:lnTo>
                    <a:lnTo>
                      <a:pt x="83" y="210"/>
                    </a:lnTo>
                    <a:lnTo>
                      <a:pt x="91" y="214"/>
                    </a:lnTo>
                    <a:lnTo>
                      <a:pt x="91" y="214"/>
                    </a:lnTo>
                    <a:lnTo>
                      <a:pt x="99" y="215"/>
                    </a:lnTo>
                    <a:lnTo>
                      <a:pt x="107" y="215"/>
                    </a:lnTo>
                    <a:lnTo>
                      <a:pt x="113" y="214"/>
                    </a:lnTo>
                    <a:lnTo>
                      <a:pt x="118" y="210"/>
                    </a:lnTo>
                    <a:lnTo>
                      <a:pt x="124" y="206"/>
                    </a:lnTo>
                    <a:lnTo>
                      <a:pt x="128" y="199"/>
                    </a:lnTo>
                    <a:lnTo>
                      <a:pt x="129" y="191"/>
                    </a:lnTo>
                    <a:lnTo>
                      <a:pt x="130" y="183"/>
                    </a:lnTo>
                    <a:lnTo>
                      <a:pt x="130" y="183"/>
                    </a:lnTo>
                    <a:lnTo>
                      <a:pt x="132" y="161"/>
                    </a:lnTo>
                    <a:lnTo>
                      <a:pt x="130" y="137"/>
                    </a:lnTo>
                    <a:lnTo>
                      <a:pt x="130"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97" name="Freeform 397"/>
              <p:cNvSpPr>
                <a:spLocks noEditPoints="1"/>
              </p:cNvSpPr>
              <p:nvPr/>
            </p:nvSpPr>
            <p:spPr bwMode="auto">
              <a:xfrm>
                <a:off x="2968626" y="3995738"/>
                <a:ext cx="77788" cy="109538"/>
              </a:xfrm>
              <a:custGeom>
                <a:avLst/>
                <a:gdLst>
                  <a:gd name="T0" fmla="*/ 0 w 196"/>
                  <a:gd name="T1" fmla="*/ 138 h 275"/>
                  <a:gd name="T2" fmla="*/ 0 w 196"/>
                  <a:gd name="T3" fmla="*/ 98 h 275"/>
                  <a:gd name="T4" fmla="*/ 0 w 196"/>
                  <a:gd name="T5" fmla="*/ 85 h 275"/>
                  <a:gd name="T6" fmla="*/ 9 w 196"/>
                  <a:gd name="T7" fmla="*/ 55 h 275"/>
                  <a:gd name="T8" fmla="*/ 25 w 196"/>
                  <a:gd name="T9" fmla="*/ 29 h 275"/>
                  <a:gd name="T10" fmla="*/ 50 w 196"/>
                  <a:gd name="T11" fmla="*/ 12 h 275"/>
                  <a:gd name="T12" fmla="*/ 80 w 196"/>
                  <a:gd name="T13" fmla="*/ 2 h 275"/>
                  <a:gd name="T14" fmla="*/ 98 w 196"/>
                  <a:gd name="T15" fmla="*/ 0 h 275"/>
                  <a:gd name="T16" fmla="*/ 132 w 196"/>
                  <a:gd name="T17" fmla="*/ 7 h 275"/>
                  <a:gd name="T18" fmla="*/ 148 w 196"/>
                  <a:gd name="T19" fmla="*/ 13 h 275"/>
                  <a:gd name="T20" fmla="*/ 163 w 196"/>
                  <a:gd name="T21" fmla="*/ 24 h 275"/>
                  <a:gd name="T22" fmla="*/ 176 w 196"/>
                  <a:gd name="T23" fmla="*/ 37 h 275"/>
                  <a:gd name="T24" fmla="*/ 187 w 196"/>
                  <a:gd name="T25" fmla="*/ 53 h 275"/>
                  <a:gd name="T26" fmla="*/ 193 w 196"/>
                  <a:gd name="T27" fmla="*/ 73 h 275"/>
                  <a:gd name="T28" fmla="*/ 194 w 196"/>
                  <a:gd name="T29" fmla="*/ 84 h 275"/>
                  <a:gd name="T30" fmla="*/ 196 w 196"/>
                  <a:gd name="T31" fmla="*/ 96 h 275"/>
                  <a:gd name="T32" fmla="*/ 194 w 196"/>
                  <a:gd name="T33" fmla="*/ 189 h 275"/>
                  <a:gd name="T34" fmla="*/ 193 w 196"/>
                  <a:gd name="T35" fmla="*/ 204 h 275"/>
                  <a:gd name="T36" fmla="*/ 180 w 196"/>
                  <a:gd name="T37" fmla="*/ 232 h 275"/>
                  <a:gd name="T38" fmla="*/ 160 w 196"/>
                  <a:gd name="T39" fmla="*/ 255 h 275"/>
                  <a:gd name="T40" fmla="*/ 132 w 196"/>
                  <a:gd name="T41" fmla="*/ 269 h 275"/>
                  <a:gd name="T42" fmla="*/ 118 w 196"/>
                  <a:gd name="T43" fmla="*/ 273 h 275"/>
                  <a:gd name="T44" fmla="*/ 90 w 196"/>
                  <a:gd name="T45" fmla="*/ 275 h 275"/>
                  <a:gd name="T46" fmla="*/ 65 w 196"/>
                  <a:gd name="T47" fmla="*/ 269 h 275"/>
                  <a:gd name="T48" fmla="*/ 42 w 196"/>
                  <a:gd name="T49" fmla="*/ 257 h 275"/>
                  <a:gd name="T50" fmla="*/ 21 w 196"/>
                  <a:gd name="T51" fmla="*/ 239 h 275"/>
                  <a:gd name="T52" fmla="*/ 15 w 196"/>
                  <a:gd name="T53" fmla="*/ 232 h 275"/>
                  <a:gd name="T54" fmla="*/ 5 w 196"/>
                  <a:gd name="T55" fmla="*/ 212 h 275"/>
                  <a:gd name="T56" fmla="*/ 0 w 196"/>
                  <a:gd name="T57" fmla="*/ 182 h 275"/>
                  <a:gd name="T58" fmla="*/ 0 w 196"/>
                  <a:gd name="T59" fmla="*/ 138 h 275"/>
                  <a:gd name="T60" fmla="*/ 0 w 196"/>
                  <a:gd name="T61" fmla="*/ 138 h 275"/>
                  <a:gd name="T62" fmla="*/ 67 w 196"/>
                  <a:gd name="T63" fmla="*/ 138 h 275"/>
                  <a:gd name="T64" fmla="*/ 67 w 196"/>
                  <a:gd name="T65" fmla="*/ 138 h 275"/>
                  <a:gd name="T66" fmla="*/ 67 w 196"/>
                  <a:gd name="T67" fmla="*/ 162 h 275"/>
                  <a:gd name="T68" fmla="*/ 67 w 196"/>
                  <a:gd name="T69" fmla="*/ 186 h 275"/>
                  <a:gd name="T70" fmla="*/ 70 w 196"/>
                  <a:gd name="T71" fmla="*/ 198 h 275"/>
                  <a:gd name="T72" fmla="*/ 76 w 196"/>
                  <a:gd name="T73" fmla="*/ 207 h 275"/>
                  <a:gd name="T74" fmla="*/ 84 w 196"/>
                  <a:gd name="T75" fmla="*/ 212 h 275"/>
                  <a:gd name="T76" fmla="*/ 96 w 196"/>
                  <a:gd name="T77" fmla="*/ 215 h 275"/>
                  <a:gd name="T78" fmla="*/ 102 w 196"/>
                  <a:gd name="T79" fmla="*/ 215 h 275"/>
                  <a:gd name="T80" fmla="*/ 114 w 196"/>
                  <a:gd name="T81" fmla="*/ 212 h 275"/>
                  <a:gd name="T82" fmla="*/ 122 w 196"/>
                  <a:gd name="T83" fmla="*/ 206 h 275"/>
                  <a:gd name="T84" fmla="*/ 126 w 196"/>
                  <a:gd name="T85" fmla="*/ 195 h 275"/>
                  <a:gd name="T86" fmla="*/ 127 w 196"/>
                  <a:gd name="T87" fmla="*/ 189 h 275"/>
                  <a:gd name="T88" fmla="*/ 128 w 196"/>
                  <a:gd name="T89" fmla="*/ 88 h 275"/>
                  <a:gd name="T90" fmla="*/ 127 w 196"/>
                  <a:gd name="T91" fmla="*/ 82 h 275"/>
                  <a:gd name="T92" fmla="*/ 123 w 196"/>
                  <a:gd name="T93" fmla="*/ 74 h 275"/>
                  <a:gd name="T94" fmla="*/ 111 w 196"/>
                  <a:gd name="T95" fmla="*/ 63 h 275"/>
                  <a:gd name="T96" fmla="*/ 103 w 196"/>
                  <a:gd name="T97" fmla="*/ 61 h 275"/>
                  <a:gd name="T98" fmla="*/ 90 w 196"/>
                  <a:gd name="T99" fmla="*/ 61 h 275"/>
                  <a:gd name="T100" fmla="*/ 78 w 196"/>
                  <a:gd name="T101" fmla="*/ 67 h 275"/>
                  <a:gd name="T102" fmla="*/ 71 w 196"/>
                  <a:gd name="T103" fmla="*/ 76 h 275"/>
                  <a:gd name="T104" fmla="*/ 67 w 196"/>
                  <a:gd name="T105" fmla="*/ 90 h 275"/>
                  <a:gd name="T106" fmla="*/ 67 w 196"/>
                  <a:gd name="T107" fmla="*/ 114 h 275"/>
                  <a:gd name="T108" fmla="*/ 67 w 196"/>
                  <a:gd name="T109" fmla="*/ 13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6" h="275">
                    <a:moveTo>
                      <a:pt x="0" y="138"/>
                    </a:moveTo>
                    <a:lnTo>
                      <a:pt x="0" y="138"/>
                    </a:lnTo>
                    <a:lnTo>
                      <a:pt x="0" y="112"/>
                    </a:lnTo>
                    <a:lnTo>
                      <a:pt x="0" y="98"/>
                    </a:lnTo>
                    <a:lnTo>
                      <a:pt x="0" y="85"/>
                    </a:lnTo>
                    <a:lnTo>
                      <a:pt x="0" y="85"/>
                    </a:lnTo>
                    <a:lnTo>
                      <a:pt x="4" y="69"/>
                    </a:lnTo>
                    <a:lnTo>
                      <a:pt x="9" y="55"/>
                    </a:lnTo>
                    <a:lnTo>
                      <a:pt x="17" y="41"/>
                    </a:lnTo>
                    <a:lnTo>
                      <a:pt x="25" y="29"/>
                    </a:lnTo>
                    <a:lnTo>
                      <a:pt x="37" y="20"/>
                    </a:lnTo>
                    <a:lnTo>
                      <a:pt x="50" y="12"/>
                    </a:lnTo>
                    <a:lnTo>
                      <a:pt x="65" y="7"/>
                    </a:lnTo>
                    <a:lnTo>
                      <a:pt x="80" y="2"/>
                    </a:lnTo>
                    <a:lnTo>
                      <a:pt x="80" y="2"/>
                    </a:lnTo>
                    <a:lnTo>
                      <a:pt x="98" y="0"/>
                    </a:lnTo>
                    <a:lnTo>
                      <a:pt x="115" y="2"/>
                    </a:lnTo>
                    <a:lnTo>
                      <a:pt x="132" y="7"/>
                    </a:lnTo>
                    <a:lnTo>
                      <a:pt x="140" y="10"/>
                    </a:lnTo>
                    <a:lnTo>
                      <a:pt x="148" y="13"/>
                    </a:lnTo>
                    <a:lnTo>
                      <a:pt x="156" y="19"/>
                    </a:lnTo>
                    <a:lnTo>
                      <a:pt x="163" y="24"/>
                    </a:lnTo>
                    <a:lnTo>
                      <a:pt x="169" y="31"/>
                    </a:lnTo>
                    <a:lnTo>
                      <a:pt x="176" y="37"/>
                    </a:lnTo>
                    <a:lnTo>
                      <a:pt x="181" y="45"/>
                    </a:lnTo>
                    <a:lnTo>
                      <a:pt x="187" y="53"/>
                    </a:lnTo>
                    <a:lnTo>
                      <a:pt x="189" y="63"/>
                    </a:lnTo>
                    <a:lnTo>
                      <a:pt x="193" y="73"/>
                    </a:lnTo>
                    <a:lnTo>
                      <a:pt x="193" y="73"/>
                    </a:lnTo>
                    <a:lnTo>
                      <a:pt x="194" y="84"/>
                    </a:lnTo>
                    <a:lnTo>
                      <a:pt x="196" y="96"/>
                    </a:lnTo>
                    <a:lnTo>
                      <a:pt x="196" y="96"/>
                    </a:lnTo>
                    <a:lnTo>
                      <a:pt x="196" y="142"/>
                    </a:lnTo>
                    <a:lnTo>
                      <a:pt x="194" y="189"/>
                    </a:lnTo>
                    <a:lnTo>
                      <a:pt x="194" y="189"/>
                    </a:lnTo>
                    <a:lnTo>
                      <a:pt x="193" y="204"/>
                    </a:lnTo>
                    <a:lnTo>
                      <a:pt x="188" y="219"/>
                    </a:lnTo>
                    <a:lnTo>
                      <a:pt x="180" y="232"/>
                    </a:lnTo>
                    <a:lnTo>
                      <a:pt x="171" y="244"/>
                    </a:lnTo>
                    <a:lnTo>
                      <a:pt x="160" y="255"/>
                    </a:lnTo>
                    <a:lnTo>
                      <a:pt x="147" y="263"/>
                    </a:lnTo>
                    <a:lnTo>
                      <a:pt x="132" y="269"/>
                    </a:lnTo>
                    <a:lnTo>
                      <a:pt x="118" y="273"/>
                    </a:lnTo>
                    <a:lnTo>
                      <a:pt x="118" y="273"/>
                    </a:lnTo>
                    <a:lnTo>
                      <a:pt x="103" y="275"/>
                    </a:lnTo>
                    <a:lnTo>
                      <a:pt x="90" y="275"/>
                    </a:lnTo>
                    <a:lnTo>
                      <a:pt x="76" y="272"/>
                    </a:lnTo>
                    <a:lnTo>
                      <a:pt x="65" y="269"/>
                    </a:lnTo>
                    <a:lnTo>
                      <a:pt x="53" y="264"/>
                    </a:lnTo>
                    <a:lnTo>
                      <a:pt x="42" y="257"/>
                    </a:lnTo>
                    <a:lnTo>
                      <a:pt x="31" y="250"/>
                    </a:lnTo>
                    <a:lnTo>
                      <a:pt x="21" y="239"/>
                    </a:lnTo>
                    <a:lnTo>
                      <a:pt x="21" y="239"/>
                    </a:lnTo>
                    <a:lnTo>
                      <a:pt x="15" y="232"/>
                    </a:lnTo>
                    <a:lnTo>
                      <a:pt x="12" y="226"/>
                    </a:lnTo>
                    <a:lnTo>
                      <a:pt x="5" y="212"/>
                    </a:lnTo>
                    <a:lnTo>
                      <a:pt x="1" y="196"/>
                    </a:lnTo>
                    <a:lnTo>
                      <a:pt x="0" y="182"/>
                    </a:lnTo>
                    <a:lnTo>
                      <a:pt x="0" y="182"/>
                    </a:lnTo>
                    <a:lnTo>
                      <a:pt x="0" y="138"/>
                    </a:lnTo>
                    <a:lnTo>
                      <a:pt x="0" y="138"/>
                    </a:lnTo>
                    <a:lnTo>
                      <a:pt x="0" y="138"/>
                    </a:lnTo>
                    <a:lnTo>
                      <a:pt x="0" y="138"/>
                    </a:lnTo>
                    <a:close/>
                    <a:moveTo>
                      <a:pt x="67" y="138"/>
                    </a:moveTo>
                    <a:lnTo>
                      <a:pt x="67" y="138"/>
                    </a:lnTo>
                    <a:lnTo>
                      <a:pt x="67" y="138"/>
                    </a:lnTo>
                    <a:lnTo>
                      <a:pt x="67" y="138"/>
                    </a:lnTo>
                    <a:lnTo>
                      <a:pt x="67" y="162"/>
                    </a:lnTo>
                    <a:lnTo>
                      <a:pt x="67" y="186"/>
                    </a:lnTo>
                    <a:lnTo>
                      <a:pt x="67" y="186"/>
                    </a:lnTo>
                    <a:lnTo>
                      <a:pt x="69" y="193"/>
                    </a:lnTo>
                    <a:lnTo>
                      <a:pt x="70" y="198"/>
                    </a:lnTo>
                    <a:lnTo>
                      <a:pt x="72" y="203"/>
                    </a:lnTo>
                    <a:lnTo>
                      <a:pt x="76" y="207"/>
                    </a:lnTo>
                    <a:lnTo>
                      <a:pt x="80" y="210"/>
                    </a:lnTo>
                    <a:lnTo>
                      <a:pt x="84" y="212"/>
                    </a:lnTo>
                    <a:lnTo>
                      <a:pt x="90" y="215"/>
                    </a:lnTo>
                    <a:lnTo>
                      <a:pt x="96" y="215"/>
                    </a:lnTo>
                    <a:lnTo>
                      <a:pt x="96" y="215"/>
                    </a:lnTo>
                    <a:lnTo>
                      <a:pt x="102" y="215"/>
                    </a:lnTo>
                    <a:lnTo>
                      <a:pt x="108" y="214"/>
                    </a:lnTo>
                    <a:lnTo>
                      <a:pt x="114" y="212"/>
                    </a:lnTo>
                    <a:lnTo>
                      <a:pt x="118" y="208"/>
                    </a:lnTo>
                    <a:lnTo>
                      <a:pt x="122" y="206"/>
                    </a:lnTo>
                    <a:lnTo>
                      <a:pt x="124" y="200"/>
                    </a:lnTo>
                    <a:lnTo>
                      <a:pt x="126" y="195"/>
                    </a:lnTo>
                    <a:lnTo>
                      <a:pt x="127" y="189"/>
                    </a:lnTo>
                    <a:lnTo>
                      <a:pt x="127" y="189"/>
                    </a:lnTo>
                    <a:lnTo>
                      <a:pt x="128" y="138"/>
                    </a:lnTo>
                    <a:lnTo>
                      <a:pt x="128" y="88"/>
                    </a:lnTo>
                    <a:lnTo>
                      <a:pt x="128" y="88"/>
                    </a:lnTo>
                    <a:lnTo>
                      <a:pt x="127" y="82"/>
                    </a:lnTo>
                    <a:lnTo>
                      <a:pt x="127" y="82"/>
                    </a:lnTo>
                    <a:lnTo>
                      <a:pt x="123" y="74"/>
                    </a:lnTo>
                    <a:lnTo>
                      <a:pt x="118" y="68"/>
                    </a:lnTo>
                    <a:lnTo>
                      <a:pt x="111" y="63"/>
                    </a:lnTo>
                    <a:lnTo>
                      <a:pt x="103" y="61"/>
                    </a:lnTo>
                    <a:lnTo>
                      <a:pt x="103" y="61"/>
                    </a:lnTo>
                    <a:lnTo>
                      <a:pt x="96" y="60"/>
                    </a:lnTo>
                    <a:lnTo>
                      <a:pt x="90" y="61"/>
                    </a:lnTo>
                    <a:lnTo>
                      <a:pt x="83" y="64"/>
                    </a:lnTo>
                    <a:lnTo>
                      <a:pt x="78" y="67"/>
                    </a:lnTo>
                    <a:lnTo>
                      <a:pt x="74" y="71"/>
                    </a:lnTo>
                    <a:lnTo>
                      <a:pt x="71" y="76"/>
                    </a:lnTo>
                    <a:lnTo>
                      <a:pt x="69" y="82"/>
                    </a:lnTo>
                    <a:lnTo>
                      <a:pt x="67" y="90"/>
                    </a:lnTo>
                    <a:lnTo>
                      <a:pt x="67" y="90"/>
                    </a:lnTo>
                    <a:lnTo>
                      <a:pt x="67" y="114"/>
                    </a:lnTo>
                    <a:lnTo>
                      <a:pt x="67" y="138"/>
                    </a:lnTo>
                    <a:lnTo>
                      <a:pt x="67"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98" name="Freeform 398"/>
              <p:cNvSpPr>
                <a:spLocks noEditPoints="1"/>
              </p:cNvSpPr>
              <p:nvPr/>
            </p:nvSpPr>
            <p:spPr bwMode="auto">
              <a:xfrm>
                <a:off x="3136901" y="4121150"/>
                <a:ext cx="79375" cy="107950"/>
              </a:xfrm>
              <a:custGeom>
                <a:avLst/>
                <a:gdLst>
                  <a:gd name="T0" fmla="*/ 198 w 198"/>
                  <a:gd name="T1" fmla="*/ 137 h 273"/>
                  <a:gd name="T2" fmla="*/ 195 w 198"/>
                  <a:gd name="T3" fmla="*/ 194 h 273"/>
                  <a:gd name="T4" fmla="*/ 193 w 198"/>
                  <a:gd name="T5" fmla="*/ 209 h 273"/>
                  <a:gd name="T6" fmla="*/ 179 w 198"/>
                  <a:gd name="T7" fmla="*/ 237 h 273"/>
                  <a:gd name="T8" fmla="*/ 157 w 198"/>
                  <a:gd name="T9" fmla="*/ 257 h 273"/>
                  <a:gd name="T10" fmla="*/ 129 w 198"/>
                  <a:gd name="T11" fmla="*/ 270 h 273"/>
                  <a:gd name="T12" fmla="*/ 113 w 198"/>
                  <a:gd name="T13" fmla="*/ 273 h 273"/>
                  <a:gd name="T14" fmla="*/ 87 w 198"/>
                  <a:gd name="T15" fmla="*/ 273 h 273"/>
                  <a:gd name="T16" fmla="*/ 63 w 198"/>
                  <a:gd name="T17" fmla="*/ 266 h 273"/>
                  <a:gd name="T18" fmla="*/ 40 w 198"/>
                  <a:gd name="T19" fmla="*/ 254 h 273"/>
                  <a:gd name="T20" fmla="*/ 22 w 198"/>
                  <a:gd name="T21" fmla="*/ 236 h 273"/>
                  <a:gd name="T22" fmla="*/ 12 w 198"/>
                  <a:gd name="T23" fmla="*/ 224 h 273"/>
                  <a:gd name="T24" fmla="*/ 3 w 198"/>
                  <a:gd name="T25" fmla="*/ 194 h 273"/>
                  <a:gd name="T26" fmla="*/ 2 w 198"/>
                  <a:gd name="T27" fmla="*/ 179 h 273"/>
                  <a:gd name="T28" fmla="*/ 2 w 198"/>
                  <a:gd name="T29" fmla="*/ 88 h 273"/>
                  <a:gd name="T30" fmla="*/ 4 w 198"/>
                  <a:gd name="T31" fmla="*/ 71 h 273"/>
                  <a:gd name="T32" fmla="*/ 16 w 198"/>
                  <a:gd name="T33" fmla="*/ 42 h 273"/>
                  <a:gd name="T34" fmla="*/ 38 w 198"/>
                  <a:gd name="T35" fmla="*/ 21 h 273"/>
                  <a:gd name="T36" fmla="*/ 65 w 198"/>
                  <a:gd name="T37" fmla="*/ 5 h 273"/>
                  <a:gd name="T38" fmla="*/ 81 w 198"/>
                  <a:gd name="T39" fmla="*/ 1 h 273"/>
                  <a:gd name="T40" fmla="*/ 115 w 198"/>
                  <a:gd name="T41" fmla="*/ 1 h 273"/>
                  <a:gd name="T42" fmla="*/ 145 w 198"/>
                  <a:gd name="T43" fmla="*/ 10 h 273"/>
                  <a:gd name="T44" fmla="*/ 170 w 198"/>
                  <a:gd name="T45" fmla="*/ 27 h 273"/>
                  <a:gd name="T46" fmla="*/ 187 w 198"/>
                  <a:gd name="T47" fmla="*/ 53 h 273"/>
                  <a:gd name="T48" fmla="*/ 191 w 198"/>
                  <a:gd name="T49" fmla="*/ 62 h 273"/>
                  <a:gd name="T50" fmla="*/ 197 w 198"/>
                  <a:gd name="T51" fmla="*/ 83 h 273"/>
                  <a:gd name="T52" fmla="*/ 198 w 198"/>
                  <a:gd name="T53" fmla="*/ 94 h 273"/>
                  <a:gd name="T54" fmla="*/ 198 w 198"/>
                  <a:gd name="T55" fmla="*/ 137 h 273"/>
                  <a:gd name="T56" fmla="*/ 198 w 198"/>
                  <a:gd name="T57" fmla="*/ 137 h 273"/>
                  <a:gd name="T58" fmla="*/ 130 w 198"/>
                  <a:gd name="T59" fmla="*/ 136 h 273"/>
                  <a:gd name="T60" fmla="*/ 129 w 198"/>
                  <a:gd name="T61" fmla="*/ 136 h 273"/>
                  <a:gd name="T62" fmla="*/ 129 w 198"/>
                  <a:gd name="T63" fmla="*/ 87 h 273"/>
                  <a:gd name="T64" fmla="*/ 129 w 198"/>
                  <a:gd name="T65" fmla="*/ 80 h 273"/>
                  <a:gd name="T66" fmla="*/ 124 w 198"/>
                  <a:gd name="T67" fmla="*/ 71 h 273"/>
                  <a:gd name="T68" fmla="*/ 117 w 198"/>
                  <a:gd name="T69" fmla="*/ 63 h 273"/>
                  <a:gd name="T70" fmla="*/ 108 w 198"/>
                  <a:gd name="T71" fmla="*/ 59 h 273"/>
                  <a:gd name="T72" fmla="*/ 101 w 198"/>
                  <a:gd name="T73" fmla="*/ 59 h 273"/>
                  <a:gd name="T74" fmla="*/ 91 w 198"/>
                  <a:gd name="T75" fmla="*/ 61 h 273"/>
                  <a:gd name="T76" fmla="*/ 80 w 198"/>
                  <a:gd name="T77" fmla="*/ 65 h 273"/>
                  <a:gd name="T78" fmla="*/ 73 w 198"/>
                  <a:gd name="T79" fmla="*/ 72 h 273"/>
                  <a:gd name="T80" fmla="*/ 71 w 198"/>
                  <a:gd name="T81" fmla="*/ 83 h 273"/>
                  <a:gd name="T82" fmla="*/ 69 w 198"/>
                  <a:gd name="T83" fmla="*/ 136 h 273"/>
                  <a:gd name="T84" fmla="*/ 71 w 198"/>
                  <a:gd name="T85" fmla="*/ 190 h 273"/>
                  <a:gd name="T86" fmla="*/ 73 w 198"/>
                  <a:gd name="T87" fmla="*/ 200 h 273"/>
                  <a:gd name="T88" fmla="*/ 77 w 198"/>
                  <a:gd name="T89" fmla="*/ 206 h 273"/>
                  <a:gd name="T90" fmla="*/ 93 w 198"/>
                  <a:gd name="T91" fmla="*/ 213 h 273"/>
                  <a:gd name="T92" fmla="*/ 101 w 198"/>
                  <a:gd name="T93" fmla="*/ 214 h 273"/>
                  <a:gd name="T94" fmla="*/ 113 w 198"/>
                  <a:gd name="T95" fmla="*/ 212 h 273"/>
                  <a:gd name="T96" fmla="*/ 122 w 198"/>
                  <a:gd name="T97" fmla="*/ 204 h 273"/>
                  <a:gd name="T98" fmla="*/ 129 w 198"/>
                  <a:gd name="T99" fmla="*/ 192 h 273"/>
                  <a:gd name="T100" fmla="*/ 129 w 198"/>
                  <a:gd name="T101" fmla="*/ 185 h 273"/>
                  <a:gd name="T102" fmla="*/ 130 w 198"/>
                  <a:gd name="T103" fmla="*/ 13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273">
                    <a:moveTo>
                      <a:pt x="198" y="137"/>
                    </a:moveTo>
                    <a:lnTo>
                      <a:pt x="198" y="137"/>
                    </a:lnTo>
                    <a:lnTo>
                      <a:pt x="198" y="165"/>
                    </a:lnTo>
                    <a:lnTo>
                      <a:pt x="195" y="194"/>
                    </a:lnTo>
                    <a:lnTo>
                      <a:pt x="195" y="194"/>
                    </a:lnTo>
                    <a:lnTo>
                      <a:pt x="193" y="209"/>
                    </a:lnTo>
                    <a:lnTo>
                      <a:pt x="187" y="224"/>
                    </a:lnTo>
                    <a:lnTo>
                      <a:pt x="179" y="237"/>
                    </a:lnTo>
                    <a:lnTo>
                      <a:pt x="169" y="248"/>
                    </a:lnTo>
                    <a:lnTo>
                      <a:pt x="157" y="257"/>
                    </a:lnTo>
                    <a:lnTo>
                      <a:pt x="144" y="265"/>
                    </a:lnTo>
                    <a:lnTo>
                      <a:pt x="129" y="270"/>
                    </a:lnTo>
                    <a:lnTo>
                      <a:pt x="113" y="273"/>
                    </a:lnTo>
                    <a:lnTo>
                      <a:pt x="113" y="273"/>
                    </a:lnTo>
                    <a:lnTo>
                      <a:pt x="100" y="273"/>
                    </a:lnTo>
                    <a:lnTo>
                      <a:pt x="87" y="273"/>
                    </a:lnTo>
                    <a:lnTo>
                      <a:pt x="75" y="270"/>
                    </a:lnTo>
                    <a:lnTo>
                      <a:pt x="63" y="266"/>
                    </a:lnTo>
                    <a:lnTo>
                      <a:pt x="51" y="261"/>
                    </a:lnTo>
                    <a:lnTo>
                      <a:pt x="40" y="254"/>
                    </a:lnTo>
                    <a:lnTo>
                      <a:pt x="31" y="246"/>
                    </a:lnTo>
                    <a:lnTo>
                      <a:pt x="22" y="236"/>
                    </a:lnTo>
                    <a:lnTo>
                      <a:pt x="22" y="236"/>
                    </a:lnTo>
                    <a:lnTo>
                      <a:pt x="12" y="224"/>
                    </a:lnTo>
                    <a:lnTo>
                      <a:pt x="6" y="209"/>
                    </a:lnTo>
                    <a:lnTo>
                      <a:pt x="3" y="194"/>
                    </a:lnTo>
                    <a:lnTo>
                      <a:pt x="2" y="179"/>
                    </a:lnTo>
                    <a:lnTo>
                      <a:pt x="2" y="179"/>
                    </a:lnTo>
                    <a:lnTo>
                      <a:pt x="0" y="133"/>
                    </a:lnTo>
                    <a:lnTo>
                      <a:pt x="2" y="88"/>
                    </a:lnTo>
                    <a:lnTo>
                      <a:pt x="2" y="88"/>
                    </a:lnTo>
                    <a:lnTo>
                      <a:pt x="4" y="71"/>
                    </a:lnTo>
                    <a:lnTo>
                      <a:pt x="10" y="57"/>
                    </a:lnTo>
                    <a:lnTo>
                      <a:pt x="16" y="42"/>
                    </a:lnTo>
                    <a:lnTo>
                      <a:pt x="26" y="30"/>
                    </a:lnTo>
                    <a:lnTo>
                      <a:pt x="38" y="21"/>
                    </a:lnTo>
                    <a:lnTo>
                      <a:pt x="51" y="11"/>
                    </a:lnTo>
                    <a:lnTo>
                      <a:pt x="65" y="5"/>
                    </a:lnTo>
                    <a:lnTo>
                      <a:pt x="81" y="1"/>
                    </a:lnTo>
                    <a:lnTo>
                      <a:pt x="81" y="1"/>
                    </a:lnTo>
                    <a:lnTo>
                      <a:pt x="99" y="0"/>
                    </a:lnTo>
                    <a:lnTo>
                      <a:pt x="115" y="1"/>
                    </a:lnTo>
                    <a:lnTo>
                      <a:pt x="130" y="3"/>
                    </a:lnTo>
                    <a:lnTo>
                      <a:pt x="145" y="10"/>
                    </a:lnTo>
                    <a:lnTo>
                      <a:pt x="158" y="18"/>
                    </a:lnTo>
                    <a:lnTo>
                      <a:pt x="170" y="27"/>
                    </a:lnTo>
                    <a:lnTo>
                      <a:pt x="179" y="39"/>
                    </a:lnTo>
                    <a:lnTo>
                      <a:pt x="187" y="53"/>
                    </a:lnTo>
                    <a:lnTo>
                      <a:pt x="187" y="53"/>
                    </a:lnTo>
                    <a:lnTo>
                      <a:pt x="191" y="62"/>
                    </a:lnTo>
                    <a:lnTo>
                      <a:pt x="195" y="72"/>
                    </a:lnTo>
                    <a:lnTo>
                      <a:pt x="197" y="83"/>
                    </a:lnTo>
                    <a:lnTo>
                      <a:pt x="198" y="94"/>
                    </a:lnTo>
                    <a:lnTo>
                      <a:pt x="198" y="94"/>
                    </a:lnTo>
                    <a:lnTo>
                      <a:pt x="198" y="137"/>
                    </a:lnTo>
                    <a:lnTo>
                      <a:pt x="198" y="137"/>
                    </a:lnTo>
                    <a:lnTo>
                      <a:pt x="198" y="137"/>
                    </a:lnTo>
                    <a:lnTo>
                      <a:pt x="198" y="137"/>
                    </a:lnTo>
                    <a:close/>
                    <a:moveTo>
                      <a:pt x="130" y="136"/>
                    </a:moveTo>
                    <a:lnTo>
                      <a:pt x="130" y="136"/>
                    </a:lnTo>
                    <a:lnTo>
                      <a:pt x="129" y="136"/>
                    </a:lnTo>
                    <a:lnTo>
                      <a:pt x="129" y="136"/>
                    </a:lnTo>
                    <a:lnTo>
                      <a:pt x="130" y="112"/>
                    </a:lnTo>
                    <a:lnTo>
                      <a:pt x="129" y="87"/>
                    </a:lnTo>
                    <a:lnTo>
                      <a:pt x="129" y="87"/>
                    </a:lnTo>
                    <a:lnTo>
                      <a:pt x="129" y="80"/>
                    </a:lnTo>
                    <a:lnTo>
                      <a:pt x="126" y="75"/>
                    </a:lnTo>
                    <a:lnTo>
                      <a:pt x="124" y="71"/>
                    </a:lnTo>
                    <a:lnTo>
                      <a:pt x="121" y="67"/>
                    </a:lnTo>
                    <a:lnTo>
                      <a:pt x="117" y="63"/>
                    </a:lnTo>
                    <a:lnTo>
                      <a:pt x="112" y="62"/>
                    </a:lnTo>
                    <a:lnTo>
                      <a:pt x="108" y="59"/>
                    </a:lnTo>
                    <a:lnTo>
                      <a:pt x="101" y="59"/>
                    </a:lnTo>
                    <a:lnTo>
                      <a:pt x="101" y="59"/>
                    </a:lnTo>
                    <a:lnTo>
                      <a:pt x="96" y="59"/>
                    </a:lnTo>
                    <a:lnTo>
                      <a:pt x="91" y="61"/>
                    </a:lnTo>
                    <a:lnTo>
                      <a:pt x="85" y="62"/>
                    </a:lnTo>
                    <a:lnTo>
                      <a:pt x="80" y="65"/>
                    </a:lnTo>
                    <a:lnTo>
                      <a:pt x="77" y="68"/>
                    </a:lnTo>
                    <a:lnTo>
                      <a:pt x="73" y="72"/>
                    </a:lnTo>
                    <a:lnTo>
                      <a:pt x="72" y="78"/>
                    </a:lnTo>
                    <a:lnTo>
                      <a:pt x="71" y="83"/>
                    </a:lnTo>
                    <a:lnTo>
                      <a:pt x="71" y="83"/>
                    </a:lnTo>
                    <a:lnTo>
                      <a:pt x="69" y="136"/>
                    </a:lnTo>
                    <a:lnTo>
                      <a:pt x="71" y="190"/>
                    </a:lnTo>
                    <a:lnTo>
                      <a:pt x="71" y="190"/>
                    </a:lnTo>
                    <a:lnTo>
                      <a:pt x="72" y="194"/>
                    </a:lnTo>
                    <a:lnTo>
                      <a:pt x="73" y="200"/>
                    </a:lnTo>
                    <a:lnTo>
                      <a:pt x="75" y="202"/>
                    </a:lnTo>
                    <a:lnTo>
                      <a:pt x="77" y="206"/>
                    </a:lnTo>
                    <a:lnTo>
                      <a:pt x="85" y="210"/>
                    </a:lnTo>
                    <a:lnTo>
                      <a:pt x="93" y="213"/>
                    </a:lnTo>
                    <a:lnTo>
                      <a:pt x="93" y="213"/>
                    </a:lnTo>
                    <a:lnTo>
                      <a:pt x="101" y="214"/>
                    </a:lnTo>
                    <a:lnTo>
                      <a:pt x="108" y="213"/>
                    </a:lnTo>
                    <a:lnTo>
                      <a:pt x="113" y="212"/>
                    </a:lnTo>
                    <a:lnTo>
                      <a:pt x="118" y="208"/>
                    </a:lnTo>
                    <a:lnTo>
                      <a:pt x="122" y="204"/>
                    </a:lnTo>
                    <a:lnTo>
                      <a:pt x="126" y="198"/>
                    </a:lnTo>
                    <a:lnTo>
                      <a:pt x="129" y="192"/>
                    </a:lnTo>
                    <a:lnTo>
                      <a:pt x="129" y="185"/>
                    </a:lnTo>
                    <a:lnTo>
                      <a:pt x="129" y="185"/>
                    </a:lnTo>
                    <a:lnTo>
                      <a:pt x="130" y="161"/>
                    </a:lnTo>
                    <a:lnTo>
                      <a:pt x="130" y="136"/>
                    </a:lnTo>
                    <a:lnTo>
                      <a:pt x="130"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99" name="Freeform 399"/>
              <p:cNvSpPr>
                <a:spLocks noEditPoints="1"/>
              </p:cNvSpPr>
              <p:nvPr/>
            </p:nvSpPr>
            <p:spPr bwMode="auto">
              <a:xfrm>
                <a:off x="3327401" y="4243388"/>
                <a:ext cx="77788" cy="107950"/>
              </a:xfrm>
              <a:custGeom>
                <a:avLst/>
                <a:gdLst>
                  <a:gd name="T0" fmla="*/ 1 w 196"/>
                  <a:gd name="T1" fmla="*/ 137 h 273"/>
                  <a:gd name="T2" fmla="*/ 0 w 196"/>
                  <a:gd name="T3" fmla="*/ 96 h 273"/>
                  <a:gd name="T4" fmla="*/ 1 w 196"/>
                  <a:gd name="T5" fmla="*/ 81 h 273"/>
                  <a:gd name="T6" fmla="*/ 11 w 196"/>
                  <a:gd name="T7" fmla="*/ 52 h 273"/>
                  <a:gd name="T8" fmla="*/ 27 w 196"/>
                  <a:gd name="T9" fmla="*/ 29 h 273"/>
                  <a:gd name="T10" fmla="*/ 49 w 196"/>
                  <a:gd name="T11" fmla="*/ 12 h 273"/>
                  <a:gd name="T12" fmla="*/ 78 w 196"/>
                  <a:gd name="T13" fmla="*/ 2 h 273"/>
                  <a:gd name="T14" fmla="*/ 96 w 196"/>
                  <a:gd name="T15" fmla="*/ 0 h 273"/>
                  <a:gd name="T16" fmla="*/ 127 w 196"/>
                  <a:gd name="T17" fmla="*/ 4 h 273"/>
                  <a:gd name="T18" fmla="*/ 158 w 196"/>
                  <a:gd name="T19" fmla="*/ 17 h 273"/>
                  <a:gd name="T20" fmla="*/ 180 w 196"/>
                  <a:gd name="T21" fmla="*/ 41 h 273"/>
                  <a:gd name="T22" fmla="*/ 187 w 196"/>
                  <a:gd name="T23" fmla="*/ 55 h 273"/>
                  <a:gd name="T24" fmla="*/ 191 w 196"/>
                  <a:gd name="T25" fmla="*/ 64 h 273"/>
                  <a:gd name="T26" fmla="*/ 195 w 196"/>
                  <a:gd name="T27" fmla="*/ 82 h 273"/>
                  <a:gd name="T28" fmla="*/ 196 w 196"/>
                  <a:gd name="T29" fmla="*/ 92 h 273"/>
                  <a:gd name="T30" fmla="*/ 196 w 196"/>
                  <a:gd name="T31" fmla="*/ 177 h 273"/>
                  <a:gd name="T32" fmla="*/ 196 w 196"/>
                  <a:gd name="T33" fmla="*/ 191 h 273"/>
                  <a:gd name="T34" fmla="*/ 188 w 196"/>
                  <a:gd name="T35" fmla="*/ 218 h 273"/>
                  <a:gd name="T36" fmla="*/ 175 w 196"/>
                  <a:gd name="T37" fmla="*/ 239 h 273"/>
                  <a:gd name="T38" fmla="*/ 158 w 196"/>
                  <a:gd name="T39" fmla="*/ 256 h 273"/>
                  <a:gd name="T40" fmla="*/ 137 w 196"/>
                  <a:gd name="T41" fmla="*/ 267 h 273"/>
                  <a:gd name="T42" fmla="*/ 113 w 196"/>
                  <a:gd name="T43" fmla="*/ 273 h 273"/>
                  <a:gd name="T44" fmla="*/ 88 w 196"/>
                  <a:gd name="T45" fmla="*/ 273 h 273"/>
                  <a:gd name="T46" fmla="*/ 64 w 196"/>
                  <a:gd name="T47" fmla="*/ 267 h 273"/>
                  <a:gd name="T48" fmla="*/ 52 w 196"/>
                  <a:gd name="T49" fmla="*/ 261 h 273"/>
                  <a:gd name="T50" fmla="*/ 28 w 196"/>
                  <a:gd name="T51" fmla="*/ 246 h 273"/>
                  <a:gd name="T52" fmla="*/ 12 w 196"/>
                  <a:gd name="T53" fmla="*/ 226 h 273"/>
                  <a:gd name="T54" fmla="*/ 3 w 196"/>
                  <a:gd name="T55" fmla="*/ 200 h 273"/>
                  <a:gd name="T56" fmla="*/ 0 w 196"/>
                  <a:gd name="T57" fmla="*/ 174 h 273"/>
                  <a:gd name="T58" fmla="*/ 0 w 196"/>
                  <a:gd name="T59" fmla="*/ 137 h 273"/>
                  <a:gd name="T60" fmla="*/ 1 w 196"/>
                  <a:gd name="T61" fmla="*/ 137 h 273"/>
                  <a:gd name="T62" fmla="*/ 69 w 196"/>
                  <a:gd name="T63" fmla="*/ 137 h 273"/>
                  <a:gd name="T64" fmla="*/ 69 w 196"/>
                  <a:gd name="T65" fmla="*/ 137 h 273"/>
                  <a:gd name="T66" fmla="*/ 69 w 196"/>
                  <a:gd name="T67" fmla="*/ 162 h 273"/>
                  <a:gd name="T68" fmla="*/ 69 w 196"/>
                  <a:gd name="T69" fmla="*/ 187 h 273"/>
                  <a:gd name="T70" fmla="*/ 72 w 196"/>
                  <a:gd name="T71" fmla="*/ 199 h 273"/>
                  <a:gd name="T72" fmla="*/ 78 w 196"/>
                  <a:gd name="T73" fmla="*/ 207 h 273"/>
                  <a:gd name="T74" fmla="*/ 88 w 196"/>
                  <a:gd name="T75" fmla="*/ 212 h 273"/>
                  <a:gd name="T76" fmla="*/ 100 w 196"/>
                  <a:gd name="T77" fmla="*/ 214 h 273"/>
                  <a:gd name="T78" fmla="*/ 106 w 196"/>
                  <a:gd name="T79" fmla="*/ 214 h 273"/>
                  <a:gd name="T80" fmla="*/ 115 w 196"/>
                  <a:gd name="T81" fmla="*/ 210 h 273"/>
                  <a:gd name="T82" fmla="*/ 123 w 196"/>
                  <a:gd name="T83" fmla="*/ 203 h 273"/>
                  <a:gd name="T84" fmla="*/ 127 w 196"/>
                  <a:gd name="T85" fmla="*/ 192 h 273"/>
                  <a:gd name="T86" fmla="*/ 129 w 196"/>
                  <a:gd name="T87" fmla="*/ 186 h 273"/>
                  <a:gd name="T88" fmla="*/ 130 w 196"/>
                  <a:gd name="T89" fmla="*/ 105 h 273"/>
                  <a:gd name="T90" fmla="*/ 129 w 196"/>
                  <a:gd name="T91" fmla="*/ 96 h 273"/>
                  <a:gd name="T92" fmla="*/ 129 w 196"/>
                  <a:gd name="T93" fmla="*/ 86 h 273"/>
                  <a:gd name="T94" fmla="*/ 122 w 196"/>
                  <a:gd name="T95" fmla="*/ 70 h 273"/>
                  <a:gd name="T96" fmla="*/ 109 w 196"/>
                  <a:gd name="T97" fmla="*/ 61 h 273"/>
                  <a:gd name="T98" fmla="*/ 101 w 196"/>
                  <a:gd name="T99" fmla="*/ 60 h 273"/>
                  <a:gd name="T100" fmla="*/ 88 w 196"/>
                  <a:gd name="T101" fmla="*/ 61 h 273"/>
                  <a:gd name="T102" fmla="*/ 77 w 196"/>
                  <a:gd name="T103" fmla="*/ 68 h 273"/>
                  <a:gd name="T104" fmla="*/ 70 w 196"/>
                  <a:gd name="T105" fmla="*/ 78 h 273"/>
                  <a:gd name="T106" fmla="*/ 69 w 196"/>
                  <a:gd name="T107" fmla="*/ 86 h 273"/>
                  <a:gd name="T108" fmla="*/ 69 w 196"/>
                  <a:gd name="T109" fmla="*/ 112 h 273"/>
                  <a:gd name="T110" fmla="*/ 69 w 196"/>
                  <a:gd name="T11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273">
                    <a:moveTo>
                      <a:pt x="1" y="137"/>
                    </a:moveTo>
                    <a:lnTo>
                      <a:pt x="1" y="137"/>
                    </a:lnTo>
                    <a:lnTo>
                      <a:pt x="0" y="109"/>
                    </a:lnTo>
                    <a:lnTo>
                      <a:pt x="0" y="96"/>
                    </a:lnTo>
                    <a:lnTo>
                      <a:pt x="1" y="81"/>
                    </a:lnTo>
                    <a:lnTo>
                      <a:pt x="1" y="81"/>
                    </a:lnTo>
                    <a:lnTo>
                      <a:pt x="5" y="66"/>
                    </a:lnTo>
                    <a:lnTo>
                      <a:pt x="11" y="52"/>
                    </a:lnTo>
                    <a:lnTo>
                      <a:pt x="17" y="40"/>
                    </a:lnTo>
                    <a:lnTo>
                      <a:pt x="27" y="29"/>
                    </a:lnTo>
                    <a:lnTo>
                      <a:pt x="37" y="20"/>
                    </a:lnTo>
                    <a:lnTo>
                      <a:pt x="49" y="12"/>
                    </a:lnTo>
                    <a:lnTo>
                      <a:pt x="62" y="7"/>
                    </a:lnTo>
                    <a:lnTo>
                      <a:pt x="78" y="2"/>
                    </a:lnTo>
                    <a:lnTo>
                      <a:pt x="78" y="2"/>
                    </a:lnTo>
                    <a:lnTo>
                      <a:pt x="96" y="0"/>
                    </a:lnTo>
                    <a:lnTo>
                      <a:pt x="111" y="0"/>
                    </a:lnTo>
                    <a:lnTo>
                      <a:pt x="127" y="4"/>
                    </a:lnTo>
                    <a:lnTo>
                      <a:pt x="143" y="9"/>
                    </a:lnTo>
                    <a:lnTo>
                      <a:pt x="158" y="17"/>
                    </a:lnTo>
                    <a:lnTo>
                      <a:pt x="170" y="28"/>
                    </a:lnTo>
                    <a:lnTo>
                      <a:pt x="180" y="41"/>
                    </a:lnTo>
                    <a:lnTo>
                      <a:pt x="184" y="48"/>
                    </a:lnTo>
                    <a:lnTo>
                      <a:pt x="187" y="55"/>
                    </a:lnTo>
                    <a:lnTo>
                      <a:pt x="187" y="55"/>
                    </a:lnTo>
                    <a:lnTo>
                      <a:pt x="191" y="64"/>
                    </a:lnTo>
                    <a:lnTo>
                      <a:pt x="194" y="73"/>
                    </a:lnTo>
                    <a:lnTo>
                      <a:pt x="195" y="82"/>
                    </a:lnTo>
                    <a:lnTo>
                      <a:pt x="196" y="92"/>
                    </a:lnTo>
                    <a:lnTo>
                      <a:pt x="196" y="92"/>
                    </a:lnTo>
                    <a:lnTo>
                      <a:pt x="196" y="134"/>
                    </a:lnTo>
                    <a:lnTo>
                      <a:pt x="196" y="177"/>
                    </a:lnTo>
                    <a:lnTo>
                      <a:pt x="196" y="177"/>
                    </a:lnTo>
                    <a:lnTo>
                      <a:pt x="196" y="191"/>
                    </a:lnTo>
                    <a:lnTo>
                      <a:pt x="194" y="204"/>
                    </a:lnTo>
                    <a:lnTo>
                      <a:pt x="188" y="218"/>
                    </a:lnTo>
                    <a:lnTo>
                      <a:pt x="183" y="230"/>
                    </a:lnTo>
                    <a:lnTo>
                      <a:pt x="175" y="239"/>
                    </a:lnTo>
                    <a:lnTo>
                      <a:pt x="167" y="248"/>
                    </a:lnTo>
                    <a:lnTo>
                      <a:pt x="158" y="256"/>
                    </a:lnTo>
                    <a:lnTo>
                      <a:pt x="147" y="263"/>
                    </a:lnTo>
                    <a:lnTo>
                      <a:pt x="137" y="267"/>
                    </a:lnTo>
                    <a:lnTo>
                      <a:pt x="125" y="271"/>
                    </a:lnTo>
                    <a:lnTo>
                      <a:pt x="113" y="273"/>
                    </a:lnTo>
                    <a:lnTo>
                      <a:pt x="100" y="273"/>
                    </a:lnTo>
                    <a:lnTo>
                      <a:pt x="88" y="273"/>
                    </a:lnTo>
                    <a:lnTo>
                      <a:pt x="76" y="271"/>
                    </a:lnTo>
                    <a:lnTo>
                      <a:pt x="64" y="267"/>
                    </a:lnTo>
                    <a:lnTo>
                      <a:pt x="52" y="261"/>
                    </a:lnTo>
                    <a:lnTo>
                      <a:pt x="52" y="261"/>
                    </a:lnTo>
                    <a:lnTo>
                      <a:pt x="39" y="255"/>
                    </a:lnTo>
                    <a:lnTo>
                      <a:pt x="28" y="246"/>
                    </a:lnTo>
                    <a:lnTo>
                      <a:pt x="20" y="236"/>
                    </a:lnTo>
                    <a:lnTo>
                      <a:pt x="12" y="226"/>
                    </a:lnTo>
                    <a:lnTo>
                      <a:pt x="7" y="214"/>
                    </a:lnTo>
                    <a:lnTo>
                      <a:pt x="3" y="200"/>
                    </a:lnTo>
                    <a:lnTo>
                      <a:pt x="1" y="187"/>
                    </a:lnTo>
                    <a:lnTo>
                      <a:pt x="0" y="174"/>
                    </a:lnTo>
                    <a:lnTo>
                      <a:pt x="0" y="174"/>
                    </a:lnTo>
                    <a:lnTo>
                      <a:pt x="0" y="137"/>
                    </a:lnTo>
                    <a:lnTo>
                      <a:pt x="0" y="137"/>
                    </a:lnTo>
                    <a:lnTo>
                      <a:pt x="1" y="137"/>
                    </a:lnTo>
                    <a:lnTo>
                      <a:pt x="1" y="137"/>
                    </a:lnTo>
                    <a:close/>
                    <a:moveTo>
                      <a:pt x="69" y="137"/>
                    </a:moveTo>
                    <a:lnTo>
                      <a:pt x="69" y="137"/>
                    </a:lnTo>
                    <a:lnTo>
                      <a:pt x="69" y="137"/>
                    </a:lnTo>
                    <a:lnTo>
                      <a:pt x="69" y="137"/>
                    </a:lnTo>
                    <a:lnTo>
                      <a:pt x="69" y="162"/>
                    </a:lnTo>
                    <a:lnTo>
                      <a:pt x="69" y="187"/>
                    </a:lnTo>
                    <a:lnTo>
                      <a:pt x="69" y="187"/>
                    </a:lnTo>
                    <a:lnTo>
                      <a:pt x="70" y="194"/>
                    </a:lnTo>
                    <a:lnTo>
                      <a:pt x="72" y="199"/>
                    </a:lnTo>
                    <a:lnTo>
                      <a:pt x="74" y="203"/>
                    </a:lnTo>
                    <a:lnTo>
                      <a:pt x="78" y="207"/>
                    </a:lnTo>
                    <a:lnTo>
                      <a:pt x="82" y="211"/>
                    </a:lnTo>
                    <a:lnTo>
                      <a:pt x="88" y="212"/>
                    </a:lnTo>
                    <a:lnTo>
                      <a:pt x="93" y="214"/>
                    </a:lnTo>
                    <a:lnTo>
                      <a:pt x="100" y="214"/>
                    </a:lnTo>
                    <a:lnTo>
                      <a:pt x="100" y="214"/>
                    </a:lnTo>
                    <a:lnTo>
                      <a:pt x="106" y="214"/>
                    </a:lnTo>
                    <a:lnTo>
                      <a:pt x="111" y="212"/>
                    </a:lnTo>
                    <a:lnTo>
                      <a:pt x="115" y="210"/>
                    </a:lnTo>
                    <a:lnTo>
                      <a:pt x="119" y="207"/>
                    </a:lnTo>
                    <a:lnTo>
                      <a:pt x="123" y="203"/>
                    </a:lnTo>
                    <a:lnTo>
                      <a:pt x="126" y="198"/>
                    </a:lnTo>
                    <a:lnTo>
                      <a:pt x="127" y="192"/>
                    </a:lnTo>
                    <a:lnTo>
                      <a:pt x="129" y="186"/>
                    </a:lnTo>
                    <a:lnTo>
                      <a:pt x="129" y="186"/>
                    </a:lnTo>
                    <a:lnTo>
                      <a:pt x="129" y="145"/>
                    </a:lnTo>
                    <a:lnTo>
                      <a:pt x="130" y="105"/>
                    </a:lnTo>
                    <a:lnTo>
                      <a:pt x="130" y="105"/>
                    </a:lnTo>
                    <a:lnTo>
                      <a:pt x="129" y="96"/>
                    </a:lnTo>
                    <a:lnTo>
                      <a:pt x="129" y="86"/>
                    </a:lnTo>
                    <a:lnTo>
                      <a:pt x="129" y="86"/>
                    </a:lnTo>
                    <a:lnTo>
                      <a:pt x="126" y="77"/>
                    </a:lnTo>
                    <a:lnTo>
                      <a:pt x="122" y="70"/>
                    </a:lnTo>
                    <a:lnTo>
                      <a:pt x="117" y="64"/>
                    </a:lnTo>
                    <a:lnTo>
                      <a:pt x="109" y="61"/>
                    </a:lnTo>
                    <a:lnTo>
                      <a:pt x="109" y="61"/>
                    </a:lnTo>
                    <a:lnTo>
                      <a:pt x="101" y="60"/>
                    </a:lnTo>
                    <a:lnTo>
                      <a:pt x="94" y="60"/>
                    </a:lnTo>
                    <a:lnTo>
                      <a:pt x="88" y="61"/>
                    </a:lnTo>
                    <a:lnTo>
                      <a:pt x="82" y="64"/>
                    </a:lnTo>
                    <a:lnTo>
                      <a:pt x="77" y="68"/>
                    </a:lnTo>
                    <a:lnTo>
                      <a:pt x="73" y="72"/>
                    </a:lnTo>
                    <a:lnTo>
                      <a:pt x="70" y="78"/>
                    </a:lnTo>
                    <a:lnTo>
                      <a:pt x="69" y="86"/>
                    </a:lnTo>
                    <a:lnTo>
                      <a:pt x="69" y="86"/>
                    </a:lnTo>
                    <a:lnTo>
                      <a:pt x="69" y="98"/>
                    </a:lnTo>
                    <a:lnTo>
                      <a:pt x="69" y="112"/>
                    </a:lnTo>
                    <a:lnTo>
                      <a:pt x="69" y="137"/>
                    </a:lnTo>
                    <a:lnTo>
                      <a:pt x="69"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0" name="Freeform 400"/>
              <p:cNvSpPr>
                <a:spLocks noEditPoints="1"/>
              </p:cNvSpPr>
              <p:nvPr/>
            </p:nvSpPr>
            <p:spPr bwMode="auto">
              <a:xfrm>
                <a:off x="2873376" y="4121150"/>
                <a:ext cx="77788" cy="107950"/>
              </a:xfrm>
              <a:custGeom>
                <a:avLst/>
                <a:gdLst>
                  <a:gd name="T0" fmla="*/ 2 w 198"/>
                  <a:gd name="T1" fmla="*/ 136 h 274"/>
                  <a:gd name="T2" fmla="*/ 2 w 198"/>
                  <a:gd name="T3" fmla="*/ 95 h 274"/>
                  <a:gd name="T4" fmla="*/ 2 w 198"/>
                  <a:gd name="T5" fmla="*/ 80 h 274"/>
                  <a:gd name="T6" fmla="*/ 12 w 198"/>
                  <a:gd name="T7" fmla="*/ 51 h 274"/>
                  <a:gd name="T8" fmla="*/ 27 w 198"/>
                  <a:gd name="T9" fmla="*/ 29 h 274"/>
                  <a:gd name="T10" fmla="*/ 50 w 198"/>
                  <a:gd name="T11" fmla="*/ 11 h 274"/>
                  <a:gd name="T12" fmla="*/ 80 w 198"/>
                  <a:gd name="T13" fmla="*/ 2 h 274"/>
                  <a:gd name="T14" fmla="*/ 96 w 198"/>
                  <a:gd name="T15" fmla="*/ 0 h 274"/>
                  <a:gd name="T16" fmla="*/ 130 w 198"/>
                  <a:gd name="T17" fmla="*/ 3 h 274"/>
                  <a:gd name="T18" fmla="*/ 159 w 198"/>
                  <a:gd name="T19" fmla="*/ 18 h 274"/>
                  <a:gd name="T20" fmla="*/ 181 w 198"/>
                  <a:gd name="T21" fmla="*/ 42 h 274"/>
                  <a:gd name="T22" fmla="*/ 189 w 198"/>
                  <a:gd name="T23" fmla="*/ 55 h 274"/>
                  <a:gd name="T24" fmla="*/ 192 w 198"/>
                  <a:gd name="T25" fmla="*/ 65 h 274"/>
                  <a:gd name="T26" fmla="*/ 196 w 198"/>
                  <a:gd name="T27" fmla="*/ 83 h 274"/>
                  <a:gd name="T28" fmla="*/ 197 w 198"/>
                  <a:gd name="T29" fmla="*/ 94 h 274"/>
                  <a:gd name="T30" fmla="*/ 197 w 198"/>
                  <a:gd name="T31" fmla="*/ 181 h 274"/>
                  <a:gd name="T32" fmla="*/ 197 w 198"/>
                  <a:gd name="T33" fmla="*/ 190 h 274"/>
                  <a:gd name="T34" fmla="*/ 192 w 198"/>
                  <a:gd name="T35" fmla="*/ 210 h 274"/>
                  <a:gd name="T36" fmla="*/ 184 w 198"/>
                  <a:gd name="T37" fmla="*/ 229 h 274"/>
                  <a:gd name="T38" fmla="*/ 172 w 198"/>
                  <a:gd name="T39" fmla="*/ 244 h 274"/>
                  <a:gd name="T40" fmla="*/ 157 w 198"/>
                  <a:gd name="T41" fmla="*/ 257 h 274"/>
                  <a:gd name="T42" fmla="*/ 140 w 198"/>
                  <a:gd name="T43" fmla="*/ 266 h 274"/>
                  <a:gd name="T44" fmla="*/ 122 w 198"/>
                  <a:gd name="T45" fmla="*/ 271 h 274"/>
                  <a:gd name="T46" fmla="*/ 102 w 198"/>
                  <a:gd name="T47" fmla="*/ 274 h 274"/>
                  <a:gd name="T48" fmla="*/ 91 w 198"/>
                  <a:gd name="T49" fmla="*/ 273 h 274"/>
                  <a:gd name="T50" fmla="*/ 58 w 198"/>
                  <a:gd name="T51" fmla="*/ 265 h 274"/>
                  <a:gd name="T52" fmla="*/ 31 w 198"/>
                  <a:gd name="T53" fmla="*/ 248 h 274"/>
                  <a:gd name="T54" fmla="*/ 13 w 198"/>
                  <a:gd name="T55" fmla="*/ 224 h 274"/>
                  <a:gd name="T56" fmla="*/ 4 w 198"/>
                  <a:gd name="T57" fmla="*/ 193 h 274"/>
                  <a:gd name="T58" fmla="*/ 1 w 198"/>
                  <a:gd name="T59" fmla="*/ 179 h 274"/>
                  <a:gd name="T60" fmla="*/ 0 w 198"/>
                  <a:gd name="T61" fmla="*/ 136 h 274"/>
                  <a:gd name="T62" fmla="*/ 2 w 198"/>
                  <a:gd name="T63" fmla="*/ 136 h 274"/>
                  <a:gd name="T64" fmla="*/ 70 w 198"/>
                  <a:gd name="T65" fmla="*/ 136 h 274"/>
                  <a:gd name="T66" fmla="*/ 69 w 198"/>
                  <a:gd name="T67" fmla="*/ 136 h 274"/>
                  <a:gd name="T68" fmla="*/ 69 w 198"/>
                  <a:gd name="T69" fmla="*/ 171 h 274"/>
                  <a:gd name="T70" fmla="*/ 69 w 198"/>
                  <a:gd name="T71" fmla="*/ 180 h 274"/>
                  <a:gd name="T72" fmla="*/ 70 w 198"/>
                  <a:gd name="T73" fmla="*/ 189 h 274"/>
                  <a:gd name="T74" fmla="*/ 78 w 198"/>
                  <a:gd name="T75" fmla="*/ 206 h 274"/>
                  <a:gd name="T76" fmla="*/ 94 w 198"/>
                  <a:gd name="T77" fmla="*/ 213 h 274"/>
                  <a:gd name="T78" fmla="*/ 102 w 198"/>
                  <a:gd name="T79" fmla="*/ 214 h 274"/>
                  <a:gd name="T80" fmla="*/ 114 w 198"/>
                  <a:gd name="T81" fmla="*/ 212 h 274"/>
                  <a:gd name="T82" fmla="*/ 123 w 198"/>
                  <a:gd name="T83" fmla="*/ 204 h 274"/>
                  <a:gd name="T84" fmla="*/ 128 w 198"/>
                  <a:gd name="T85" fmla="*/ 193 h 274"/>
                  <a:gd name="T86" fmla="*/ 130 w 198"/>
                  <a:gd name="T87" fmla="*/ 185 h 274"/>
                  <a:gd name="T88" fmla="*/ 131 w 198"/>
                  <a:gd name="T89" fmla="*/ 94 h 274"/>
                  <a:gd name="T90" fmla="*/ 130 w 198"/>
                  <a:gd name="T91" fmla="*/ 86 h 274"/>
                  <a:gd name="T92" fmla="*/ 127 w 198"/>
                  <a:gd name="T93" fmla="*/ 76 h 274"/>
                  <a:gd name="T94" fmla="*/ 116 w 198"/>
                  <a:gd name="T95" fmla="*/ 63 h 274"/>
                  <a:gd name="T96" fmla="*/ 110 w 198"/>
                  <a:gd name="T97" fmla="*/ 61 h 274"/>
                  <a:gd name="T98" fmla="*/ 95 w 198"/>
                  <a:gd name="T99" fmla="*/ 59 h 274"/>
                  <a:gd name="T100" fmla="*/ 83 w 198"/>
                  <a:gd name="T101" fmla="*/ 63 h 274"/>
                  <a:gd name="T102" fmla="*/ 74 w 198"/>
                  <a:gd name="T103" fmla="*/ 72 h 274"/>
                  <a:gd name="T104" fmla="*/ 70 w 198"/>
                  <a:gd name="T105" fmla="*/ 86 h 274"/>
                  <a:gd name="T106" fmla="*/ 70 w 198"/>
                  <a:gd name="T107" fmla="*/ 99 h 274"/>
                  <a:gd name="T108" fmla="*/ 70 w 198"/>
                  <a:gd name="T109" fmla="*/ 13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8" h="274">
                    <a:moveTo>
                      <a:pt x="2" y="136"/>
                    </a:moveTo>
                    <a:lnTo>
                      <a:pt x="2" y="136"/>
                    </a:lnTo>
                    <a:lnTo>
                      <a:pt x="2" y="108"/>
                    </a:lnTo>
                    <a:lnTo>
                      <a:pt x="2" y="95"/>
                    </a:lnTo>
                    <a:lnTo>
                      <a:pt x="2" y="80"/>
                    </a:lnTo>
                    <a:lnTo>
                      <a:pt x="2" y="80"/>
                    </a:lnTo>
                    <a:lnTo>
                      <a:pt x="6" y="66"/>
                    </a:lnTo>
                    <a:lnTo>
                      <a:pt x="12" y="51"/>
                    </a:lnTo>
                    <a:lnTo>
                      <a:pt x="18" y="39"/>
                    </a:lnTo>
                    <a:lnTo>
                      <a:pt x="27" y="29"/>
                    </a:lnTo>
                    <a:lnTo>
                      <a:pt x="38" y="19"/>
                    </a:lnTo>
                    <a:lnTo>
                      <a:pt x="50" y="11"/>
                    </a:lnTo>
                    <a:lnTo>
                      <a:pt x="65" y="6"/>
                    </a:lnTo>
                    <a:lnTo>
                      <a:pt x="80" y="2"/>
                    </a:lnTo>
                    <a:lnTo>
                      <a:pt x="80" y="2"/>
                    </a:lnTo>
                    <a:lnTo>
                      <a:pt x="96" y="0"/>
                    </a:lnTo>
                    <a:lnTo>
                      <a:pt x="114" y="1"/>
                    </a:lnTo>
                    <a:lnTo>
                      <a:pt x="130" y="3"/>
                    </a:lnTo>
                    <a:lnTo>
                      <a:pt x="145" y="10"/>
                    </a:lnTo>
                    <a:lnTo>
                      <a:pt x="159" y="18"/>
                    </a:lnTo>
                    <a:lnTo>
                      <a:pt x="172" y="29"/>
                    </a:lnTo>
                    <a:lnTo>
                      <a:pt x="181" y="42"/>
                    </a:lnTo>
                    <a:lnTo>
                      <a:pt x="185" y="49"/>
                    </a:lnTo>
                    <a:lnTo>
                      <a:pt x="189" y="55"/>
                    </a:lnTo>
                    <a:lnTo>
                      <a:pt x="189" y="55"/>
                    </a:lnTo>
                    <a:lnTo>
                      <a:pt x="192" y="65"/>
                    </a:lnTo>
                    <a:lnTo>
                      <a:pt x="194" y="74"/>
                    </a:lnTo>
                    <a:lnTo>
                      <a:pt x="196" y="83"/>
                    </a:lnTo>
                    <a:lnTo>
                      <a:pt x="197" y="94"/>
                    </a:lnTo>
                    <a:lnTo>
                      <a:pt x="197" y="94"/>
                    </a:lnTo>
                    <a:lnTo>
                      <a:pt x="198" y="137"/>
                    </a:lnTo>
                    <a:lnTo>
                      <a:pt x="197" y="181"/>
                    </a:lnTo>
                    <a:lnTo>
                      <a:pt x="197" y="181"/>
                    </a:lnTo>
                    <a:lnTo>
                      <a:pt x="197" y="190"/>
                    </a:lnTo>
                    <a:lnTo>
                      <a:pt x="194" y="201"/>
                    </a:lnTo>
                    <a:lnTo>
                      <a:pt x="192" y="210"/>
                    </a:lnTo>
                    <a:lnTo>
                      <a:pt x="188" y="220"/>
                    </a:lnTo>
                    <a:lnTo>
                      <a:pt x="184" y="229"/>
                    </a:lnTo>
                    <a:lnTo>
                      <a:pt x="179" y="237"/>
                    </a:lnTo>
                    <a:lnTo>
                      <a:pt x="172" y="244"/>
                    </a:lnTo>
                    <a:lnTo>
                      <a:pt x="165" y="250"/>
                    </a:lnTo>
                    <a:lnTo>
                      <a:pt x="157" y="257"/>
                    </a:lnTo>
                    <a:lnTo>
                      <a:pt x="149" y="262"/>
                    </a:lnTo>
                    <a:lnTo>
                      <a:pt x="140" y="266"/>
                    </a:lnTo>
                    <a:lnTo>
                      <a:pt x="131" y="269"/>
                    </a:lnTo>
                    <a:lnTo>
                      <a:pt x="122" y="271"/>
                    </a:lnTo>
                    <a:lnTo>
                      <a:pt x="112" y="273"/>
                    </a:lnTo>
                    <a:lnTo>
                      <a:pt x="102" y="274"/>
                    </a:lnTo>
                    <a:lnTo>
                      <a:pt x="91" y="273"/>
                    </a:lnTo>
                    <a:lnTo>
                      <a:pt x="91" y="273"/>
                    </a:lnTo>
                    <a:lnTo>
                      <a:pt x="74" y="270"/>
                    </a:lnTo>
                    <a:lnTo>
                      <a:pt x="58" y="265"/>
                    </a:lnTo>
                    <a:lnTo>
                      <a:pt x="43" y="257"/>
                    </a:lnTo>
                    <a:lnTo>
                      <a:pt x="31" y="248"/>
                    </a:lnTo>
                    <a:lnTo>
                      <a:pt x="22" y="237"/>
                    </a:lnTo>
                    <a:lnTo>
                      <a:pt x="13" y="224"/>
                    </a:lnTo>
                    <a:lnTo>
                      <a:pt x="8" y="209"/>
                    </a:lnTo>
                    <a:lnTo>
                      <a:pt x="4" y="193"/>
                    </a:lnTo>
                    <a:lnTo>
                      <a:pt x="4" y="193"/>
                    </a:lnTo>
                    <a:lnTo>
                      <a:pt x="1" y="179"/>
                    </a:lnTo>
                    <a:lnTo>
                      <a:pt x="1" y="165"/>
                    </a:lnTo>
                    <a:lnTo>
                      <a:pt x="0" y="136"/>
                    </a:lnTo>
                    <a:lnTo>
                      <a:pt x="0" y="136"/>
                    </a:lnTo>
                    <a:lnTo>
                      <a:pt x="2" y="136"/>
                    </a:lnTo>
                    <a:lnTo>
                      <a:pt x="2" y="136"/>
                    </a:lnTo>
                    <a:close/>
                    <a:moveTo>
                      <a:pt x="70" y="136"/>
                    </a:moveTo>
                    <a:lnTo>
                      <a:pt x="70" y="136"/>
                    </a:lnTo>
                    <a:lnTo>
                      <a:pt x="69" y="136"/>
                    </a:lnTo>
                    <a:lnTo>
                      <a:pt x="69" y="136"/>
                    </a:lnTo>
                    <a:lnTo>
                      <a:pt x="69" y="171"/>
                    </a:lnTo>
                    <a:lnTo>
                      <a:pt x="69" y="171"/>
                    </a:lnTo>
                    <a:lnTo>
                      <a:pt x="69" y="180"/>
                    </a:lnTo>
                    <a:lnTo>
                      <a:pt x="70" y="189"/>
                    </a:lnTo>
                    <a:lnTo>
                      <a:pt x="70" y="189"/>
                    </a:lnTo>
                    <a:lnTo>
                      <a:pt x="74" y="198"/>
                    </a:lnTo>
                    <a:lnTo>
                      <a:pt x="78" y="206"/>
                    </a:lnTo>
                    <a:lnTo>
                      <a:pt x="86" y="210"/>
                    </a:lnTo>
                    <a:lnTo>
                      <a:pt x="94" y="213"/>
                    </a:lnTo>
                    <a:lnTo>
                      <a:pt x="94" y="213"/>
                    </a:lnTo>
                    <a:lnTo>
                      <a:pt x="102" y="214"/>
                    </a:lnTo>
                    <a:lnTo>
                      <a:pt x="108" y="213"/>
                    </a:lnTo>
                    <a:lnTo>
                      <a:pt x="114" y="212"/>
                    </a:lnTo>
                    <a:lnTo>
                      <a:pt x="119" y="208"/>
                    </a:lnTo>
                    <a:lnTo>
                      <a:pt x="123" y="204"/>
                    </a:lnTo>
                    <a:lnTo>
                      <a:pt x="127" y="198"/>
                    </a:lnTo>
                    <a:lnTo>
                      <a:pt x="128" y="193"/>
                    </a:lnTo>
                    <a:lnTo>
                      <a:pt x="130" y="185"/>
                    </a:lnTo>
                    <a:lnTo>
                      <a:pt x="130" y="185"/>
                    </a:lnTo>
                    <a:lnTo>
                      <a:pt x="130" y="140"/>
                    </a:lnTo>
                    <a:lnTo>
                      <a:pt x="131" y="94"/>
                    </a:lnTo>
                    <a:lnTo>
                      <a:pt x="131" y="94"/>
                    </a:lnTo>
                    <a:lnTo>
                      <a:pt x="130" y="86"/>
                    </a:lnTo>
                    <a:lnTo>
                      <a:pt x="130" y="86"/>
                    </a:lnTo>
                    <a:lnTo>
                      <a:pt x="127" y="76"/>
                    </a:lnTo>
                    <a:lnTo>
                      <a:pt x="123" y="68"/>
                    </a:lnTo>
                    <a:lnTo>
                      <a:pt x="116" y="63"/>
                    </a:lnTo>
                    <a:lnTo>
                      <a:pt x="110" y="61"/>
                    </a:lnTo>
                    <a:lnTo>
                      <a:pt x="110" y="61"/>
                    </a:lnTo>
                    <a:lnTo>
                      <a:pt x="102" y="59"/>
                    </a:lnTo>
                    <a:lnTo>
                      <a:pt x="95" y="59"/>
                    </a:lnTo>
                    <a:lnTo>
                      <a:pt x="88" y="61"/>
                    </a:lnTo>
                    <a:lnTo>
                      <a:pt x="83" y="63"/>
                    </a:lnTo>
                    <a:lnTo>
                      <a:pt x="78" y="67"/>
                    </a:lnTo>
                    <a:lnTo>
                      <a:pt x="74" y="72"/>
                    </a:lnTo>
                    <a:lnTo>
                      <a:pt x="71" y="79"/>
                    </a:lnTo>
                    <a:lnTo>
                      <a:pt x="70" y="86"/>
                    </a:lnTo>
                    <a:lnTo>
                      <a:pt x="70" y="86"/>
                    </a:lnTo>
                    <a:lnTo>
                      <a:pt x="70" y="99"/>
                    </a:lnTo>
                    <a:lnTo>
                      <a:pt x="70" y="111"/>
                    </a:lnTo>
                    <a:lnTo>
                      <a:pt x="70" y="136"/>
                    </a:lnTo>
                    <a:lnTo>
                      <a:pt x="70"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1" name="Freeform 401"/>
              <p:cNvSpPr>
                <a:spLocks/>
              </p:cNvSpPr>
              <p:nvPr/>
            </p:nvSpPr>
            <p:spPr bwMode="auto">
              <a:xfrm>
                <a:off x="3505201" y="4122738"/>
                <a:ext cx="44450" cy="104775"/>
              </a:xfrm>
              <a:custGeom>
                <a:avLst/>
                <a:gdLst>
                  <a:gd name="T0" fmla="*/ 110 w 110"/>
                  <a:gd name="T1" fmla="*/ 262 h 262"/>
                  <a:gd name="T2" fmla="*/ 110 w 110"/>
                  <a:gd name="T3" fmla="*/ 262 h 262"/>
                  <a:gd name="T4" fmla="*/ 42 w 110"/>
                  <a:gd name="T5" fmla="*/ 262 h 262"/>
                  <a:gd name="T6" fmla="*/ 42 w 110"/>
                  <a:gd name="T7" fmla="*/ 262 h 262"/>
                  <a:gd name="T8" fmla="*/ 42 w 110"/>
                  <a:gd name="T9" fmla="*/ 57 h 262"/>
                  <a:gd name="T10" fmla="*/ 42 w 110"/>
                  <a:gd name="T11" fmla="*/ 57 h 262"/>
                  <a:gd name="T12" fmla="*/ 0 w 110"/>
                  <a:gd name="T13" fmla="*/ 57 h 262"/>
                  <a:gd name="T14" fmla="*/ 0 w 110"/>
                  <a:gd name="T15" fmla="*/ 57 h 262"/>
                  <a:gd name="T16" fmla="*/ 0 w 110"/>
                  <a:gd name="T17" fmla="*/ 0 h 262"/>
                  <a:gd name="T18" fmla="*/ 0 w 110"/>
                  <a:gd name="T19" fmla="*/ 0 h 262"/>
                  <a:gd name="T20" fmla="*/ 110 w 110"/>
                  <a:gd name="T21" fmla="*/ 0 h 262"/>
                  <a:gd name="T22" fmla="*/ 110 w 110"/>
                  <a:gd name="T23" fmla="*/ 0 h 262"/>
                  <a:gd name="T24" fmla="*/ 110 w 110"/>
                  <a:gd name="T25" fmla="*/ 262 h 262"/>
                  <a:gd name="T26" fmla="*/ 110 w 110"/>
                  <a:gd name="T27"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2">
                    <a:moveTo>
                      <a:pt x="110" y="262"/>
                    </a:moveTo>
                    <a:lnTo>
                      <a:pt x="110" y="262"/>
                    </a:lnTo>
                    <a:lnTo>
                      <a:pt x="42" y="262"/>
                    </a:lnTo>
                    <a:lnTo>
                      <a:pt x="42" y="262"/>
                    </a:lnTo>
                    <a:lnTo>
                      <a:pt x="42" y="57"/>
                    </a:lnTo>
                    <a:lnTo>
                      <a:pt x="42" y="57"/>
                    </a:lnTo>
                    <a:lnTo>
                      <a:pt x="0" y="57"/>
                    </a:lnTo>
                    <a:lnTo>
                      <a:pt x="0" y="57"/>
                    </a:lnTo>
                    <a:lnTo>
                      <a:pt x="0" y="0"/>
                    </a:lnTo>
                    <a:lnTo>
                      <a:pt x="0" y="0"/>
                    </a:lnTo>
                    <a:lnTo>
                      <a:pt x="110" y="0"/>
                    </a:lnTo>
                    <a:lnTo>
                      <a:pt x="110" y="0"/>
                    </a:lnTo>
                    <a:lnTo>
                      <a:pt x="110" y="262"/>
                    </a:lnTo>
                    <a:lnTo>
                      <a:pt x="110"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2" name="Freeform 402"/>
              <p:cNvSpPr>
                <a:spLocks/>
              </p:cNvSpPr>
              <p:nvPr/>
            </p:nvSpPr>
            <p:spPr bwMode="auto">
              <a:xfrm>
                <a:off x="3505201" y="4244975"/>
                <a:ext cx="44450" cy="104775"/>
              </a:xfrm>
              <a:custGeom>
                <a:avLst/>
                <a:gdLst>
                  <a:gd name="T0" fmla="*/ 42 w 110"/>
                  <a:gd name="T1" fmla="*/ 263 h 263"/>
                  <a:gd name="T2" fmla="*/ 42 w 110"/>
                  <a:gd name="T3" fmla="*/ 263 h 263"/>
                  <a:gd name="T4" fmla="*/ 42 w 110"/>
                  <a:gd name="T5" fmla="*/ 58 h 263"/>
                  <a:gd name="T6" fmla="*/ 42 w 110"/>
                  <a:gd name="T7" fmla="*/ 58 h 263"/>
                  <a:gd name="T8" fmla="*/ 0 w 110"/>
                  <a:gd name="T9" fmla="*/ 58 h 263"/>
                  <a:gd name="T10" fmla="*/ 0 w 110"/>
                  <a:gd name="T11" fmla="*/ 58 h 263"/>
                  <a:gd name="T12" fmla="*/ 0 w 110"/>
                  <a:gd name="T13" fmla="*/ 0 h 263"/>
                  <a:gd name="T14" fmla="*/ 0 w 110"/>
                  <a:gd name="T15" fmla="*/ 0 h 263"/>
                  <a:gd name="T16" fmla="*/ 110 w 110"/>
                  <a:gd name="T17" fmla="*/ 0 h 263"/>
                  <a:gd name="T18" fmla="*/ 110 w 110"/>
                  <a:gd name="T19" fmla="*/ 0 h 263"/>
                  <a:gd name="T20" fmla="*/ 110 w 110"/>
                  <a:gd name="T21" fmla="*/ 263 h 263"/>
                  <a:gd name="T22" fmla="*/ 110 w 110"/>
                  <a:gd name="T23" fmla="*/ 263 h 263"/>
                  <a:gd name="T24" fmla="*/ 42 w 110"/>
                  <a:gd name="T25" fmla="*/ 263 h 263"/>
                  <a:gd name="T26" fmla="*/ 42 w 110"/>
                  <a:gd name="T2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3">
                    <a:moveTo>
                      <a:pt x="42" y="263"/>
                    </a:moveTo>
                    <a:lnTo>
                      <a:pt x="42" y="263"/>
                    </a:lnTo>
                    <a:lnTo>
                      <a:pt x="42" y="58"/>
                    </a:lnTo>
                    <a:lnTo>
                      <a:pt x="42" y="58"/>
                    </a:lnTo>
                    <a:lnTo>
                      <a:pt x="0" y="58"/>
                    </a:lnTo>
                    <a:lnTo>
                      <a:pt x="0" y="58"/>
                    </a:lnTo>
                    <a:lnTo>
                      <a:pt x="0" y="0"/>
                    </a:lnTo>
                    <a:lnTo>
                      <a:pt x="0" y="0"/>
                    </a:lnTo>
                    <a:lnTo>
                      <a:pt x="110" y="0"/>
                    </a:lnTo>
                    <a:lnTo>
                      <a:pt x="110" y="0"/>
                    </a:lnTo>
                    <a:lnTo>
                      <a:pt x="110" y="263"/>
                    </a:lnTo>
                    <a:lnTo>
                      <a:pt x="110" y="263"/>
                    </a:lnTo>
                    <a:lnTo>
                      <a:pt x="42" y="263"/>
                    </a:lnTo>
                    <a:lnTo>
                      <a:pt x="42"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3" name="Freeform 403"/>
              <p:cNvSpPr>
                <a:spLocks/>
              </p:cNvSpPr>
              <p:nvPr/>
            </p:nvSpPr>
            <p:spPr bwMode="auto">
              <a:xfrm>
                <a:off x="2984501" y="4122738"/>
                <a:ext cx="44450" cy="104775"/>
              </a:xfrm>
              <a:custGeom>
                <a:avLst/>
                <a:gdLst>
                  <a:gd name="T0" fmla="*/ 111 w 111"/>
                  <a:gd name="T1" fmla="*/ 264 h 264"/>
                  <a:gd name="T2" fmla="*/ 111 w 111"/>
                  <a:gd name="T3" fmla="*/ 264 h 264"/>
                  <a:gd name="T4" fmla="*/ 44 w 111"/>
                  <a:gd name="T5" fmla="*/ 264 h 264"/>
                  <a:gd name="T6" fmla="*/ 44 w 111"/>
                  <a:gd name="T7" fmla="*/ 264 h 264"/>
                  <a:gd name="T8" fmla="*/ 44 w 111"/>
                  <a:gd name="T9" fmla="*/ 57 h 264"/>
                  <a:gd name="T10" fmla="*/ 44 w 111"/>
                  <a:gd name="T11" fmla="*/ 57 h 264"/>
                  <a:gd name="T12" fmla="*/ 0 w 111"/>
                  <a:gd name="T13" fmla="*/ 57 h 264"/>
                  <a:gd name="T14" fmla="*/ 0 w 111"/>
                  <a:gd name="T15" fmla="*/ 57 h 264"/>
                  <a:gd name="T16" fmla="*/ 0 w 111"/>
                  <a:gd name="T17" fmla="*/ 0 h 264"/>
                  <a:gd name="T18" fmla="*/ 0 w 111"/>
                  <a:gd name="T19" fmla="*/ 0 h 264"/>
                  <a:gd name="T20" fmla="*/ 7 w 111"/>
                  <a:gd name="T21" fmla="*/ 0 h 264"/>
                  <a:gd name="T22" fmla="*/ 7 w 111"/>
                  <a:gd name="T23" fmla="*/ 0 h 264"/>
                  <a:gd name="T24" fmla="*/ 105 w 111"/>
                  <a:gd name="T25" fmla="*/ 0 h 264"/>
                  <a:gd name="T26" fmla="*/ 105 w 111"/>
                  <a:gd name="T27" fmla="*/ 0 h 264"/>
                  <a:gd name="T28" fmla="*/ 107 w 111"/>
                  <a:gd name="T29" fmla="*/ 0 h 264"/>
                  <a:gd name="T30" fmla="*/ 110 w 111"/>
                  <a:gd name="T31" fmla="*/ 1 h 264"/>
                  <a:gd name="T32" fmla="*/ 111 w 111"/>
                  <a:gd name="T33" fmla="*/ 2 h 264"/>
                  <a:gd name="T34" fmla="*/ 111 w 111"/>
                  <a:gd name="T35" fmla="*/ 6 h 264"/>
                  <a:gd name="T36" fmla="*/ 111 w 111"/>
                  <a:gd name="T37" fmla="*/ 6 h 264"/>
                  <a:gd name="T38" fmla="*/ 111 w 111"/>
                  <a:gd name="T39" fmla="*/ 257 h 264"/>
                  <a:gd name="T40" fmla="*/ 111 w 111"/>
                  <a:gd name="T41" fmla="*/ 257 h 264"/>
                  <a:gd name="T42" fmla="*/ 111 w 111"/>
                  <a:gd name="T43" fmla="*/ 264 h 264"/>
                  <a:gd name="T44" fmla="*/ 111 w 111"/>
                  <a:gd name="T45"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264">
                    <a:moveTo>
                      <a:pt x="111" y="264"/>
                    </a:moveTo>
                    <a:lnTo>
                      <a:pt x="111" y="264"/>
                    </a:lnTo>
                    <a:lnTo>
                      <a:pt x="44" y="264"/>
                    </a:lnTo>
                    <a:lnTo>
                      <a:pt x="44" y="264"/>
                    </a:lnTo>
                    <a:lnTo>
                      <a:pt x="44" y="57"/>
                    </a:lnTo>
                    <a:lnTo>
                      <a:pt x="44" y="57"/>
                    </a:lnTo>
                    <a:lnTo>
                      <a:pt x="0" y="57"/>
                    </a:lnTo>
                    <a:lnTo>
                      <a:pt x="0" y="57"/>
                    </a:lnTo>
                    <a:lnTo>
                      <a:pt x="0" y="0"/>
                    </a:lnTo>
                    <a:lnTo>
                      <a:pt x="0" y="0"/>
                    </a:lnTo>
                    <a:lnTo>
                      <a:pt x="7" y="0"/>
                    </a:lnTo>
                    <a:lnTo>
                      <a:pt x="7" y="0"/>
                    </a:lnTo>
                    <a:lnTo>
                      <a:pt x="105" y="0"/>
                    </a:lnTo>
                    <a:lnTo>
                      <a:pt x="105" y="0"/>
                    </a:lnTo>
                    <a:lnTo>
                      <a:pt x="107" y="0"/>
                    </a:lnTo>
                    <a:lnTo>
                      <a:pt x="110" y="1"/>
                    </a:lnTo>
                    <a:lnTo>
                      <a:pt x="111" y="2"/>
                    </a:lnTo>
                    <a:lnTo>
                      <a:pt x="111" y="6"/>
                    </a:lnTo>
                    <a:lnTo>
                      <a:pt x="111" y="6"/>
                    </a:lnTo>
                    <a:lnTo>
                      <a:pt x="111" y="257"/>
                    </a:lnTo>
                    <a:lnTo>
                      <a:pt x="111" y="257"/>
                    </a:lnTo>
                    <a:lnTo>
                      <a:pt x="111" y="264"/>
                    </a:lnTo>
                    <a:lnTo>
                      <a:pt x="11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4" name="Freeform 404"/>
              <p:cNvSpPr>
                <a:spLocks/>
              </p:cNvSpPr>
              <p:nvPr/>
            </p:nvSpPr>
            <p:spPr bwMode="auto">
              <a:xfrm>
                <a:off x="3249613" y="4122738"/>
                <a:ext cx="42863" cy="104775"/>
              </a:xfrm>
              <a:custGeom>
                <a:avLst/>
                <a:gdLst>
                  <a:gd name="T0" fmla="*/ 110 w 110"/>
                  <a:gd name="T1" fmla="*/ 264 h 264"/>
                  <a:gd name="T2" fmla="*/ 110 w 110"/>
                  <a:gd name="T3" fmla="*/ 264 h 264"/>
                  <a:gd name="T4" fmla="*/ 42 w 110"/>
                  <a:gd name="T5" fmla="*/ 264 h 264"/>
                  <a:gd name="T6" fmla="*/ 42 w 110"/>
                  <a:gd name="T7" fmla="*/ 264 h 264"/>
                  <a:gd name="T8" fmla="*/ 42 w 110"/>
                  <a:gd name="T9" fmla="*/ 57 h 264"/>
                  <a:gd name="T10" fmla="*/ 42 w 110"/>
                  <a:gd name="T11" fmla="*/ 57 h 264"/>
                  <a:gd name="T12" fmla="*/ 0 w 110"/>
                  <a:gd name="T13" fmla="*/ 57 h 264"/>
                  <a:gd name="T14" fmla="*/ 0 w 110"/>
                  <a:gd name="T15" fmla="*/ 57 h 264"/>
                  <a:gd name="T16" fmla="*/ 0 w 110"/>
                  <a:gd name="T17" fmla="*/ 0 h 264"/>
                  <a:gd name="T18" fmla="*/ 0 w 110"/>
                  <a:gd name="T19" fmla="*/ 0 h 264"/>
                  <a:gd name="T20" fmla="*/ 110 w 110"/>
                  <a:gd name="T21" fmla="*/ 0 h 264"/>
                  <a:gd name="T22" fmla="*/ 110 w 110"/>
                  <a:gd name="T23" fmla="*/ 0 h 264"/>
                  <a:gd name="T24" fmla="*/ 110 w 110"/>
                  <a:gd name="T25" fmla="*/ 264 h 264"/>
                  <a:gd name="T26" fmla="*/ 110 w 110"/>
                  <a:gd name="T2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4">
                    <a:moveTo>
                      <a:pt x="110" y="264"/>
                    </a:moveTo>
                    <a:lnTo>
                      <a:pt x="110" y="264"/>
                    </a:lnTo>
                    <a:lnTo>
                      <a:pt x="42" y="264"/>
                    </a:lnTo>
                    <a:lnTo>
                      <a:pt x="42" y="264"/>
                    </a:lnTo>
                    <a:lnTo>
                      <a:pt x="42" y="57"/>
                    </a:lnTo>
                    <a:lnTo>
                      <a:pt x="42" y="57"/>
                    </a:lnTo>
                    <a:lnTo>
                      <a:pt x="0" y="57"/>
                    </a:lnTo>
                    <a:lnTo>
                      <a:pt x="0" y="57"/>
                    </a:lnTo>
                    <a:lnTo>
                      <a:pt x="0" y="0"/>
                    </a:lnTo>
                    <a:lnTo>
                      <a:pt x="0" y="0"/>
                    </a:lnTo>
                    <a:lnTo>
                      <a:pt x="110" y="0"/>
                    </a:lnTo>
                    <a:lnTo>
                      <a:pt x="110" y="0"/>
                    </a:lnTo>
                    <a:lnTo>
                      <a:pt x="110" y="264"/>
                    </a:lnTo>
                    <a:lnTo>
                      <a:pt x="110"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5" name="Freeform 405"/>
              <p:cNvSpPr>
                <a:spLocks/>
              </p:cNvSpPr>
              <p:nvPr/>
            </p:nvSpPr>
            <p:spPr bwMode="auto">
              <a:xfrm>
                <a:off x="3425826" y="4122738"/>
                <a:ext cx="44450" cy="104775"/>
              </a:xfrm>
              <a:custGeom>
                <a:avLst/>
                <a:gdLst>
                  <a:gd name="T0" fmla="*/ 0 w 110"/>
                  <a:gd name="T1" fmla="*/ 57 h 262"/>
                  <a:gd name="T2" fmla="*/ 0 w 110"/>
                  <a:gd name="T3" fmla="*/ 57 h 262"/>
                  <a:gd name="T4" fmla="*/ 0 w 110"/>
                  <a:gd name="T5" fmla="*/ 0 h 262"/>
                  <a:gd name="T6" fmla="*/ 0 w 110"/>
                  <a:gd name="T7" fmla="*/ 0 h 262"/>
                  <a:gd name="T8" fmla="*/ 110 w 110"/>
                  <a:gd name="T9" fmla="*/ 0 h 262"/>
                  <a:gd name="T10" fmla="*/ 110 w 110"/>
                  <a:gd name="T11" fmla="*/ 0 h 262"/>
                  <a:gd name="T12" fmla="*/ 110 w 110"/>
                  <a:gd name="T13" fmla="*/ 262 h 262"/>
                  <a:gd name="T14" fmla="*/ 110 w 110"/>
                  <a:gd name="T15" fmla="*/ 262 h 262"/>
                  <a:gd name="T16" fmla="*/ 43 w 110"/>
                  <a:gd name="T17" fmla="*/ 262 h 262"/>
                  <a:gd name="T18" fmla="*/ 43 w 110"/>
                  <a:gd name="T19" fmla="*/ 262 h 262"/>
                  <a:gd name="T20" fmla="*/ 43 w 110"/>
                  <a:gd name="T21" fmla="*/ 57 h 262"/>
                  <a:gd name="T22" fmla="*/ 43 w 110"/>
                  <a:gd name="T23" fmla="*/ 57 h 262"/>
                  <a:gd name="T24" fmla="*/ 0 w 110"/>
                  <a:gd name="T25" fmla="*/ 57 h 262"/>
                  <a:gd name="T26" fmla="*/ 0 w 110"/>
                  <a:gd name="T27" fmla="*/ 5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2">
                    <a:moveTo>
                      <a:pt x="0" y="57"/>
                    </a:moveTo>
                    <a:lnTo>
                      <a:pt x="0" y="57"/>
                    </a:lnTo>
                    <a:lnTo>
                      <a:pt x="0" y="0"/>
                    </a:lnTo>
                    <a:lnTo>
                      <a:pt x="0" y="0"/>
                    </a:lnTo>
                    <a:lnTo>
                      <a:pt x="110" y="0"/>
                    </a:lnTo>
                    <a:lnTo>
                      <a:pt x="110" y="0"/>
                    </a:lnTo>
                    <a:lnTo>
                      <a:pt x="110" y="262"/>
                    </a:lnTo>
                    <a:lnTo>
                      <a:pt x="110" y="262"/>
                    </a:lnTo>
                    <a:lnTo>
                      <a:pt x="43" y="262"/>
                    </a:lnTo>
                    <a:lnTo>
                      <a:pt x="43" y="262"/>
                    </a:lnTo>
                    <a:lnTo>
                      <a:pt x="43" y="57"/>
                    </a:lnTo>
                    <a:lnTo>
                      <a:pt x="43" y="57"/>
                    </a:lnTo>
                    <a:lnTo>
                      <a:pt x="0" y="57"/>
                    </a:lnTo>
                    <a:lnTo>
                      <a:pt x="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6" name="Freeform 406"/>
              <p:cNvSpPr>
                <a:spLocks/>
              </p:cNvSpPr>
              <p:nvPr/>
            </p:nvSpPr>
            <p:spPr bwMode="auto">
              <a:xfrm>
                <a:off x="2984501" y="4244975"/>
                <a:ext cx="44450" cy="104775"/>
              </a:xfrm>
              <a:custGeom>
                <a:avLst/>
                <a:gdLst>
                  <a:gd name="T0" fmla="*/ 110 w 110"/>
                  <a:gd name="T1" fmla="*/ 263 h 263"/>
                  <a:gd name="T2" fmla="*/ 110 w 110"/>
                  <a:gd name="T3" fmla="*/ 263 h 263"/>
                  <a:gd name="T4" fmla="*/ 44 w 110"/>
                  <a:gd name="T5" fmla="*/ 263 h 263"/>
                  <a:gd name="T6" fmla="*/ 44 w 110"/>
                  <a:gd name="T7" fmla="*/ 263 h 263"/>
                  <a:gd name="T8" fmla="*/ 44 w 110"/>
                  <a:gd name="T9" fmla="*/ 58 h 263"/>
                  <a:gd name="T10" fmla="*/ 44 w 110"/>
                  <a:gd name="T11" fmla="*/ 58 h 263"/>
                  <a:gd name="T12" fmla="*/ 0 w 110"/>
                  <a:gd name="T13" fmla="*/ 58 h 263"/>
                  <a:gd name="T14" fmla="*/ 0 w 110"/>
                  <a:gd name="T15" fmla="*/ 58 h 263"/>
                  <a:gd name="T16" fmla="*/ 0 w 110"/>
                  <a:gd name="T17" fmla="*/ 0 h 263"/>
                  <a:gd name="T18" fmla="*/ 0 w 110"/>
                  <a:gd name="T19" fmla="*/ 0 h 263"/>
                  <a:gd name="T20" fmla="*/ 110 w 110"/>
                  <a:gd name="T21" fmla="*/ 0 h 263"/>
                  <a:gd name="T22" fmla="*/ 110 w 110"/>
                  <a:gd name="T23" fmla="*/ 0 h 263"/>
                  <a:gd name="T24" fmla="*/ 110 w 110"/>
                  <a:gd name="T25" fmla="*/ 263 h 263"/>
                  <a:gd name="T26" fmla="*/ 110 w 110"/>
                  <a:gd name="T2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3">
                    <a:moveTo>
                      <a:pt x="110" y="263"/>
                    </a:moveTo>
                    <a:lnTo>
                      <a:pt x="110" y="263"/>
                    </a:lnTo>
                    <a:lnTo>
                      <a:pt x="44" y="263"/>
                    </a:lnTo>
                    <a:lnTo>
                      <a:pt x="44" y="263"/>
                    </a:lnTo>
                    <a:lnTo>
                      <a:pt x="44" y="58"/>
                    </a:lnTo>
                    <a:lnTo>
                      <a:pt x="44" y="58"/>
                    </a:lnTo>
                    <a:lnTo>
                      <a:pt x="0" y="58"/>
                    </a:lnTo>
                    <a:lnTo>
                      <a:pt x="0" y="58"/>
                    </a:lnTo>
                    <a:lnTo>
                      <a:pt x="0" y="0"/>
                    </a:lnTo>
                    <a:lnTo>
                      <a:pt x="0" y="0"/>
                    </a:lnTo>
                    <a:lnTo>
                      <a:pt x="110" y="0"/>
                    </a:lnTo>
                    <a:lnTo>
                      <a:pt x="110" y="0"/>
                    </a:lnTo>
                    <a:lnTo>
                      <a:pt x="110" y="263"/>
                    </a:lnTo>
                    <a:lnTo>
                      <a:pt x="11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7" name="Freeform 407"/>
              <p:cNvSpPr>
                <a:spLocks/>
              </p:cNvSpPr>
              <p:nvPr/>
            </p:nvSpPr>
            <p:spPr bwMode="auto">
              <a:xfrm>
                <a:off x="3249613" y="4244975"/>
                <a:ext cx="42863" cy="104775"/>
              </a:xfrm>
              <a:custGeom>
                <a:avLst/>
                <a:gdLst>
                  <a:gd name="T0" fmla="*/ 42 w 110"/>
                  <a:gd name="T1" fmla="*/ 263 h 263"/>
                  <a:gd name="T2" fmla="*/ 42 w 110"/>
                  <a:gd name="T3" fmla="*/ 263 h 263"/>
                  <a:gd name="T4" fmla="*/ 42 w 110"/>
                  <a:gd name="T5" fmla="*/ 58 h 263"/>
                  <a:gd name="T6" fmla="*/ 42 w 110"/>
                  <a:gd name="T7" fmla="*/ 58 h 263"/>
                  <a:gd name="T8" fmla="*/ 0 w 110"/>
                  <a:gd name="T9" fmla="*/ 58 h 263"/>
                  <a:gd name="T10" fmla="*/ 0 w 110"/>
                  <a:gd name="T11" fmla="*/ 58 h 263"/>
                  <a:gd name="T12" fmla="*/ 0 w 110"/>
                  <a:gd name="T13" fmla="*/ 0 h 263"/>
                  <a:gd name="T14" fmla="*/ 0 w 110"/>
                  <a:gd name="T15" fmla="*/ 0 h 263"/>
                  <a:gd name="T16" fmla="*/ 110 w 110"/>
                  <a:gd name="T17" fmla="*/ 0 h 263"/>
                  <a:gd name="T18" fmla="*/ 110 w 110"/>
                  <a:gd name="T19" fmla="*/ 0 h 263"/>
                  <a:gd name="T20" fmla="*/ 110 w 110"/>
                  <a:gd name="T21" fmla="*/ 263 h 263"/>
                  <a:gd name="T22" fmla="*/ 110 w 110"/>
                  <a:gd name="T23" fmla="*/ 263 h 263"/>
                  <a:gd name="T24" fmla="*/ 42 w 110"/>
                  <a:gd name="T25" fmla="*/ 263 h 263"/>
                  <a:gd name="T26" fmla="*/ 42 w 110"/>
                  <a:gd name="T2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3">
                    <a:moveTo>
                      <a:pt x="42" y="263"/>
                    </a:moveTo>
                    <a:lnTo>
                      <a:pt x="42" y="263"/>
                    </a:lnTo>
                    <a:lnTo>
                      <a:pt x="42" y="58"/>
                    </a:lnTo>
                    <a:lnTo>
                      <a:pt x="42" y="58"/>
                    </a:lnTo>
                    <a:lnTo>
                      <a:pt x="0" y="58"/>
                    </a:lnTo>
                    <a:lnTo>
                      <a:pt x="0" y="58"/>
                    </a:lnTo>
                    <a:lnTo>
                      <a:pt x="0" y="0"/>
                    </a:lnTo>
                    <a:lnTo>
                      <a:pt x="0" y="0"/>
                    </a:lnTo>
                    <a:lnTo>
                      <a:pt x="110" y="0"/>
                    </a:lnTo>
                    <a:lnTo>
                      <a:pt x="110" y="0"/>
                    </a:lnTo>
                    <a:lnTo>
                      <a:pt x="110" y="263"/>
                    </a:lnTo>
                    <a:lnTo>
                      <a:pt x="110" y="263"/>
                    </a:lnTo>
                    <a:lnTo>
                      <a:pt x="42" y="263"/>
                    </a:lnTo>
                    <a:lnTo>
                      <a:pt x="42"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8" name="Freeform 408"/>
              <p:cNvSpPr>
                <a:spLocks/>
              </p:cNvSpPr>
              <p:nvPr/>
            </p:nvSpPr>
            <p:spPr bwMode="auto">
              <a:xfrm>
                <a:off x="3067051" y="4122738"/>
                <a:ext cx="42863" cy="104775"/>
              </a:xfrm>
              <a:custGeom>
                <a:avLst/>
                <a:gdLst>
                  <a:gd name="T0" fmla="*/ 110 w 110"/>
                  <a:gd name="T1" fmla="*/ 0 h 262"/>
                  <a:gd name="T2" fmla="*/ 110 w 110"/>
                  <a:gd name="T3" fmla="*/ 0 h 262"/>
                  <a:gd name="T4" fmla="*/ 110 w 110"/>
                  <a:gd name="T5" fmla="*/ 262 h 262"/>
                  <a:gd name="T6" fmla="*/ 110 w 110"/>
                  <a:gd name="T7" fmla="*/ 262 h 262"/>
                  <a:gd name="T8" fmla="*/ 43 w 110"/>
                  <a:gd name="T9" fmla="*/ 262 h 262"/>
                  <a:gd name="T10" fmla="*/ 43 w 110"/>
                  <a:gd name="T11" fmla="*/ 262 h 262"/>
                  <a:gd name="T12" fmla="*/ 43 w 110"/>
                  <a:gd name="T13" fmla="*/ 57 h 262"/>
                  <a:gd name="T14" fmla="*/ 43 w 110"/>
                  <a:gd name="T15" fmla="*/ 57 h 262"/>
                  <a:gd name="T16" fmla="*/ 0 w 110"/>
                  <a:gd name="T17" fmla="*/ 57 h 262"/>
                  <a:gd name="T18" fmla="*/ 0 w 110"/>
                  <a:gd name="T19" fmla="*/ 57 h 262"/>
                  <a:gd name="T20" fmla="*/ 0 w 110"/>
                  <a:gd name="T21" fmla="*/ 44 h 262"/>
                  <a:gd name="T22" fmla="*/ 0 w 110"/>
                  <a:gd name="T23" fmla="*/ 44 h 262"/>
                  <a:gd name="T24" fmla="*/ 0 w 110"/>
                  <a:gd name="T25" fmla="*/ 5 h 262"/>
                  <a:gd name="T26" fmla="*/ 0 w 110"/>
                  <a:gd name="T27" fmla="*/ 5 h 262"/>
                  <a:gd name="T28" fmla="*/ 0 w 110"/>
                  <a:gd name="T29" fmla="*/ 1 h 262"/>
                  <a:gd name="T30" fmla="*/ 1 w 110"/>
                  <a:gd name="T31" fmla="*/ 0 h 262"/>
                  <a:gd name="T32" fmla="*/ 5 w 110"/>
                  <a:gd name="T33" fmla="*/ 0 h 262"/>
                  <a:gd name="T34" fmla="*/ 5 w 110"/>
                  <a:gd name="T35" fmla="*/ 0 h 262"/>
                  <a:gd name="T36" fmla="*/ 108 w 110"/>
                  <a:gd name="T37" fmla="*/ 0 h 262"/>
                  <a:gd name="T38" fmla="*/ 108 w 110"/>
                  <a:gd name="T39" fmla="*/ 0 h 262"/>
                  <a:gd name="T40" fmla="*/ 110 w 110"/>
                  <a:gd name="T41" fmla="*/ 0 h 262"/>
                  <a:gd name="T42" fmla="*/ 110 w 110"/>
                  <a:gd name="T43"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262">
                    <a:moveTo>
                      <a:pt x="110" y="0"/>
                    </a:moveTo>
                    <a:lnTo>
                      <a:pt x="110" y="0"/>
                    </a:lnTo>
                    <a:lnTo>
                      <a:pt x="110" y="262"/>
                    </a:lnTo>
                    <a:lnTo>
                      <a:pt x="110" y="262"/>
                    </a:lnTo>
                    <a:lnTo>
                      <a:pt x="43" y="262"/>
                    </a:lnTo>
                    <a:lnTo>
                      <a:pt x="43" y="262"/>
                    </a:lnTo>
                    <a:lnTo>
                      <a:pt x="43" y="57"/>
                    </a:lnTo>
                    <a:lnTo>
                      <a:pt x="43" y="57"/>
                    </a:lnTo>
                    <a:lnTo>
                      <a:pt x="0" y="57"/>
                    </a:lnTo>
                    <a:lnTo>
                      <a:pt x="0" y="57"/>
                    </a:lnTo>
                    <a:lnTo>
                      <a:pt x="0" y="44"/>
                    </a:lnTo>
                    <a:lnTo>
                      <a:pt x="0" y="44"/>
                    </a:lnTo>
                    <a:lnTo>
                      <a:pt x="0" y="5"/>
                    </a:lnTo>
                    <a:lnTo>
                      <a:pt x="0" y="5"/>
                    </a:lnTo>
                    <a:lnTo>
                      <a:pt x="0" y="1"/>
                    </a:lnTo>
                    <a:lnTo>
                      <a:pt x="1" y="0"/>
                    </a:lnTo>
                    <a:lnTo>
                      <a:pt x="5" y="0"/>
                    </a:lnTo>
                    <a:lnTo>
                      <a:pt x="5" y="0"/>
                    </a:lnTo>
                    <a:lnTo>
                      <a:pt x="108" y="0"/>
                    </a:lnTo>
                    <a:lnTo>
                      <a:pt x="108" y="0"/>
                    </a:lnTo>
                    <a:lnTo>
                      <a:pt x="110" y="0"/>
                    </a:lnTo>
                    <a:lnTo>
                      <a:pt x="1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9" name="Freeform 409"/>
              <p:cNvSpPr>
                <a:spLocks/>
              </p:cNvSpPr>
              <p:nvPr/>
            </p:nvSpPr>
            <p:spPr bwMode="auto">
              <a:xfrm>
                <a:off x="3067051" y="3998913"/>
                <a:ext cx="42863" cy="103188"/>
              </a:xfrm>
              <a:custGeom>
                <a:avLst/>
                <a:gdLst>
                  <a:gd name="T0" fmla="*/ 110 w 110"/>
                  <a:gd name="T1" fmla="*/ 0 h 262"/>
                  <a:gd name="T2" fmla="*/ 110 w 110"/>
                  <a:gd name="T3" fmla="*/ 0 h 262"/>
                  <a:gd name="T4" fmla="*/ 110 w 110"/>
                  <a:gd name="T5" fmla="*/ 262 h 262"/>
                  <a:gd name="T6" fmla="*/ 110 w 110"/>
                  <a:gd name="T7" fmla="*/ 262 h 262"/>
                  <a:gd name="T8" fmla="*/ 43 w 110"/>
                  <a:gd name="T9" fmla="*/ 262 h 262"/>
                  <a:gd name="T10" fmla="*/ 43 w 110"/>
                  <a:gd name="T11" fmla="*/ 262 h 262"/>
                  <a:gd name="T12" fmla="*/ 43 w 110"/>
                  <a:gd name="T13" fmla="*/ 56 h 262"/>
                  <a:gd name="T14" fmla="*/ 43 w 110"/>
                  <a:gd name="T15" fmla="*/ 56 h 262"/>
                  <a:gd name="T16" fmla="*/ 0 w 110"/>
                  <a:gd name="T17" fmla="*/ 56 h 262"/>
                  <a:gd name="T18" fmla="*/ 0 w 110"/>
                  <a:gd name="T19" fmla="*/ 56 h 262"/>
                  <a:gd name="T20" fmla="*/ 0 w 110"/>
                  <a:gd name="T21" fmla="*/ 0 h 262"/>
                  <a:gd name="T22" fmla="*/ 0 w 110"/>
                  <a:gd name="T23" fmla="*/ 0 h 262"/>
                  <a:gd name="T24" fmla="*/ 110 w 110"/>
                  <a:gd name="T25" fmla="*/ 0 h 262"/>
                  <a:gd name="T26" fmla="*/ 110 w 110"/>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2">
                    <a:moveTo>
                      <a:pt x="110" y="0"/>
                    </a:moveTo>
                    <a:lnTo>
                      <a:pt x="110" y="0"/>
                    </a:lnTo>
                    <a:lnTo>
                      <a:pt x="110" y="262"/>
                    </a:lnTo>
                    <a:lnTo>
                      <a:pt x="110" y="262"/>
                    </a:lnTo>
                    <a:lnTo>
                      <a:pt x="43" y="262"/>
                    </a:lnTo>
                    <a:lnTo>
                      <a:pt x="43" y="262"/>
                    </a:lnTo>
                    <a:lnTo>
                      <a:pt x="43" y="56"/>
                    </a:lnTo>
                    <a:lnTo>
                      <a:pt x="43" y="56"/>
                    </a:lnTo>
                    <a:lnTo>
                      <a:pt x="0" y="56"/>
                    </a:lnTo>
                    <a:lnTo>
                      <a:pt x="0" y="56"/>
                    </a:lnTo>
                    <a:lnTo>
                      <a:pt x="0" y="0"/>
                    </a:lnTo>
                    <a:lnTo>
                      <a:pt x="0" y="0"/>
                    </a:lnTo>
                    <a:lnTo>
                      <a:pt x="110" y="0"/>
                    </a:lnTo>
                    <a:lnTo>
                      <a:pt x="1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10" name="Freeform 410"/>
              <p:cNvSpPr>
                <a:spLocks/>
              </p:cNvSpPr>
              <p:nvPr/>
            </p:nvSpPr>
            <p:spPr bwMode="auto">
              <a:xfrm>
                <a:off x="3154363" y="3997325"/>
                <a:ext cx="44450" cy="104775"/>
              </a:xfrm>
              <a:custGeom>
                <a:avLst/>
                <a:gdLst>
                  <a:gd name="T0" fmla="*/ 0 w 110"/>
                  <a:gd name="T1" fmla="*/ 0 h 263"/>
                  <a:gd name="T2" fmla="*/ 0 w 110"/>
                  <a:gd name="T3" fmla="*/ 0 h 263"/>
                  <a:gd name="T4" fmla="*/ 110 w 110"/>
                  <a:gd name="T5" fmla="*/ 0 h 263"/>
                  <a:gd name="T6" fmla="*/ 110 w 110"/>
                  <a:gd name="T7" fmla="*/ 0 h 263"/>
                  <a:gd name="T8" fmla="*/ 110 w 110"/>
                  <a:gd name="T9" fmla="*/ 263 h 263"/>
                  <a:gd name="T10" fmla="*/ 110 w 110"/>
                  <a:gd name="T11" fmla="*/ 263 h 263"/>
                  <a:gd name="T12" fmla="*/ 44 w 110"/>
                  <a:gd name="T13" fmla="*/ 263 h 263"/>
                  <a:gd name="T14" fmla="*/ 44 w 110"/>
                  <a:gd name="T15" fmla="*/ 263 h 263"/>
                  <a:gd name="T16" fmla="*/ 44 w 110"/>
                  <a:gd name="T17" fmla="*/ 57 h 263"/>
                  <a:gd name="T18" fmla="*/ 44 w 110"/>
                  <a:gd name="T19" fmla="*/ 57 h 263"/>
                  <a:gd name="T20" fmla="*/ 0 w 110"/>
                  <a:gd name="T21" fmla="*/ 57 h 263"/>
                  <a:gd name="T22" fmla="*/ 0 w 110"/>
                  <a:gd name="T23" fmla="*/ 57 h 263"/>
                  <a:gd name="T24" fmla="*/ 0 w 110"/>
                  <a:gd name="T25" fmla="*/ 0 h 263"/>
                  <a:gd name="T26" fmla="*/ 0 w 110"/>
                  <a:gd name="T27"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3">
                    <a:moveTo>
                      <a:pt x="0" y="0"/>
                    </a:moveTo>
                    <a:lnTo>
                      <a:pt x="0" y="0"/>
                    </a:lnTo>
                    <a:lnTo>
                      <a:pt x="110" y="0"/>
                    </a:lnTo>
                    <a:lnTo>
                      <a:pt x="110" y="0"/>
                    </a:lnTo>
                    <a:lnTo>
                      <a:pt x="110" y="263"/>
                    </a:lnTo>
                    <a:lnTo>
                      <a:pt x="110" y="263"/>
                    </a:lnTo>
                    <a:lnTo>
                      <a:pt x="44" y="263"/>
                    </a:lnTo>
                    <a:lnTo>
                      <a:pt x="44" y="263"/>
                    </a:lnTo>
                    <a:lnTo>
                      <a:pt x="44" y="57"/>
                    </a:lnTo>
                    <a:lnTo>
                      <a:pt x="44" y="57"/>
                    </a:lnTo>
                    <a:lnTo>
                      <a:pt x="0" y="57"/>
                    </a:lnTo>
                    <a:lnTo>
                      <a:pt x="0" y="5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11" name="Freeform 411"/>
              <p:cNvSpPr>
                <a:spLocks/>
              </p:cNvSpPr>
              <p:nvPr/>
            </p:nvSpPr>
            <p:spPr bwMode="auto">
              <a:xfrm>
                <a:off x="3344863" y="4122738"/>
                <a:ext cx="42863" cy="104775"/>
              </a:xfrm>
              <a:custGeom>
                <a:avLst/>
                <a:gdLst>
                  <a:gd name="T0" fmla="*/ 42 w 109"/>
                  <a:gd name="T1" fmla="*/ 57 h 262"/>
                  <a:gd name="T2" fmla="*/ 42 w 109"/>
                  <a:gd name="T3" fmla="*/ 57 h 262"/>
                  <a:gd name="T4" fmla="*/ 0 w 109"/>
                  <a:gd name="T5" fmla="*/ 57 h 262"/>
                  <a:gd name="T6" fmla="*/ 0 w 109"/>
                  <a:gd name="T7" fmla="*/ 57 h 262"/>
                  <a:gd name="T8" fmla="*/ 0 w 109"/>
                  <a:gd name="T9" fmla="*/ 0 h 262"/>
                  <a:gd name="T10" fmla="*/ 0 w 109"/>
                  <a:gd name="T11" fmla="*/ 0 h 262"/>
                  <a:gd name="T12" fmla="*/ 109 w 109"/>
                  <a:gd name="T13" fmla="*/ 0 h 262"/>
                  <a:gd name="T14" fmla="*/ 109 w 109"/>
                  <a:gd name="T15" fmla="*/ 0 h 262"/>
                  <a:gd name="T16" fmla="*/ 109 w 109"/>
                  <a:gd name="T17" fmla="*/ 262 h 262"/>
                  <a:gd name="T18" fmla="*/ 109 w 109"/>
                  <a:gd name="T19" fmla="*/ 262 h 262"/>
                  <a:gd name="T20" fmla="*/ 42 w 109"/>
                  <a:gd name="T21" fmla="*/ 262 h 262"/>
                  <a:gd name="T22" fmla="*/ 42 w 109"/>
                  <a:gd name="T23" fmla="*/ 262 h 262"/>
                  <a:gd name="T24" fmla="*/ 42 w 109"/>
                  <a:gd name="T25" fmla="*/ 57 h 262"/>
                  <a:gd name="T26" fmla="*/ 42 w 109"/>
                  <a:gd name="T27" fmla="*/ 5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262">
                    <a:moveTo>
                      <a:pt x="42" y="57"/>
                    </a:moveTo>
                    <a:lnTo>
                      <a:pt x="42" y="57"/>
                    </a:lnTo>
                    <a:lnTo>
                      <a:pt x="0" y="57"/>
                    </a:lnTo>
                    <a:lnTo>
                      <a:pt x="0" y="57"/>
                    </a:lnTo>
                    <a:lnTo>
                      <a:pt x="0" y="0"/>
                    </a:lnTo>
                    <a:lnTo>
                      <a:pt x="0" y="0"/>
                    </a:lnTo>
                    <a:lnTo>
                      <a:pt x="109" y="0"/>
                    </a:lnTo>
                    <a:lnTo>
                      <a:pt x="109" y="0"/>
                    </a:lnTo>
                    <a:lnTo>
                      <a:pt x="109" y="262"/>
                    </a:lnTo>
                    <a:lnTo>
                      <a:pt x="109" y="262"/>
                    </a:lnTo>
                    <a:lnTo>
                      <a:pt x="42" y="262"/>
                    </a:lnTo>
                    <a:lnTo>
                      <a:pt x="42" y="262"/>
                    </a:lnTo>
                    <a:lnTo>
                      <a:pt x="42" y="57"/>
                    </a:lnTo>
                    <a:lnTo>
                      <a:pt x="42"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12" name="Freeform 412"/>
              <p:cNvSpPr>
                <a:spLocks/>
              </p:cNvSpPr>
              <p:nvPr/>
            </p:nvSpPr>
            <p:spPr bwMode="auto">
              <a:xfrm>
                <a:off x="2890838" y="3998913"/>
                <a:ext cx="42863" cy="103188"/>
              </a:xfrm>
              <a:custGeom>
                <a:avLst/>
                <a:gdLst>
                  <a:gd name="T0" fmla="*/ 42 w 110"/>
                  <a:gd name="T1" fmla="*/ 262 h 262"/>
                  <a:gd name="T2" fmla="*/ 42 w 110"/>
                  <a:gd name="T3" fmla="*/ 262 h 262"/>
                  <a:gd name="T4" fmla="*/ 42 w 110"/>
                  <a:gd name="T5" fmla="*/ 56 h 262"/>
                  <a:gd name="T6" fmla="*/ 42 w 110"/>
                  <a:gd name="T7" fmla="*/ 56 h 262"/>
                  <a:gd name="T8" fmla="*/ 0 w 110"/>
                  <a:gd name="T9" fmla="*/ 56 h 262"/>
                  <a:gd name="T10" fmla="*/ 0 w 110"/>
                  <a:gd name="T11" fmla="*/ 56 h 262"/>
                  <a:gd name="T12" fmla="*/ 0 w 110"/>
                  <a:gd name="T13" fmla="*/ 0 h 262"/>
                  <a:gd name="T14" fmla="*/ 0 w 110"/>
                  <a:gd name="T15" fmla="*/ 0 h 262"/>
                  <a:gd name="T16" fmla="*/ 110 w 110"/>
                  <a:gd name="T17" fmla="*/ 0 h 262"/>
                  <a:gd name="T18" fmla="*/ 110 w 110"/>
                  <a:gd name="T19" fmla="*/ 0 h 262"/>
                  <a:gd name="T20" fmla="*/ 110 w 110"/>
                  <a:gd name="T21" fmla="*/ 262 h 262"/>
                  <a:gd name="T22" fmla="*/ 110 w 110"/>
                  <a:gd name="T23" fmla="*/ 262 h 262"/>
                  <a:gd name="T24" fmla="*/ 42 w 110"/>
                  <a:gd name="T25" fmla="*/ 262 h 262"/>
                  <a:gd name="T26" fmla="*/ 42 w 110"/>
                  <a:gd name="T27"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2">
                    <a:moveTo>
                      <a:pt x="42" y="262"/>
                    </a:moveTo>
                    <a:lnTo>
                      <a:pt x="42" y="262"/>
                    </a:lnTo>
                    <a:lnTo>
                      <a:pt x="42" y="56"/>
                    </a:lnTo>
                    <a:lnTo>
                      <a:pt x="42" y="56"/>
                    </a:lnTo>
                    <a:lnTo>
                      <a:pt x="0" y="56"/>
                    </a:lnTo>
                    <a:lnTo>
                      <a:pt x="0" y="56"/>
                    </a:lnTo>
                    <a:lnTo>
                      <a:pt x="0" y="0"/>
                    </a:lnTo>
                    <a:lnTo>
                      <a:pt x="0" y="0"/>
                    </a:lnTo>
                    <a:lnTo>
                      <a:pt x="110" y="0"/>
                    </a:lnTo>
                    <a:lnTo>
                      <a:pt x="110" y="0"/>
                    </a:lnTo>
                    <a:lnTo>
                      <a:pt x="110" y="262"/>
                    </a:lnTo>
                    <a:lnTo>
                      <a:pt x="110" y="262"/>
                    </a:lnTo>
                    <a:lnTo>
                      <a:pt x="42" y="262"/>
                    </a:lnTo>
                    <a:lnTo>
                      <a:pt x="42"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grpSp>
      </p:grpSp>
      <p:sp>
        <p:nvSpPr>
          <p:cNvPr id="682" name="Oval 681"/>
          <p:cNvSpPr/>
          <p:nvPr/>
        </p:nvSpPr>
        <p:spPr bwMode="auto">
          <a:xfrm flipH="1">
            <a:off x="2304373" y="4068856"/>
            <a:ext cx="406023" cy="406023"/>
          </a:xfrm>
          <a:prstGeom prst="ellipse">
            <a:avLst/>
          </a:prstGeom>
          <a:solidFill>
            <a:srgbClr val="FFFFFF">
              <a:alpha val="74902"/>
            </a:srgbClr>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249" name="Freeform 2248"/>
          <p:cNvSpPr>
            <a:spLocks noChangeAspect="1"/>
          </p:cNvSpPr>
          <p:nvPr/>
        </p:nvSpPr>
        <p:spPr bwMode="auto">
          <a:xfrm>
            <a:off x="2387688" y="4179773"/>
            <a:ext cx="224132" cy="191338"/>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rgbClr val="0072C6"/>
          </a:solid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grpSp>
        <p:nvGrpSpPr>
          <p:cNvPr id="8" name="Group 7"/>
          <p:cNvGrpSpPr/>
          <p:nvPr/>
        </p:nvGrpSpPr>
        <p:grpSpPr>
          <a:xfrm>
            <a:off x="1887806" y="2936357"/>
            <a:ext cx="419356" cy="889654"/>
            <a:chOff x="1590837" y="3524732"/>
            <a:chExt cx="427886" cy="907750"/>
          </a:xfrm>
        </p:grpSpPr>
        <p:sp>
          <p:nvSpPr>
            <p:cNvPr id="1396" name="Rounded Rectangle 1395"/>
            <p:cNvSpPr/>
            <p:nvPr/>
          </p:nvSpPr>
          <p:spPr bwMode="auto">
            <a:xfrm>
              <a:off x="1610008" y="3524732"/>
              <a:ext cx="387020" cy="876965"/>
            </a:xfrm>
            <a:prstGeom prst="roundRect">
              <a:avLst>
                <a:gd name="adj" fmla="val 3369"/>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397" name="Rectangle 1396"/>
            <p:cNvSpPr/>
            <p:nvPr/>
          </p:nvSpPr>
          <p:spPr bwMode="auto">
            <a:xfrm>
              <a:off x="1648444" y="3557669"/>
              <a:ext cx="312911" cy="25526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399" name="Rounded Rectangle 1398"/>
            <p:cNvSpPr/>
            <p:nvPr/>
          </p:nvSpPr>
          <p:spPr bwMode="auto">
            <a:xfrm>
              <a:off x="1644957" y="3844488"/>
              <a:ext cx="113584" cy="29528"/>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00" name="Oval 1399"/>
            <p:cNvSpPr/>
            <p:nvPr/>
          </p:nvSpPr>
          <p:spPr bwMode="auto">
            <a:xfrm>
              <a:off x="1889667" y="3844488"/>
              <a:ext cx="28986" cy="28985"/>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01" name="Oval 1400"/>
            <p:cNvSpPr/>
            <p:nvPr/>
          </p:nvSpPr>
          <p:spPr bwMode="auto">
            <a:xfrm>
              <a:off x="1929694" y="3844488"/>
              <a:ext cx="28986" cy="28985"/>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02" name="Rounded Rectangle 1401"/>
            <p:cNvSpPr/>
            <p:nvPr/>
          </p:nvSpPr>
          <p:spPr bwMode="auto">
            <a:xfrm>
              <a:off x="1590837" y="4340004"/>
              <a:ext cx="427886" cy="92478"/>
            </a:xfrm>
            <a:prstGeom prst="round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683" name="Rectangle 682"/>
            <p:cNvSpPr/>
            <p:nvPr/>
          </p:nvSpPr>
          <p:spPr bwMode="auto">
            <a:xfrm>
              <a:off x="1643171" y="3563097"/>
              <a:ext cx="315380" cy="257282"/>
            </a:xfrm>
            <a:prstGeom prst="rect">
              <a:avLst/>
            </a:prstGeom>
            <a:solidFill>
              <a:srgbClr val="FFFFFF">
                <a:alpha val="74902"/>
              </a:srgbClr>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398" name="Group 1397"/>
            <p:cNvGrpSpPr/>
            <p:nvPr/>
          </p:nvGrpSpPr>
          <p:grpSpPr>
            <a:xfrm>
              <a:off x="1710278" y="3590708"/>
              <a:ext cx="189240" cy="189191"/>
              <a:chOff x="10188397" y="2479330"/>
              <a:chExt cx="302040" cy="301962"/>
            </a:xfrm>
            <a:solidFill>
              <a:srgbClr val="8DC548"/>
            </a:solidFill>
          </p:grpSpPr>
          <p:sp>
            <p:nvSpPr>
              <p:cNvPr id="1404" name="Freeform 101"/>
              <p:cNvSpPr>
                <a:spLocks noEditPoints="1"/>
              </p:cNvSpPr>
              <p:nvPr/>
            </p:nvSpPr>
            <p:spPr bwMode="black">
              <a:xfrm>
                <a:off x="10188397" y="2479330"/>
                <a:ext cx="302040" cy="301962"/>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solidFill>
                <a:srgbClr val="505050">
                  <a:lumMod val="40000"/>
                  <a:lumOff val="60000"/>
                </a:srgbClr>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sp>
            <p:nvSpPr>
              <p:cNvPr id="1405" name="Freeform 102"/>
              <p:cNvSpPr>
                <a:spLocks/>
              </p:cNvSpPr>
              <p:nvPr/>
            </p:nvSpPr>
            <p:spPr bwMode="black">
              <a:xfrm>
                <a:off x="10327738" y="2561646"/>
                <a:ext cx="33648" cy="94586"/>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solidFill>
                <a:srgbClr val="505050">
                  <a:lumMod val="40000"/>
                  <a:lumOff val="60000"/>
                </a:srgbClr>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sp>
            <p:nvSpPr>
              <p:cNvPr id="1406" name="Rectangle 103"/>
              <p:cNvSpPr>
                <a:spLocks noChangeArrowheads="1"/>
              </p:cNvSpPr>
              <p:nvPr/>
            </p:nvSpPr>
            <p:spPr bwMode="black">
              <a:xfrm>
                <a:off x="10325759" y="2666521"/>
                <a:ext cx="37607" cy="36409"/>
              </a:xfrm>
              <a:prstGeom prst="rect">
                <a:avLst/>
              </a:prstGeom>
              <a:solidFill>
                <a:srgbClr val="505050">
                  <a:lumMod val="40000"/>
                  <a:lumOff val="60000"/>
                </a:srgbClr>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grpSp>
      </p:grpSp>
      <p:grpSp>
        <p:nvGrpSpPr>
          <p:cNvPr id="2228" name="Group 2227"/>
          <p:cNvGrpSpPr>
            <a:grpSpLocks noChangeAspect="1"/>
          </p:cNvGrpSpPr>
          <p:nvPr/>
        </p:nvGrpSpPr>
        <p:grpSpPr>
          <a:xfrm>
            <a:off x="1716018" y="3101097"/>
            <a:ext cx="286620" cy="733529"/>
            <a:chOff x="-3051175" y="-1057275"/>
            <a:chExt cx="2679700" cy="6858000"/>
          </a:xfrm>
          <a:solidFill>
            <a:schemeClr val="tx1">
              <a:lumMod val="60000"/>
              <a:lumOff val="40000"/>
            </a:schemeClr>
          </a:solidFill>
        </p:grpSpPr>
        <p:sp>
          <p:nvSpPr>
            <p:cNvPr id="2229"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kern="0">
                <a:solidFill>
                  <a:srgbClr val="000000"/>
                </a:solidFill>
              </a:endParaRPr>
            </a:p>
          </p:txBody>
        </p:sp>
        <p:sp>
          <p:nvSpPr>
            <p:cNvPr id="2230"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kern="0">
                <a:solidFill>
                  <a:srgbClr val="000000"/>
                </a:solidFill>
              </a:endParaRPr>
            </a:p>
          </p:txBody>
        </p:sp>
      </p:grpSp>
      <p:sp>
        <p:nvSpPr>
          <p:cNvPr id="619" name="Rectangle 618">
            <a:extLst>
              <a:ext uri="{FF2B5EF4-FFF2-40B4-BE49-F238E27FC236}">
                <a16:creationId xmlns:a16="http://schemas.microsoft.com/office/drawing/2014/main" id="{8EC41D94-9840-8249-66DE-E44502105A0F}"/>
              </a:ext>
            </a:extLst>
          </p:cNvPr>
          <p:cNvSpPr/>
          <p:nvPr/>
        </p:nvSpPr>
        <p:spPr>
          <a:xfrm>
            <a:off x="894022" y="5220977"/>
            <a:ext cx="2217231" cy="1122114"/>
          </a:xfrm>
          <a:prstGeom prst="rect">
            <a:avLst/>
          </a:prstGeom>
          <a:solidFill>
            <a:schemeClr val="bg1">
              <a:lumMod val="95000"/>
            </a:schemeClr>
          </a:solidFill>
        </p:spPr>
        <p:txBody>
          <a:bodyPr wrap="square" anchor="ctr">
            <a:noAutofit/>
          </a:bodyPr>
          <a:lstStyle/>
          <a:p>
            <a:pPr algn="ctr"/>
            <a:r>
              <a:rPr lang="en-US" sz="1372" b="1" i="1" dirty="0"/>
              <a:t>Marianela Ramsdell</a:t>
            </a:r>
          </a:p>
          <a:p>
            <a:pPr algn="ctr"/>
            <a:r>
              <a:rPr lang="en-US" sz="1372" i="1" dirty="0"/>
              <a:t>IoT </a:t>
            </a:r>
          </a:p>
          <a:p>
            <a:pPr algn="ctr"/>
            <a:r>
              <a:rPr lang="en-US" sz="1372" i="1" dirty="0"/>
              <a:t>Cloud Solution Architect</a:t>
            </a:r>
          </a:p>
          <a:p>
            <a:pPr algn="ctr"/>
            <a:r>
              <a:rPr lang="en-US" sz="1372" i="1" dirty="0"/>
              <a:t>Microsoft</a:t>
            </a:r>
          </a:p>
        </p:txBody>
      </p:sp>
      <p:sp>
        <p:nvSpPr>
          <p:cNvPr id="631" name="Rectangle 630">
            <a:extLst>
              <a:ext uri="{FF2B5EF4-FFF2-40B4-BE49-F238E27FC236}">
                <a16:creationId xmlns:a16="http://schemas.microsoft.com/office/drawing/2014/main" id="{1B845BF6-7002-B862-7A84-0972A09FA992}"/>
              </a:ext>
            </a:extLst>
          </p:cNvPr>
          <p:cNvSpPr/>
          <p:nvPr/>
        </p:nvSpPr>
        <p:spPr>
          <a:xfrm>
            <a:off x="3251828" y="5219942"/>
            <a:ext cx="2217231" cy="1122114"/>
          </a:xfrm>
          <a:prstGeom prst="rect">
            <a:avLst/>
          </a:prstGeom>
          <a:solidFill>
            <a:schemeClr val="bg1">
              <a:lumMod val="95000"/>
            </a:schemeClr>
          </a:solidFill>
        </p:spPr>
        <p:txBody>
          <a:bodyPr wrap="square" anchor="ctr">
            <a:noAutofit/>
          </a:bodyPr>
          <a:lstStyle/>
          <a:p>
            <a:pPr algn="ctr"/>
            <a:r>
              <a:rPr lang="en-US" sz="1372" b="1" i="1" dirty="0"/>
              <a:t>Goutham Koneru</a:t>
            </a:r>
          </a:p>
          <a:p>
            <a:pPr algn="ctr"/>
            <a:r>
              <a:rPr lang="en-US" sz="1372" i="1" dirty="0"/>
              <a:t>Data &amp; AI </a:t>
            </a:r>
          </a:p>
          <a:p>
            <a:pPr algn="ctr"/>
            <a:r>
              <a:rPr lang="en-US" sz="1372" i="1" dirty="0"/>
              <a:t>Cloud Solution Architect</a:t>
            </a:r>
          </a:p>
          <a:p>
            <a:pPr algn="ctr"/>
            <a:r>
              <a:rPr lang="en-US" sz="1372" i="1" dirty="0"/>
              <a:t>Microsoft</a:t>
            </a:r>
          </a:p>
        </p:txBody>
      </p:sp>
      <p:sp>
        <p:nvSpPr>
          <p:cNvPr id="632" name="Rectangle 631">
            <a:extLst>
              <a:ext uri="{FF2B5EF4-FFF2-40B4-BE49-F238E27FC236}">
                <a16:creationId xmlns:a16="http://schemas.microsoft.com/office/drawing/2014/main" id="{344101DA-C807-D68F-54FC-1C2B9007A1E5}"/>
              </a:ext>
            </a:extLst>
          </p:cNvPr>
          <p:cNvSpPr/>
          <p:nvPr/>
        </p:nvSpPr>
        <p:spPr>
          <a:xfrm>
            <a:off x="5676769" y="5240043"/>
            <a:ext cx="2217231" cy="1122114"/>
          </a:xfrm>
          <a:prstGeom prst="rect">
            <a:avLst/>
          </a:prstGeom>
          <a:solidFill>
            <a:schemeClr val="bg1">
              <a:lumMod val="95000"/>
            </a:schemeClr>
          </a:solidFill>
        </p:spPr>
        <p:txBody>
          <a:bodyPr wrap="square" anchor="ctr">
            <a:noAutofit/>
          </a:bodyPr>
          <a:lstStyle/>
          <a:p>
            <a:pPr algn="ctr"/>
            <a:r>
              <a:rPr lang="en-US" sz="1372" b="1" i="1" dirty="0"/>
              <a:t>Indy Boteju</a:t>
            </a:r>
          </a:p>
          <a:p>
            <a:pPr algn="ctr"/>
            <a:r>
              <a:rPr lang="en-US" sz="1372" i="1" dirty="0"/>
              <a:t>IoT </a:t>
            </a:r>
          </a:p>
          <a:p>
            <a:pPr algn="ctr"/>
            <a:r>
              <a:rPr lang="en-US" sz="1372" i="1" dirty="0"/>
              <a:t>Solution Specialist</a:t>
            </a:r>
          </a:p>
          <a:p>
            <a:pPr algn="ctr"/>
            <a:r>
              <a:rPr lang="en-US" sz="1372" i="1" dirty="0"/>
              <a:t>Microsoft</a:t>
            </a:r>
          </a:p>
        </p:txBody>
      </p:sp>
      <p:sp>
        <p:nvSpPr>
          <p:cNvPr id="633" name="Rectangle 632">
            <a:extLst>
              <a:ext uri="{FF2B5EF4-FFF2-40B4-BE49-F238E27FC236}">
                <a16:creationId xmlns:a16="http://schemas.microsoft.com/office/drawing/2014/main" id="{FBAB9E52-AFB7-D1CF-2B09-D982AF9188AC}"/>
              </a:ext>
            </a:extLst>
          </p:cNvPr>
          <p:cNvSpPr/>
          <p:nvPr/>
        </p:nvSpPr>
        <p:spPr>
          <a:xfrm>
            <a:off x="8100228" y="5231807"/>
            <a:ext cx="2217231" cy="1122114"/>
          </a:xfrm>
          <a:prstGeom prst="rect">
            <a:avLst/>
          </a:prstGeom>
          <a:solidFill>
            <a:schemeClr val="bg1">
              <a:lumMod val="95000"/>
            </a:schemeClr>
          </a:solidFill>
        </p:spPr>
        <p:txBody>
          <a:bodyPr wrap="square" anchor="ctr">
            <a:noAutofit/>
          </a:bodyPr>
          <a:lstStyle/>
          <a:p>
            <a:pPr algn="ctr"/>
            <a:r>
              <a:rPr lang="en-US" sz="1372" b="1" i="1" dirty="0"/>
              <a:t>Kay Apperson</a:t>
            </a:r>
          </a:p>
          <a:p>
            <a:pPr algn="ctr"/>
            <a:r>
              <a:rPr lang="en-US" sz="1372" i="1" dirty="0"/>
              <a:t>Account Technology Strategist</a:t>
            </a:r>
          </a:p>
          <a:p>
            <a:pPr algn="ctr"/>
            <a:r>
              <a:rPr lang="en-US" sz="1372" i="1" dirty="0"/>
              <a:t>Microsoft</a:t>
            </a:r>
          </a:p>
        </p:txBody>
      </p:sp>
    </p:spTree>
    <p:extLst>
      <p:ext uri="{BB962C8B-B14F-4D97-AF65-F5344CB8AC3E}">
        <p14:creationId xmlns:p14="http://schemas.microsoft.com/office/powerpoint/2010/main" val="1131047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9"/>
                                        </p:tgtEl>
                                        <p:attrNameLst>
                                          <p:attrName>style.visibility</p:attrName>
                                        </p:attrNameLst>
                                      </p:cBhvr>
                                      <p:to>
                                        <p:strVal val="visible"/>
                                      </p:to>
                                    </p:set>
                                    <p:animEffect transition="in" filter="fade">
                                      <p:cBhvr>
                                        <p:cTn id="7" dur="500"/>
                                        <p:tgtEl>
                                          <p:spTgt spid="6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31"/>
                                        </p:tgtEl>
                                        <p:attrNameLst>
                                          <p:attrName>style.visibility</p:attrName>
                                        </p:attrNameLst>
                                      </p:cBhvr>
                                      <p:to>
                                        <p:strVal val="visible"/>
                                      </p:to>
                                    </p:set>
                                    <p:animEffect transition="in" filter="fade">
                                      <p:cBhvr>
                                        <p:cTn id="11" dur="500"/>
                                        <p:tgtEl>
                                          <p:spTgt spid="63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32"/>
                                        </p:tgtEl>
                                        <p:attrNameLst>
                                          <p:attrName>style.visibility</p:attrName>
                                        </p:attrNameLst>
                                      </p:cBhvr>
                                      <p:to>
                                        <p:strVal val="visible"/>
                                      </p:to>
                                    </p:set>
                                    <p:animEffect transition="in" filter="fade">
                                      <p:cBhvr>
                                        <p:cTn id="15" dur="500"/>
                                        <p:tgtEl>
                                          <p:spTgt spid="63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33"/>
                                        </p:tgtEl>
                                        <p:attrNameLst>
                                          <p:attrName>style.visibility</p:attrName>
                                        </p:attrNameLst>
                                      </p:cBhvr>
                                      <p:to>
                                        <p:strVal val="visible"/>
                                      </p:to>
                                    </p:set>
                                    <p:animEffect transition="in" filter="fade">
                                      <p:cBhvr>
                                        <p:cTn id="19" dur="500"/>
                                        <p:tgtEl>
                                          <p:spTgt spid="6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9" grpId="0" animBg="1"/>
      <p:bldP spid="631" grpId="0" animBg="1"/>
      <p:bldP spid="632" grpId="0" animBg="1"/>
      <p:bldP spid="633"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a:extLst>
              <a:ext uri="{FF2B5EF4-FFF2-40B4-BE49-F238E27FC236}">
                <a16:creationId xmlns:a16="http://schemas.microsoft.com/office/drawing/2014/main" id="{CB561F71-CD55-4D02-B7F6-6D2DDDCAB92C}"/>
              </a:ext>
            </a:extLst>
          </p:cNvPr>
          <p:cNvSpPr txBox="1"/>
          <p:nvPr/>
        </p:nvSpPr>
        <p:spPr>
          <a:xfrm>
            <a:off x="3894674" y="6095385"/>
            <a:ext cx="4051402" cy="450489"/>
          </a:xfrm>
          <a:prstGeom prst="roundRect">
            <a:avLst/>
          </a:prstGeom>
          <a:solidFill>
            <a:schemeClr val="accent3">
              <a:lumMod val="40000"/>
              <a:lumOff val="60000"/>
            </a:schemeClr>
          </a:solidFill>
        </p:spPr>
        <p:txBody>
          <a:bodyPr wrap="square" bIns="457200">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calable, Repeatable, Reliable</a:t>
            </a:r>
          </a:p>
        </p:txBody>
      </p:sp>
      <p:sp>
        <p:nvSpPr>
          <p:cNvPr id="5" name="Title 4">
            <a:extLst>
              <a:ext uri="{FF2B5EF4-FFF2-40B4-BE49-F238E27FC236}">
                <a16:creationId xmlns:a16="http://schemas.microsoft.com/office/drawing/2014/main" id="{097A847A-98FB-4C8F-885B-E58CF0C94BC2}"/>
              </a:ext>
            </a:extLst>
          </p:cNvPr>
          <p:cNvSpPr>
            <a:spLocks noGrp="1"/>
          </p:cNvSpPr>
          <p:nvPr>
            <p:ph type="title"/>
          </p:nvPr>
        </p:nvSpPr>
        <p:spPr/>
        <p:txBody>
          <a:bodyPr/>
          <a:lstStyle/>
          <a:p>
            <a:r>
              <a:rPr lang="en-US"/>
              <a:t>Removing Complexity</a:t>
            </a:r>
          </a:p>
        </p:txBody>
      </p:sp>
      <p:sp>
        <p:nvSpPr>
          <p:cNvPr id="157" name="Rectangle 156">
            <a:extLst>
              <a:ext uri="{FF2B5EF4-FFF2-40B4-BE49-F238E27FC236}">
                <a16:creationId xmlns:a16="http://schemas.microsoft.com/office/drawing/2014/main" id="{ACEABD9B-DFDA-4F98-B3E9-1876B54E5984}"/>
              </a:ext>
            </a:extLst>
          </p:cNvPr>
          <p:cNvSpPr/>
          <p:nvPr/>
        </p:nvSpPr>
        <p:spPr bwMode="auto">
          <a:xfrm>
            <a:off x="3209141" y="1613248"/>
            <a:ext cx="5773719" cy="4520851"/>
          </a:xfrm>
          <a:prstGeom prst="rect">
            <a:avLst/>
          </a:prstGeom>
          <a:solidFill>
            <a:schemeClr val="tx1"/>
          </a:solidFill>
          <a:ln w="57150" cap="flat" cmpd="sng" algn="ctr">
            <a:solidFill>
              <a:srgbClr val="32BED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5E5DCF72-431C-4926-A1F6-05FA7B86657D}"/>
              </a:ext>
            </a:extLst>
          </p:cNvPr>
          <p:cNvGrpSpPr/>
          <p:nvPr/>
        </p:nvGrpSpPr>
        <p:grpSpPr>
          <a:xfrm>
            <a:off x="4975055" y="1775473"/>
            <a:ext cx="2241614" cy="374272"/>
            <a:chOff x="4900948" y="1436563"/>
            <a:chExt cx="2241614" cy="374272"/>
          </a:xfrm>
        </p:grpSpPr>
        <p:pic>
          <p:nvPicPr>
            <p:cNvPr id="4" name="Graphic 3">
              <a:extLst>
                <a:ext uri="{FF2B5EF4-FFF2-40B4-BE49-F238E27FC236}">
                  <a16:creationId xmlns:a16="http://schemas.microsoft.com/office/drawing/2014/main" id="{3332DD72-C2A9-4D4E-A187-8EEDCA4705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00948" y="1436563"/>
              <a:ext cx="374272" cy="374272"/>
            </a:xfrm>
            <a:prstGeom prst="rect">
              <a:avLst/>
            </a:prstGeom>
          </p:spPr>
        </p:pic>
        <p:sp>
          <p:nvSpPr>
            <p:cNvPr id="6" name="TextBox 5">
              <a:extLst>
                <a:ext uri="{FF2B5EF4-FFF2-40B4-BE49-F238E27FC236}">
                  <a16:creationId xmlns:a16="http://schemas.microsoft.com/office/drawing/2014/main" id="{178F9629-F449-4DAB-964C-EDA6D49691FC}"/>
                </a:ext>
              </a:extLst>
            </p:cNvPr>
            <p:cNvSpPr txBox="1"/>
            <p:nvPr/>
          </p:nvSpPr>
          <p:spPr>
            <a:xfrm>
              <a:off x="5328411" y="1476572"/>
              <a:ext cx="181415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F3F3F"/>
                  </a:solidFill>
                  <a:effectLst/>
                  <a:uLnTx/>
                  <a:uFillTx/>
                  <a:latin typeface="Segoe UI Semibold" pitchFamily="34" charset="0"/>
                  <a:ea typeface="+mn-ea"/>
                  <a:cs typeface="Segoe UI Semibold" pitchFamily="34" charset="-120"/>
                </a:rPr>
                <a:t>Azure IoT Central</a:t>
              </a:r>
            </a:p>
          </p:txBody>
        </p:sp>
      </p:grpSp>
      <p:grpSp>
        <p:nvGrpSpPr>
          <p:cNvPr id="115" name="Group 114">
            <a:extLst>
              <a:ext uri="{FF2B5EF4-FFF2-40B4-BE49-F238E27FC236}">
                <a16:creationId xmlns:a16="http://schemas.microsoft.com/office/drawing/2014/main" id="{D2262C14-D1C3-4A7F-9FC4-BBD8FF618E69}"/>
              </a:ext>
            </a:extLst>
          </p:cNvPr>
          <p:cNvGrpSpPr/>
          <p:nvPr/>
        </p:nvGrpSpPr>
        <p:grpSpPr>
          <a:xfrm>
            <a:off x="321757" y="1838703"/>
            <a:ext cx="2560320" cy="3968028"/>
            <a:chOff x="734899" y="1899663"/>
            <a:chExt cx="2668689" cy="3968028"/>
          </a:xfrm>
        </p:grpSpPr>
        <p:sp>
          <p:nvSpPr>
            <p:cNvPr id="116" name="Rectangle 115">
              <a:extLst>
                <a:ext uri="{FF2B5EF4-FFF2-40B4-BE49-F238E27FC236}">
                  <a16:creationId xmlns:a16="http://schemas.microsoft.com/office/drawing/2014/main" id="{9C886812-0005-4379-B07A-5915177CF558}"/>
                </a:ext>
              </a:extLst>
            </p:cNvPr>
            <p:cNvSpPr/>
            <p:nvPr/>
          </p:nvSpPr>
          <p:spPr>
            <a:xfrm>
              <a:off x="734899" y="1899663"/>
              <a:ext cx="2668689" cy="3968028"/>
            </a:xfrm>
            <a:prstGeom prst="rect">
              <a:avLst/>
            </a:prstGeom>
            <a:solidFill>
              <a:schemeClr val="tx1">
                <a:lumMod val="95000"/>
              </a:schemeClr>
            </a:solidFill>
            <a:ln w="57150" cap="flat" cmpd="sng" algn="ctr">
              <a:solidFill>
                <a:srgbClr val="3C3C41">
                  <a:lumMod val="85000"/>
                  <a:lumOff val="15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p:txBody>
        </p:sp>
        <p:grpSp>
          <p:nvGrpSpPr>
            <p:cNvPr id="117" name="Group 116">
              <a:extLst>
                <a:ext uri="{FF2B5EF4-FFF2-40B4-BE49-F238E27FC236}">
                  <a16:creationId xmlns:a16="http://schemas.microsoft.com/office/drawing/2014/main" id="{6AED923B-4A9C-44C2-89AF-7AF185223CEF}"/>
                </a:ext>
              </a:extLst>
            </p:cNvPr>
            <p:cNvGrpSpPr/>
            <p:nvPr/>
          </p:nvGrpSpPr>
          <p:grpSpPr>
            <a:xfrm>
              <a:off x="1951590" y="2257686"/>
              <a:ext cx="1377327" cy="326760"/>
              <a:chOff x="969318" y="1083096"/>
              <a:chExt cx="1377327" cy="326760"/>
            </a:xfrm>
          </p:grpSpPr>
          <p:sp>
            <p:nvSpPr>
              <p:cNvPr id="142" name="TextBox 141">
                <a:extLst>
                  <a:ext uri="{FF2B5EF4-FFF2-40B4-BE49-F238E27FC236}">
                    <a16:creationId xmlns:a16="http://schemas.microsoft.com/office/drawing/2014/main" id="{27B7CE54-992B-4D5F-887E-26407FEBD974}"/>
                  </a:ext>
                </a:extLst>
              </p:cNvPr>
              <p:cNvSpPr txBox="1"/>
              <p:nvPr/>
            </p:nvSpPr>
            <p:spPr>
              <a:xfrm>
                <a:off x="1066485" y="1083096"/>
                <a:ext cx="1280160" cy="307777"/>
              </a:xfrm>
              <a:prstGeom prst="rect">
                <a:avLst/>
              </a:prstGeom>
              <a:noFill/>
            </p:spPr>
            <p:txBody>
              <a:bodyPr wrap="square">
                <a:spAutoFit/>
              </a:bodyPr>
              <a:lstStyle>
                <a:defPPr>
                  <a:defRPr lang="en-US"/>
                </a:defPPr>
                <a:lvl1pPr marL="111125"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rgbClr val="0072C6"/>
                    </a:solidFill>
                    <a:effectLst/>
                    <a:uLnTx/>
                    <a:uFillTx/>
                    <a:latin typeface="Segoe UI Semibold" panose="020B0702040204020203" pitchFamily="34" charset="0"/>
                    <a:cs typeface="Segoe UI Semibold" panose="020B0702040204020203" pitchFamily="34" charset="0"/>
                  </a:defRPr>
                </a:lvl1p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Agriculture</a:t>
                </a:r>
              </a:p>
            </p:txBody>
          </p:sp>
          <p:sp>
            <p:nvSpPr>
              <p:cNvPr id="143" name="Leaf" title="Icon of a leaf">
                <a:extLst>
                  <a:ext uri="{FF2B5EF4-FFF2-40B4-BE49-F238E27FC236}">
                    <a16:creationId xmlns:a16="http://schemas.microsoft.com/office/drawing/2014/main" id="{B0BC044B-D95B-47F9-8AA8-0C40D98DCA57}"/>
                  </a:ext>
                </a:extLst>
              </p:cNvPr>
              <p:cNvSpPr>
                <a:spLocks noChangeAspect="1" noEditPoints="1"/>
              </p:cNvSpPr>
              <p:nvPr/>
            </p:nvSpPr>
            <p:spPr bwMode="auto">
              <a:xfrm>
                <a:off x="969318" y="1134504"/>
                <a:ext cx="182880" cy="275352"/>
              </a:xfrm>
              <a:custGeom>
                <a:avLst/>
                <a:gdLst>
                  <a:gd name="T0" fmla="*/ 497 w 2487"/>
                  <a:gd name="T1" fmla="*/ 2737 h 3743"/>
                  <a:gd name="T2" fmla="*/ 249 w 2487"/>
                  <a:gd name="T3" fmla="*/ 1990 h 3743"/>
                  <a:gd name="T4" fmla="*/ 995 w 2487"/>
                  <a:gd name="T5" fmla="*/ 995 h 3743"/>
                  <a:gd name="T6" fmla="*/ 1741 w 2487"/>
                  <a:gd name="T7" fmla="*/ 0 h 3743"/>
                  <a:gd name="T8" fmla="*/ 2487 w 2487"/>
                  <a:gd name="T9" fmla="*/ 1617 h 3743"/>
                  <a:gd name="T10" fmla="*/ 871 w 2487"/>
                  <a:gd name="T11" fmla="*/ 3234 h 3743"/>
                  <a:gd name="T12" fmla="*/ 746 w 2487"/>
                  <a:gd name="T13" fmla="*/ 3234 h 3743"/>
                  <a:gd name="T14" fmla="*/ 0 w 2487"/>
                  <a:gd name="T15" fmla="*/ 3743 h 3743"/>
                  <a:gd name="T16" fmla="*/ 357 w 2487"/>
                  <a:gd name="T17" fmla="*/ 3527 h 3743"/>
                  <a:gd name="T18" fmla="*/ 997 w 2487"/>
                  <a:gd name="T19" fmla="*/ 2999 h 3743"/>
                  <a:gd name="T20" fmla="*/ 1525 w 2487"/>
                  <a:gd name="T21" fmla="*/ 2358 h 3743"/>
                  <a:gd name="T22" fmla="*/ 1741 w 2487"/>
                  <a:gd name="T23" fmla="*/ 2002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7" h="3743">
                    <a:moveTo>
                      <a:pt x="497" y="2737"/>
                    </a:moveTo>
                    <a:cubicBezTo>
                      <a:pt x="344" y="2546"/>
                      <a:pt x="249" y="2282"/>
                      <a:pt x="249" y="1990"/>
                    </a:cubicBezTo>
                    <a:cubicBezTo>
                      <a:pt x="249" y="1602"/>
                      <a:pt x="534" y="1250"/>
                      <a:pt x="995" y="995"/>
                    </a:cubicBezTo>
                    <a:cubicBezTo>
                      <a:pt x="1456" y="741"/>
                      <a:pt x="1741" y="389"/>
                      <a:pt x="1741" y="0"/>
                    </a:cubicBezTo>
                    <a:cubicBezTo>
                      <a:pt x="2202" y="414"/>
                      <a:pt x="2487" y="985"/>
                      <a:pt x="2487" y="1617"/>
                    </a:cubicBezTo>
                    <a:cubicBezTo>
                      <a:pt x="2487" y="2511"/>
                      <a:pt x="1764" y="3234"/>
                      <a:pt x="871" y="3234"/>
                    </a:cubicBezTo>
                    <a:cubicBezTo>
                      <a:pt x="746" y="3234"/>
                      <a:pt x="746" y="3234"/>
                      <a:pt x="746" y="3234"/>
                    </a:cubicBezTo>
                    <a:moveTo>
                      <a:pt x="0" y="3743"/>
                    </a:moveTo>
                    <a:cubicBezTo>
                      <a:pt x="122" y="3677"/>
                      <a:pt x="241" y="3604"/>
                      <a:pt x="357" y="3527"/>
                    </a:cubicBezTo>
                    <a:cubicBezTo>
                      <a:pt x="587" y="3371"/>
                      <a:pt x="801" y="3194"/>
                      <a:pt x="997" y="2999"/>
                    </a:cubicBezTo>
                    <a:cubicBezTo>
                      <a:pt x="1192" y="2803"/>
                      <a:pt x="1369" y="2589"/>
                      <a:pt x="1525" y="2358"/>
                    </a:cubicBezTo>
                    <a:cubicBezTo>
                      <a:pt x="1602" y="2243"/>
                      <a:pt x="1675" y="2124"/>
                      <a:pt x="1741" y="2002"/>
                    </a:cubicBezTo>
                  </a:path>
                </a:pathLst>
              </a:custGeom>
              <a:noFill/>
              <a:ln w="19050"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CE566C43-0625-45A6-B601-8119058E2439}"/>
                </a:ext>
              </a:extLst>
            </p:cNvPr>
            <p:cNvGrpSpPr/>
            <p:nvPr/>
          </p:nvGrpSpPr>
          <p:grpSpPr>
            <a:xfrm>
              <a:off x="1941414" y="2998914"/>
              <a:ext cx="1450561" cy="314066"/>
              <a:chOff x="896084" y="1713107"/>
              <a:chExt cx="1450561" cy="314066"/>
            </a:xfrm>
          </p:grpSpPr>
          <p:sp>
            <p:nvSpPr>
              <p:cNvPr id="140" name="TextBox 139">
                <a:extLst>
                  <a:ext uri="{FF2B5EF4-FFF2-40B4-BE49-F238E27FC236}">
                    <a16:creationId xmlns:a16="http://schemas.microsoft.com/office/drawing/2014/main" id="{43CB9824-4D34-4F6B-B05C-CF8C40585F24}"/>
                  </a:ext>
                </a:extLst>
              </p:cNvPr>
              <p:cNvSpPr txBox="1"/>
              <p:nvPr/>
            </p:nvSpPr>
            <p:spPr>
              <a:xfrm>
                <a:off x="1066485" y="17193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Consumer</a:t>
                </a:r>
              </a:p>
            </p:txBody>
          </p:sp>
          <p:sp>
            <p:nvSpPr>
              <p:cNvPr id="141" name="people_2" title="Icon of three people with an arrow above them pointing down">
                <a:extLst>
                  <a:ext uri="{FF2B5EF4-FFF2-40B4-BE49-F238E27FC236}">
                    <a16:creationId xmlns:a16="http://schemas.microsoft.com/office/drawing/2014/main" id="{6723662C-47BF-4B33-A613-B97DBFF13C3C}"/>
                  </a:ext>
                </a:extLst>
              </p:cNvPr>
              <p:cNvSpPr>
                <a:spLocks noChangeAspect="1" noEditPoints="1"/>
              </p:cNvSpPr>
              <p:nvPr/>
            </p:nvSpPr>
            <p:spPr bwMode="auto">
              <a:xfrm>
                <a:off x="896084" y="1713107"/>
                <a:ext cx="274320" cy="301235"/>
              </a:xfrm>
              <a:custGeom>
                <a:avLst/>
                <a:gdLst>
                  <a:gd name="T0" fmla="*/ 95 w 298"/>
                  <a:gd name="T1" fmla="*/ 198 h 328"/>
                  <a:gd name="T2" fmla="*/ 149 w 298"/>
                  <a:gd name="T3" fmla="*/ 143 h 328"/>
                  <a:gd name="T4" fmla="*/ 203 w 298"/>
                  <a:gd name="T5" fmla="*/ 198 h 328"/>
                  <a:gd name="T6" fmla="*/ 149 w 298"/>
                  <a:gd name="T7" fmla="*/ 252 h 328"/>
                  <a:gd name="T8" fmla="*/ 95 w 298"/>
                  <a:gd name="T9" fmla="*/ 198 h 328"/>
                  <a:gd name="T10" fmla="*/ 225 w 298"/>
                  <a:gd name="T11" fmla="*/ 328 h 328"/>
                  <a:gd name="T12" fmla="*/ 149 w 298"/>
                  <a:gd name="T13" fmla="*/ 252 h 328"/>
                  <a:gd name="T14" fmla="*/ 73 w 298"/>
                  <a:gd name="T15" fmla="*/ 328 h 328"/>
                  <a:gd name="T16" fmla="*/ 47 w 298"/>
                  <a:gd name="T17" fmla="*/ 146 h 328"/>
                  <a:gd name="T18" fmla="*/ 81 w 298"/>
                  <a:gd name="T19" fmla="*/ 112 h 328"/>
                  <a:gd name="T20" fmla="*/ 47 w 298"/>
                  <a:gd name="T21" fmla="*/ 78 h 328"/>
                  <a:gd name="T22" fmla="*/ 13 w 298"/>
                  <a:gd name="T23" fmla="*/ 112 h 328"/>
                  <a:gd name="T24" fmla="*/ 47 w 298"/>
                  <a:gd name="T25" fmla="*/ 146 h 328"/>
                  <a:gd name="T26" fmla="*/ 95 w 298"/>
                  <a:gd name="T27" fmla="*/ 193 h 328"/>
                  <a:gd name="T28" fmla="*/ 47 w 298"/>
                  <a:gd name="T29" fmla="*/ 146 h 328"/>
                  <a:gd name="T30" fmla="*/ 0 w 298"/>
                  <a:gd name="T31" fmla="*/ 193 h 328"/>
                  <a:gd name="T32" fmla="*/ 251 w 298"/>
                  <a:gd name="T33" fmla="*/ 146 h 328"/>
                  <a:gd name="T34" fmla="*/ 285 w 298"/>
                  <a:gd name="T35" fmla="*/ 112 h 328"/>
                  <a:gd name="T36" fmla="*/ 251 w 298"/>
                  <a:gd name="T37" fmla="*/ 78 h 328"/>
                  <a:gd name="T38" fmla="*/ 217 w 298"/>
                  <a:gd name="T39" fmla="*/ 112 h 328"/>
                  <a:gd name="T40" fmla="*/ 251 w 298"/>
                  <a:gd name="T41" fmla="*/ 146 h 328"/>
                  <a:gd name="T42" fmla="*/ 298 w 298"/>
                  <a:gd name="T43" fmla="*/ 193 h 328"/>
                  <a:gd name="T44" fmla="*/ 251 w 298"/>
                  <a:gd name="T45" fmla="*/ 146 h 328"/>
                  <a:gd name="T46" fmla="*/ 203 w 298"/>
                  <a:gd name="T47" fmla="*/ 193 h 328"/>
                  <a:gd name="T48" fmla="*/ 149 w 298"/>
                  <a:gd name="T49" fmla="*/ 0 h 328"/>
                  <a:gd name="T50" fmla="*/ 149 w 298"/>
                  <a:gd name="T51" fmla="*/ 80 h 328"/>
                  <a:gd name="T52" fmla="*/ 104 w 298"/>
                  <a:gd name="T53" fmla="*/ 35 h 328"/>
                  <a:gd name="T54" fmla="*/ 149 w 298"/>
                  <a:gd name="T55" fmla="*/ 80 h 328"/>
                  <a:gd name="T56" fmla="*/ 194 w 298"/>
                  <a:gd name="T57" fmla="*/ 3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328">
                    <a:moveTo>
                      <a:pt x="95" y="198"/>
                    </a:moveTo>
                    <a:cubicBezTo>
                      <a:pt x="95" y="168"/>
                      <a:pt x="119" y="143"/>
                      <a:pt x="149" y="143"/>
                    </a:cubicBezTo>
                    <a:cubicBezTo>
                      <a:pt x="179" y="143"/>
                      <a:pt x="203" y="168"/>
                      <a:pt x="203" y="198"/>
                    </a:cubicBezTo>
                    <a:cubicBezTo>
                      <a:pt x="203" y="228"/>
                      <a:pt x="179" y="252"/>
                      <a:pt x="149" y="252"/>
                    </a:cubicBezTo>
                    <a:cubicBezTo>
                      <a:pt x="119" y="252"/>
                      <a:pt x="95" y="228"/>
                      <a:pt x="95" y="198"/>
                    </a:cubicBezTo>
                    <a:close/>
                    <a:moveTo>
                      <a:pt x="225" y="328"/>
                    </a:moveTo>
                    <a:cubicBezTo>
                      <a:pt x="225" y="286"/>
                      <a:pt x="191" y="252"/>
                      <a:pt x="149" y="252"/>
                    </a:cubicBezTo>
                    <a:cubicBezTo>
                      <a:pt x="107" y="252"/>
                      <a:pt x="73" y="286"/>
                      <a:pt x="73" y="328"/>
                    </a:cubicBezTo>
                    <a:moveTo>
                      <a:pt x="47" y="146"/>
                    </a:moveTo>
                    <a:cubicBezTo>
                      <a:pt x="66" y="146"/>
                      <a:pt x="81" y="131"/>
                      <a:pt x="81" y="112"/>
                    </a:cubicBezTo>
                    <a:cubicBezTo>
                      <a:pt x="81" y="93"/>
                      <a:pt x="66" y="78"/>
                      <a:pt x="47" y="78"/>
                    </a:cubicBezTo>
                    <a:cubicBezTo>
                      <a:pt x="28" y="78"/>
                      <a:pt x="13" y="93"/>
                      <a:pt x="13" y="112"/>
                    </a:cubicBezTo>
                    <a:cubicBezTo>
                      <a:pt x="13" y="131"/>
                      <a:pt x="28" y="146"/>
                      <a:pt x="47" y="146"/>
                    </a:cubicBezTo>
                    <a:close/>
                    <a:moveTo>
                      <a:pt x="95" y="193"/>
                    </a:moveTo>
                    <a:cubicBezTo>
                      <a:pt x="95" y="167"/>
                      <a:pt x="73" y="146"/>
                      <a:pt x="47" y="146"/>
                    </a:cubicBezTo>
                    <a:cubicBezTo>
                      <a:pt x="21" y="146"/>
                      <a:pt x="0" y="167"/>
                      <a:pt x="0" y="193"/>
                    </a:cubicBezTo>
                    <a:moveTo>
                      <a:pt x="251" y="146"/>
                    </a:moveTo>
                    <a:cubicBezTo>
                      <a:pt x="270" y="146"/>
                      <a:pt x="285" y="131"/>
                      <a:pt x="285" y="112"/>
                    </a:cubicBezTo>
                    <a:cubicBezTo>
                      <a:pt x="285" y="93"/>
                      <a:pt x="270" y="78"/>
                      <a:pt x="251" y="78"/>
                    </a:cubicBezTo>
                    <a:cubicBezTo>
                      <a:pt x="232" y="78"/>
                      <a:pt x="217" y="93"/>
                      <a:pt x="217" y="112"/>
                    </a:cubicBezTo>
                    <a:cubicBezTo>
                      <a:pt x="217" y="131"/>
                      <a:pt x="232" y="146"/>
                      <a:pt x="251" y="146"/>
                    </a:cubicBezTo>
                    <a:close/>
                    <a:moveTo>
                      <a:pt x="298" y="193"/>
                    </a:moveTo>
                    <a:cubicBezTo>
                      <a:pt x="298" y="167"/>
                      <a:pt x="277" y="146"/>
                      <a:pt x="251" y="146"/>
                    </a:cubicBezTo>
                    <a:cubicBezTo>
                      <a:pt x="225" y="146"/>
                      <a:pt x="203" y="167"/>
                      <a:pt x="203" y="193"/>
                    </a:cubicBezTo>
                    <a:moveTo>
                      <a:pt x="149" y="0"/>
                    </a:moveTo>
                    <a:cubicBezTo>
                      <a:pt x="149" y="80"/>
                      <a:pt x="149" y="80"/>
                      <a:pt x="149" y="80"/>
                    </a:cubicBezTo>
                    <a:moveTo>
                      <a:pt x="104" y="35"/>
                    </a:moveTo>
                    <a:cubicBezTo>
                      <a:pt x="149" y="80"/>
                      <a:pt x="149" y="80"/>
                      <a:pt x="149" y="80"/>
                    </a:cubicBezTo>
                    <a:cubicBezTo>
                      <a:pt x="194" y="35"/>
                      <a:pt x="194" y="35"/>
                      <a:pt x="194" y="35"/>
                    </a:cubicBezTo>
                  </a:path>
                </a:pathLst>
              </a:custGeom>
              <a:noFill/>
              <a:ln w="1905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9" name="Group 118">
              <a:extLst>
                <a:ext uri="{FF2B5EF4-FFF2-40B4-BE49-F238E27FC236}">
                  <a16:creationId xmlns:a16="http://schemas.microsoft.com/office/drawing/2014/main" id="{A3B334AF-295D-451D-BD76-3153C6B3876E}"/>
                </a:ext>
              </a:extLst>
            </p:cNvPr>
            <p:cNvGrpSpPr/>
            <p:nvPr/>
          </p:nvGrpSpPr>
          <p:grpSpPr>
            <a:xfrm>
              <a:off x="1049542" y="2634647"/>
              <a:ext cx="1413605" cy="314066"/>
              <a:chOff x="933040" y="2355696"/>
              <a:chExt cx="1413605" cy="314066"/>
            </a:xfrm>
          </p:grpSpPr>
          <p:pic>
            <p:nvPicPr>
              <p:cNvPr id="138" name="Picture 137">
                <a:extLst>
                  <a:ext uri="{FF2B5EF4-FFF2-40B4-BE49-F238E27FC236}">
                    <a16:creationId xmlns:a16="http://schemas.microsoft.com/office/drawing/2014/main" id="{C8343273-EDEE-4771-9A4F-8092259F77A8}"/>
                  </a:ext>
                </a:extLst>
              </p:cNvPr>
              <p:cNvPicPr>
                <a:picLocks noChangeAspect="1"/>
              </p:cNvPicPr>
              <p:nvPr/>
            </p:nvPicPr>
            <p:blipFill>
              <a:blip r:embed="rId5">
                <a:biLevel thresh="50000"/>
                <a:extLst>
                  <a:ext uri="{BEBA8EAE-BF5A-486C-A8C5-ECC9F3942E4B}">
                    <a14:imgProps xmlns:a14="http://schemas.microsoft.com/office/drawing/2010/main">
                      <a14:imgLayer r:embed="rId6">
                        <a14:imgEffect>
                          <a14:brightnessContrast contrast="-20000"/>
                        </a14:imgEffect>
                      </a14:imgLayer>
                    </a14:imgProps>
                  </a:ext>
                </a:extLst>
              </a:blip>
              <a:stretch>
                <a:fillRect/>
              </a:stretch>
            </p:blipFill>
            <p:spPr>
              <a:xfrm>
                <a:off x="933040" y="2369317"/>
                <a:ext cx="182880" cy="300445"/>
              </a:xfrm>
              <a:prstGeom prst="rect">
                <a:avLst/>
              </a:prstGeom>
            </p:spPr>
          </p:pic>
          <p:sp>
            <p:nvSpPr>
              <p:cNvPr id="139" name="TextBox 138">
                <a:extLst>
                  <a:ext uri="{FF2B5EF4-FFF2-40B4-BE49-F238E27FC236}">
                    <a16:creationId xmlns:a16="http://schemas.microsoft.com/office/drawing/2014/main" id="{7A844E27-236F-4410-A1A1-1E63737CF9D3}"/>
                  </a:ext>
                </a:extLst>
              </p:cNvPr>
              <p:cNvSpPr txBox="1"/>
              <p:nvPr/>
            </p:nvSpPr>
            <p:spPr>
              <a:xfrm>
                <a:off x="1066485" y="23556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Appliances</a:t>
                </a:r>
              </a:p>
            </p:txBody>
          </p:sp>
        </p:grpSp>
        <p:grpSp>
          <p:nvGrpSpPr>
            <p:cNvPr id="120" name="Group 119">
              <a:extLst>
                <a:ext uri="{FF2B5EF4-FFF2-40B4-BE49-F238E27FC236}">
                  <a16:creationId xmlns:a16="http://schemas.microsoft.com/office/drawing/2014/main" id="{93E69A94-8A3D-46EA-8DE6-AA36E7CFC66F}"/>
                </a:ext>
              </a:extLst>
            </p:cNvPr>
            <p:cNvGrpSpPr/>
            <p:nvPr/>
          </p:nvGrpSpPr>
          <p:grpSpPr>
            <a:xfrm>
              <a:off x="1019096" y="3363181"/>
              <a:ext cx="1444051" cy="307777"/>
              <a:chOff x="902594" y="2991996"/>
              <a:chExt cx="1444051" cy="307777"/>
            </a:xfrm>
          </p:grpSpPr>
          <p:sp>
            <p:nvSpPr>
              <p:cNvPr id="136" name="SecurityCamera_EB35" title="Icon of a security camera">
                <a:extLst>
                  <a:ext uri="{FF2B5EF4-FFF2-40B4-BE49-F238E27FC236}">
                    <a16:creationId xmlns:a16="http://schemas.microsoft.com/office/drawing/2014/main" id="{ACD3D35D-DC9F-49AE-8F46-1CFC9D75E850}"/>
                  </a:ext>
                </a:extLst>
              </p:cNvPr>
              <p:cNvSpPr>
                <a:spLocks noChangeAspect="1" noEditPoints="1"/>
              </p:cNvSpPr>
              <p:nvPr/>
            </p:nvSpPr>
            <p:spPr bwMode="auto">
              <a:xfrm>
                <a:off x="902594" y="3017959"/>
                <a:ext cx="274320" cy="236828"/>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7" name="TextBox 136">
                <a:extLst>
                  <a:ext uri="{FF2B5EF4-FFF2-40B4-BE49-F238E27FC236}">
                    <a16:creationId xmlns:a16="http://schemas.microsoft.com/office/drawing/2014/main" id="{C26FE09B-4F38-480B-91FA-51ADE7419FA6}"/>
                  </a:ext>
                </a:extLst>
              </p:cNvPr>
              <p:cNvSpPr txBox="1"/>
              <p:nvPr/>
            </p:nvSpPr>
            <p:spPr>
              <a:xfrm>
                <a:off x="1066485" y="29919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Security</a:t>
                </a:r>
              </a:p>
            </p:txBody>
          </p:sp>
        </p:grpSp>
        <p:grpSp>
          <p:nvGrpSpPr>
            <p:cNvPr id="121" name="Group 120">
              <a:extLst>
                <a:ext uri="{FF2B5EF4-FFF2-40B4-BE49-F238E27FC236}">
                  <a16:creationId xmlns:a16="http://schemas.microsoft.com/office/drawing/2014/main" id="{63C7D61A-F950-485F-AC32-14D22465BBF6}"/>
                </a:ext>
              </a:extLst>
            </p:cNvPr>
            <p:cNvGrpSpPr/>
            <p:nvPr/>
          </p:nvGrpSpPr>
          <p:grpSpPr>
            <a:xfrm>
              <a:off x="1912553" y="3721159"/>
              <a:ext cx="1469410" cy="307777"/>
              <a:chOff x="877235" y="3308256"/>
              <a:chExt cx="1469410" cy="307777"/>
            </a:xfrm>
          </p:grpSpPr>
          <p:pic>
            <p:nvPicPr>
              <p:cNvPr id="134" name="Picture 2" descr="Image result for elevator icon PNG">
                <a:extLst>
                  <a:ext uri="{FF2B5EF4-FFF2-40B4-BE49-F238E27FC236}">
                    <a16:creationId xmlns:a16="http://schemas.microsoft.com/office/drawing/2014/main" id="{AB524522-78B9-4415-AE21-D2E924EDE4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7235" y="3329028"/>
                <a:ext cx="274320" cy="274320"/>
              </a:xfrm>
              <a:prstGeom prst="rect">
                <a:avLst/>
              </a:prstGeom>
              <a:noFill/>
              <a:extLst>
                <a:ext uri="{909E8E84-426E-40DD-AFC4-6F175D3DCCD1}">
                  <a14:hiddenFill xmlns:a14="http://schemas.microsoft.com/office/drawing/2010/main">
                    <a:solidFill>
                      <a:srgbClr val="FFFFFF"/>
                    </a:solidFill>
                  </a14:hiddenFill>
                </a:ext>
              </a:extLst>
            </p:spPr>
          </p:pic>
          <p:sp>
            <p:nvSpPr>
              <p:cNvPr id="135" name="TextBox 134">
                <a:extLst>
                  <a:ext uri="{FF2B5EF4-FFF2-40B4-BE49-F238E27FC236}">
                    <a16:creationId xmlns:a16="http://schemas.microsoft.com/office/drawing/2014/main" id="{1DD55811-3204-44A1-B2DC-C4618FD7A84A}"/>
                  </a:ext>
                </a:extLst>
              </p:cNvPr>
              <p:cNvSpPr txBox="1"/>
              <p:nvPr/>
            </p:nvSpPr>
            <p:spPr>
              <a:xfrm>
                <a:off x="1066485" y="330825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Buildings</a:t>
                </a:r>
              </a:p>
            </p:txBody>
          </p:sp>
        </p:grpSp>
        <p:grpSp>
          <p:nvGrpSpPr>
            <p:cNvPr id="122" name="Group 121">
              <a:extLst>
                <a:ext uri="{FF2B5EF4-FFF2-40B4-BE49-F238E27FC236}">
                  <a16:creationId xmlns:a16="http://schemas.microsoft.com/office/drawing/2014/main" id="{4A4CCAE0-CA4F-40E6-8FED-FA9CFA542264}"/>
                </a:ext>
              </a:extLst>
            </p:cNvPr>
            <p:cNvGrpSpPr/>
            <p:nvPr/>
          </p:nvGrpSpPr>
          <p:grpSpPr>
            <a:xfrm>
              <a:off x="998985" y="4810016"/>
              <a:ext cx="1384892" cy="307777"/>
              <a:chOff x="961753" y="5537196"/>
              <a:chExt cx="1384892" cy="307777"/>
            </a:xfrm>
          </p:grpSpPr>
          <p:sp>
            <p:nvSpPr>
              <p:cNvPr id="132" name="light" title="Icon of a lightbulb">
                <a:extLst>
                  <a:ext uri="{FF2B5EF4-FFF2-40B4-BE49-F238E27FC236}">
                    <a16:creationId xmlns:a16="http://schemas.microsoft.com/office/drawing/2014/main" id="{BD10CAA1-E04D-4E71-8239-93E273474980}"/>
                  </a:ext>
                </a:extLst>
              </p:cNvPr>
              <p:cNvSpPr>
                <a:spLocks noChangeAspect="1" noEditPoints="1"/>
              </p:cNvSpPr>
              <p:nvPr/>
            </p:nvSpPr>
            <p:spPr bwMode="auto">
              <a:xfrm>
                <a:off x="961753" y="5575200"/>
                <a:ext cx="169090" cy="25104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 name="TextBox 132">
                <a:extLst>
                  <a:ext uri="{FF2B5EF4-FFF2-40B4-BE49-F238E27FC236}">
                    <a16:creationId xmlns:a16="http://schemas.microsoft.com/office/drawing/2014/main" id="{DAC626F2-30D3-4411-8CE7-DF8BA515C35B}"/>
                  </a:ext>
                </a:extLst>
              </p:cNvPr>
              <p:cNvSpPr txBox="1"/>
              <p:nvPr/>
            </p:nvSpPr>
            <p:spPr>
              <a:xfrm>
                <a:off x="1066485" y="55371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Lighting</a:t>
                </a:r>
              </a:p>
            </p:txBody>
          </p:sp>
        </p:grpSp>
        <p:grpSp>
          <p:nvGrpSpPr>
            <p:cNvPr id="123" name="Group 122">
              <a:extLst>
                <a:ext uri="{FF2B5EF4-FFF2-40B4-BE49-F238E27FC236}">
                  <a16:creationId xmlns:a16="http://schemas.microsoft.com/office/drawing/2014/main" id="{4492761E-79FA-48C0-9896-B9F18E8F90B2}"/>
                </a:ext>
              </a:extLst>
            </p:cNvPr>
            <p:cNvGrpSpPr/>
            <p:nvPr/>
          </p:nvGrpSpPr>
          <p:grpSpPr>
            <a:xfrm>
              <a:off x="1907493" y="4437115"/>
              <a:ext cx="1431610" cy="322700"/>
              <a:chOff x="915035" y="4885973"/>
              <a:chExt cx="1431610" cy="322700"/>
            </a:xfrm>
          </p:grpSpPr>
          <p:sp>
            <p:nvSpPr>
              <p:cNvPr id="130" name="TextBox 129">
                <a:extLst>
                  <a:ext uri="{FF2B5EF4-FFF2-40B4-BE49-F238E27FC236}">
                    <a16:creationId xmlns:a16="http://schemas.microsoft.com/office/drawing/2014/main" id="{AA5FB0BC-40F6-4025-A819-236BAEB6944C}"/>
                  </a:ext>
                </a:extLst>
              </p:cNvPr>
              <p:cNvSpPr txBox="1"/>
              <p:nvPr/>
            </p:nvSpPr>
            <p:spPr>
              <a:xfrm>
                <a:off x="1066485" y="4900896"/>
                <a:ext cx="1280160" cy="307777"/>
              </a:xfrm>
              <a:prstGeom prst="rect">
                <a:avLst/>
              </a:prstGeom>
              <a:noFill/>
            </p:spPr>
            <p:txBody>
              <a:bodyPr wrap="square">
                <a:spAutoFit/>
              </a:bodyPr>
              <a:lstStyle>
                <a:defPPr>
                  <a:defRPr lang="en-US"/>
                </a:defPPr>
                <a:lvl1pPr marL="111125" marR="0" lvl="0" indent="0" defTabSz="914400" fontAlgn="auto">
                  <a:lnSpc>
                    <a:spcPct val="100000"/>
                  </a:lnSpc>
                  <a:spcBef>
                    <a:spcPts val="0"/>
                  </a:spcBef>
                  <a:spcAft>
                    <a:spcPts val="0"/>
                  </a:spcAft>
                  <a:buClrTx/>
                  <a:buSzTx/>
                  <a:buFontTx/>
                  <a:buNone/>
                  <a:tabLst/>
                  <a:defRPr kumimoji="0" sz="1400" b="0" i="0" u="none" strike="noStrike" cap="none" spc="0" normalizeH="0" baseline="0">
                    <a:ln>
                      <a:noFill/>
                    </a:ln>
                    <a:solidFill>
                      <a:srgbClr val="3C3C41"/>
                    </a:solidFill>
                    <a:effectLst/>
                    <a:uLnTx/>
                    <a:uFillTx/>
                    <a:latin typeface="Segoe UI Semibold" panose="020B0702040204020203" pitchFamily="34" charset="0"/>
                    <a:cs typeface="Segoe UI Semibold" panose="020B0702040204020203" pitchFamily="34" charset="0"/>
                  </a:defRPr>
                </a:lvl1p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Industrial</a:t>
                </a:r>
              </a:p>
            </p:txBody>
          </p:sp>
          <p:pic>
            <p:nvPicPr>
              <p:cNvPr id="131" name="Graphic 130" descr="Factory outline">
                <a:extLst>
                  <a:ext uri="{FF2B5EF4-FFF2-40B4-BE49-F238E27FC236}">
                    <a16:creationId xmlns:a16="http://schemas.microsoft.com/office/drawing/2014/main" id="{4545968B-6C5D-4837-A69C-16AD227AFBC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5035" y="4885973"/>
                <a:ext cx="274320" cy="274320"/>
              </a:xfrm>
              <a:prstGeom prst="rect">
                <a:avLst/>
              </a:prstGeom>
            </p:spPr>
          </p:pic>
        </p:grpSp>
        <p:grpSp>
          <p:nvGrpSpPr>
            <p:cNvPr id="124" name="Group 123">
              <a:extLst>
                <a:ext uri="{FF2B5EF4-FFF2-40B4-BE49-F238E27FC236}">
                  <a16:creationId xmlns:a16="http://schemas.microsoft.com/office/drawing/2014/main" id="{92F5812E-E1B6-43F0-89BE-393373792AFB}"/>
                </a:ext>
              </a:extLst>
            </p:cNvPr>
            <p:cNvGrpSpPr/>
            <p:nvPr/>
          </p:nvGrpSpPr>
          <p:grpSpPr>
            <a:xfrm>
              <a:off x="1923273" y="5167998"/>
              <a:ext cx="1472434" cy="334902"/>
              <a:chOff x="2030619" y="4390181"/>
              <a:chExt cx="1472434" cy="334902"/>
            </a:xfrm>
          </p:grpSpPr>
          <p:sp>
            <p:nvSpPr>
              <p:cNvPr id="128" name="TextBox 127">
                <a:extLst>
                  <a:ext uri="{FF2B5EF4-FFF2-40B4-BE49-F238E27FC236}">
                    <a16:creationId xmlns:a16="http://schemas.microsoft.com/office/drawing/2014/main" id="{AE77E30D-D53C-4FC0-8A78-DA29D5359BEC}"/>
                  </a:ext>
                </a:extLst>
              </p:cNvPr>
              <p:cNvSpPr txBox="1"/>
              <p:nvPr/>
            </p:nvSpPr>
            <p:spPr>
              <a:xfrm>
                <a:off x="2222893" y="4412195"/>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Safety</a:t>
                </a:r>
              </a:p>
            </p:txBody>
          </p:sp>
          <p:pic>
            <p:nvPicPr>
              <p:cNvPr id="129" name="Graphic 128" descr="Life jacket outline">
                <a:extLst>
                  <a:ext uri="{FF2B5EF4-FFF2-40B4-BE49-F238E27FC236}">
                    <a16:creationId xmlns:a16="http://schemas.microsoft.com/office/drawing/2014/main" id="{C9E36A94-8C7A-421F-AD49-48EF2AA6445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30619" y="4390181"/>
                <a:ext cx="334902" cy="334902"/>
              </a:xfrm>
              <a:prstGeom prst="rect">
                <a:avLst/>
              </a:prstGeom>
            </p:spPr>
          </p:pic>
        </p:grpSp>
        <p:grpSp>
          <p:nvGrpSpPr>
            <p:cNvPr id="125" name="Group 124">
              <a:extLst>
                <a:ext uri="{FF2B5EF4-FFF2-40B4-BE49-F238E27FC236}">
                  <a16:creationId xmlns:a16="http://schemas.microsoft.com/office/drawing/2014/main" id="{5947927E-254E-46B5-8063-1C4B9E9470C9}"/>
                </a:ext>
              </a:extLst>
            </p:cNvPr>
            <p:cNvGrpSpPr/>
            <p:nvPr/>
          </p:nvGrpSpPr>
          <p:grpSpPr>
            <a:xfrm>
              <a:off x="1020250" y="4079137"/>
              <a:ext cx="1419332" cy="307777"/>
              <a:chOff x="927313" y="3944556"/>
              <a:chExt cx="1419332" cy="307777"/>
            </a:xfrm>
          </p:grpSpPr>
          <p:sp>
            <p:nvSpPr>
              <p:cNvPr id="126" name="TextBox 125">
                <a:extLst>
                  <a:ext uri="{FF2B5EF4-FFF2-40B4-BE49-F238E27FC236}">
                    <a16:creationId xmlns:a16="http://schemas.microsoft.com/office/drawing/2014/main" id="{D5E15467-C3A6-4CAF-B3D5-EAFC72651874}"/>
                  </a:ext>
                </a:extLst>
              </p:cNvPr>
              <p:cNvSpPr txBox="1"/>
              <p:nvPr/>
            </p:nvSpPr>
            <p:spPr>
              <a:xfrm>
                <a:off x="1066485" y="394455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Energy</a:t>
                </a:r>
              </a:p>
            </p:txBody>
          </p:sp>
          <p:pic>
            <p:nvPicPr>
              <p:cNvPr id="127" name="Graphic 126" descr="Battery charging with solid fill">
                <a:extLst>
                  <a:ext uri="{FF2B5EF4-FFF2-40B4-BE49-F238E27FC236}">
                    <a16:creationId xmlns:a16="http://schemas.microsoft.com/office/drawing/2014/main" id="{88F39B46-8601-4193-938C-358894F4284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7313" y="3973858"/>
                <a:ext cx="274321" cy="274321"/>
              </a:xfrm>
              <a:prstGeom prst="rect">
                <a:avLst/>
              </a:prstGeom>
            </p:spPr>
          </p:pic>
        </p:grpSp>
      </p:grpSp>
      <p:grpSp>
        <p:nvGrpSpPr>
          <p:cNvPr id="25" name="Group 24">
            <a:extLst>
              <a:ext uri="{FF2B5EF4-FFF2-40B4-BE49-F238E27FC236}">
                <a16:creationId xmlns:a16="http://schemas.microsoft.com/office/drawing/2014/main" id="{1F1C01D9-60FE-451A-BF98-F434C39E2DF6}"/>
              </a:ext>
            </a:extLst>
          </p:cNvPr>
          <p:cNvGrpSpPr/>
          <p:nvPr/>
        </p:nvGrpSpPr>
        <p:grpSpPr>
          <a:xfrm>
            <a:off x="3485663" y="2217486"/>
            <a:ext cx="5220674" cy="3073763"/>
            <a:chOff x="3863340" y="2320534"/>
            <a:chExt cx="5220674" cy="3073763"/>
          </a:xfrm>
        </p:grpSpPr>
        <p:pic>
          <p:nvPicPr>
            <p:cNvPr id="8" name="Picture 7">
              <a:extLst>
                <a:ext uri="{FF2B5EF4-FFF2-40B4-BE49-F238E27FC236}">
                  <a16:creationId xmlns:a16="http://schemas.microsoft.com/office/drawing/2014/main" id="{3469E121-2ECB-4C19-B6BC-C08AB181ECBD}"/>
                </a:ext>
              </a:extLst>
            </p:cNvPr>
            <p:cNvPicPr>
              <a:picLocks noChangeAspect="1"/>
            </p:cNvPicPr>
            <p:nvPr/>
          </p:nvPicPr>
          <p:blipFill>
            <a:blip r:embed="rId14"/>
            <a:stretch>
              <a:fillRect/>
            </a:stretch>
          </p:blipFill>
          <p:spPr>
            <a:xfrm>
              <a:off x="3863340" y="2588285"/>
              <a:ext cx="1623587" cy="1151827"/>
            </a:xfrm>
            <a:prstGeom prst="rect">
              <a:avLst/>
            </a:prstGeom>
            <a:solidFill>
              <a:schemeClr val="tx1"/>
            </a:solidFill>
            <a:ln>
              <a:solidFill>
                <a:srgbClr val="FFFFFF">
                  <a:lumMod val="85000"/>
                </a:srgbClr>
              </a:solid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FCDFFE3C-BC8A-4DA3-B51A-C116CEA1346A}"/>
                </a:ext>
              </a:extLst>
            </p:cNvPr>
            <p:cNvSpPr txBox="1"/>
            <p:nvPr/>
          </p:nvSpPr>
          <p:spPr>
            <a:xfrm>
              <a:off x="3919771" y="2320534"/>
              <a:ext cx="1498352" cy="235469"/>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nnect devices</a:t>
              </a:r>
            </a:p>
          </p:txBody>
        </p:sp>
        <p:pic>
          <p:nvPicPr>
            <p:cNvPr id="11" name="Picture 10">
              <a:extLst>
                <a:ext uri="{FF2B5EF4-FFF2-40B4-BE49-F238E27FC236}">
                  <a16:creationId xmlns:a16="http://schemas.microsoft.com/office/drawing/2014/main" id="{A2E7123F-64C0-4D8C-8D37-AD5377093027}"/>
                </a:ext>
              </a:extLst>
            </p:cNvPr>
            <p:cNvPicPr>
              <a:picLocks noChangeAspect="1"/>
            </p:cNvPicPr>
            <p:nvPr/>
          </p:nvPicPr>
          <p:blipFill>
            <a:blip r:embed="rId15"/>
            <a:stretch>
              <a:fillRect/>
            </a:stretch>
          </p:blipFill>
          <p:spPr>
            <a:xfrm>
              <a:off x="5667932" y="2593675"/>
              <a:ext cx="1611214" cy="1146437"/>
            </a:xfrm>
            <a:prstGeom prst="rect">
              <a:avLst/>
            </a:prstGeom>
            <a:solidFill>
              <a:schemeClr val="tx1"/>
            </a:solidFill>
            <a:ln>
              <a:solidFill>
                <a:srgbClr val="FFFFFF">
                  <a:lumMod val="85000"/>
                </a:srgbClr>
              </a:solid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D85EAB5D-6D78-4DC5-BC4F-4532AF6E64EE}"/>
                </a:ext>
              </a:extLst>
            </p:cNvPr>
            <p:cNvSpPr txBox="1"/>
            <p:nvPr/>
          </p:nvSpPr>
          <p:spPr>
            <a:xfrm>
              <a:off x="5499927" y="2320534"/>
              <a:ext cx="1947225" cy="215444"/>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View and structure IoT Data</a:t>
              </a:r>
            </a:p>
          </p:txBody>
        </p:sp>
        <p:pic>
          <p:nvPicPr>
            <p:cNvPr id="13" name="Picture 12">
              <a:extLst>
                <a:ext uri="{FF2B5EF4-FFF2-40B4-BE49-F238E27FC236}">
                  <a16:creationId xmlns:a16="http://schemas.microsoft.com/office/drawing/2014/main" id="{D62847C2-5AA6-460F-8DC4-C9AE7A1EF11F}"/>
                </a:ext>
              </a:extLst>
            </p:cNvPr>
            <p:cNvPicPr>
              <a:picLocks noChangeAspect="1"/>
            </p:cNvPicPr>
            <p:nvPr/>
          </p:nvPicPr>
          <p:blipFill>
            <a:blip r:embed="rId16"/>
            <a:stretch>
              <a:fillRect/>
            </a:stretch>
          </p:blipFill>
          <p:spPr>
            <a:xfrm>
              <a:off x="7472800" y="2595157"/>
              <a:ext cx="1611214" cy="1144955"/>
            </a:xfrm>
            <a:prstGeom prst="rect">
              <a:avLst/>
            </a:prstGeom>
            <a:solidFill>
              <a:schemeClr val="tx1"/>
            </a:solidFill>
            <a:ln>
              <a:solidFill>
                <a:srgbClr val="FFFFFF">
                  <a:lumMod val="85000"/>
                </a:srgbClr>
              </a:solidFill>
            </a:ln>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BB8F5525-6E3C-4203-8CEC-BE8136E42BD0}"/>
                </a:ext>
              </a:extLst>
            </p:cNvPr>
            <p:cNvSpPr txBox="1"/>
            <p:nvPr/>
          </p:nvSpPr>
          <p:spPr>
            <a:xfrm>
              <a:off x="7499549" y="2321232"/>
              <a:ext cx="1557716" cy="215444"/>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loud to device interactions</a:t>
              </a:r>
            </a:p>
          </p:txBody>
        </p:sp>
        <p:pic>
          <p:nvPicPr>
            <p:cNvPr id="15" name="Picture 14">
              <a:extLst>
                <a:ext uri="{FF2B5EF4-FFF2-40B4-BE49-F238E27FC236}">
                  <a16:creationId xmlns:a16="http://schemas.microsoft.com/office/drawing/2014/main" id="{7DC89E0D-560E-41A7-8BF6-8F6FF5A64995}"/>
                </a:ext>
              </a:extLst>
            </p:cNvPr>
            <p:cNvPicPr>
              <a:picLocks noChangeAspect="1"/>
            </p:cNvPicPr>
            <p:nvPr/>
          </p:nvPicPr>
          <p:blipFill>
            <a:blip r:embed="rId17"/>
            <a:stretch>
              <a:fillRect/>
            </a:stretch>
          </p:blipFill>
          <p:spPr>
            <a:xfrm>
              <a:off x="5677820" y="4241717"/>
              <a:ext cx="1611215" cy="1151094"/>
            </a:xfrm>
            <a:prstGeom prst="rect">
              <a:avLst/>
            </a:prstGeom>
            <a:solidFill>
              <a:schemeClr val="tx1"/>
            </a:solidFill>
            <a:ln>
              <a:noFill/>
            </a:ln>
            <a:effectLst>
              <a:outerShdw blurRad="50800" dist="38100" dir="2700000" algn="tl" rotWithShape="0">
                <a:prstClr val="black">
                  <a:alpha val="40000"/>
                </a:prstClr>
              </a:outerShdw>
            </a:effectLst>
          </p:spPr>
        </p:pic>
        <p:sp>
          <p:nvSpPr>
            <p:cNvPr id="16" name="TextBox 15">
              <a:extLst>
                <a:ext uri="{FF2B5EF4-FFF2-40B4-BE49-F238E27FC236}">
                  <a16:creationId xmlns:a16="http://schemas.microsoft.com/office/drawing/2014/main" id="{1C0ED3FB-1A63-4AC8-AFA4-2778C4015554}"/>
                </a:ext>
              </a:extLst>
            </p:cNvPr>
            <p:cNvSpPr txBox="1"/>
            <p:nvPr/>
          </p:nvSpPr>
          <p:spPr>
            <a:xfrm>
              <a:off x="5645955" y="3967792"/>
              <a:ext cx="1674944" cy="215444"/>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ntegrate with business apps</a:t>
              </a:r>
            </a:p>
          </p:txBody>
        </p:sp>
        <p:pic>
          <p:nvPicPr>
            <p:cNvPr id="17" name="Picture 16">
              <a:extLst>
                <a:ext uri="{FF2B5EF4-FFF2-40B4-BE49-F238E27FC236}">
                  <a16:creationId xmlns:a16="http://schemas.microsoft.com/office/drawing/2014/main" id="{A038BA88-419C-436D-994C-21667A4212C5}"/>
                </a:ext>
              </a:extLst>
            </p:cNvPr>
            <p:cNvPicPr>
              <a:picLocks noChangeAspect="1"/>
            </p:cNvPicPr>
            <p:nvPr/>
          </p:nvPicPr>
          <p:blipFill>
            <a:blip r:embed="rId18"/>
            <a:stretch>
              <a:fillRect/>
            </a:stretch>
          </p:blipFill>
          <p:spPr>
            <a:xfrm>
              <a:off x="3883639" y="4243203"/>
              <a:ext cx="1611213" cy="1151094"/>
            </a:xfrm>
            <a:prstGeom prst="rect">
              <a:avLst/>
            </a:prstGeom>
            <a:solidFill>
              <a:schemeClr val="tx1"/>
            </a:solidFill>
            <a:ln>
              <a:solidFill>
                <a:srgbClr val="FFFFFF">
                  <a:lumMod val="85000"/>
                </a:srgbClr>
              </a:solidFill>
            </a:ln>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446C2835-326A-4B69-BF9F-3A71EC763E78}"/>
                </a:ext>
              </a:extLst>
            </p:cNvPr>
            <p:cNvSpPr txBox="1"/>
            <p:nvPr/>
          </p:nvSpPr>
          <p:spPr>
            <a:xfrm>
              <a:off x="3863340" y="3976936"/>
              <a:ext cx="1604763" cy="235469"/>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onitor device health</a:t>
              </a:r>
            </a:p>
          </p:txBody>
        </p:sp>
        <p:pic>
          <p:nvPicPr>
            <p:cNvPr id="19" name="Picture 18">
              <a:extLst>
                <a:ext uri="{FF2B5EF4-FFF2-40B4-BE49-F238E27FC236}">
                  <a16:creationId xmlns:a16="http://schemas.microsoft.com/office/drawing/2014/main" id="{A40D452C-651A-4110-8BED-C99022FE2E04}"/>
                </a:ext>
              </a:extLst>
            </p:cNvPr>
            <p:cNvPicPr>
              <a:picLocks noChangeAspect="1"/>
            </p:cNvPicPr>
            <p:nvPr/>
          </p:nvPicPr>
          <p:blipFill>
            <a:blip r:embed="rId19"/>
            <a:stretch>
              <a:fillRect/>
            </a:stretch>
          </p:blipFill>
          <p:spPr>
            <a:xfrm>
              <a:off x="7472800" y="4247706"/>
              <a:ext cx="1611214" cy="1144955"/>
            </a:xfrm>
            <a:prstGeom prst="rect">
              <a:avLst/>
            </a:prstGeom>
            <a:solidFill>
              <a:schemeClr val="tx1"/>
            </a:solidFill>
            <a:ln>
              <a:solidFill>
                <a:srgbClr val="FFFFFF">
                  <a:lumMod val="85000"/>
                </a:srgbClr>
              </a:solidFill>
            </a:ln>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44892770-E132-433E-870A-6E38FA2DABE7}"/>
                </a:ext>
              </a:extLst>
            </p:cNvPr>
            <p:cNvSpPr txBox="1"/>
            <p:nvPr/>
          </p:nvSpPr>
          <p:spPr>
            <a:xfrm>
              <a:off x="7529231" y="3981438"/>
              <a:ext cx="1498352" cy="235469"/>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ustomize</a:t>
              </a:r>
            </a:p>
          </p:txBody>
        </p:sp>
      </p:grpSp>
      <p:grpSp>
        <p:nvGrpSpPr>
          <p:cNvPr id="26" name="Group 25">
            <a:extLst>
              <a:ext uri="{FF2B5EF4-FFF2-40B4-BE49-F238E27FC236}">
                <a16:creationId xmlns:a16="http://schemas.microsoft.com/office/drawing/2014/main" id="{DD86C882-73CD-4A50-AEDD-105831631276}"/>
              </a:ext>
            </a:extLst>
          </p:cNvPr>
          <p:cNvGrpSpPr/>
          <p:nvPr/>
        </p:nvGrpSpPr>
        <p:grpSpPr>
          <a:xfrm>
            <a:off x="3230742" y="5569427"/>
            <a:ext cx="5752118" cy="544145"/>
            <a:chOff x="3527656" y="5622435"/>
            <a:chExt cx="5752118" cy="544145"/>
          </a:xfrm>
        </p:grpSpPr>
        <p:sp>
          <p:nvSpPr>
            <p:cNvPr id="24" name="Rectangle 23">
              <a:extLst>
                <a:ext uri="{FF2B5EF4-FFF2-40B4-BE49-F238E27FC236}">
                  <a16:creationId xmlns:a16="http://schemas.microsoft.com/office/drawing/2014/main" id="{AD8ABB48-4731-4403-A1B5-2A1DB2818D50}"/>
                </a:ext>
              </a:extLst>
            </p:cNvPr>
            <p:cNvSpPr/>
            <p:nvPr/>
          </p:nvSpPr>
          <p:spPr bwMode="auto">
            <a:xfrm>
              <a:off x="3527656" y="5622435"/>
              <a:ext cx="5752118" cy="544145"/>
            </a:xfrm>
            <a:prstGeom prst="rect">
              <a:avLst/>
            </a:prstGeom>
            <a:solidFill>
              <a:srgbClr val="32BED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786E3B51-DCD8-4000-98E5-98B7440CE938}"/>
                </a:ext>
              </a:extLst>
            </p:cNvPr>
            <p:cNvSpPr txBox="1"/>
            <p:nvPr/>
          </p:nvSpPr>
          <p:spPr>
            <a:xfrm>
              <a:off x="3825483" y="5732736"/>
              <a:ext cx="5296111" cy="307777"/>
            </a:xfrm>
            <a:prstGeom prst="rect">
              <a:avLst/>
            </a:prstGeom>
            <a:noFill/>
          </p:spPr>
          <p:txBody>
            <a:bodyPr wrap="square">
              <a:spAutoFit/>
            </a:bodyPr>
            <a:lstStyle/>
            <a:p>
              <a:pPr marL="0" marR="0" lvl="0" indent="0" algn="ctr" defTabSz="6096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itchFamily="34" charset="0"/>
                  <a:ea typeface="Segoe UI Semibold" pitchFamily="34" charset="-122"/>
                  <a:cs typeface="Segoe UI Semibold" pitchFamily="34" charset="-120"/>
                </a:rPr>
                <a:t>A ready-made environment for IoT solution development</a:t>
              </a: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72" name="Group 171">
            <a:extLst>
              <a:ext uri="{FF2B5EF4-FFF2-40B4-BE49-F238E27FC236}">
                <a16:creationId xmlns:a16="http://schemas.microsoft.com/office/drawing/2014/main" id="{62823C8C-DB22-46A1-8265-E7D81BD56362}"/>
              </a:ext>
            </a:extLst>
          </p:cNvPr>
          <p:cNvGrpSpPr/>
          <p:nvPr/>
        </p:nvGrpSpPr>
        <p:grpSpPr>
          <a:xfrm>
            <a:off x="9360190" y="1838703"/>
            <a:ext cx="2560320" cy="3968028"/>
            <a:chOff x="9360190" y="1838703"/>
            <a:chExt cx="2560320" cy="3968028"/>
          </a:xfrm>
        </p:grpSpPr>
        <p:sp>
          <p:nvSpPr>
            <p:cNvPr id="173" name="Rectangle 172">
              <a:extLst>
                <a:ext uri="{FF2B5EF4-FFF2-40B4-BE49-F238E27FC236}">
                  <a16:creationId xmlns:a16="http://schemas.microsoft.com/office/drawing/2014/main" id="{D8EDF5F1-CDC6-40D3-9D87-C204C00DB634}"/>
                </a:ext>
              </a:extLst>
            </p:cNvPr>
            <p:cNvSpPr/>
            <p:nvPr/>
          </p:nvSpPr>
          <p:spPr>
            <a:xfrm>
              <a:off x="9360190" y="1838703"/>
              <a:ext cx="2560320" cy="3968028"/>
            </a:xfrm>
            <a:prstGeom prst="rect">
              <a:avLst/>
            </a:prstGeom>
            <a:solidFill>
              <a:srgbClr val="E2F0D9"/>
            </a:solidFill>
            <a:ln w="57150" cap="flat" cmpd="sng" algn="ctr">
              <a:solidFill>
                <a:srgbClr val="3C3C41">
                  <a:lumMod val="85000"/>
                  <a:lumOff val="15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Using IoT Data</a:t>
              </a:r>
            </a:p>
          </p:txBody>
        </p:sp>
        <p:pic>
          <p:nvPicPr>
            <p:cNvPr id="174" name="Graphic 173" descr="Pot of gold outline">
              <a:extLst>
                <a:ext uri="{FF2B5EF4-FFF2-40B4-BE49-F238E27FC236}">
                  <a16:creationId xmlns:a16="http://schemas.microsoft.com/office/drawing/2014/main" id="{0024C974-4C7E-4B4E-9898-B374E1A2434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105063" y="3004728"/>
              <a:ext cx="1059169" cy="1059169"/>
            </a:xfrm>
            <a:prstGeom prst="rect">
              <a:avLst/>
            </a:prstGeom>
          </p:spPr>
        </p:pic>
      </p:grpSp>
      <p:sp>
        <p:nvSpPr>
          <p:cNvPr id="27" name="TextBox 26">
            <a:extLst>
              <a:ext uri="{FF2B5EF4-FFF2-40B4-BE49-F238E27FC236}">
                <a16:creationId xmlns:a16="http://schemas.microsoft.com/office/drawing/2014/main" id="{283A0AA4-97C2-40FC-B4AA-14D4640F13D3}"/>
              </a:ext>
            </a:extLst>
          </p:cNvPr>
          <p:cNvSpPr txBox="1"/>
          <p:nvPr/>
        </p:nvSpPr>
        <p:spPr>
          <a:xfrm>
            <a:off x="853477" y="6246471"/>
            <a:ext cx="13937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hings</a:t>
            </a:r>
          </a:p>
        </p:txBody>
      </p:sp>
      <p:sp>
        <p:nvSpPr>
          <p:cNvPr id="28" name="TextBox 27">
            <a:extLst>
              <a:ext uri="{FF2B5EF4-FFF2-40B4-BE49-F238E27FC236}">
                <a16:creationId xmlns:a16="http://schemas.microsoft.com/office/drawing/2014/main" id="{AC020EC7-DC9F-4A91-8EE1-308A5214B288}"/>
              </a:ext>
            </a:extLst>
          </p:cNvPr>
          <p:cNvSpPr txBox="1"/>
          <p:nvPr/>
        </p:nvSpPr>
        <p:spPr>
          <a:xfrm>
            <a:off x="9702548" y="6246471"/>
            <a:ext cx="186419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ransformation</a:t>
            </a:r>
          </a:p>
        </p:txBody>
      </p:sp>
      <p:cxnSp>
        <p:nvCxnSpPr>
          <p:cNvPr id="30" name="Straight Arrow Connector 29">
            <a:extLst>
              <a:ext uri="{FF2B5EF4-FFF2-40B4-BE49-F238E27FC236}">
                <a16:creationId xmlns:a16="http://schemas.microsoft.com/office/drawing/2014/main" id="{17D63562-5821-4633-92FB-51B64B6E028A}"/>
              </a:ext>
            </a:extLst>
          </p:cNvPr>
          <p:cNvCxnSpPr>
            <a:cxnSpLocks/>
          </p:cNvCxnSpPr>
          <p:nvPr/>
        </p:nvCxnSpPr>
        <p:spPr>
          <a:xfrm>
            <a:off x="2882077" y="6423197"/>
            <a:ext cx="514659" cy="0"/>
          </a:xfrm>
          <a:prstGeom prst="straightConnector1">
            <a:avLst/>
          </a:prstGeom>
          <a:noFill/>
          <a:ln w="38100" cap="flat" cmpd="sng" algn="ctr">
            <a:solidFill>
              <a:srgbClr val="32BEDD"/>
            </a:solidFill>
            <a:prstDash val="solid"/>
            <a:tailEnd type="triangle" w="lg" len="lg"/>
          </a:ln>
          <a:effectLst/>
        </p:spPr>
      </p:cxnSp>
      <p:cxnSp>
        <p:nvCxnSpPr>
          <p:cNvPr id="31" name="Straight Arrow Connector 30">
            <a:extLst>
              <a:ext uri="{FF2B5EF4-FFF2-40B4-BE49-F238E27FC236}">
                <a16:creationId xmlns:a16="http://schemas.microsoft.com/office/drawing/2014/main" id="{104E79FA-F0C3-4724-9D06-79012AAC318A}"/>
              </a:ext>
            </a:extLst>
          </p:cNvPr>
          <p:cNvCxnSpPr>
            <a:cxnSpLocks/>
          </p:cNvCxnSpPr>
          <p:nvPr/>
        </p:nvCxnSpPr>
        <p:spPr>
          <a:xfrm>
            <a:off x="8670419" y="6423197"/>
            <a:ext cx="514659" cy="0"/>
          </a:xfrm>
          <a:prstGeom prst="straightConnector1">
            <a:avLst/>
          </a:prstGeom>
          <a:noFill/>
          <a:ln w="38100" cap="flat" cmpd="sng" algn="ctr">
            <a:solidFill>
              <a:srgbClr val="32BEDD"/>
            </a:solidFill>
            <a:prstDash val="solid"/>
            <a:tailEnd type="triangle" w="lg" len="lg"/>
          </a:ln>
          <a:effectLst/>
        </p:spPr>
      </p:cxnSp>
    </p:spTree>
    <p:extLst>
      <p:ext uri="{BB962C8B-B14F-4D97-AF65-F5344CB8AC3E}">
        <p14:creationId xmlns:p14="http://schemas.microsoft.com/office/powerpoint/2010/main" val="206609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191E3FC2-D406-4B70-8031-AE09F2923D25}"/>
              </a:ext>
            </a:extLst>
          </p:cNvPr>
          <p:cNvSpPr txBox="1"/>
          <p:nvPr/>
        </p:nvSpPr>
        <p:spPr>
          <a:xfrm>
            <a:off x="3894674" y="6095385"/>
            <a:ext cx="4051402" cy="450489"/>
          </a:xfrm>
          <a:prstGeom prst="roundRect">
            <a:avLst/>
          </a:prstGeom>
          <a:solidFill>
            <a:schemeClr val="accent3">
              <a:lumMod val="40000"/>
              <a:lumOff val="60000"/>
            </a:schemeClr>
          </a:solidFill>
        </p:spPr>
        <p:txBody>
          <a:bodyPr wrap="square" bIns="457200">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calable, Repeatable, Reliable</a:t>
            </a:r>
          </a:p>
        </p:txBody>
      </p:sp>
      <p:sp>
        <p:nvSpPr>
          <p:cNvPr id="5" name="Title 4">
            <a:extLst>
              <a:ext uri="{FF2B5EF4-FFF2-40B4-BE49-F238E27FC236}">
                <a16:creationId xmlns:a16="http://schemas.microsoft.com/office/drawing/2014/main" id="{097A847A-98FB-4C8F-885B-E58CF0C94BC2}"/>
              </a:ext>
            </a:extLst>
          </p:cNvPr>
          <p:cNvSpPr>
            <a:spLocks noGrp="1"/>
          </p:cNvSpPr>
          <p:nvPr>
            <p:ph type="title"/>
          </p:nvPr>
        </p:nvSpPr>
        <p:spPr/>
        <p:txBody>
          <a:bodyPr/>
          <a:lstStyle/>
          <a:p>
            <a:r>
              <a:rPr lang="en-US"/>
              <a:t>Shifting the Focus to New Differentiated Value</a:t>
            </a:r>
          </a:p>
        </p:txBody>
      </p:sp>
      <p:sp>
        <p:nvSpPr>
          <p:cNvPr id="157" name="Rectangle 156">
            <a:extLst>
              <a:ext uri="{FF2B5EF4-FFF2-40B4-BE49-F238E27FC236}">
                <a16:creationId xmlns:a16="http://schemas.microsoft.com/office/drawing/2014/main" id="{ACEABD9B-DFDA-4F98-B3E9-1876B54E5984}"/>
              </a:ext>
            </a:extLst>
          </p:cNvPr>
          <p:cNvSpPr/>
          <p:nvPr/>
        </p:nvSpPr>
        <p:spPr bwMode="auto">
          <a:xfrm>
            <a:off x="3209141" y="1613248"/>
            <a:ext cx="5773719" cy="4520851"/>
          </a:xfrm>
          <a:prstGeom prst="rect">
            <a:avLst/>
          </a:prstGeom>
          <a:solidFill>
            <a:schemeClr val="tx1"/>
          </a:solidFill>
          <a:ln w="57150" cap="flat" cmpd="sng" algn="ctr">
            <a:solidFill>
              <a:srgbClr val="32BED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5E5DCF72-431C-4926-A1F6-05FA7B86657D}"/>
              </a:ext>
            </a:extLst>
          </p:cNvPr>
          <p:cNvGrpSpPr/>
          <p:nvPr/>
        </p:nvGrpSpPr>
        <p:grpSpPr>
          <a:xfrm>
            <a:off x="4975055" y="1775473"/>
            <a:ext cx="2241614" cy="374272"/>
            <a:chOff x="4900948" y="1436563"/>
            <a:chExt cx="2241614" cy="374272"/>
          </a:xfrm>
        </p:grpSpPr>
        <p:pic>
          <p:nvPicPr>
            <p:cNvPr id="4" name="Graphic 3">
              <a:extLst>
                <a:ext uri="{FF2B5EF4-FFF2-40B4-BE49-F238E27FC236}">
                  <a16:creationId xmlns:a16="http://schemas.microsoft.com/office/drawing/2014/main" id="{3332DD72-C2A9-4D4E-A187-8EEDCA4705B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00948" y="1436563"/>
              <a:ext cx="374272" cy="374272"/>
            </a:xfrm>
            <a:prstGeom prst="rect">
              <a:avLst/>
            </a:prstGeom>
          </p:spPr>
        </p:pic>
        <p:sp>
          <p:nvSpPr>
            <p:cNvPr id="6" name="TextBox 5">
              <a:extLst>
                <a:ext uri="{FF2B5EF4-FFF2-40B4-BE49-F238E27FC236}">
                  <a16:creationId xmlns:a16="http://schemas.microsoft.com/office/drawing/2014/main" id="{178F9629-F449-4DAB-964C-EDA6D49691FC}"/>
                </a:ext>
              </a:extLst>
            </p:cNvPr>
            <p:cNvSpPr txBox="1"/>
            <p:nvPr/>
          </p:nvSpPr>
          <p:spPr>
            <a:xfrm>
              <a:off x="5328411" y="1476572"/>
              <a:ext cx="181415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F3F3F"/>
                  </a:solidFill>
                  <a:effectLst/>
                  <a:uLnTx/>
                  <a:uFillTx/>
                  <a:latin typeface="Segoe UI Semibold" pitchFamily="34" charset="0"/>
                  <a:ea typeface="+mn-ea"/>
                  <a:cs typeface="Segoe UI Semibold" pitchFamily="34" charset="-120"/>
                </a:rPr>
                <a:t>Azure IoT Central</a:t>
              </a:r>
            </a:p>
          </p:txBody>
        </p:sp>
      </p:grpSp>
      <p:grpSp>
        <p:nvGrpSpPr>
          <p:cNvPr id="115" name="Group 114">
            <a:extLst>
              <a:ext uri="{FF2B5EF4-FFF2-40B4-BE49-F238E27FC236}">
                <a16:creationId xmlns:a16="http://schemas.microsoft.com/office/drawing/2014/main" id="{D2262C14-D1C3-4A7F-9FC4-BBD8FF618E69}"/>
              </a:ext>
            </a:extLst>
          </p:cNvPr>
          <p:cNvGrpSpPr/>
          <p:nvPr/>
        </p:nvGrpSpPr>
        <p:grpSpPr>
          <a:xfrm>
            <a:off x="321757" y="1838703"/>
            <a:ext cx="2560320" cy="3968028"/>
            <a:chOff x="734899" y="1899663"/>
            <a:chExt cx="2668689" cy="3968028"/>
          </a:xfrm>
        </p:grpSpPr>
        <p:sp>
          <p:nvSpPr>
            <p:cNvPr id="116" name="Rectangle 115">
              <a:extLst>
                <a:ext uri="{FF2B5EF4-FFF2-40B4-BE49-F238E27FC236}">
                  <a16:creationId xmlns:a16="http://schemas.microsoft.com/office/drawing/2014/main" id="{9C886812-0005-4379-B07A-5915177CF558}"/>
                </a:ext>
              </a:extLst>
            </p:cNvPr>
            <p:cNvSpPr/>
            <p:nvPr/>
          </p:nvSpPr>
          <p:spPr>
            <a:xfrm>
              <a:off x="734899" y="1899663"/>
              <a:ext cx="2668689" cy="3968028"/>
            </a:xfrm>
            <a:prstGeom prst="rect">
              <a:avLst/>
            </a:prstGeom>
            <a:solidFill>
              <a:schemeClr val="tx1">
                <a:lumMod val="95000"/>
              </a:schemeClr>
            </a:solidFill>
            <a:ln w="57150" cap="flat" cmpd="sng" algn="ctr">
              <a:solidFill>
                <a:srgbClr val="3C3C41">
                  <a:lumMod val="85000"/>
                  <a:lumOff val="15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p:txBody>
        </p:sp>
        <p:grpSp>
          <p:nvGrpSpPr>
            <p:cNvPr id="117" name="Group 116">
              <a:extLst>
                <a:ext uri="{FF2B5EF4-FFF2-40B4-BE49-F238E27FC236}">
                  <a16:creationId xmlns:a16="http://schemas.microsoft.com/office/drawing/2014/main" id="{6AED923B-4A9C-44C2-89AF-7AF185223CEF}"/>
                </a:ext>
              </a:extLst>
            </p:cNvPr>
            <p:cNvGrpSpPr/>
            <p:nvPr/>
          </p:nvGrpSpPr>
          <p:grpSpPr>
            <a:xfrm>
              <a:off x="1951590" y="2257686"/>
              <a:ext cx="1377327" cy="326760"/>
              <a:chOff x="969318" y="1083096"/>
              <a:chExt cx="1377327" cy="326760"/>
            </a:xfrm>
          </p:grpSpPr>
          <p:sp>
            <p:nvSpPr>
              <p:cNvPr id="142" name="TextBox 141">
                <a:extLst>
                  <a:ext uri="{FF2B5EF4-FFF2-40B4-BE49-F238E27FC236}">
                    <a16:creationId xmlns:a16="http://schemas.microsoft.com/office/drawing/2014/main" id="{27B7CE54-992B-4D5F-887E-26407FEBD974}"/>
                  </a:ext>
                </a:extLst>
              </p:cNvPr>
              <p:cNvSpPr txBox="1"/>
              <p:nvPr/>
            </p:nvSpPr>
            <p:spPr>
              <a:xfrm>
                <a:off x="1066485" y="1083096"/>
                <a:ext cx="1280160" cy="307777"/>
              </a:xfrm>
              <a:prstGeom prst="rect">
                <a:avLst/>
              </a:prstGeom>
              <a:noFill/>
            </p:spPr>
            <p:txBody>
              <a:bodyPr wrap="square">
                <a:spAutoFit/>
              </a:bodyPr>
              <a:lstStyle>
                <a:defPPr>
                  <a:defRPr lang="en-US"/>
                </a:defPPr>
                <a:lvl1pPr marL="111125"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rgbClr val="0072C6"/>
                    </a:solidFill>
                    <a:effectLst/>
                    <a:uLnTx/>
                    <a:uFillTx/>
                    <a:latin typeface="Segoe UI Semibold" panose="020B0702040204020203" pitchFamily="34" charset="0"/>
                    <a:cs typeface="Segoe UI Semibold" panose="020B0702040204020203" pitchFamily="34" charset="0"/>
                  </a:defRPr>
                </a:lvl1p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Agriculture</a:t>
                </a:r>
              </a:p>
            </p:txBody>
          </p:sp>
          <p:sp>
            <p:nvSpPr>
              <p:cNvPr id="143" name="Leaf" title="Icon of a leaf">
                <a:extLst>
                  <a:ext uri="{FF2B5EF4-FFF2-40B4-BE49-F238E27FC236}">
                    <a16:creationId xmlns:a16="http://schemas.microsoft.com/office/drawing/2014/main" id="{B0BC044B-D95B-47F9-8AA8-0C40D98DCA57}"/>
                  </a:ext>
                </a:extLst>
              </p:cNvPr>
              <p:cNvSpPr>
                <a:spLocks noChangeAspect="1" noEditPoints="1"/>
              </p:cNvSpPr>
              <p:nvPr/>
            </p:nvSpPr>
            <p:spPr bwMode="auto">
              <a:xfrm>
                <a:off x="969318" y="1134504"/>
                <a:ext cx="182880" cy="275352"/>
              </a:xfrm>
              <a:custGeom>
                <a:avLst/>
                <a:gdLst>
                  <a:gd name="T0" fmla="*/ 497 w 2487"/>
                  <a:gd name="T1" fmla="*/ 2737 h 3743"/>
                  <a:gd name="T2" fmla="*/ 249 w 2487"/>
                  <a:gd name="T3" fmla="*/ 1990 h 3743"/>
                  <a:gd name="T4" fmla="*/ 995 w 2487"/>
                  <a:gd name="T5" fmla="*/ 995 h 3743"/>
                  <a:gd name="T6" fmla="*/ 1741 w 2487"/>
                  <a:gd name="T7" fmla="*/ 0 h 3743"/>
                  <a:gd name="T8" fmla="*/ 2487 w 2487"/>
                  <a:gd name="T9" fmla="*/ 1617 h 3743"/>
                  <a:gd name="T10" fmla="*/ 871 w 2487"/>
                  <a:gd name="T11" fmla="*/ 3234 h 3743"/>
                  <a:gd name="T12" fmla="*/ 746 w 2487"/>
                  <a:gd name="T13" fmla="*/ 3234 h 3743"/>
                  <a:gd name="T14" fmla="*/ 0 w 2487"/>
                  <a:gd name="T15" fmla="*/ 3743 h 3743"/>
                  <a:gd name="T16" fmla="*/ 357 w 2487"/>
                  <a:gd name="T17" fmla="*/ 3527 h 3743"/>
                  <a:gd name="T18" fmla="*/ 997 w 2487"/>
                  <a:gd name="T19" fmla="*/ 2999 h 3743"/>
                  <a:gd name="T20" fmla="*/ 1525 w 2487"/>
                  <a:gd name="T21" fmla="*/ 2358 h 3743"/>
                  <a:gd name="T22" fmla="*/ 1741 w 2487"/>
                  <a:gd name="T23" fmla="*/ 2002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7" h="3743">
                    <a:moveTo>
                      <a:pt x="497" y="2737"/>
                    </a:moveTo>
                    <a:cubicBezTo>
                      <a:pt x="344" y="2546"/>
                      <a:pt x="249" y="2282"/>
                      <a:pt x="249" y="1990"/>
                    </a:cubicBezTo>
                    <a:cubicBezTo>
                      <a:pt x="249" y="1602"/>
                      <a:pt x="534" y="1250"/>
                      <a:pt x="995" y="995"/>
                    </a:cubicBezTo>
                    <a:cubicBezTo>
                      <a:pt x="1456" y="741"/>
                      <a:pt x="1741" y="389"/>
                      <a:pt x="1741" y="0"/>
                    </a:cubicBezTo>
                    <a:cubicBezTo>
                      <a:pt x="2202" y="414"/>
                      <a:pt x="2487" y="985"/>
                      <a:pt x="2487" y="1617"/>
                    </a:cubicBezTo>
                    <a:cubicBezTo>
                      <a:pt x="2487" y="2511"/>
                      <a:pt x="1764" y="3234"/>
                      <a:pt x="871" y="3234"/>
                    </a:cubicBezTo>
                    <a:cubicBezTo>
                      <a:pt x="746" y="3234"/>
                      <a:pt x="746" y="3234"/>
                      <a:pt x="746" y="3234"/>
                    </a:cubicBezTo>
                    <a:moveTo>
                      <a:pt x="0" y="3743"/>
                    </a:moveTo>
                    <a:cubicBezTo>
                      <a:pt x="122" y="3677"/>
                      <a:pt x="241" y="3604"/>
                      <a:pt x="357" y="3527"/>
                    </a:cubicBezTo>
                    <a:cubicBezTo>
                      <a:pt x="587" y="3371"/>
                      <a:pt x="801" y="3194"/>
                      <a:pt x="997" y="2999"/>
                    </a:cubicBezTo>
                    <a:cubicBezTo>
                      <a:pt x="1192" y="2803"/>
                      <a:pt x="1369" y="2589"/>
                      <a:pt x="1525" y="2358"/>
                    </a:cubicBezTo>
                    <a:cubicBezTo>
                      <a:pt x="1602" y="2243"/>
                      <a:pt x="1675" y="2124"/>
                      <a:pt x="1741" y="2002"/>
                    </a:cubicBezTo>
                  </a:path>
                </a:pathLst>
              </a:custGeom>
              <a:noFill/>
              <a:ln w="19050"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CE566C43-0625-45A6-B601-8119058E2439}"/>
                </a:ext>
              </a:extLst>
            </p:cNvPr>
            <p:cNvGrpSpPr/>
            <p:nvPr/>
          </p:nvGrpSpPr>
          <p:grpSpPr>
            <a:xfrm>
              <a:off x="1941414" y="2998914"/>
              <a:ext cx="1450561" cy="314066"/>
              <a:chOff x="896084" y="1713107"/>
              <a:chExt cx="1450561" cy="314066"/>
            </a:xfrm>
          </p:grpSpPr>
          <p:sp>
            <p:nvSpPr>
              <p:cNvPr id="140" name="TextBox 139">
                <a:extLst>
                  <a:ext uri="{FF2B5EF4-FFF2-40B4-BE49-F238E27FC236}">
                    <a16:creationId xmlns:a16="http://schemas.microsoft.com/office/drawing/2014/main" id="{43CB9824-4D34-4F6B-B05C-CF8C40585F24}"/>
                  </a:ext>
                </a:extLst>
              </p:cNvPr>
              <p:cNvSpPr txBox="1"/>
              <p:nvPr/>
            </p:nvSpPr>
            <p:spPr>
              <a:xfrm>
                <a:off x="1066485" y="17193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Consumer</a:t>
                </a:r>
              </a:p>
            </p:txBody>
          </p:sp>
          <p:sp>
            <p:nvSpPr>
              <p:cNvPr id="141" name="people_2" title="Icon of three people with an arrow above them pointing down">
                <a:extLst>
                  <a:ext uri="{FF2B5EF4-FFF2-40B4-BE49-F238E27FC236}">
                    <a16:creationId xmlns:a16="http://schemas.microsoft.com/office/drawing/2014/main" id="{6723662C-47BF-4B33-A613-B97DBFF13C3C}"/>
                  </a:ext>
                </a:extLst>
              </p:cNvPr>
              <p:cNvSpPr>
                <a:spLocks noChangeAspect="1" noEditPoints="1"/>
              </p:cNvSpPr>
              <p:nvPr/>
            </p:nvSpPr>
            <p:spPr bwMode="auto">
              <a:xfrm>
                <a:off x="896084" y="1713107"/>
                <a:ext cx="274320" cy="301235"/>
              </a:xfrm>
              <a:custGeom>
                <a:avLst/>
                <a:gdLst>
                  <a:gd name="T0" fmla="*/ 95 w 298"/>
                  <a:gd name="T1" fmla="*/ 198 h 328"/>
                  <a:gd name="T2" fmla="*/ 149 w 298"/>
                  <a:gd name="T3" fmla="*/ 143 h 328"/>
                  <a:gd name="T4" fmla="*/ 203 w 298"/>
                  <a:gd name="T5" fmla="*/ 198 h 328"/>
                  <a:gd name="T6" fmla="*/ 149 w 298"/>
                  <a:gd name="T7" fmla="*/ 252 h 328"/>
                  <a:gd name="T8" fmla="*/ 95 w 298"/>
                  <a:gd name="T9" fmla="*/ 198 h 328"/>
                  <a:gd name="T10" fmla="*/ 225 w 298"/>
                  <a:gd name="T11" fmla="*/ 328 h 328"/>
                  <a:gd name="T12" fmla="*/ 149 w 298"/>
                  <a:gd name="T13" fmla="*/ 252 h 328"/>
                  <a:gd name="T14" fmla="*/ 73 w 298"/>
                  <a:gd name="T15" fmla="*/ 328 h 328"/>
                  <a:gd name="T16" fmla="*/ 47 w 298"/>
                  <a:gd name="T17" fmla="*/ 146 h 328"/>
                  <a:gd name="T18" fmla="*/ 81 w 298"/>
                  <a:gd name="T19" fmla="*/ 112 h 328"/>
                  <a:gd name="T20" fmla="*/ 47 w 298"/>
                  <a:gd name="T21" fmla="*/ 78 h 328"/>
                  <a:gd name="T22" fmla="*/ 13 w 298"/>
                  <a:gd name="T23" fmla="*/ 112 h 328"/>
                  <a:gd name="T24" fmla="*/ 47 w 298"/>
                  <a:gd name="T25" fmla="*/ 146 h 328"/>
                  <a:gd name="T26" fmla="*/ 95 w 298"/>
                  <a:gd name="T27" fmla="*/ 193 h 328"/>
                  <a:gd name="T28" fmla="*/ 47 w 298"/>
                  <a:gd name="T29" fmla="*/ 146 h 328"/>
                  <a:gd name="T30" fmla="*/ 0 w 298"/>
                  <a:gd name="T31" fmla="*/ 193 h 328"/>
                  <a:gd name="T32" fmla="*/ 251 w 298"/>
                  <a:gd name="T33" fmla="*/ 146 h 328"/>
                  <a:gd name="T34" fmla="*/ 285 w 298"/>
                  <a:gd name="T35" fmla="*/ 112 h 328"/>
                  <a:gd name="T36" fmla="*/ 251 w 298"/>
                  <a:gd name="T37" fmla="*/ 78 h 328"/>
                  <a:gd name="T38" fmla="*/ 217 w 298"/>
                  <a:gd name="T39" fmla="*/ 112 h 328"/>
                  <a:gd name="T40" fmla="*/ 251 w 298"/>
                  <a:gd name="T41" fmla="*/ 146 h 328"/>
                  <a:gd name="T42" fmla="*/ 298 w 298"/>
                  <a:gd name="T43" fmla="*/ 193 h 328"/>
                  <a:gd name="T44" fmla="*/ 251 w 298"/>
                  <a:gd name="T45" fmla="*/ 146 h 328"/>
                  <a:gd name="T46" fmla="*/ 203 w 298"/>
                  <a:gd name="T47" fmla="*/ 193 h 328"/>
                  <a:gd name="T48" fmla="*/ 149 w 298"/>
                  <a:gd name="T49" fmla="*/ 0 h 328"/>
                  <a:gd name="T50" fmla="*/ 149 w 298"/>
                  <a:gd name="T51" fmla="*/ 80 h 328"/>
                  <a:gd name="T52" fmla="*/ 104 w 298"/>
                  <a:gd name="T53" fmla="*/ 35 h 328"/>
                  <a:gd name="T54" fmla="*/ 149 w 298"/>
                  <a:gd name="T55" fmla="*/ 80 h 328"/>
                  <a:gd name="T56" fmla="*/ 194 w 298"/>
                  <a:gd name="T57" fmla="*/ 3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328">
                    <a:moveTo>
                      <a:pt x="95" y="198"/>
                    </a:moveTo>
                    <a:cubicBezTo>
                      <a:pt x="95" y="168"/>
                      <a:pt x="119" y="143"/>
                      <a:pt x="149" y="143"/>
                    </a:cubicBezTo>
                    <a:cubicBezTo>
                      <a:pt x="179" y="143"/>
                      <a:pt x="203" y="168"/>
                      <a:pt x="203" y="198"/>
                    </a:cubicBezTo>
                    <a:cubicBezTo>
                      <a:pt x="203" y="228"/>
                      <a:pt x="179" y="252"/>
                      <a:pt x="149" y="252"/>
                    </a:cubicBezTo>
                    <a:cubicBezTo>
                      <a:pt x="119" y="252"/>
                      <a:pt x="95" y="228"/>
                      <a:pt x="95" y="198"/>
                    </a:cubicBezTo>
                    <a:close/>
                    <a:moveTo>
                      <a:pt x="225" y="328"/>
                    </a:moveTo>
                    <a:cubicBezTo>
                      <a:pt x="225" y="286"/>
                      <a:pt x="191" y="252"/>
                      <a:pt x="149" y="252"/>
                    </a:cubicBezTo>
                    <a:cubicBezTo>
                      <a:pt x="107" y="252"/>
                      <a:pt x="73" y="286"/>
                      <a:pt x="73" y="328"/>
                    </a:cubicBezTo>
                    <a:moveTo>
                      <a:pt x="47" y="146"/>
                    </a:moveTo>
                    <a:cubicBezTo>
                      <a:pt x="66" y="146"/>
                      <a:pt x="81" y="131"/>
                      <a:pt x="81" y="112"/>
                    </a:cubicBezTo>
                    <a:cubicBezTo>
                      <a:pt x="81" y="93"/>
                      <a:pt x="66" y="78"/>
                      <a:pt x="47" y="78"/>
                    </a:cubicBezTo>
                    <a:cubicBezTo>
                      <a:pt x="28" y="78"/>
                      <a:pt x="13" y="93"/>
                      <a:pt x="13" y="112"/>
                    </a:cubicBezTo>
                    <a:cubicBezTo>
                      <a:pt x="13" y="131"/>
                      <a:pt x="28" y="146"/>
                      <a:pt x="47" y="146"/>
                    </a:cubicBezTo>
                    <a:close/>
                    <a:moveTo>
                      <a:pt x="95" y="193"/>
                    </a:moveTo>
                    <a:cubicBezTo>
                      <a:pt x="95" y="167"/>
                      <a:pt x="73" y="146"/>
                      <a:pt x="47" y="146"/>
                    </a:cubicBezTo>
                    <a:cubicBezTo>
                      <a:pt x="21" y="146"/>
                      <a:pt x="0" y="167"/>
                      <a:pt x="0" y="193"/>
                    </a:cubicBezTo>
                    <a:moveTo>
                      <a:pt x="251" y="146"/>
                    </a:moveTo>
                    <a:cubicBezTo>
                      <a:pt x="270" y="146"/>
                      <a:pt x="285" y="131"/>
                      <a:pt x="285" y="112"/>
                    </a:cubicBezTo>
                    <a:cubicBezTo>
                      <a:pt x="285" y="93"/>
                      <a:pt x="270" y="78"/>
                      <a:pt x="251" y="78"/>
                    </a:cubicBezTo>
                    <a:cubicBezTo>
                      <a:pt x="232" y="78"/>
                      <a:pt x="217" y="93"/>
                      <a:pt x="217" y="112"/>
                    </a:cubicBezTo>
                    <a:cubicBezTo>
                      <a:pt x="217" y="131"/>
                      <a:pt x="232" y="146"/>
                      <a:pt x="251" y="146"/>
                    </a:cubicBezTo>
                    <a:close/>
                    <a:moveTo>
                      <a:pt x="298" y="193"/>
                    </a:moveTo>
                    <a:cubicBezTo>
                      <a:pt x="298" y="167"/>
                      <a:pt x="277" y="146"/>
                      <a:pt x="251" y="146"/>
                    </a:cubicBezTo>
                    <a:cubicBezTo>
                      <a:pt x="225" y="146"/>
                      <a:pt x="203" y="167"/>
                      <a:pt x="203" y="193"/>
                    </a:cubicBezTo>
                    <a:moveTo>
                      <a:pt x="149" y="0"/>
                    </a:moveTo>
                    <a:cubicBezTo>
                      <a:pt x="149" y="80"/>
                      <a:pt x="149" y="80"/>
                      <a:pt x="149" y="80"/>
                    </a:cubicBezTo>
                    <a:moveTo>
                      <a:pt x="104" y="35"/>
                    </a:moveTo>
                    <a:cubicBezTo>
                      <a:pt x="149" y="80"/>
                      <a:pt x="149" y="80"/>
                      <a:pt x="149" y="80"/>
                    </a:cubicBezTo>
                    <a:cubicBezTo>
                      <a:pt x="194" y="35"/>
                      <a:pt x="194" y="35"/>
                      <a:pt x="194" y="35"/>
                    </a:cubicBezTo>
                  </a:path>
                </a:pathLst>
              </a:custGeom>
              <a:noFill/>
              <a:ln w="1905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9" name="Group 118">
              <a:extLst>
                <a:ext uri="{FF2B5EF4-FFF2-40B4-BE49-F238E27FC236}">
                  <a16:creationId xmlns:a16="http://schemas.microsoft.com/office/drawing/2014/main" id="{A3B334AF-295D-451D-BD76-3153C6B3876E}"/>
                </a:ext>
              </a:extLst>
            </p:cNvPr>
            <p:cNvGrpSpPr/>
            <p:nvPr/>
          </p:nvGrpSpPr>
          <p:grpSpPr>
            <a:xfrm>
              <a:off x="1049542" y="2634647"/>
              <a:ext cx="1413605" cy="314066"/>
              <a:chOff x="933040" y="2355696"/>
              <a:chExt cx="1413605" cy="314066"/>
            </a:xfrm>
          </p:grpSpPr>
          <p:pic>
            <p:nvPicPr>
              <p:cNvPr id="138" name="Picture 137">
                <a:extLst>
                  <a:ext uri="{FF2B5EF4-FFF2-40B4-BE49-F238E27FC236}">
                    <a16:creationId xmlns:a16="http://schemas.microsoft.com/office/drawing/2014/main" id="{C8343273-EDEE-4771-9A4F-8092259F77A8}"/>
                  </a:ext>
                </a:extLst>
              </p:cNvPr>
              <p:cNvPicPr>
                <a:picLocks noChangeAspect="1"/>
              </p:cNvPicPr>
              <p:nvPr/>
            </p:nvPicPr>
            <p:blipFill>
              <a:blip r:embed="rId4">
                <a:biLevel thresh="50000"/>
                <a:extLst>
                  <a:ext uri="{BEBA8EAE-BF5A-486C-A8C5-ECC9F3942E4B}">
                    <a14:imgProps xmlns:a14="http://schemas.microsoft.com/office/drawing/2010/main">
                      <a14:imgLayer r:embed="rId5">
                        <a14:imgEffect>
                          <a14:brightnessContrast contrast="-20000"/>
                        </a14:imgEffect>
                      </a14:imgLayer>
                    </a14:imgProps>
                  </a:ext>
                </a:extLst>
              </a:blip>
              <a:stretch>
                <a:fillRect/>
              </a:stretch>
            </p:blipFill>
            <p:spPr>
              <a:xfrm>
                <a:off x="933040" y="2369317"/>
                <a:ext cx="182880" cy="300445"/>
              </a:xfrm>
              <a:prstGeom prst="rect">
                <a:avLst/>
              </a:prstGeom>
            </p:spPr>
          </p:pic>
          <p:sp>
            <p:nvSpPr>
              <p:cNvPr id="139" name="TextBox 138">
                <a:extLst>
                  <a:ext uri="{FF2B5EF4-FFF2-40B4-BE49-F238E27FC236}">
                    <a16:creationId xmlns:a16="http://schemas.microsoft.com/office/drawing/2014/main" id="{7A844E27-236F-4410-A1A1-1E63737CF9D3}"/>
                  </a:ext>
                </a:extLst>
              </p:cNvPr>
              <p:cNvSpPr txBox="1"/>
              <p:nvPr/>
            </p:nvSpPr>
            <p:spPr>
              <a:xfrm>
                <a:off x="1066485" y="23556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Appliances</a:t>
                </a:r>
              </a:p>
            </p:txBody>
          </p:sp>
        </p:grpSp>
        <p:grpSp>
          <p:nvGrpSpPr>
            <p:cNvPr id="120" name="Group 119">
              <a:extLst>
                <a:ext uri="{FF2B5EF4-FFF2-40B4-BE49-F238E27FC236}">
                  <a16:creationId xmlns:a16="http://schemas.microsoft.com/office/drawing/2014/main" id="{93E69A94-8A3D-46EA-8DE6-AA36E7CFC66F}"/>
                </a:ext>
              </a:extLst>
            </p:cNvPr>
            <p:cNvGrpSpPr/>
            <p:nvPr/>
          </p:nvGrpSpPr>
          <p:grpSpPr>
            <a:xfrm>
              <a:off x="1019096" y="3363181"/>
              <a:ext cx="1444051" cy="307777"/>
              <a:chOff x="902594" y="2991996"/>
              <a:chExt cx="1444051" cy="307777"/>
            </a:xfrm>
          </p:grpSpPr>
          <p:sp>
            <p:nvSpPr>
              <p:cNvPr id="136" name="SecurityCamera_EB35" title="Icon of a security camera">
                <a:extLst>
                  <a:ext uri="{FF2B5EF4-FFF2-40B4-BE49-F238E27FC236}">
                    <a16:creationId xmlns:a16="http://schemas.microsoft.com/office/drawing/2014/main" id="{ACD3D35D-DC9F-49AE-8F46-1CFC9D75E850}"/>
                  </a:ext>
                </a:extLst>
              </p:cNvPr>
              <p:cNvSpPr>
                <a:spLocks noChangeAspect="1" noEditPoints="1"/>
              </p:cNvSpPr>
              <p:nvPr/>
            </p:nvSpPr>
            <p:spPr bwMode="auto">
              <a:xfrm>
                <a:off x="902594" y="3017959"/>
                <a:ext cx="274320" cy="236828"/>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7" name="TextBox 136">
                <a:extLst>
                  <a:ext uri="{FF2B5EF4-FFF2-40B4-BE49-F238E27FC236}">
                    <a16:creationId xmlns:a16="http://schemas.microsoft.com/office/drawing/2014/main" id="{C26FE09B-4F38-480B-91FA-51ADE7419FA6}"/>
                  </a:ext>
                </a:extLst>
              </p:cNvPr>
              <p:cNvSpPr txBox="1"/>
              <p:nvPr/>
            </p:nvSpPr>
            <p:spPr>
              <a:xfrm>
                <a:off x="1066485" y="29919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Security</a:t>
                </a:r>
              </a:p>
            </p:txBody>
          </p:sp>
        </p:grpSp>
        <p:grpSp>
          <p:nvGrpSpPr>
            <p:cNvPr id="121" name="Group 120">
              <a:extLst>
                <a:ext uri="{FF2B5EF4-FFF2-40B4-BE49-F238E27FC236}">
                  <a16:creationId xmlns:a16="http://schemas.microsoft.com/office/drawing/2014/main" id="{63C7D61A-F950-485F-AC32-14D22465BBF6}"/>
                </a:ext>
              </a:extLst>
            </p:cNvPr>
            <p:cNvGrpSpPr/>
            <p:nvPr/>
          </p:nvGrpSpPr>
          <p:grpSpPr>
            <a:xfrm>
              <a:off x="1912553" y="3721159"/>
              <a:ext cx="1469410" cy="307777"/>
              <a:chOff x="877235" y="3308256"/>
              <a:chExt cx="1469410" cy="307777"/>
            </a:xfrm>
          </p:grpSpPr>
          <p:pic>
            <p:nvPicPr>
              <p:cNvPr id="134" name="Picture 2" descr="Image result for elevator icon PNG">
                <a:extLst>
                  <a:ext uri="{FF2B5EF4-FFF2-40B4-BE49-F238E27FC236}">
                    <a16:creationId xmlns:a16="http://schemas.microsoft.com/office/drawing/2014/main" id="{AB524522-78B9-4415-AE21-D2E924EDE4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7235" y="3329028"/>
                <a:ext cx="274320" cy="274320"/>
              </a:xfrm>
              <a:prstGeom prst="rect">
                <a:avLst/>
              </a:prstGeom>
              <a:noFill/>
              <a:extLst>
                <a:ext uri="{909E8E84-426E-40DD-AFC4-6F175D3DCCD1}">
                  <a14:hiddenFill xmlns:a14="http://schemas.microsoft.com/office/drawing/2010/main">
                    <a:solidFill>
                      <a:srgbClr val="FFFFFF"/>
                    </a:solidFill>
                  </a14:hiddenFill>
                </a:ext>
              </a:extLst>
            </p:spPr>
          </p:pic>
          <p:sp>
            <p:nvSpPr>
              <p:cNvPr id="135" name="TextBox 134">
                <a:extLst>
                  <a:ext uri="{FF2B5EF4-FFF2-40B4-BE49-F238E27FC236}">
                    <a16:creationId xmlns:a16="http://schemas.microsoft.com/office/drawing/2014/main" id="{1DD55811-3204-44A1-B2DC-C4618FD7A84A}"/>
                  </a:ext>
                </a:extLst>
              </p:cNvPr>
              <p:cNvSpPr txBox="1"/>
              <p:nvPr/>
            </p:nvSpPr>
            <p:spPr>
              <a:xfrm>
                <a:off x="1066485" y="330825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Buildings</a:t>
                </a:r>
              </a:p>
            </p:txBody>
          </p:sp>
        </p:grpSp>
        <p:grpSp>
          <p:nvGrpSpPr>
            <p:cNvPr id="122" name="Group 121">
              <a:extLst>
                <a:ext uri="{FF2B5EF4-FFF2-40B4-BE49-F238E27FC236}">
                  <a16:creationId xmlns:a16="http://schemas.microsoft.com/office/drawing/2014/main" id="{4A4CCAE0-CA4F-40E6-8FED-FA9CFA542264}"/>
                </a:ext>
              </a:extLst>
            </p:cNvPr>
            <p:cNvGrpSpPr/>
            <p:nvPr/>
          </p:nvGrpSpPr>
          <p:grpSpPr>
            <a:xfrm>
              <a:off x="998985" y="4810016"/>
              <a:ext cx="1384892" cy="307777"/>
              <a:chOff x="961753" y="5537196"/>
              <a:chExt cx="1384892" cy="307777"/>
            </a:xfrm>
          </p:grpSpPr>
          <p:sp>
            <p:nvSpPr>
              <p:cNvPr id="132" name="light" title="Icon of a lightbulb">
                <a:extLst>
                  <a:ext uri="{FF2B5EF4-FFF2-40B4-BE49-F238E27FC236}">
                    <a16:creationId xmlns:a16="http://schemas.microsoft.com/office/drawing/2014/main" id="{BD10CAA1-E04D-4E71-8239-93E273474980}"/>
                  </a:ext>
                </a:extLst>
              </p:cNvPr>
              <p:cNvSpPr>
                <a:spLocks noChangeAspect="1" noEditPoints="1"/>
              </p:cNvSpPr>
              <p:nvPr/>
            </p:nvSpPr>
            <p:spPr bwMode="auto">
              <a:xfrm>
                <a:off x="961753" y="5575200"/>
                <a:ext cx="169090" cy="25104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 name="TextBox 132">
                <a:extLst>
                  <a:ext uri="{FF2B5EF4-FFF2-40B4-BE49-F238E27FC236}">
                    <a16:creationId xmlns:a16="http://schemas.microsoft.com/office/drawing/2014/main" id="{DAC626F2-30D3-4411-8CE7-DF8BA515C35B}"/>
                  </a:ext>
                </a:extLst>
              </p:cNvPr>
              <p:cNvSpPr txBox="1"/>
              <p:nvPr/>
            </p:nvSpPr>
            <p:spPr>
              <a:xfrm>
                <a:off x="1066485" y="55371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Lighting</a:t>
                </a:r>
              </a:p>
            </p:txBody>
          </p:sp>
        </p:grpSp>
        <p:grpSp>
          <p:nvGrpSpPr>
            <p:cNvPr id="123" name="Group 122">
              <a:extLst>
                <a:ext uri="{FF2B5EF4-FFF2-40B4-BE49-F238E27FC236}">
                  <a16:creationId xmlns:a16="http://schemas.microsoft.com/office/drawing/2014/main" id="{4492761E-79FA-48C0-9896-B9F18E8F90B2}"/>
                </a:ext>
              </a:extLst>
            </p:cNvPr>
            <p:cNvGrpSpPr/>
            <p:nvPr/>
          </p:nvGrpSpPr>
          <p:grpSpPr>
            <a:xfrm>
              <a:off x="1907493" y="4437115"/>
              <a:ext cx="1431610" cy="322700"/>
              <a:chOff x="915035" y="4885973"/>
              <a:chExt cx="1431610" cy="322700"/>
            </a:xfrm>
          </p:grpSpPr>
          <p:sp>
            <p:nvSpPr>
              <p:cNvPr id="130" name="TextBox 129">
                <a:extLst>
                  <a:ext uri="{FF2B5EF4-FFF2-40B4-BE49-F238E27FC236}">
                    <a16:creationId xmlns:a16="http://schemas.microsoft.com/office/drawing/2014/main" id="{AA5FB0BC-40F6-4025-A819-236BAEB6944C}"/>
                  </a:ext>
                </a:extLst>
              </p:cNvPr>
              <p:cNvSpPr txBox="1"/>
              <p:nvPr/>
            </p:nvSpPr>
            <p:spPr>
              <a:xfrm>
                <a:off x="1066485" y="4900896"/>
                <a:ext cx="1280160" cy="307777"/>
              </a:xfrm>
              <a:prstGeom prst="rect">
                <a:avLst/>
              </a:prstGeom>
              <a:noFill/>
            </p:spPr>
            <p:txBody>
              <a:bodyPr wrap="square">
                <a:spAutoFit/>
              </a:bodyPr>
              <a:lstStyle>
                <a:defPPr>
                  <a:defRPr lang="en-US"/>
                </a:defPPr>
                <a:lvl1pPr marL="111125" marR="0" lvl="0" indent="0" defTabSz="914400" fontAlgn="auto">
                  <a:lnSpc>
                    <a:spcPct val="100000"/>
                  </a:lnSpc>
                  <a:spcBef>
                    <a:spcPts val="0"/>
                  </a:spcBef>
                  <a:spcAft>
                    <a:spcPts val="0"/>
                  </a:spcAft>
                  <a:buClrTx/>
                  <a:buSzTx/>
                  <a:buFontTx/>
                  <a:buNone/>
                  <a:tabLst/>
                  <a:defRPr kumimoji="0" sz="1400" b="0" i="0" u="none" strike="noStrike" cap="none" spc="0" normalizeH="0" baseline="0">
                    <a:ln>
                      <a:noFill/>
                    </a:ln>
                    <a:solidFill>
                      <a:srgbClr val="3C3C41"/>
                    </a:solidFill>
                    <a:effectLst/>
                    <a:uLnTx/>
                    <a:uFillTx/>
                    <a:latin typeface="Segoe UI Semibold" panose="020B0702040204020203" pitchFamily="34" charset="0"/>
                    <a:cs typeface="Segoe UI Semibold" panose="020B0702040204020203" pitchFamily="34" charset="0"/>
                  </a:defRPr>
                </a:lvl1p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Industrial</a:t>
                </a:r>
              </a:p>
            </p:txBody>
          </p:sp>
          <p:pic>
            <p:nvPicPr>
              <p:cNvPr id="131" name="Graphic 130" descr="Factory outline">
                <a:extLst>
                  <a:ext uri="{FF2B5EF4-FFF2-40B4-BE49-F238E27FC236}">
                    <a16:creationId xmlns:a16="http://schemas.microsoft.com/office/drawing/2014/main" id="{4545968B-6C5D-4837-A69C-16AD227AFB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5035" y="4885973"/>
                <a:ext cx="274320" cy="274320"/>
              </a:xfrm>
              <a:prstGeom prst="rect">
                <a:avLst/>
              </a:prstGeom>
            </p:spPr>
          </p:pic>
        </p:grpSp>
        <p:grpSp>
          <p:nvGrpSpPr>
            <p:cNvPr id="124" name="Group 123">
              <a:extLst>
                <a:ext uri="{FF2B5EF4-FFF2-40B4-BE49-F238E27FC236}">
                  <a16:creationId xmlns:a16="http://schemas.microsoft.com/office/drawing/2014/main" id="{92F5812E-E1B6-43F0-89BE-393373792AFB}"/>
                </a:ext>
              </a:extLst>
            </p:cNvPr>
            <p:cNvGrpSpPr/>
            <p:nvPr/>
          </p:nvGrpSpPr>
          <p:grpSpPr>
            <a:xfrm>
              <a:off x="1923273" y="5167998"/>
              <a:ext cx="1472434" cy="334902"/>
              <a:chOff x="2030619" y="4390181"/>
              <a:chExt cx="1472434" cy="334902"/>
            </a:xfrm>
          </p:grpSpPr>
          <p:sp>
            <p:nvSpPr>
              <p:cNvPr id="128" name="TextBox 127">
                <a:extLst>
                  <a:ext uri="{FF2B5EF4-FFF2-40B4-BE49-F238E27FC236}">
                    <a16:creationId xmlns:a16="http://schemas.microsoft.com/office/drawing/2014/main" id="{AE77E30D-D53C-4FC0-8A78-DA29D5359BEC}"/>
                  </a:ext>
                </a:extLst>
              </p:cNvPr>
              <p:cNvSpPr txBox="1"/>
              <p:nvPr/>
            </p:nvSpPr>
            <p:spPr>
              <a:xfrm>
                <a:off x="2222893" y="4412195"/>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Safety</a:t>
                </a:r>
              </a:p>
            </p:txBody>
          </p:sp>
          <p:pic>
            <p:nvPicPr>
              <p:cNvPr id="129" name="Graphic 128" descr="Life jacket outline">
                <a:extLst>
                  <a:ext uri="{FF2B5EF4-FFF2-40B4-BE49-F238E27FC236}">
                    <a16:creationId xmlns:a16="http://schemas.microsoft.com/office/drawing/2014/main" id="{C9E36A94-8C7A-421F-AD49-48EF2AA644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30619" y="4390181"/>
                <a:ext cx="334902" cy="334902"/>
              </a:xfrm>
              <a:prstGeom prst="rect">
                <a:avLst/>
              </a:prstGeom>
            </p:spPr>
          </p:pic>
        </p:grpSp>
        <p:grpSp>
          <p:nvGrpSpPr>
            <p:cNvPr id="125" name="Group 124">
              <a:extLst>
                <a:ext uri="{FF2B5EF4-FFF2-40B4-BE49-F238E27FC236}">
                  <a16:creationId xmlns:a16="http://schemas.microsoft.com/office/drawing/2014/main" id="{5947927E-254E-46B5-8063-1C4B9E9470C9}"/>
                </a:ext>
              </a:extLst>
            </p:cNvPr>
            <p:cNvGrpSpPr/>
            <p:nvPr/>
          </p:nvGrpSpPr>
          <p:grpSpPr>
            <a:xfrm>
              <a:off x="1020250" y="4079137"/>
              <a:ext cx="1419332" cy="307777"/>
              <a:chOff x="927313" y="3944556"/>
              <a:chExt cx="1419332" cy="307777"/>
            </a:xfrm>
          </p:grpSpPr>
          <p:sp>
            <p:nvSpPr>
              <p:cNvPr id="126" name="TextBox 125">
                <a:extLst>
                  <a:ext uri="{FF2B5EF4-FFF2-40B4-BE49-F238E27FC236}">
                    <a16:creationId xmlns:a16="http://schemas.microsoft.com/office/drawing/2014/main" id="{D5E15467-C3A6-4CAF-B3D5-EAFC72651874}"/>
                  </a:ext>
                </a:extLst>
              </p:cNvPr>
              <p:cNvSpPr txBox="1"/>
              <p:nvPr/>
            </p:nvSpPr>
            <p:spPr>
              <a:xfrm>
                <a:off x="1066485" y="394455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Energy</a:t>
                </a:r>
              </a:p>
            </p:txBody>
          </p:sp>
          <p:pic>
            <p:nvPicPr>
              <p:cNvPr id="127" name="Graphic 126" descr="Battery charging with solid fill">
                <a:extLst>
                  <a:ext uri="{FF2B5EF4-FFF2-40B4-BE49-F238E27FC236}">
                    <a16:creationId xmlns:a16="http://schemas.microsoft.com/office/drawing/2014/main" id="{88F39B46-8601-4193-938C-358894F4284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7313" y="3973858"/>
                <a:ext cx="274321" cy="274321"/>
              </a:xfrm>
              <a:prstGeom prst="rect">
                <a:avLst/>
              </a:prstGeom>
            </p:spPr>
          </p:pic>
        </p:grpSp>
      </p:grpSp>
      <p:grpSp>
        <p:nvGrpSpPr>
          <p:cNvPr id="25" name="Group 24">
            <a:extLst>
              <a:ext uri="{FF2B5EF4-FFF2-40B4-BE49-F238E27FC236}">
                <a16:creationId xmlns:a16="http://schemas.microsoft.com/office/drawing/2014/main" id="{1F1C01D9-60FE-451A-BF98-F434C39E2DF6}"/>
              </a:ext>
            </a:extLst>
          </p:cNvPr>
          <p:cNvGrpSpPr/>
          <p:nvPr/>
        </p:nvGrpSpPr>
        <p:grpSpPr>
          <a:xfrm>
            <a:off x="3485663" y="2217486"/>
            <a:ext cx="5220674" cy="3073763"/>
            <a:chOff x="3863340" y="2320534"/>
            <a:chExt cx="5220674" cy="3073763"/>
          </a:xfrm>
        </p:grpSpPr>
        <p:pic>
          <p:nvPicPr>
            <p:cNvPr id="8" name="Picture 7">
              <a:extLst>
                <a:ext uri="{FF2B5EF4-FFF2-40B4-BE49-F238E27FC236}">
                  <a16:creationId xmlns:a16="http://schemas.microsoft.com/office/drawing/2014/main" id="{3469E121-2ECB-4C19-B6BC-C08AB181ECBD}"/>
                </a:ext>
              </a:extLst>
            </p:cNvPr>
            <p:cNvPicPr>
              <a:picLocks noChangeAspect="1"/>
            </p:cNvPicPr>
            <p:nvPr/>
          </p:nvPicPr>
          <p:blipFill>
            <a:blip r:embed="rId13"/>
            <a:stretch>
              <a:fillRect/>
            </a:stretch>
          </p:blipFill>
          <p:spPr>
            <a:xfrm>
              <a:off x="3863340" y="2588285"/>
              <a:ext cx="1623587" cy="1151827"/>
            </a:xfrm>
            <a:prstGeom prst="rect">
              <a:avLst/>
            </a:prstGeom>
            <a:solidFill>
              <a:schemeClr val="tx1"/>
            </a:solidFill>
            <a:ln>
              <a:solidFill>
                <a:srgbClr val="FFFFFF">
                  <a:lumMod val="85000"/>
                </a:srgbClr>
              </a:solid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FCDFFE3C-BC8A-4DA3-B51A-C116CEA1346A}"/>
                </a:ext>
              </a:extLst>
            </p:cNvPr>
            <p:cNvSpPr txBox="1"/>
            <p:nvPr/>
          </p:nvSpPr>
          <p:spPr>
            <a:xfrm>
              <a:off x="3919771" y="2320534"/>
              <a:ext cx="1498352" cy="235469"/>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nnect devices</a:t>
              </a:r>
            </a:p>
          </p:txBody>
        </p:sp>
        <p:pic>
          <p:nvPicPr>
            <p:cNvPr id="11" name="Picture 10">
              <a:extLst>
                <a:ext uri="{FF2B5EF4-FFF2-40B4-BE49-F238E27FC236}">
                  <a16:creationId xmlns:a16="http://schemas.microsoft.com/office/drawing/2014/main" id="{A2E7123F-64C0-4D8C-8D37-AD5377093027}"/>
                </a:ext>
              </a:extLst>
            </p:cNvPr>
            <p:cNvPicPr>
              <a:picLocks noChangeAspect="1"/>
            </p:cNvPicPr>
            <p:nvPr/>
          </p:nvPicPr>
          <p:blipFill>
            <a:blip r:embed="rId14"/>
            <a:stretch>
              <a:fillRect/>
            </a:stretch>
          </p:blipFill>
          <p:spPr>
            <a:xfrm>
              <a:off x="5667932" y="2593675"/>
              <a:ext cx="1611214" cy="1146437"/>
            </a:xfrm>
            <a:prstGeom prst="rect">
              <a:avLst/>
            </a:prstGeom>
            <a:solidFill>
              <a:schemeClr val="tx1"/>
            </a:solidFill>
            <a:ln>
              <a:solidFill>
                <a:srgbClr val="FFFFFF">
                  <a:lumMod val="85000"/>
                </a:srgbClr>
              </a:solid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D85EAB5D-6D78-4DC5-BC4F-4532AF6E64EE}"/>
                </a:ext>
              </a:extLst>
            </p:cNvPr>
            <p:cNvSpPr txBox="1"/>
            <p:nvPr/>
          </p:nvSpPr>
          <p:spPr>
            <a:xfrm>
              <a:off x="5499927" y="2320534"/>
              <a:ext cx="1947225" cy="215444"/>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View and structure IoT Data</a:t>
              </a:r>
            </a:p>
          </p:txBody>
        </p:sp>
        <p:pic>
          <p:nvPicPr>
            <p:cNvPr id="13" name="Picture 12">
              <a:extLst>
                <a:ext uri="{FF2B5EF4-FFF2-40B4-BE49-F238E27FC236}">
                  <a16:creationId xmlns:a16="http://schemas.microsoft.com/office/drawing/2014/main" id="{D62847C2-5AA6-460F-8DC4-C9AE7A1EF11F}"/>
                </a:ext>
              </a:extLst>
            </p:cNvPr>
            <p:cNvPicPr>
              <a:picLocks noChangeAspect="1"/>
            </p:cNvPicPr>
            <p:nvPr/>
          </p:nvPicPr>
          <p:blipFill>
            <a:blip r:embed="rId15"/>
            <a:stretch>
              <a:fillRect/>
            </a:stretch>
          </p:blipFill>
          <p:spPr>
            <a:xfrm>
              <a:off x="7472800" y="2595157"/>
              <a:ext cx="1611214" cy="1144955"/>
            </a:xfrm>
            <a:prstGeom prst="rect">
              <a:avLst/>
            </a:prstGeom>
            <a:solidFill>
              <a:schemeClr val="tx1"/>
            </a:solidFill>
            <a:ln>
              <a:solidFill>
                <a:srgbClr val="FFFFFF">
                  <a:lumMod val="85000"/>
                </a:srgbClr>
              </a:solidFill>
            </a:ln>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BB8F5525-6E3C-4203-8CEC-BE8136E42BD0}"/>
                </a:ext>
              </a:extLst>
            </p:cNvPr>
            <p:cNvSpPr txBox="1"/>
            <p:nvPr/>
          </p:nvSpPr>
          <p:spPr>
            <a:xfrm>
              <a:off x="7499549" y="2321232"/>
              <a:ext cx="1557716" cy="215444"/>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loud to device interactions</a:t>
              </a:r>
            </a:p>
          </p:txBody>
        </p:sp>
        <p:pic>
          <p:nvPicPr>
            <p:cNvPr id="15" name="Picture 14">
              <a:extLst>
                <a:ext uri="{FF2B5EF4-FFF2-40B4-BE49-F238E27FC236}">
                  <a16:creationId xmlns:a16="http://schemas.microsoft.com/office/drawing/2014/main" id="{7DC89E0D-560E-41A7-8BF6-8F6FF5A64995}"/>
                </a:ext>
              </a:extLst>
            </p:cNvPr>
            <p:cNvPicPr>
              <a:picLocks noChangeAspect="1"/>
            </p:cNvPicPr>
            <p:nvPr/>
          </p:nvPicPr>
          <p:blipFill>
            <a:blip r:embed="rId16"/>
            <a:stretch>
              <a:fillRect/>
            </a:stretch>
          </p:blipFill>
          <p:spPr>
            <a:xfrm>
              <a:off x="5677820" y="4241717"/>
              <a:ext cx="1611215" cy="1151094"/>
            </a:xfrm>
            <a:prstGeom prst="rect">
              <a:avLst/>
            </a:prstGeom>
            <a:solidFill>
              <a:schemeClr val="tx1"/>
            </a:solidFill>
            <a:ln>
              <a:noFill/>
            </a:ln>
            <a:effectLst>
              <a:outerShdw blurRad="50800" dist="38100" dir="2700000" algn="tl" rotWithShape="0">
                <a:prstClr val="black">
                  <a:alpha val="40000"/>
                </a:prstClr>
              </a:outerShdw>
            </a:effectLst>
          </p:spPr>
        </p:pic>
        <p:sp>
          <p:nvSpPr>
            <p:cNvPr id="16" name="TextBox 15">
              <a:extLst>
                <a:ext uri="{FF2B5EF4-FFF2-40B4-BE49-F238E27FC236}">
                  <a16:creationId xmlns:a16="http://schemas.microsoft.com/office/drawing/2014/main" id="{1C0ED3FB-1A63-4AC8-AFA4-2778C4015554}"/>
                </a:ext>
              </a:extLst>
            </p:cNvPr>
            <p:cNvSpPr txBox="1"/>
            <p:nvPr/>
          </p:nvSpPr>
          <p:spPr>
            <a:xfrm>
              <a:off x="5645955" y="3967792"/>
              <a:ext cx="1674944" cy="215444"/>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ntegrate with business apps</a:t>
              </a:r>
            </a:p>
          </p:txBody>
        </p:sp>
        <p:pic>
          <p:nvPicPr>
            <p:cNvPr id="17" name="Picture 16">
              <a:extLst>
                <a:ext uri="{FF2B5EF4-FFF2-40B4-BE49-F238E27FC236}">
                  <a16:creationId xmlns:a16="http://schemas.microsoft.com/office/drawing/2014/main" id="{A038BA88-419C-436D-994C-21667A4212C5}"/>
                </a:ext>
              </a:extLst>
            </p:cNvPr>
            <p:cNvPicPr>
              <a:picLocks noChangeAspect="1"/>
            </p:cNvPicPr>
            <p:nvPr/>
          </p:nvPicPr>
          <p:blipFill>
            <a:blip r:embed="rId17"/>
            <a:stretch>
              <a:fillRect/>
            </a:stretch>
          </p:blipFill>
          <p:spPr>
            <a:xfrm>
              <a:off x="3883639" y="4243203"/>
              <a:ext cx="1611213" cy="1151094"/>
            </a:xfrm>
            <a:prstGeom prst="rect">
              <a:avLst/>
            </a:prstGeom>
            <a:solidFill>
              <a:schemeClr val="tx1"/>
            </a:solidFill>
            <a:ln>
              <a:solidFill>
                <a:srgbClr val="FFFFFF">
                  <a:lumMod val="85000"/>
                </a:srgbClr>
              </a:solidFill>
            </a:ln>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446C2835-326A-4B69-BF9F-3A71EC763E78}"/>
                </a:ext>
              </a:extLst>
            </p:cNvPr>
            <p:cNvSpPr txBox="1"/>
            <p:nvPr/>
          </p:nvSpPr>
          <p:spPr>
            <a:xfrm>
              <a:off x="3863340" y="3976936"/>
              <a:ext cx="1604763" cy="235469"/>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onitor device health</a:t>
              </a:r>
            </a:p>
          </p:txBody>
        </p:sp>
        <p:pic>
          <p:nvPicPr>
            <p:cNvPr id="19" name="Picture 18">
              <a:extLst>
                <a:ext uri="{FF2B5EF4-FFF2-40B4-BE49-F238E27FC236}">
                  <a16:creationId xmlns:a16="http://schemas.microsoft.com/office/drawing/2014/main" id="{A40D452C-651A-4110-8BED-C99022FE2E04}"/>
                </a:ext>
              </a:extLst>
            </p:cNvPr>
            <p:cNvPicPr>
              <a:picLocks noChangeAspect="1"/>
            </p:cNvPicPr>
            <p:nvPr/>
          </p:nvPicPr>
          <p:blipFill>
            <a:blip r:embed="rId18"/>
            <a:stretch>
              <a:fillRect/>
            </a:stretch>
          </p:blipFill>
          <p:spPr>
            <a:xfrm>
              <a:off x="7472800" y="4247706"/>
              <a:ext cx="1611214" cy="1144955"/>
            </a:xfrm>
            <a:prstGeom prst="rect">
              <a:avLst/>
            </a:prstGeom>
            <a:solidFill>
              <a:schemeClr val="tx1"/>
            </a:solidFill>
            <a:ln>
              <a:solidFill>
                <a:srgbClr val="FFFFFF">
                  <a:lumMod val="85000"/>
                </a:srgbClr>
              </a:solidFill>
            </a:ln>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44892770-E132-433E-870A-6E38FA2DABE7}"/>
                </a:ext>
              </a:extLst>
            </p:cNvPr>
            <p:cNvSpPr txBox="1"/>
            <p:nvPr/>
          </p:nvSpPr>
          <p:spPr>
            <a:xfrm>
              <a:off x="7529231" y="3981438"/>
              <a:ext cx="1498352" cy="235469"/>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ustomize</a:t>
              </a:r>
            </a:p>
          </p:txBody>
        </p:sp>
      </p:grpSp>
      <p:grpSp>
        <p:nvGrpSpPr>
          <p:cNvPr id="26" name="Group 25">
            <a:extLst>
              <a:ext uri="{FF2B5EF4-FFF2-40B4-BE49-F238E27FC236}">
                <a16:creationId xmlns:a16="http://schemas.microsoft.com/office/drawing/2014/main" id="{DD86C882-73CD-4A50-AEDD-105831631276}"/>
              </a:ext>
            </a:extLst>
          </p:cNvPr>
          <p:cNvGrpSpPr/>
          <p:nvPr/>
        </p:nvGrpSpPr>
        <p:grpSpPr>
          <a:xfrm>
            <a:off x="3230742" y="5569427"/>
            <a:ext cx="5752118" cy="544145"/>
            <a:chOff x="3527656" y="5622435"/>
            <a:chExt cx="5752118" cy="544145"/>
          </a:xfrm>
        </p:grpSpPr>
        <p:sp>
          <p:nvSpPr>
            <p:cNvPr id="24" name="Rectangle 23">
              <a:extLst>
                <a:ext uri="{FF2B5EF4-FFF2-40B4-BE49-F238E27FC236}">
                  <a16:creationId xmlns:a16="http://schemas.microsoft.com/office/drawing/2014/main" id="{AD8ABB48-4731-4403-A1B5-2A1DB2818D50}"/>
                </a:ext>
              </a:extLst>
            </p:cNvPr>
            <p:cNvSpPr/>
            <p:nvPr/>
          </p:nvSpPr>
          <p:spPr bwMode="auto">
            <a:xfrm>
              <a:off x="3527656" y="5622435"/>
              <a:ext cx="5752118" cy="544145"/>
            </a:xfrm>
            <a:prstGeom prst="rect">
              <a:avLst/>
            </a:prstGeom>
            <a:solidFill>
              <a:srgbClr val="32BED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786E3B51-DCD8-4000-98E5-98B7440CE938}"/>
                </a:ext>
              </a:extLst>
            </p:cNvPr>
            <p:cNvSpPr txBox="1"/>
            <p:nvPr/>
          </p:nvSpPr>
          <p:spPr>
            <a:xfrm>
              <a:off x="3825483" y="5732736"/>
              <a:ext cx="5296111" cy="307777"/>
            </a:xfrm>
            <a:prstGeom prst="rect">
              <a:avLst/>
            </a:prstGeom>
            <a:noFill/>
          </p:spPr>
          <p:txBody>
            <a:bodyPr wrap="square">
              <a:spAutoFit/>
            </a:bodyPr>
            <a:lstStyle/>
            <a:p>
              <a:pPr marL="0" marR="0" lvl="0" indent="0" algn="ctr" defTabSz="6096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itchFamily="34" charset="0"/>
                  <a:ea typeface="Segoe UI Semibold" pitchFamily="34" charset="-122"/>
                  <a:cs typeface="Segoe UI Semibold" pitchFamily="34" charset="-120"/>
                </a:rPr>
                <a:t>A ready-made environment for IoT solution development</a:t>
              </a: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73" name="Rectangle 172">
            <a:extLst>
              <a:ext uri="{FF2B5EF4-FFF2-40B4-BE49-F238E27FC236}">
                <a16:creationId xmlns:a16="http://schemas.microsoft.com/office/drawing/2014/main" id="{D8EDF5F1-CDC6-40D3-9D87-C204C00DB634}"/>
              </a:ext>
            </a:extLst>
          </p:cNvPr>
          <p:cNvSpPr/>
          <p:nvPr/>
        </p:nvSpPr>
        <p:spPr>
          <a:xfrm>
            <a:off x="9360190" y="1838703"/>
            <a:ext cx="2560320" cy="3968028"/>
          </a:xfrm>
          <a:prstGeom prst="rect">
            <a:avLst/>
          </a:prstGeom>
          <a:solidFill>
            <a:srgbClr val="E2F0D9"/>
          </a:solidFill>
          <a:ln w="57150" cap="flat" cmpd="sng" algn="ctr">
            <a:solidFill>
              <a:srgbClr val="107C1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283A0AA4-97C2-40FC-B4AA-14D4640F13D3}"/>
              </a:ext>
            </a:extLst>
          </p:cNvPr>
          <p:cNvSpPr txBox="1"/>
          <p:nvPr/>
        </p:nvSpPr>
        <p:spPr>
          <a:xfrm>
            <a:off x="853477" y="6246471"/>
            <a:ext cx="13937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hings</a:t>
            </a:r>
          </a:p>
        </p:txBody>
      </p:sp>
      <p:sp>
        <p:nvSpPr>
          <p:cNvPr id="28" name="TextBox 27">
            <a:extLst>
              <a:ext uri="{FF2B5EF4-FFF2-40B4-BE49-F238E27FC236}">
                <a16:creationId xmlns:a16="http://schemas.microsoft.com/office/drawing/2014/main" id="{AC020EC7-DC9F-4A91-8EE1-308A5214B288}"/>
              </a:ext>
            </a:extLst>
          </p:cNvPr>
          <p:cNvSpPr txBox="1"/>
          <p:nvPr/>
        </p:nvSpPr>
        <p:spPr>
          <a:xfrm>
            <a:off x="9702548" y="6246471"/>
            <a:ext cx="186419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ransformation</a:t>
            </a:r>
          </a:p>
        </p:txBody>
      </p:sp>
      <p:cxnSp>
        <p:nvCxnSpPr>
          <p:cNvPr id="30" name="Straight Arrow Connector 29">
            <a:extLst>
              <a:ext uri="{FF2B5EF4-FFF2-40B4-BE49-F238E27FC236}">
                <a16:creationId xmlns:a16="http://schemas.microsoft.com/office/drawing/2014/main" id="{17D63562-5821-4633-92FB-51B64B6E028A}"/>
              </a:ext>
            </a:extLst>
          </p:cNvPr>
          <p:cNvCxnSpPr>
            <a:cxnSpLocks/>
          </p:cNvCxnSpPr>
          <p:nvPr/>
        </p:nvCxnSpPr>
        <p:spPr>
          <a:xfrm>
            <a:off x="2882077" y="6423197"/>
            <a:ext cx="514659" cy="0"/>
          </a:xfrm>
          <a:prstGeom prst="straightConnector1">
            <a:avLst/>
          </a:prstGeom>
          <a:noFill/>
          <a:ln w="38100" cap="flat" cmpd="sng" algn="ctr">
            <a:solidFill>
              <a:srgbClr val="32BEDD"/>
            </a:solidFill>
            <a:prstDash val="solid"/>
            <a:tailEnd type="triangle" w="lg" len="lg"/>
          </a:ln>
          <a:effectLst/>
        </p:spPr>
      </p:cxnSp>
      <p:cxnSp>
        <p:nvCxnSpPr>
          <p:cNvPr id="31" name="Straight Arrow Connector 30">
            <a:extLst>
              <a:ext uri="{FF2B5EF4-FFF2-40B4-BE49-F238E27FC236}">
                <a16:creationId xmlns:a16="http://schemas.microsoft.com/office/drawing/2014/main" id="{104E79FA-F0C3-4724-9D06-79012AAC318A}"/>
              </a:ext>
            </a:extLst>
          </p:cNvPr>
          <p:cNvCxnSpPr>
            <a:cxnSpLocks/>
          </p:cNvCxnSpPr>
          <p:nvPr/>
        </p:nvCxnSpPr>
        <p:spPr>
          <a:xfrm>
            <a:off x="8670419" y="6423197"/>
            <a:ext cx="514659" cy="0"/>
          </a:xfrm>
          <a:prstGeom prst="straightConnector1">
            <a:avLst/>
          </a:prstGeom>
          <a:noFill/>
          <a:ln w="38100" cap="flat" cmpd="sng" algn="ctr">
            <a:solidFill>
              <a:srgbClr val="32BEDD"/>
            </a:solidFill>
            <a:prstDash val="solid"/>
            <a:tailEnd type="triangle" w="lg" len="lg"/>
          </a:ln>
          <a:effectLst/>
        </p:spPr>
      </p:cxnSp>
      <p:sp>
        <p:nvSpPr>
          <p:cNvPr id="37" name="Rounded Rectangle 134">
            <a:extLst>
              <a:ext uri="{FF2B5EF4-FFF2-40B4-BE49-F238E27FC236}">
                <a16:creationId xmlns:a16="http://schemas.microsoft.com/office/drawing/2014/main" id="{D30E4537-21BD-492D-B473-B2858C178963}"/>
              </a:ext>
            </a:extLst>
          </p:cNvPr>
          <p:cNvSpPr/>
          <p:nvPr/>
        </p:nvSpPr>
        <p:spPr>
          <a:xfrm>
            <a:off x="9573871" y="1998911"/>
            <a:ext cx="2121550" cy="1089660"/>
          </a:xfrm>
          <a:prstGeom prst="roundRect">
            <a:avLst>
              <a:gd name="adj" fmla="val 9744"/>
            </a:avLst>
          </a:prstGeom>
          <a:noFill/>
          <a:ln w="28575" cap="flat" cmpd="sng" algn="ctr">
            <a:noFill/>
            <a:prstDash val="solid"/>
          </a:ln>
          <a:effectLst/>
        </p:spPr>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71" name="Group 70">
            <a:extLst>
              <a:ext uri="{FF2B5EF4-FFF2-40B4-BE49-F238E27FC236}">
                <a16:creationId xmlns:a16="http://schemas.microsoft.com/office/drawing/2014/main" id="{0EDFF75E-0C54-4AAE-AFA7-F9EA3E042BC3}"/>
              </a:ext>
            </a:extLst>
          </p:cNvPr>
          <p:cNvGrpSpPr/>
          <p:nvPr/>
        </p:nvGrpSpPr>
        <p:grpSpPr>
          <a:xfrm>
            <a:off x="9738724" y="2436783"/>
            <a:ext cx="1873168" cy="287712"/>
            <a:chOff x="9738724" y="2632048"/>
            <a:chExt cx="1873168" cy="287712"/>
          </a:xfrm>
        </p:grpSpPr>
        <p:pic>
          <p:nvPicPr>
            <p:cNvPr id="38" name="Picture 37" descr="A picture containing text, businesscard, envelope&#10;&#10;Description automatically generated">
              <a:extLst>
                <a:ext uri="{FF2B5EF4-FFF2-40B4-BE49-F238E27FC236}">
                  <a16:creationId xmlns:a16="http://schemas.microsoft.com/office/drawing/2014/main" id="{FC605797-600E-446F-8192-7B182EC1421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050622" y="2635640"/>
              <a:ext cx="284120" cy="284120"/>
            </a:xfrm>
            <a:prstGeom prst="rect">
              <a:avLst/>
            </a:prstGeom>
            <a:effectLst/>
          </p:spPr>
        </p:pic>
        <p:pic>
          <p:nvPicPr>
            <p:cNvPr id="39" name="Picture 38" descr="Icon&#10;&#10;Description automatically generated">
              <a:extLst>
                <a:ext uri="{FF2B5EF4-FFF2-40B4-BE49-F238E27FC236}">
                  <a16:creationId xmlns:a16="http://schemas.microsoft.com/office/drawing/2014/main" id="{870091D0-BFDF-4C45-BEA4-B75E9BE31FA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738724" y="2632048"/>
              <a:ext cx="221286" cy="281637"/>
            </a:xfrm>
            <a:prstGeom prst="rect">
              <a:avLst/>
            </a:prstGeom>
            <a:effectLst/>
          </p:spPr>
        </p:pic>
        <p:pic>
          <p:nvPicPr>
            <p:cNvPr id="40" name="Picture 39" descr="Icon&#10;&#10;Description automatically generated">
              <a:extLst>
                <a:ext uri="{FF2B5EF4-FFF2-40B4-BE49-F238E27FC236}">
                  <a16:creationId xmlns:a16="http://schemas.microsoft.com/office/drawing/2014/main" id="{8B376FAA-A3C0-4381-A32E-D8F545B08CAF}"/>
                </a:ext>
              </a:extLst>
            </p:cNvPr>
            <p:cNvPicPr>
              <a:picLocks noChangeAspect="1"/>
            </p:cNvPicPr>
            <p:nvPr/>
          </p:nvPicPr>
          <p:blipFill rotWithShape="1">
            <a:blip r:embed="rId21">
              <a:extLst>
                <a:ext uri="{28A0092B-C50C-407E-A947-70E740481C1C}">
                  <a14:useLocalDpi xmlns:a14="http://schemas.microsoft.com/office/drawing/2010/main" val="0"/>
                </a:ext>
              </a:extLst>
            </a:blip>
            <a:srcRect l="14163" t="20726" r="9421" b="19145"/>
            <a:stretch/>
          </p:blipFill>
          <p:spPr>
            <a:xfrm>
              <a:off x="10397115" y="2665272"/>
              <a:ext cx="284120" cy="223562"/>
            </a:xfrm>
            <a:prstGeom prst="rect">
              <a:avLst/>
            </a:prstGeom>
            <a:effectLst/>
          </p:spPr>
        </p:pic>
        <p:pic>
          <p:nvPicPr>
            <p:cNvPr id="41" name="Picture 40" descr="Icon&#10;&#10;Description automatically generated">
              <a:extLst>
                <a:ext uri="{FF2B5EF4-FFF2-40B4-BE49-F238E27FC236}">
                  <a16:creationId xmlns:a16="http://schemas.microsoft.com/office/drawing/2014/main" id="{1DAD9779-7CD9-4313-9A05-2BBC55E2D1C8}"/>
                </a:ext>
              </a:extLst>
            </p:cNvPr>
            <p:cNvPicPr>
              <a:picLocks noChangeAspect="1"/>
            </p:cNvPicPr>
            <p:nvPr/>
          </p:nvPicPr>
          <p:blipFill rotWithShape="1">
            <a:blip r:embed="rId22">
              <a:extLst>
                <a:ext uri="{28A0092B-C50C-407E-A947-70E740481C1C}">
                  <a14:useLocalDpi xmlns:a14="http://schemas.microsoft.com/office/drawing/2010/main" val="0"/>
                </a:ext>
              </a:extLst>
            </a:blip>
            <a:srcRect l="16661" r="17657"/>
            <a:stretch/>
          </p:blipFill>
          <p:spPr>
            <a:xfrm>
              <a:off x="10733333" y="2640237"/>
              <a:ext cx="284120" cy="243322"/>
            </a:xfrm>
            <a:prstGeom prst="rect">
              <a:avLst/>
            </a:prstGeom>
            <a:effectLst/>
          </p:spPr>
        </p:pic>
        <p:pic>
          <p:nvPicPr>
            <p:cNvPr id="42" name="Picture 22" descr="Browser, window icon - Free download on Iconfinder">
              <a:extLst>
                <a:ext uri="{FF2B5EF4-FFF2-40B4-BE49-F238E27FC236}">
                  <a16:creationId xmlns:a16="http://schemas.microsoft.com/office/drawing/2014/main" id="{6E0D4AB4-0675-432F-A354-40F71D87677E}"/>
                </a:ext>
              </a:extLst>
            </p:cNvPr>
            <p:cNvPicPr>
              <a:picLocks noChangeAspect="1" noChangeArrowheads="1"/>
            </p:cNvPicPr>
            <p:nvPr/>
          </p:nvPicPr>
          <p:blipFill>
            <a:blip r:embed="rId23">
              <a:duotone>
                <a:srgbClr val="000041">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095937" y="2645962"/>
              <a:ext cx="254206" cy="250691"/>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Iphone icon png, Iphone icon png Transparent FREE for download on  WebStockReview 2021">
              <a:extLst>
                <a:ext uri="{FF2B5EF4-FFF2-40B4-BE49-F238E27FC236}">
                  <a16:creationId xmlns:a16="http://schemas.microsoft.com/office/drawing/2014/main" id="{E65E3626-7063-4B53-B77B-63F4530DC159}"/>
                </a:ext>
              </a:extLst>
            </p:cNvPr>
            <p:cNvPicPr>
              <a:picLocks noChangeAspect="1" noChangeArrowheads="1"/>
            </p:cNvPicPr>
            <p:nvPr/>
          </p:nvPicPr>
          <p:blipFill>
            <a:blip r:embed="rId24">
              <a:duotone>
                <a:srgbClr val="000041">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416044" y="2645963"/>
              <a:ext cx="195848" cy="241790"/>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Object7">
            <a:extLst>
              <a:ext uri="{FF2B5EF4-FFF2-40B4-BE49-F238E27FC236}">
                <a16:creationId xmlns:a16="http://schemas.microsoft.com/office/drawing/2014/main" id="{587B8DBA-F39F-4110-9FD4-B45126967372}"/>
              </a:ext>
            </a:extLst>
          </p:cNvPr>
          <p:cNvSpPr/>
          <p:nvPr/>
        </p:nvSpPr>
        <p:spPr>
          <a:xfrm>
            <a:off x="9568219" y="2092649"/>
            <a:ext cx="2269480" cy="370353"/>
          </a:xfrm>
          <a:prstGeom prst="rect">
            <a:avLst/>
          </a:prstGeom>
          <a:noFill/>
          <a:ln/>
        </p:spPr>
        <p:txBody>
          <a:bodyPr wrap="square" lIns="0" tIns="0" rIns="0" bIns="0" rtlCol="0" anchor="ctr"/>
          <a:lstStyle/>
          <a:p>
            <a:pPr marL="0" marR="0" lvl="0" indent="0" algn="ctr" defTabSz="609630" rtl="0" eaLnBrk="1" fontAlgn="auto" latinLnBrk="0" hangingPunct="1">
              <a:lnSpc>
                <a:spcPts val="1458"/>
              </a:lnSpc>
              <a:spcBef>
                <a:spcPts val="0"/>
              </a:spcBef>
              <a:spcAft>
                <a:spcPts val="0"/>
              </a:spcAft>
              <a:buClrTx/>
              <a:buSzTx/>
              <a:buFontTx/>
              <a:buNone/>
              <a:tabLst/>
              <a:defRPr/>
            </a:pPr>
            <a:r>
              <a:rPr kumimoji="0" lang="en-US" sz="1283" b="0" i="0" u="none" strike="noStrike" kern="120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for experiences and insights</a:t>
            </a:r>
            <a:endParaRPr kumimoji="0" lang="en-US" sz="128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ounded Rectangle 134">
            <a:extLst>
              <a:ext uri="{FF2B5EF4-FFF2-40B4-BE49-F238E27FC236}">
                <a16:creationId xmlns:a16="http://schemas.microsoft.com/office/drawing/2014/main" id="{FB00FDE9-2218-4F07-89C0-C428B052AEA5}"/>
              </a:ext>
            </a:extLst>
          </p:cNvPr>
          <p:cNvSpPr/>
          <p:nvPr/>
        </p:nvSpPr>
        <p:spPr>
          <a:xfrm>
            <a:off x="9843288" y="3059655"/>
            <a:ext cx="1705011" cy="1413204"/>
          </a:xfrm>
          <a:prstGeom prst="roundRect">
            <a:avLst>
              <a:gd name="adj" fmla="val 9744"/>
            </a:avLst>
          </a:prstGeom>
          <a:noFill/>
          <a:ln w="28575" cap="flat" cmpd="sng" algn="ctr">
            <a:noFill/>
            <a:prstDash val="solid"/>
          </a:ln>
          <a:effectLst/>
        </p:spPr>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7" name="Object7">
            <a:extLst>
              <a:ext uri="{FF2B5EF4-FFF2-40B4-BE49-F238E27FC236}">
                <a16:creationId xmlns:a16="http://schemas.microsoft.com/office/drawing/2014/main" id="{DEA98E8D-1663-45CC-B652-0905CBC863E3}"/>
              </a:ext>
            </a:extLst>
          </p:cNvPr>
          <p:cNvSpPr/>
          <p:nvPr/>
        </p:nvSpPr>
        <p:spPr>
          <a:xfrm>
            <a:off x="9671706" y="3019648"/>
            <a:ext cx="2023715" cy="370353"/>
          </a:xfrm>
          <a:prstGeom prst="rect">
            <a:avLst/>
          </a:prstGeom>
          <a:noFill/>
          <a:ln/>
        </p:spPr>
        <p:txBody>
          <a:bodyPr wrap="square" lIns="0" tIns="0" rIns="0" bIns="0" rtlCol="0" anchor="ctr"/>
          <a:lstStyle/>
          <a:p>
            <a:pPr marL="0" marR="0" lvl="0" indent="0" algn="ctr" defTabSz="609630" rtl="0" eaLnBrk="1" fontAlgn="auto" latinLnBrk="0" hangingPunct="1">
              <a:lnSpc>
                <a:spcPts val="1458"/>
              </a:lnSpc>
              <a:spcBef>
                <a:spcPts val="0"/>
              </a:spcBef>
              <a:spcAft>
                <a:spcPts val="0"/>
              </a:spcAft>
              <a:buClrTx/>
              <a:buSzTx/>
              <a:buFontTx/>
              <a:buNone/>
              <a:tabLst/>
              <a:defRPr/>
            </a:pPr>
            <a:r>
              <a:rPr kumimoji="0" lang="en-US" sz="1283" b="0" i="0" u="none" strike="noStrike" kern="120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for storage or analysis</a:t>
            </a:r>
            <a:endParaRPr kumimoji="0" lang="en-US" sz="128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5" name="Group 54">
            <a:extLst>
              <a:ext uri="{FF2B5EF4-FFF2-40B4-BE49-F238E27FC236}">
                <a16:creationId xmlns:a16="http://schemas.microsoft.com/office/drawing/2014/main" id="{9BB79944-A10F-4E9F-ABA1-16DF9D77753B}"/>
              </a:ext>
            </a:extLst>
          </p:cNvPr>
          <p:cNvGrpSpPr/>
          <p:nvPr/>
        </p:nvGrpSpPr>
        <p:grpSpPr>
          <a:xfrm>
            <a:off x="9646969" y="3242363"/>
            <a:ext cx="1967190" cy="567961"/>
            <a:chOff x="9543400" y="3609998"/>
            <a:chExt cx="1967190" cy="567961"/>
          </a:xfrm>
        </p:grpSpPr>
        <p:pic>
          <p:nvPicPr>
            <p:cNvPr id="49" name="Picture 2" descr="Azure Data Explorer | Microsoft Azure">
              <a:extLst>
                <a:ext uri="{FF2B5EF4-FFF2-40B4-BE49-F238E27FC236}">
                  <a16:creationId xmlns:a16="http://schemas.microsoft.com/office/drawing/2014/main" id="{96185274-F0F8-4329-9A46-E7916E85548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326392" y="3748987"/>
              <a:ext cx="552347" cy="28998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Image result for azure blob storage icon">
              <a:extLst>
                <a:ext uri="{FF2B5EF4-FFF2-40B4-BE49-F238E27FC236}">
                  <a16:creationId xmlns:a16="http://schemas.microsoft.com/office/drawing/2014/main" id="{59CE2283-99A4-4059-9F91-7183493035A2}"/>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66210" y="3728125"/>
              <a:ext cx="331706" cy="331706"/>
            </a:xfrm>
            <a:prstGeom prst="rect">
              <a:avLst/>
            </a:prstGeom>
            <a:noFill/>
            <a:extLst>
              <a:ext uri="{909E8E84-426E-40DD-AFC4-6F175D3DCCD1}">
                <a14:hiddenFill xmlns:a14="http://schemas.microsoft.com/office/drawing/2010/main">
                  <a:solidFill>
                    <a:srgbClr val="FFFFFF"/>
                  </a:solidFill>
                </a14:hiddenFill>
              </a:ext>
            </a:extLst>
          </p:spPr>
        </p:pic>
        <p:pic>
          <p:nvPicPr>
            <p:cNvPr id="51" name="Graphic 50">
              <a:extLst>
                <a:ext uri="{FF2B5EF4-FFF2-40B4-BE49-F238E27FC236}">
                  <a16:creationId xmlns:a16="http://schemas.microsoft.com/office/drawing/2014/main" id="{52CE1949-789F-45FD-8613-6953FA8E910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825882" y="3736161"/>
              <a:ext cx="315634" cy="315634"/>
            </a:xfrm>
            <a:prstGeom prst="rect">
              <a:avLst/>
            </a:prstGeom>
          </p:spPr>
        </p:pic>
        <p:pic>
          <p:nvPicPr>
            <p:cNvPr id="52" name="Graphic 51">
              <a:extLst>
                <a:ext uri="{FF2B5EF4-FFF2-40B4-BE49-F238E27FC236}">
                  <a16:creationId xmlns:a16="http://schemas.microsoft.com/office/drawing/2014/main" id="{4DBFA5BD-424F-4EA9-81EB-B0D5620618F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1181193" y="3729280"/>
              <a:ext cx="329397" cy="329397"/>
            </a:xfrm>
            <a:prstGeom prst="rect">
              <a:avLst/>
            </a:prstGeom>
          </p:spPr>
        </p:pic>
        <p:pic>
          <p:nvPicPr>
            <p:cNvPr id="54" name="Picture 2" descr="Azure Synapse Analytics (@Azure_Synapse) / Twitter">
              <a:extLst>
                <a:ext uri="{FF2B5EF4-FFF2-40B4-BE49-F238E27FC236}">
                  <a16:creationId xmlns:a16="http://schemas.microsoft.com/office/drawing/2014/main" id="{FD3CE888-C0B7-4EA3-97AC-24CB85A3D3D9}"/>
                </a:ext>
              </a:extLst>
            </p:cNvPr>
            <p:cNvPicPr>
              <a:picLocks noChangeAspect="1" noChangeArrowheads="1"/>
            </p:cNvPicPr>
            <p:nvPr/>
          </p:nvPicPr>
          <p:blipFill>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43400" y="3609998"/>
              <a:ext cx="567961" cy="5679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3" name="Group 62">
            <a:extLst>
              <a:ext uri="{FF2B5EF4-FFF2-40B4-BE49-F238E27FC236}">
                <a16:creationId xmlns:a16="http://schemas.microsoft.com/office/drawing/2014/main" id="{C99345F2-531A-4E77-8A5B-6960A8FFE2B4}"/>
              </a:ext>
            </a:extLst>
          </p:cNvPr>
          <p:cNvGrpSpPr/>
          <p:nvPr/>
        </p:nvGrpSpPr>
        <p:grpSpPr>
          <a:xfrm>
            <a:off x="9908127" y="4259326"/>
            <a:ext cx="1602463" cy="370353"/>
            <a:chOff x="9704903" y="4566771"/>
            <a:chExt cx="1602463" cy="370353"/>
          </a:xfrm>
        </p:grpSpPr>
        <p:pic>
          <p:nvPicPr>
            <p:cNvPr id="57" name="Picture 2" descr="See the source image">
              <a:extLst>
                <a:ext uri="{FF2B5EF4-FFF2-40B4-BE49-F238E27FC236}">
                  <a16:creationId xmlns:a16="http://schemas.microsoft.com/office/drawing/2014/main" id="{87256B80-1604-4AB8-BA15-3426DE689A61}"/>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704903" y="4575169"/>
              <a:ext cx="355554" cy="33068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See the source image">
              <a:extLst>
                <a:ext uri="{FF2B5EF4-FFF2-40B4-BE49-F238E27FC236}">
                  <a16:creationId xmlns:a16="http://schemas.microsoft.com/office/drawing/2014/main" id="{DA876E0C-213F-4F96-BB48-BE1DF761F93E}"/>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0716928" y="4583053"/>
              <a:ext cx="590438" cy="309980"/>
            </a:xfrm>
            <a:prstGeom prst="rect">
              <a:avLst/>
            </a:prstGeom>
            <a:noFill/>
            <a:extLst>
              <a:ext uri="{909E8E84-426E-40DD-AFC4-6F175D3DCCD1}">
                <a14:hiddenFill xmlns:a14="http://schemas.microsoft.com/office/drawing/2010/main">
                  <a:solidFill>
                    <a:srgbClr val="FFFFFF"/>
                  </a:solidFill>
                </a14:hiddenFill>
              </a:ext>
            </a:extLst>
          </p:spPr>
        </p:pic>
        <p:pic>
          <p:nvPicPr>
            <p:cNvPr id="59" name="Graphic 58">
              <a:extLst>
                <a:ext uri="{FF2B5EF4-FFF2-40B4-BE49-F238E27FC236}">
                  <a16:creationId xmlns:a16="http://schemas.microsoft.com/office/drawing/2014/main" id="{6E9E7272-6147-45B9-8E4A-BEFF52F0F240}"/>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541801" y="4610544"/>
              <a:ext cx="282805" cy="282805"/>
            </a:xfrm>
            <a:prstGeom prst="rect">
              <a:avLst/>
            </a:prstGeom>
          </p:spPr>
        </p:pic>
        <p:pic>
          <p:nvPicPr>
            <p:cNvPr id="61" name="Graphic 60">
              <a:extLst>
                <a:ext uri="{FF2B5EF4-FFF2-40B4-BE49-F238E27FC236}">
                  <a16:creationId xmlns:a16="http://schemas.microsoft.com/office/drawing/2014/main" id="{C69B89F3-EAC7-4BCD-B4B0-985872CD3178}"/>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102008" y="4566771"/>
              <a:ext cx="370353" cy="370353"/>
            </a:xfrm>
            <a:prstGeom prst="rect">
              <a:avLst/>
            </a:prstGeom>
          </p:spPr>
        </p:pic>
      </p:grpSp>
      <p:sp>
        <p:nvSpPr>
          <p:cNvPr id="67" name="Object8">
            <a:extLst>
              <a:ext uri="{FF2B5EF4-FFF2-40B4-BE49-F238E27FC236}">
                <a16:creationId xmlns:a16="http://schemas.microsoft.com/office/drawing/2014/main" id="{0028A7B1-870F-4D04-95DE-AAE498094176}"/>
              </a:ext>
            </a:extLst>
          </p:cNvPr>
          <p:cNvSpPr/>
          <p:nvPr/>
        </p:nvSpPr>
        <p:spPr>
          <a:xfrm>
            <a:off x="9590601" y="3946647"/>
            <a:ext cx="2104820" cy="370353"/>
          </a:xfrm>
          <a:prstGeom prst="rect">
            <a:avLst/>
          </a:prstGeom>
          <a:noFill/>
          <a:ln/>
        </p:spPr>
        <p:txBody>
          <a:bodyPr wrap="square" lIns="0" tIns="0" rIns="0" bIns="0" rtlCol="0" anchor="ctr"/>
          <a:lstStyle/>
          <a:p>
            <a:pPr marL="0" marR="0" lvl="0" indent="0" algn="ctr" defTabSz="609630" rtl="0" eaLnBrk="1" fontAlgn="auto" latinLnBrk="0" hangingPunct="1">
              <a:lnSpc>
                <a:spcPts val="1458"/>
              </a:lnSpc>
              <a:spcBef>
                <a:spcPts val="0"/>
              </a:spcBef>
              <a:spcAft>
                <a:spcPts val="0"/>
              </a:spcAft>
              <a:buClrTx/>
              <a:buSzTx/>
              <a:buFontTx/>
              <a:buNone/>
              <a:tabLst/>
              <a:defRPr/>
            </a:pPr>
            <a:r>
              <a:rPr kumimoji="0" lang="en-US" sz="1283" b="0" i="0" u="none" strike="noStrike" kern="120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for business automation</a:t>
            </a:r>
            <a:endParaRPr kumimoji="0" lang="en-US" sz="128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Object9">
            <a:extLst>
              <a:ext uri="{FF2B5EF4-FFF2-40B4-BE49-F238E27FC236}">
                <a16:creationId xmlns:a16="http://schemas.microsoft.com/office/drawing/2014/main" id="{B2945D4B-EBA9-4848-AB33-B36F0143A05D}"/>
              </a:ext>
            </a:extLst>
          </p:cNvPr>
          <p:cNvSpPr/>
          <p:nvPr/>
        </p:nvSpPr>
        <p:spPr>
          <a:xfrm>
            <a:off x="9673150" y="4873647"/>
            <a:ext cx="1922991" cy="370353"/>
          </a:xfrm>
          <a:prstGeom prst="rect">
            <a:avLst/>
          </a:prstGeom>
          <a:noFill/>
          <a:ln/>
        </p:spPr>
        <p:txBody>
          <a:bodyPr wrap="square" lIns="0" tIns="0" rIns="0" bIns="0" rtlCol="0" anchor="ctr"/>
          <a:lstStyle/>
          <a:p>
            <a:pPr marL="0" marR="0" lvl="0" indent="0" algn="ctr" defTabSz="609630" rtl="0" eaLnBrk="1" fontAlgn="auto" latinLnBrk="0" hangingPunct="1">
              <a:lnSpc>
                <a:spcPts val="1458"/>
              </a:lnSpc>
              <a:spcBef>
                <a:spcPts val="0"/>
              </a:spcBef>
              <a:spcAft>
                <a:spcPts val="0"/>
              </a:spcAft>
              <a:buClrTx/>
              <a:buSzTx/>
              <a:buFontTx/>
              <a:buNone/>
              <a:tabLst/>
              <a:defRPr/>
            </a:pPr>
            <a:r>
              <a:rPr kumimoji="0" lang="en-US" sz="1283" b="0" i="0" u="none" strike="noStrike" kern="120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for further computations</a:t>
            </a:r>
            <a:endParaRPr kumimoji="0" lang="en-US" sz="1283"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3" name="Graphic 72">
            <a:extLst>
              <a:ext uri="{FF2B5EF4-FFF2-40B4-BE49-F238E27FC236}">
                <a16:creationId xmlns:a16="http://schemas.microsoft.com/office/drawing/2014/main" id="{97868791-3B69-45E6-9E38-DD54E1B88CAB}"/>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230335" y="5148764"/>
            <a:ext cx="339204" cy="339204"/>
          </a:xfrm>
          <a:prstGeom prst="rect">
            <a:avLst/>
          </a:prstGeom>
        </p:spPr>
      </p:pic>
      <p:pic>
        <p:nvPicPr>
          <p:cNvPr id="75" name="Graphic 74">
            <a:extLst>
              <a:ext uri="{FF2B5EF4-FFF2-40B4-BE49-F238E27FC236}">
                <a16:creationId xmlns:a16="http://schemas.microsoft.com/office/drawing/2014/main" id="{302155E3-44C1-43D6-93E4-FF0568E254CF}"/>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0679930" y="5170554"/>
            <a:ext cx="304086" cy="304086"/>
          </a:xfrm>
          <a:prstGeom prst="rect">
            <a:avLst/>
          </a:prstGeom>
        </p:spPr>
      </p:pic>
    </p:spTree>
    <p:extLst>
      <p:ext uri="{BB962C8B-B14F-4D97-AF65-F5344CB8AC3E}">
        <p14:creationId xmlns:p14="http://schemas.microsoft.com/office/powerpoint/2010/main" val="2324677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7A847A-98FB-4C8F-885B-E58CF0C94BC2}"/>
              </a:ext>
            </a:extLst>
          </p:cNvPr>
          <p:cNvSpPr>
            <a:spLocks noGrp="1"/>
          </p:cNvSpPr>
          <p:nvPr>
            <p:ph type="title"/>
          </p:nvPr>
        </p:nvSpPr>
        <p:spPr/>
        <p:txBody>
          <a:bodyPr/>
          <a:lstStyle/>
          <a:p>
            <a:r>
              <a:rPr lang="en-US"/>
              <a:t>What is a “ready-made environment”?</a:t>
            </a:r>
          </a:p>
        </p:txBody>
      </p:sp>
      <p:grpSp>
        <p:nvGrpSpPr>
          <p:cNvPr id="8" name="Group 7">
            <a:extLst>
              <a:ext uri="{FF2B5EF4-FFF2-40B4-BE49-F238E27FC236}">
                <a16:creationId xmlns:a16="http://schemas.microsoft.com/office/drawing/2014/main" id="{43E1E2AE-1795-45AE-A360-AD0D9E839F28}"/>
              </a:ext>
            </a:extLst>
          </p:cNvPr>
          <p:cNvGrpSpPr/>
          <p:nvPr/>
        </p:nvGrpSpPr>
        <p:grpSpPr>
          <a:xfrm>
            <a:off x="3852170" y="2554932"/>
            <a:ext cx="4487661" cy="2371262"/>
            <a:chOff x="4085164" y="2554932"/>
            <a:chExt cx="4487661" cy="2371262"/>
          </a:xfrm>
        </p:grpSpPr>
        <p:grpSp>
          <p:nvGrpSpPr>
            <p:cNvPr id="112" name="Group 111">
              <a:extLst>
                <a:ext uri="{FF2B5EF4-FFF2-40B4-BE49-F238E27FC236}">
                  <a16:creationId xmlns:a16="http://schemas.microsoft.com/office/drawing/2014/main" id="{618413FE-4A04-4DE0-9635-7D08F7765907}"/>
                </a:ext>
              </a:extLst>
            </p:cNvPr>
            <p:cNvGrpSpPr/>
            <p:nvPr/>
          </p:nvGrpSpPr>
          <p:grpSpPr>
            <a:xfrm>
              <a:off x="4085164" y="2554932"/>
              <a:ext cx="4487661" cy="2356120"/>
              <a:chOff x="4203763" y="1791681"/>
              <a:chExt cx="4487661" cy="2356120"/>
            </a:xfrm>
          </p:grpSpPr>
          <p:sp>
            <p:nvSpPr>
              <p:cNvPr id="113" name="Rectangle 112">
                <a:extLst>
                  <a:ext uri="{FF2B5EF4-FFF2-40B4-BE49-F238E27FC236}">
                    <a16:creationId xmlns:a16="http://schemas.microsoft.com/office/drawing/2014/main" id="{48A0350A-D35A-4E41-B5AE-7458BD89542A}"/>
                  </a:ext>
                </a:extLst>
              </p:cNvPr>
              <p:cNvSpPr/>
              <p:nvPr/>
            </p:nvSpPr>
            <p:spPr bwMode="auto">
              <a:xfrm>
                <a:off x="4203765" y="1806032"/>
                <a:ext cx="4487659" cy="2341769"/>
              </a:xfrm>
              <a:prstGeom prst="rect">
                <a:avLst/>
              </a:prstGeom>
              <a:solidFill>
                <a:schemeClr val="tx1"/>
              </a:solidFill>
              <a:ln>
                <a:noFill/>
                <a:headEnd type="none" w="med" len="med"/>
                <a:tailEnd type="none" w="med" len="med"/>
              </a:ln>
              <a:effectLst>
                <a:glow rad="101600">
                  <a:schemeClr val="tx1">
                    <a:lumMod val="8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14" name="Straight Connector 113">
                <a:extLst>
                  <a:ext uri="{FF2B5EF4-FFF2-40B4-BE49-F238E27FC236}">
                    <a16:creationId xmlns:a16="http://schemas.microsoft.com/office/drawing/2014/main" id="{E2787CC4-2533-4F05-9497-FFC6E974608E}"/>
                  </a:ext>
                </a:extLst>
              </p:cNvPr>
              <p:cNvCxnSpPr>
                <a:cxnSpLocks/>
              </p:cNvCxnSpPr>
              <p:nvPr/>
            </p:nvCxnSpPr>
            <p:spPr>
              <a:xfrm>
                <a:off x="4203763" y="1791681"/>
                <a:ext cx="4487659" cy="0"/>
              </a:xfrm>
              <a:prstGeom prst="line">
                <a:avLst/>
              </a:prstGeom>
              <a:ln w="1905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067BA8B7-1DF6-44F1-A978-3FC25159EB6B}"/>
                  </a:ext>
                </a:extLst>
              </p:cNvPr>
              <p:cNvSpPr txBox="1"/>
              <p:nvPr/>
            </p:nvSpPr>
            <p:spPr>
              <a:xfrm>
                <a:off x="4996828" y="2033214"/>
                <a:ext cx="245623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a:ea typeface="+mn-ea"/>
                    <a:cs typeface="+mn-cs"/>
                  </a:rPr>
                  <a:t>Azure IoT Central</a:t>
                </a:r>
              </a:p>
            </p:txBody>
          </p:sp>
          <p:pic>
            <p:nvPicPr>
              <p:cNvPr id="116" name="Graphic 115">
                <a:extLst>
                  <a:ext uri="{FF2B5EF4-FFF2-40B4-BE49-F238E27FC236}">
                    <a16:creationId xmlns:a16="http://schemas.microsoft.com/office/drawing/2014/main" id="{E842015A-3C40-488E-ADA1-DB23CAAEC6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4728" y="1972698"/>
                <a:ext cx="506150" cy="506150"/>
              </a:xfrm>
              <a:prstGeom prst="rect">
                <a:avLst/>
              </a:prstGeom>
            </p:spPr>
          </p:pic>
          <p:sp>
            <p:nvSpPr>
              <p:cNvPr id="117" name="TextBox 116">
                <a:extLst>
                  <a:ext uri="{FF2B5EF4-FFF2-40B4-BE49-F238E27FC236}">
                    <a16:creationId xmlns:a16="http://schemas.microsoft.com/office/drawing/2014/main" id="{1B620D8D-AB8F-419B-A3F2-5CB38768D015}"/>
                  </a:ext>
                </a:extLst>
              </p:cNvPr>
              <p:cNvSpPr txBox="1"/>
              <p:nvPr/>
            </p:nvSpPr>
            <p:spPr>
              <a:xfrm>
                <a:off x="4441720" y="2511218"/>
                <a:ext cx="4171952" cy="306109"/>
              </a:xfrm>
              <a:prstGeom prst="rect">
                <a:avLst/>
              </a:prstGeom>
              <a:noFill/>
            </p:spPr>
            <p:txBody>
              <a:bodyPr wrap="square">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444"/>
                    </a:solidFill>
                    <a:effectLst/>
                    <a:uLnTx/>
                    <a:uFillTx/>
                    <a:latin typeface="Segoe UI Regular" pitchFamily="34" charset="0"/>
                    <a:ea typeface="Segoe UI Regular" pitchFamily="34" charset="-122"/>
                    <a:cs typeface="Segoe UI Regular" pitchFamily="34" charset="-120"/>
                  </a:rPr>
                  <a:t>A ready-made environment for IoT solution development</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B07C7923-3DDF-4D73-91FB-0F9764255105}"/>
                </a:ext>
              </a:extLst>
            </p:cNvPr>
            <p:cNvGrpSpPr/>
            <p:nvPr/>
          </p:nvGrpSpPr>
          <p:grpSpPr>
            <a:xfrm>
              <a:off x="4085164" y="4527682"/>
              <a:ext cx="4487658" cy="398512"/>
              <a:chOff x="4469093" y="6551428"/>
              <a:chExt cx="3995754" cy="398512"/>
            </a:xfrm>
          </p:grpSpPr>
          <p:sp>
            <p:nvSpPr>
              <p:cNvPr id="119" name="Rectangle 118">
                <a:extLst>
                  <a:ext uri="{FF2B5EF4-FFF2-40B4-BE49-F238E27FC236}">
                    <a16:creationId xmlns:a16="http://schemas.microsoft.com/office/drawing/2014/main" id="{807F36B9-0DF7-4526-A89D-CF1FB774E3A7}"/>
                  </a:ext>
                </a:extLst>
              </p:cNvPr>
              <p:cNvSpPr/>
              <p:nvPr/>
            </p:nvSpPr>
            <p:spPr bwMode="auto">
              <a:xfrm>
                <a:off x="4469093" y="6551428"/>
                <a:ext cx="3995754" cy="398512"/>
              </a:xfrm>
              <a:prstGeom prst="rect">
                <a:avLst/>
              </a:prstGeom>
              <a:solidFill>
                <a:srgbClr val="CDF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0" name="TextBox 119">
                <a:extLst>
                  <a:ext uri="{FF2B5EF4-FFF2-40B4-BE49-F238E27FC236}">
                    <a16:creationId xmlns:a16="http://schemas.microsoft.com/office/drawing/2014/main" id="{A2222B0E-07BE-45D3-BA09-018906989D41}"/>
                  </a:ext>
                </a:extLst>
              </p:cNvPr>
              <p:cNvSpPr txBox="1"/>
              <p:nvPr/>
            </p:nvSpPr>
            <p:spPr>
              <a:xfrm>
                <a:off x="4787797" y="6676399"/>
                <a:ext cx="3358343" cy="1384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7373">
                        <a:lumMod val="75000"/>
                      </a:srgbClr>
                    </a:solidFill>
                    <a:effectLst/>
                    <a:uLnTx/>
                    <a:uFillTx/>
                    <a:latin typeface="Segoe UI Semibold"/>
                    <a:ea typeface="+mn-ea"/>
                    <a:cs typeface="+mn-cs"/>
                  </a:rPr>
                  <a:t>High Availability, Disaster Recovery, Elastic Scale, Solution Security</a:t>
                </a:r>
              </a:p>
            </p:txBody>
          </p:sp>
        </p:grpSp>
        <p:grpSp>
          <p:nvGrpSpPr>
            <p:cNvPr id="121" name="Group 120">
              <a:extLst>
                <a:ext uri="{FF2B5EF4-FFF2-40B4-BE49-F238E27FC236}">
                  <a16:creationId xmlns:a16="http://schemas.microsoft.com/office/drawing/2014/main" id="{A7DE808B-AF2A-4B87-BDD8-141F37993E02}"/>
                </a:ext>
              </a:extLst>
            </p:cNvPr>
            <p:cNvGrpSpPr/>
            <p:nvPr/>
          </p:nvGrpSpPr>
          <p:grpSpPr>
            <a:xfrm>
              <a:off x="4330741" y="3640417"/>
              <a:ext cx="3972593" cy="766466"/>
              <a:chOff x="4323121" y="5587816"/>
              <a:chExt cx="3972593" cy="766466"/>
            </a:xfrm>
          </p:grpSpPr>
          <p:pic>
            <p:nvPicPr>
              <p:cNvPr id="122" name="Picture 121" descr="Graphical user interface, table&#10;&#10;Description automatically generated">
                <a:extLst>
                  <a:ext uri="{FF2B5EF4-FFF2-40B4-BE49-F238E27FC236}">
                    <a16:creationId xmlns:a16="http://schemas.microsoft.com/office/drawing/2014/main" id="{5D6A2A61-685B-4B34-941A-5539F842D69F}"/>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4323121" y="5587816"/>
                <a:ext cx="914400" cy="746720"/>
              </a:xfrm>
              <a:prstGeom prst="rect">
                <a:avLst/>
              </a:prstGeom>
            </p:spPr>
          </p:pic>
          <p:pic>
            <p:nvPicPr>
              <p:cNvPr id="123" name="Picture 122" descr="Graphical user interface, text, email&#10;&#10;Description automatically generated">
                <a:extLst>
                  <a:ext uri="{FF2B5EF4-FFF2-40B4-BE49-F238E27FC236}">
                    <a16:creationId xmlns:a16="http://schemas.microsoft.com/office/drawing/2014/main" id="{19445044-16AA-4941-9671-B3141703F833}"/>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6361917" y="5607562"/>
                <a:ext cx="914400" cy="746720"/>
              </a:xfrm>
              <a:prstGeom prst="rect">
                <a:avLst/>
              </a:prstGeom>
            </p:spPr>
          </p:pic>
          <p:pic>
            <p:nvPicPr>
              <p:cNvPr id="124" name="Picture 123" descr="Graphical user interface, chart&#10;&#10;Description automatically generated">
                <a:extLst>
                  <a:ext uri="{FF2B5EF4-FFF2-40B4-BE49-F238E27FC236}">
                    <a16:creationId xmlns:a16="http://schemas.microsoft.com/office/drawing/2014/main" id="{EA67616A-E7C4-42C2-984D-910D916A24B1}"/>
                  </a:ext>
                </a:extLst>
              </p:cNvPr>
              <p:cNvPicPr>
                <a:picLocks noChangeAspect="1"/>
              </p:cNvPicPr>
              <p:nvPr/>
            </p:nvPicPr>
            <p:blipFill>
              <a:blip r:embed="rId9">
                <a:extLst>
                  <a:ext uri="{BEBA8EAE-BF5A-486C-A8C5-ECC9F3942E4B}">
                    <a14:imgProps xmlns:a14="http://schemas.microsoft.com/office/drawing/2010/main">
                      <a14:imgLayer r:embed="rId10">
                        <a14:imgEffect>
                          <a14:sharpenSoften amount="25000"/>
                        </a14:imgEffect>
                      </a14:imgLayer>
                    </a14:imgProps>
                  </a:ext>
                </a:extLst>
              </a:blip>
              <a:stretch>
                <a:fillRect/>
              </a:stretch>
            </p:blipFill>
            <p:spPr>
              <a:xfrm>
                <a:off x="5342519" y="5594398"/>
                <a:ext cx="914400" cy="746720"/>
              </a:xfrm>
              <a:prstGeom prst="rect">
                <a:avLst/>
              </a:prstGeom>
            </p:spPr>
          </p:pic>
          <p:pic>
            <p:nvPicPr>
              <p:cNvPr id="125" name="Picture 124" descr="Graphical user interface, table&#10;&#10;Description automatically generated">
                <a:extLst>
                  <a:ext uri="{FF2B5EF4-FFF2-40B4-BE49-F238E27FC236}">
                    <a16:creationId xmlns:a16="http://schemas.microsoft.com/office/drawing/2014/main" id="{40681928-3F7D-44E9-BAAE-94C619ADAF55}"/>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7381314" y="5600980"/>
                <a:ext cx="914400" cy="746720"/>
              </a:xfrm>
              <a:prstGeom prst="rect">
                <a:avLst/>
              </a:prstGeom>
            </p:spPr>
          </p:pic>
        </p:grpSp>
      </p:grpSp>
      <p:sp>
        <p:nvSpPr>
          <p:cNvPr id="9" name="TextBox 8">
            <a:extLst>
              <a:ext uri="{FF2B5EF4-FFF2-40B4-BE49-F238E27FC236}">
                <a16:creationId xmlns:a16="http://schemas.microsoft.com/office/drawing/2014/main" id="{A8AD453A-6374-492E-9CE7-A7D9E462DD9D}"/>
              </a:ext>
            </a:extLst>
          </p:cNvPr>
          <p:cNvSpPr txBox="1"/>
          <p:nvPr/>
        </p:nvSpPr>
        <p:spPr>
          <a:xfrm>
            <a:off x="4320243" y="5383370"/>
            <a:ext cx="3632600" cy="73866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outerShdw blurRad="50800" dist="38100" dir="2700000" algn="tl" rotWithShape="0">
                    <a:prstClr val="black">
                      <a:alpha val="40000"/>
                    </a:prstClr>
                  </a:outerShdw>
                </a:effectLst>
                <a:uLnTx/>
                <a:uFillTx/>
                <a:latin typeface="Georgia Pro Black" panose="020B0604020202020204" pitchFamily="18" charset="0"/>
                <a:ea typeface="+mn-ea"/>
                <a:cs typeface="+mn-cs"/>
              </a:rPr>
              <a:t>aPaaS</a:t>
            </a:r>
          </a:p>
        </p:txBody>
      </p:sp>
    </p:spTree>
    <p:extLst>
      <p:ext uri="{BB962C8B-B14F-4D97-AF65-F5344CB8AC3E}">
        <p14:creationId xmlns:p14="http://schemas.microsoft.com/office/powerpoint/2010/main" val="281401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A397E3E-B90C-4D82-BAAA-36F7AC6A45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Shape 8">
            <a:extLst>
              <a:ext uri="{FF2B5EF4-FFF2-40B4-BE49-F238E27FC236}">
                <a16:creationId xmlns:a16="http://schemas.microsoft.com/office/drawing/2014/main" id="{E16C8D8F-10E9-4498-ABDB-0F923F8B68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124561"/>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7963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283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7963"/>
                </a:lnTo>
                <a:lnTo>
                  <a:pt x="1613277" y="39017"/>
                </a:lnTo>
                <a:lnTo>
                  <a:pt x="1374516" y="277779"/>
                </a:lnTo>
                <a:lnTo>
                  <a:pt x="1135754" y="39017"/>
                </a:lnTo>
                <a:lnTo>
                  <a:pt x="896745" y="277779"/>
                </a:lnTo>
                <a:lnTo>
                  <a:pt x="657984" y="39017"/>
                </a:lnTo>
                <a:lnTo>
                  <a:pt x="419222" y="277779"/>
                </a:lnTo>
                <a:lnTo>
                  <a:pt x="180458" y="39017"/>
                </a:lnTo>
                <a:lnTo>
                  <a:pt x="0" y="219283"/>
                </a:lnTo>
                <a:lnTo>
                  <a:pt x="0" y="180458"/>
                </a:lnTo>
                <a:close/>
              </a:path>
            </a:pathLst>
          </a:custGeom>
          <a:solidFill>
            <a:schemeClr val="bg1"/>
          </a:solidFill>
          <a:ln w="9525" cap="flat">
            <a:noFill/>
            <a:prstDash val="solid"/>
            <a:miter/>
          </a:ln>
        </p:spPr>
        <p:txBody>
          <a:bodyPr wrap="square" rtlCol="0" anchor="ctr">
            <a:noAutofit/>
          </a:bodyPr>
          <a:lstStyle/>
          <a:p>
            <a:endParaRPr lang="en-US"/>
          </a:p>
        </p:txBody>
      </p:sp>
      <p:sp>
        <p:nvSpPr>
          <p:cNvPr id="11" name="Freeform: Shape 10">
            <a:extLst>
              <a:ext uri="{FF2B5EF4-FFF2-40B4-BE49-F238E27FC236}">
                <a16:creationId xmlns:a16="http://schemas.microsoft.com/office/drawing/2014/main" id="{1E5A83E3-8A11-4492-BB6E-F5F2240316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564296"/>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8208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475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8208"/>
                </a:lnTo>
                <a:lnTo>
                  <a:pt x="1613277" y="39017"/>
                </a:lnTo>
                <a:lnTo>
                  <a:pt x="1374516" y="277779"/>
                </a:lnTo>
                <a:lnTo>
                  <a:pt x="1135754" y="39017"/>
                </a:lnTo>
                <a:lnTo>
                  <a:pt x="896745" y="277779"/>
                </a:lnTo>
                <a:lnTo>
                  <a:pt x="657984" y="39017"/>
                </a:lnTo>
                <a:lnTo>
                  <a:pt x="419222" y="277779"/>
                </a:lnTo>
                <a:lnTo>
                  <a:pt x="180458" y="39017"/>
                </a:lnTo>
                <a:lnTo>
                  <a:pt x="0" y="219475"/>
                </a:lnTo>
                <a:lnTo>
                  <a:pt x="0" y="180458"/>
                </a:lnTo>
                <a:close/>
              </a:path>
            </a:pathLst>
          </a:custGeom>
          <a:solidFill>
            <a:schemeClr val="bg1"/>
          </a:solidFill>
          <a:ln w="9525" cap="flat">
            <a:noFill/>
            <a:prstDash val="solid"/>
            <a:miter/>
          </a:ln>
        </p:spPr>
        <p:txBody>
          <a:bodyPr wrap="square" rtlCol="0" anchor="ctr">
            <a:noAutofit/>
          </a:bodyPr>
          <a:lstStyle/>
          <a:p>
            <a:endParaRPr lang="en-US"/>
          </a:p>
        </p:txBody>
      </p:sp>
      <p:sp>
        <p:nvSpPr>
          <p:cNvPr id="13" name="Freeform: Shape 12">
            <a:extLst>
              <a:ext uri="{FF2B5EF4-FFF2-40B4-BE49-F238E27FC236}">
                <a16:creationId xmlns:a16="http://schemas.microsoft.com/office/drawing/2014/main" id="{8CF5E676-CA04-4CED-9F1E-5026ED66E6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782347" cy="2943932"/>
          </a:xfrm>
          <a:custGeom>
            <a:avLst/>
            <a:gdLst>
              <a:gd name="connsiteX0" fmla="*/ 2292284 w 3871489"/>
              <a:gd name="connsiteY0" fmla="*/ 0 h 4096327"/>
              <a:gd name="connsiteX1" fmla="*/ 3500914 w 3871489"/>
              <a:gd name="connsiteY1" fmla="*/ 0 h 4096327"/>
              <a:gd name="connsiteX2" fmla="*/ 3542229 w 3871489"/>
              <a:gd name="connsiteY2" fmla="*/ 68006 h 4096327"/>
              <a:gd name="connsiteX3" fmla="*/ 3871489 w 3871489"/>
              <a:gd name="connsiteY3" fmla="*/ 1368323 h 4096327"/>
              <a:gd name="connsiteX4" fmla="*/ 1143485 w 3871489"/>
              <a:gd name="connsiteY4" fmla="*/ 4096327 h 4096327"/>
              <a:gd name="connsiteX5" fmla="*/ 81633 w 3871489"/>
              <a:gd name="connsiteY5" fmla="*/ 3881944 h 4096327"/>
              <a:gd name="connsiteX6" fmla="*/ 0 w 3871489"/>
              <a:gd name="connsiteY6" fmla="*/ 3842618 h 4096327"/>
              <a:gd name="connsiteX7" fmla="*/ 0 w 3871489"/>
              <a:gd name="connsiteY7" fmla="*/ 2741475 h 4096327"/>
              <a:gd name="connsiteX8" fmla="*/ 6615 w 3871489"/>
              <a:gd name="connsiteY8" fmla="*/ 2747487 h 4096327"/>
              <a:gd name="connsiteX9" fmla="*/ 1143485 w 3871489"/>
              <a:gd name="connsiteY9" fmla="*/ 3155655 h 4096327"/>
              <a:gd name="connsiteX10" fmla="*/ 2930817 w 3871489"/>
              <a:gd name="connsiteY10" fmla="*/ 1368323 h 4096327"/>
              <a:gd name="connsiteX11" fmla="*/ 2407287 w 3871489"/>
              <a:gd name="connsiteY11" fmla="*/ 104524 h 409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489" h="4096327">
                <a:moveTo>
                  <a:pt x="2292284" y="0"/>
                </a:moveTo>
                <a:lnTo>
                  <a:pt x="3500914" y="0"/>
                </a:lnTo>
                <a:lnTo>
                  <a:pt x="3542229" y="68006"/>
                </a:lnTo>
                <a:cubicBezTo>
                  <a:pt x="3752213" y="454545"/>
                  <a:pt x="3871489" y="897507"/>
                  <a:pt x="3871489" y="1368323"/>
                </a:cubicBezTo>
                <a:cubicBezTo>
                  <a:pt x="3871489" y="2874936"/>
                  <a:pt x="2650098" y="4096327"/>
                  <a:pt x="1143485" y="4096327"/>
                </a:cubicBezTo>
                <a:cubicBezTo>
                  <a:pt x="766832" y="4096327"/>
                  <a:pt x="408006" y="4019990"/>
                  <a:pt x="81633" y="3881944"/>
                </a:cubicBezTo>
                <a:lnTo>
                  <a:pt x="0" y="3842618"/>
                </a:lnTo>
                <a:lnTo>
                  <a:pt x="0" y="2741475"/>
                </a:lnTo>
                <a:lnTo>
                  <a:pt x="6615" y="2747487"/>
                </a:lnTo>
                <a:cubicBezTo>
                  <a:pt x="315579" y="3002472"/>
                  <a:pt x="711663" y="3155655"/>
                  <a:pt x="1143485" y="3155655"/>
                </a:cubicBezTo>
                <a:cubicBezTo>
                  <a:pt x="2130515" y="3155655"/>
                  <a:pt x="2930817" y="2355353"/>
                  <a:pt x="2930817" y="1368323"/>
                </a:cubicBezTo>
                <a:cubicBezTo>
                  <a:pt x="2930817" y="874812"/>
                  <a:pt x="2730741" y="427979"/>
                  <a:pt x="2407287" y="104524"/>
                </a:cubicBezTo>
                <a:close/>
              </a:path>
            </a:pathLst>
          </a:cu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15" name="Freeform: Shape 14">
            <a:extLst>
              <a:ext uri="{FF2B5EF4-FFF2-40B4-BE49-F238E27FC236}">
                <a16:creationId xmlns:a16="http://schemas.microsoft.com/office/drawing/2014/main" id="{6BA9E676-A8FC-4C2F-8D78-C13ED8ABD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782347" cy="2943932"/>
          </a:xfrm>
          <a:custGeom>
            <a:avLst/>
            <a:gdLst>
              <a:gd name="connsiteX0" fmla="*/ 2292284 w 3871489"/>
              <a:gd name="connsiteY0" fmla="*/ 0 h 4096327"/>
              <a:gd name="connsiteX1" fmla="*/ 3500914 w 3871489"/>
              <a:gd name="connsiteY1" fmla="*/ 0 h 4096327"/>
              <a:gd name="connsiteX2" fmla="*/ 3542229 w 3871489"/>
              <a:gd name="connsiteY2" fmla="*/ 68006 h 4096327"/>
              <a:gd name="connsiteX3" fmla="*/ 3871489 w 3871489"/>
              <a:gd name="connsiteY3" fmla="*/ 1368323 h 4096327"/>
              <a:gd name="connsiteX4" fmla="*/ 1143485 w 3871489"/>
              <a:gd name="connsiteY4" fmla="*/ 4096327 h 4096327"/>
              <a:gd name="connsiteX5" fmla="*/ 81633 w 3871489"/>
              <a:gd name="connsiteY5" fmla="*/ 3881944 h 4096327"/>
              <a:gd name="connsiteX6" fmla="*/ 0 w 3871489"/>
              <a:gd name="connsiteY6" fmla="*/ 3842618 h 4096327"/>
              <a:gd name="connsiteX7" fmla="*/ 0 w 3871489"/>
              <a:gd name="connsiteY7" fmla="*/ 2741475 h 4096327"/>
              <a:gd name="connsiteX8" fmla="*/ 6615 w 3871489"/>
              <a:gd name="connsiteY8" fmla="*/ 2747487 h 4096327"/>
              <a:gd name="connsiteX9" fmla="*/ 1143485 w 3871489"/>
              <a:gd name="connsiteY9" fmla="*/ 3155655 h 4096327"/>
              <a:gd name="connsiteX10" fmla="*/ 2930817 w 3871489"/>
              <a:gd name="connsiteY10" fmla="*/ 1368323 h 4096327"/>
              <a:gd name="connsiteX11" fmla="*/ 2407287 w 3871489"/>
              <a:gd name="connsiteY11" fmla="*/ 104524 h 409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489" h="4096327">
                <a:moveTo>
                  <a:pt x="2292284" y="0"/>
                </a:moveTo>
                <a:lnTo>
                  <a:pt x="3500914" y="0"/>
                </a:lnTo>
                <a:lnTo>
                  <a:pt x="3542229" y="68006"/>
                </a:lnTo>
                <a:cubicBezTo>
                  <a:pt x="3752213" y="454545"/>
                  <a:pt x="3871489" y="897507"/>
                  <a:pt x="3871489" y="1368323"/>
                </a:cubicBezTo>
                <a:cubicBezTo>
                  <a:pt x="3871489" y="2874936"/>
                  <a:pt x="2650098" y="4096327"/>
                  <a:pt x="1143485" y="4096327"/>
                </a:cubicBezTo>
                <a:cubicBezTo>
                  <a:pt x="766832" y="4096327"/>
                  <a:pt x="408006" y="4019990"/>
                  <a:pt x="81633" y="3881944"/>
                </a:cubicBezTo>
                <a:lnTo>
                  <a:pt x="0" y="3842618"/>
                </a:lnTo>
                <a:lnTo>
                  <a:pt x="0" y="2741475"/>
                </a:lnTo>
                <a:lnTo>
                  <a:pt x="6615" y="2747487"/>
                </a:lnTo>
                <a:cubicBezTo>
                  <a:pt x="315579" y="3002472"/>
                  <a:pt x="711663" y="3155655"/>
                  <a:pt x="1143485" y="3155655"/>
                </a:cubicBezTo>
                <a:cubicBezTo>
                  <a:pt x="2130515" y="3155655"/>
                  <a:pt x="2930817" y="2355353"/>
                  <a:pt x="2930817" y="1368323"/>
                </a:cubicBezTo>
                <a:cubicBezTo>
                  <a:pt x="2930817" y="874812"/>
                  <a:pt x="2730741" y="427979"/>
                  <a:pt x="2407287" y="104524"/>
                </a:cubicBezTo>
                <a:close/>
              </a:path>
            </a:pathLst>
          </a:custGeom>
          <a:solidFill>
            <a:schemeClr val="accent2">
              <a:alpha val="3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17" name="Freeform: Shape 16">
            <a:extLst>
              <a:ext uri="{FF2B5EF4-FFF2-40B4-BE49-F238E27FC236}">
                <a16:creationId xmlns:a16="http://schemas.microsoft.com/office/drawing/2014/main" id="{A2B5CBEA-F125-49B6-8335-227C325B11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765207" y="4529611"/>
            <a:ext cx="2426793" cy="2328389"/>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Freeform: Shape 18">
            <a:extLst>
              <a:ext uri="{FF2B5EF4-FFF2-40B4-BE49-F238E27FC236}">
                <a16:creationId xmlns:a16="http://schemas.microsoft.com/office/drawing/2014/main" id="{EECD79B5-5FC5-495F-BFD6-346C16E787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765207" y="4529611"/>
            <a:ext cx="2426793" cy="2328389"/>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chemeClr val="accent6">
              <a:alpha val="3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 name="Rectangle 20">
            <a:extLst>
              <a:ext uri="{FF2B5EF4-FFF2-40B4-BE49-F238E27FC236}">
                <a16:creationId xmlns:a16="http://schemas.microsoft.com/office/drawing/2014/main" id="{2C1D3151-5F97-4860-B56C-C98BD62CC2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21898" y="819446"/>
            <a:ext cx="8751370" cy="5402463"/>
          </a:xfrm>
          <a:prstGeom prst="rect">
            <a:avLst/>
          </a:prstGeom>
          <a:solidFill>
            <a:srgbClr val="FFFF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32D9D048-3063-435A-8C23-26C1907E9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21898" y="819446"/>
            <a:ext cx="8751370" cy="5402463"/>
          </a:xfrm>
          <a:prstGeom prst="rect">
            <a:avLst/>
          </a:prstGeom>
          <a:solidFill>
            <a:schemeClr val="accent2">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8DE96824-E506-4448-8704-5EC7BF7BC5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20315" y="727769"/>
            <a:ext cx="8751370" cy="5402463"/>
          </a:xfrm>
          <a:prstGeom prst="rect">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F49F45-668D-4E2A-E60F-659E42B4B9F9}"/>
              </a:ext>
            </a:extLst>
          </p:cNvPr>
          <p:cNvSpPr>
            <a:spLocks noGrp="1"/>
          </p:cNvSpPr>
          <p:nvPr>
            <p:ph type="title"/>
          </p:nvPr>
        </p:nvSpPr>
        <p:spPr>
          <a:xfrm>
            <a:off x="2381534" y="1344304"/>
            <a:ext cx="7451678" cy="2843702"/>
          </a:xfrm>
        </p:spPr>
        <p:txBody>
          <a:bodyPr vert="horz" lIns="91440" tIns="45720" rIns="91440" bIns="45720" rtlCol="0" anchor="b">
            <a:normAutofit/>
          </a:bodyPr>
          <a:lstStyle/>
          <a:p>
            <a:pPr algn="ctr"/>
            <a:r>
              <a:rPr lang="en-US" sz="5400" kern="1200">
                <a:solidFill>
                  <a:schemeClr val="bg1"/>
                </a:solidFill>
                <a:latin typeface="+mj-lt"/>
                <a:ea typeface="+mj-ea"/>
                <a:cs typeface="+mj-cs"/>
              </a:rPr>
              <a:t>Appendix</a:t>
            </a:r>
          </a:p>
        </p:txBody>
      </p:sp>
      <p:sp>
        <p:nvSpPr>
          <p:cNvPr id="27" name="Oval 26">
            <a:extLst>
              <a:ext uri="{FF2B5EF4-FFF2-40B4-BE49-F238E27FC236}">
                <a16:creationId xmlns:a16="http://schemas.microsoft.com/office/drawing/2014/main" id="{4D1A5E71-B6B6-486A-8CDC-C7ABD9B90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29446" y="4786746"/>
            <a:ext cx="620727" cy="620727"/>
          </a:xfrm>
          <a:prstGeom prst="ellipse">
            <a:avLst/>
          </a:prstGeom>
          <a:solidFill>
            <a:srgbClr val="FFFF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9" name="Oval 28">
            <a:extLst>
              <a:ext uri="{FF2B5EF4-FFF2-40B4-BE49-F238E27FC236}">
                <a16:creationId xmlns:a16="http://schemas.microsoft.com/office/drawing/2014/main" id="{B6C541AE-9B02-44C0-B8C6-B2DEA7ED38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29446" y="4786746"/>
            <a:ext cx="620727" cy="620727"/>
          </a:xfrm>
          <a:prstGeom prst="ellipse">
            <a:avLst/>
          </a:prstGeom>
          <a:solidFill>
            <a:schemeClr val="accent6">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50733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2980125" y="1260395"/>
            <a:ext cx="8811674" cy="4738597"/>
          </a:xfrm>
          <a:prstGeom prst="rect">
            <a:avLst/>
          </a:prstGeom>
          <a:solidFill>
            <a:schemeClr val="bg1">
              <a:lumMod val="95000"/>
            </a:schemeClr>
          </a:solidFill>
          <a:ln w="12700" cap="flat" cmpd="sng" algn="ctr">
            <a:noFill/>
            <a:prstDash val="solid"/>
            <a:miter lim="800000"/>
          </a:ln>
          <a:effectLst/>
        </p:spPr>
        <p:txBody>
          <a:bodyPr rtlCol="0" anchor="ctr"/>
          <a:lstStyle/>
          <a:p>
            <a:pPr algn="ctr" defTabSz="914225">
              <a:defRPr/>
            </a:pPr>
            <a:endParaRPr lang="it-IT" kern="0" dirty="0"/>
          </a:p>
        </p:txBody>
      </p:sp>
      <p:sp>
        <p:nvSpPr>
          <p:cNvPr id="3" name="Title 2"/>
          <p:cNvSpPr>
            <a:spLocks noGrp="1"/>
          </p:cNvSpPr>
          <p:nvPr>
            <p:ph type="title"/>
          </p:nvPr>
        </p:nvSpPr>
        <p:spPr/>
        <p:txBody>
          <a:bodyPr/>
          <a:lstStyle/>
          <a:p>
            <a:r>
              <a:rPr lang="en-US" dirty="0"/>
              <a:t>Typical Manufacturing Systems…</a:t>
            </a:r>
            <a:endParaRPr lang="en-IN" dirty="0"/>
          </a:p>
        </p:txBody>
      </p:sp>
      <p:sp>
        <p:nvSpPr>
          <p:cNvPr id="51" name="Freeform: Shape 50"/>
          <p:cNvSpPr/>
          <p:nvPr/>
        </p:nvSpPr>
        <p:spPr>
          <a:xfrm>
            <a:off x="2537830" y="1260396"/>
            <a:ext cx="864240" cy="789766"/>
          </a:xfrm>
          <a:custGeom>
            <a:avLst/>
            <a:gdLst>
              <a:gd name="connsiteX0" fmla="*/ 0 w 550834"/>
              <a:gd name="connsiteY0" fmla="*/ 774095 h 774095"/>
              <a:gd name="connsiteX1" fmla="*/ 275417 w 550834"/>
              <a:gd name="connsiteY1" fmla="*/ 0 h 774095"/>
              <a:gd name="connsiteX2" fmla="*/ 275417 w 550834"/>
              <a:gd name="connsiteY2" fmla="*/ 0 h 774095"/>
              <a:gd name="connsiteX3" fmla="*/ 550834 w 550834"/>
              <a:gd name="connsiteY3" fmla="*/ 774095 h 774095"/>
              <a:gd name="connsiteX4" fmla="*/ 0 w 550834"/>
              <a:gd name="connsiteY4" fmla="*/ 774095 h 774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834" h="774095">
                <a:moveTo>
                  <a:pt x="0" y="774095"/>
                </a:moveTo>
                <a:lnTo>
                  <a:pt x="275417" y="0"/>
                </a:lnTo>
                <a:lnTo>
                  <a:pt x="275417" y="0"/>
                </a:lnTo>
                <a:lnTo>
                  <a:pt x="550834" y="774095"/>
                </a:lnTo>
                <a:lnTo>
                  <a:pt x="0" y="774095"/>
                </a:lnTo>
                <a:close/>
              </a:path>
            </a:pathLst>
          </a:custGeom>
          <a:solidFill>
            <a:schemeClr val="tx2"/>
          </a:solidFill>
          <a:ln w="1905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587" tIns="457135" rIns="21587" bIns="21587" numCol="1" spcCol="1270" anchor="ctr" anchorCtr="0">
            <a:noAutofit/>
          </a:bodyPr>
          <a:lstStyle/>
          <a:p>
            <a:pPr algn="ctr" defTabSz="888829">
              <a:lnSpc>
                <a:spcPct val="90000"/>
              </a:lnSpc>
              <a:spcBef>
                <a:spcPct val="0"/>
              </a:spcBef>
              <a:spcAft>
                <a:spcPct val="35000"/>
              </a:spcAft>
            </a:pPr>
            <a:r>
              <a:rPr lang="en-US" sz="1568" dirty="0">
                <a:solidFill>
                  <a:schemeClr val="bg1"/>
                </a:solidFill>
                <a:latin typeface="Segoe UI Semibold" panose="020B0702040204020203" pitchFamily="34" charset="0"/>
                <a:cs typeface="Segoe UI Semibold" panose="020B0702040204020203" pitchFamily="34" charset="0"/>
              </a:rPr>
              <a:t>ERP</a:t>
            </a:r>
          </a:p>
        </p:txBody>
      </p:sp>
      <p:sp>
        <p:nvSpPr>
          <p:cNvPr id="52" name="Freeform: Shape 51"/>
          <p:cNvSpPr/>
          <p:nvPr/>
        </p:nvSpPr>
        <p:spPr>
          <a:xfrm>
            <a:off x="2105710" y="2050161"/>
            <a:ext cx="1728481" cy="789766"/>
          </a:xfrm>
          <a:custGeom>
            <a:avLst/>
            <a:gdLst>
              <a:gd name="connsiteX0" fmla="*/ 0 w 1101669"/>
              <a:gd name="connsiteY0" fmla="*/ 774095 h 774095"/>
              <a:gd name="connsiteX1" fmla="*/ 275415 w 1101669"/>
              <a:gd name="connsiteY1" fmla="*/ 0 h 774095"/>
              <a:gd name="connsiteX2" fmla="*/ 826254 w 1101669"/>
              <a:gd name="connsiteY2" fmla="*/ 0 h 774095"/>
              <a:gd name="connsiteX3" fmla="*/ 1101669 w 1101669"/>
              <a:gd name="connsiteY3" fmla="*/ 774095 h 774095"/>
              <a:gd name="connsiteX4" fmla="*/ 0 w 1101669"/>
              <a:gd name="connsiteY4" fmla="*/ 774095 h 774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1669" h="774095">
                <a:moveTo>
                  <a:pt x="0" y="774095"/>
                </a:moveTo>
                <a:lnTo>
                  <a:pt x="275415" y="0"/>
                </a:lnTo>
                <a:lnTo>
                  <a:pt x="826254" y="0"/>
                </a:lnTo>
                <a:lnTo>
                  <a:pt x="1101669" y="774095"/>
                </a:lnTo>
                <a:lnTo>
                  <a:pt x="0" y="774095"/>
                </a:lnTo>
                <a:close/>
              </a:path>
            </a:pathLst>
          </a:custGeom>
          <a:solidFill>
            <a:schemeClr val="tx2"/>
          </a:solidFill>
          <a:ln w="1905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0700" tIns="27936" rIns="220700" bIns="27936" numCol="1" spcCol="1270" anchor="ctr" anchorCtr="0">
            <a:noAutofit/>
          </a:bodyPr>
          <a:lstStyle/>
          <a:p>
            <a:pPr algn="ctr" defTabSz="888829">
              <a:lnSpc>
                <a:spcPct val="90000"/>
              </a:lnSpc>
              <a:spcBef>
                <a:spcPct val="0"/>
              </a:spcBef>
              <a:spcAft>
                <a:spcPct val="35000"/>
              </a:spcAft>
            </a:pPr>
            <a:r>
              <a:rPr lang="en-US" sz="1568">
                <a:solidFill>
                  <a:schemeClr val="bg1"/>
                </a:solidFill>
                <a:latin typeface="Segoe UI Semibold" panose="020B0702040204020203" pitchFamily="34" charset="0"/>
                <a:cs typeface="Segoe UI Semibold" panose="020B0702040204020203" pitchFamily="34" charset="0"/>
              </a:rPr>
              <a:t>MES</a:t>
            </a:r>
            <a:endParaRPr lang="en-US" sz="1568" dirty="0">
              <a:solidFill>
                <a:schemeClr val="bg1"/>
              </a:solidFill>
              <a:latin typeface="Segoe UI Semibold" panose="020B0702040204020203" pitchFamily="34" charset="0"/>
              <a:cs typeface="Segoe UI Semibold" panose="020B0702040204020203" pitchFamily="34" charset="0"/>
            </a:endParaRPr>
          </a:p>
        </p:txBody>
      </p:sp>
      <p:sp>
        <p:nvSpPr>
          <p:cNvPr id="53" name="Freeform: Shape 52"/>
          <p:cNvSpPr/>
          <p:nvPr/>
        </p:nvSpPr>
        <p:spPr>
          <a:xfrm>
            <a:off x="1673588" y="2839928"/>
            <a:ext cx="2592723" cy="789766"/>
          </a:xfrm>
          <a:custGeom>
            <a:avLst/>
            <a:gdLst>
              <a:gd name="connsiteX0" fmla="*/ 0 w 1652504"/>
              <a:gd name="connsiteY0" fmla="*/ 774095 h 774095"/>
              <a:gd name="connsiteX1" fmla="*/ 275415 w 1652504"/>
              <a:gd name="connsiteY1" fmla="*/ 0 h 774095"/>
              <a:gd name="connsiteX2" fmla="*/ 1377089 w 1652504"/>
              <a:gd name="connsiteY2" fmla="*/ 0 h 774095"/>
              <a:gd name="connsiteX3" fmla="*/ 1652504 w 1652504"/>
              <a:gd name="connsiteY3" fmla="*/ 774095 h 774095"/>
              <a:gd name="connsiteX4" fmla="*/ 0 w 1652504"/>
              <a:gd name="connsiteY4" fmla="*/ 774095 h 774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504" h="774095">
                <a:moveTo>
                  <a:pt x="0" y="774095"/>
                </a:moveTo>
                <a:lnTo>
                  <a:pt x="275415" y="0"/>
                </a:lnTo>
                <a:lnTo>
                  <a:pt x="1377089" y="0"/>
                </a:lnTo>
                <a:lnTo>
                  <a:pt x="1652504" y="774095"/>
                </a:lnTo>
                <a:lnTo>
                  <a:pt x="0" y="774095"/>
                </a:lnTo>
                <a:close/>
              </a:path>
            </a:pathLst>
          </a:custGeom>
          <a:solidFill>
            <a:schemeClr val="tx2"/>
          </a:solidFill>
          <a:ln w="1905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1052" tIns="41904" rIns="331051" bIns="41904" numCol="1" spcCol="1270" anchor="ctr" anchorCtr="0">
            <a:noAutofit/>
          </a:bodyPr>
          <a:lstStyle/>
          <a:p>
            <a:pPr algn="ctr" defTabSz="888829">
              <a:lnSpc>
                <a:spcPct val="90000"/>
              </a:lnSpc>
              <a:spcBef>
                <a:spcPct val="0"/>
              </a:spcBef>
              <a:spcAft>
                <a:spcPct val="35000"/>
              </a:spcAft>
            </a:pPr>
            <a:r>
              <a:rPr lang="en-US" sz="1568">
                <a:solidFill>
                  <a:schemeClr val="bg1"/>
                </a:solidFill>
                <a:latin typeface="Segoe UI Semibold" panose="020B0702040204020203" pitchFamily="34" charset="0"/>
                <a:cs typeface="Segoe UI Semibold" panose="020B0702040204020203" pitchFamily="34" charset="0"/>
              </a:rPr>
              <a:t>SCADA</a:t>
            </a:r>
            <a:endParaRPr lang="en-US" sz="1568" dirty="0">
              <a:solidFill>
                <a:schemeClr val="bg1"/>
              </a:solidFill>
              <a:latin typeface="Segoe UI Semibold" panose="020B0702040204020203" pitchFamily="34" charset="0"/>
              <a:cs typeface="Segoe UI Semibold" panose="020B0702040204020203" pitchFamily="34" charset="0"/>
            </a:endParaRPr>
          </a:p>
        </p:txBody>
      </p:sp>
      <p:sp>
        <p:nvSpPr>
          <p:cNvPr id="54" name="Freeform: Shape 53"/>
          <p:cNvSpPr/>
          <p:nvPr/>
        </p:nvSpPr>
        <p:spPr>
          <a:xfrm>
            <a:off x="1241468" y="3629692"/>
            <a:ext cx="3456966" cy="789766"/>
          </a:xfrm>
          <a:custGeom>
            <a:avLst/>
            <a:gdLst>
              <a:gd name="connsiteX0" fmla="*/ 0 w 2203339"/>
              <a:gd name="connsiteY0" fmla="*/ 774095 h 774095"/>
              <a:gd name="connsiteX1" fmla="*/ 275415 w 2203339"/>
              <a:gd name="connsiteY1" fmla="*/ 0 h 774095"/>
              <a:gd name="connsiteX2" fmla="*/ 1927924 w 2203339"/>
              <a:gd name="connsiteY2" fmla="*/ 0 h 774095"/>
              <a:gd name="connsiteX3" fmla="*/ 2203339 w 2203339"/>
              <a:gd name="connsiteY3" fmla="*/ 774095 h 774095"/>
              <a:gd name="connsiteX4" fmla="*/ 0 w 2203339"/>
              <a:gd name="connsiteY4" fmla="*/ 774095 h 774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339" h="774095">
                <a:moveTo>
                  <a:pt x="0" y="774095"/>
                </a:moveTo>
                <a:lnTo>
                  <a:pt x="275415" y="0"/>
                </a:lnTo>
                <a:lnTo>
                  <a:pt x="1927924" y="0"/>
                </a:lnTo>
                <a:lnTo>
                  <a:pt x="2203339" y="774095"/>
                </a:lnTo>
                <a:lnTo>
                  <a:pt x="0" y="774095"/>
                </a:lnTo>
                <a:close/>
              </a:path>
            </a:pathLst>
          </a:custGeom>
          <a:ln w="1905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131" tIns="54602" rIns="440132" bIns="54602" numCol="1" spcCol="1270" anchor="ctr" anchorCtr="0">
            <a:noAutofit/>
          </a:bodyPr>
          <a:lstStyle/>
          <a:p>
            <a:pPr algn="ctr" defTabSz="888829">
              <a:lnSpc>
                <a:spcPct val="90000"/>
              </a:lnSpc>
              <a:spcBef>
                <a:spcPct val="0"/>
              </a:spcBef>
              <a:spcAft>
                <a:spcPct val="35000"/>
              </a:spcAft>
            </a:pPr>
            <a:r>
              <a:rPr lang="en-US" sz="1568">
                <a:solidFill>
                  <a:schemeClr val="bg1"/>
                </a:solidFill>
                <a:latin typeface="Segoe UI Semibold" panose="020B0702040204020203" pitchFamily="34" charset="0"/>
                <a:cs typeface="Segoe UI Semibold" panose="020B0702040204020203" pitchFamily="34" charset="0"/>
              </a:rPr>
              <a:t>OPC</a:t>
            </a:r>
            <a:endParaRPr lang="en-US" sz="1568" dirty="0">
              <a:solidFill>
                <a:schemeClr val="bg1"/>
              </a:solidFill>
              <a:latin typeface="Segoe UI Semibold" panose="020B0702040204020203" pitchFamily="34" charset="0"/>
              <a:cs typeface="Segoe UI Semibold" panose="020B0702040204020203" pitchFamily="34" charset="0"/>
            </a:endParaRPr>
          </a:p>
        </p:txBody>
      </p:sp>
      <p:sp>
        <p:nvSpPr>
          <p:cNvPr id="55" name="Freeform: Shape 54"/>
          <p:cNvSpPr/>
          <p:nvPr/>
        </p:nvSpPr>
        <p:spPr>
          <a:xfrm>
            <a:off x="809345" y="4419459"/>
            <a:ext cx="4321207" cy="789766"/>
          </a:xfrm>
          <a:custGeom>
            <a:avLst/>
            <a:gdLst>
              <a:gd name="connsiteX0" fmla="*/ 0 w 2754174"/>
              <a:gd name="connsiteY0" fmla="*/ 774095 h 774095"/>
              <a:gd name="connsiteX1" fmla="*/ 275415 w 2754174"/>
              <a:gd name="connsiteY1" fmla="*/ 0 h 774095"/>
              <a:gd name="connsiteX2" fmla="*/ 2478759 w 2754174"/>
              <a:gd name="connsiteY2" fmla="*/ 0 h 774095"/>
              <a:gd name="connsiteX3" fmla="*/ 2754174 w 2754174"/>
              <a:gd name="connsiteY3" fmla="*/ 774095 h 774095"/>
              <a:gd name="connsiteX4" fmla="*/ 0 w 2754174"/>
              <a:gd name="connsiteY4" fmla="*/ 774095 h 774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4174" h="774095">
                <a:moveTo>
                  <a:pt x="0" y="774095"/>
                </a:moveTo>
                <a:lnTo>
                  <a:pt x="275415" y="0"/>
                </a:lnTo>
                <a:lnTo>
                  <a:pt x="2478759" y="0"/>
                </a:lnTo>
                <a:lnTo>
                  <a:pt x="2754174" y="774095"/>
                </a:lnTo>
                <a:lnTo>
                  <a:pt x="0" y="774095"/>
                </a:lnTo>
                <a:close/>
              </a:path>
            </a:pathLst>
          </a:custGeom>
          <a:solidFill>
            <a:schemeClr val="accent3"/>
          </a:solidFill>
          <a:ln w="1905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6515" tIns="54602" rIns="536514" bIns="54602" numCol="1" spcCol="1270" anchor="ctr" anchorCtr="0">
            <a:noAutofit/>
          </a:bodyPr>
          <a:lstStyle/>
          <a:p>
            <a:pPr algn="ctr" defTabSz="888829">
              <a:lnSpc>
                <a:spcPct val="90000"/>
              </a:lnSpc>
              <a:spcBef>
                <a:spcPct val="0"/>
              </a:spcBef>
              <a:spcAft>
                <a:spcPct val="35000"/>
              </a:spcAft>
            </a:pPr>
            <a:r>
              <a:rPr lang="en-US" sz="1568">
                <a:solidFill>
                  <a:srgbClr val="000000"/>
                </a:solidFill>
                <a:latin typeface="Segoe UI Semibold" panose="020B0702040204020203" pitchFamily="34" charset="0"/>
                <a:cs typeface="Segoe UI Semibold" panose="020B0702040204020203" pitchFamily="34" charset="0"/>
              </a:rPr>
              <a:t>HMI</a:t>
            </a:r>
            <a:endParaRPr lang="en-US" sz="1568" dirty="0">
              <a:solidFill>
                <a:srgbClr val="000000"/>
              </a:solidFill>
              <a:latin typeface="Segoe UI Semibold" panose="020B0702040204020203" pitchFamily="34" charset="0"/>
              <a:cs typeface="Segoe UI Semibold" panose="020B0702040204020203" pitchFamily="34" charset="0"/>
            </a:endParaRPr>
          </a:p>
        </p:txBody>
      </p:sp>
      <p:sp>
        <p:nvSpPr>
          <p:cNvPr id="56" name="Freeform: Shape 55"/>
          <p:cNvSpPr/>
          <p:nvPr/>
        </p:nvSpPr>
        <p:spPr>
          <a:xfrm>
            <a:off x="377226" y="5209226"/>
            <a:ext cx="5185449" cy="789766"/>
          </a:xfrm>
          <a:custGeom>
            <a:avLst/>
            <a:gdLst>
              <a:gd name="connsiteX0" fmla="*/ 0 w 3305009"/>
              <a:gd name="connsiteY0" fmla="*/ 774095 h 774095"/>
              <a:gd name="connsiteX1" fmla="*/ 275415 w 3305009"/>
              <a:gd name="connsiteY1" fmla="*/ 0 h 774095"/>
              <a:gd name="connsiteX2" fmla="*/ 3029594 w 3305009"/>
              <a:gd name="connsiteY2" fmla="*/ 0 h 774095"/>
              <a:gd name="connsiteX3" fmla="*/ 3305009 w 3305009"/>
              <a:gd name="connsiteY3" fmla="*/ 774095 h 774095"/>
              <a:gd name="connsiteX4" fmla="*/ 0 w 3305009"/>
              <a:gd name="connsiteY4" fmla="*/ 774095 h 774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5009" h="774095">
                <a:moveTo>
                  <a:pt x="0" y="774095"/>
                </a:moveTo>
                <a:lnTo>
                  <a:pt x="275415" y="0"/>
                </a:lnTo>
                <a:lnTo>
                  <a:pt x="3029594" y="0"/>
                </a:lnTo>
                <a:lnTo>
                  <a:pt x="3305009" y="774095"/>
                </a:lnTo>
                <a:lnTo>
                  <a:pt x="0" y="774095"/>
                </a:lnTo>
                <a:close/>
              </a:path>
            </a:pathLst>
          </a:custGeom>
          <a:solidFill>
            <a:schemeClr val="accent3"/>
          </a:solidFill>
          <a:ln w="1905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2897" tIns="54602" rIns="632897" bIns="54602" numCol="1" spcCol="1270" anchor="ctr" anchorCtr="0">
            <a:noAutofit/>
          </a:bodyPr>
          <a:lstStyle/>
          <a:p>
            <a:pPr algn="ctr" defTabSz="888829">
              <a:lnSpc>
                <a:spcPct val="90000"/>
              </a:lnSpc>
              <a:spcBef>
                <a:spcPct val="0"/>
              </a:spcBef>
              <a:spcAft>
                <a:spcPct val="35000"/>
              </a:spcAft>
            </a:pPr>
            <a:r>
              <a:rPr lang="en-US" sz="1568">
                <a:solidFill>
                  <a:srgbClr val="000000"/>
                </a:solidFill>
                <a:latin typeface="Segoe UI Semibold" panose="020B0702040204020203" pitchFamily="34" charset="0"/>
                <a:cs typeface="Segoe UI Semibold" panose="020B0702040204020203" pitchFamily="34" charset="0"/>
              </a:rPr>
              <a:t>PLC</a:t>
            </a:r>
            <a:endParaRPr lang="en-US" sz="1568" dirty="0">
              <a:solidFill>
                <a:srgbClr val="000000"/>
              </a:solidFill>
              <a:latin typeface="Segoe UI Semibold" panose="020B0702040204020203" pitchFamily="34" charset="0"/>
              <a:cs typeface="Segoe UI Semibold" panose="020B0702040204020203" pitchFamily="34" charset="0"/>
            </a:endParaRPr>
          </a:p>
        </p:txBody>
      </p:sp>
      <p:sp>
        <p:nvSpPr>
          <p:cNvPr id="58" name="Rectangle 57"/>
          <p:cNvSpPr/>
          <p:nvPr/>
        </p:nvSpPr>
        <p:spPr>
          <a:xfrm>
            <a:off x="397382" y="6010290"/>
            <a:ext cx="5144478" cy="390089"/>
          </a:xfrm>
          <a:prstGeom prst="rect">
            <a:avLst/>
          </a:prstGeom>
          <a:pattFill prst="pct5">
            <a:fgClr>
              <a:schemeClr val="tx1"/>
            </a:fgClr>
            <a:bgClr>
              <a:sysClr val="window" lastClr="FFFFFF"/>
            </a:bgClr>
          </a:pattFill>
          <a:ln w="6350" cap="flat" cmpd="sng" algn="ctr">
            <a:solidFill>
              <a:schemeClr val="bg1">
                <a:lumMod val="50000"/>
              </a:schemeClr>
            </a:solidFill>
            <a:prstDash val="solid"/>
            <a:miter lim="800000"/>
          </a:ln>
          <a:effectLst/>
        </p:spPr>
        <p:txBody>
          <a:bodyPr spcFirstLastPara="0" vert="horz" wrap="square" lIns="87617" tIns="87617" rIns="87617" bIns="87617" numCol="1" spcCol="1270" anchor="ctr" anchorCtr="0">
            <a:noAutofit/>
          </a:bodyPr>
          <a:lstStyle/>
          <a:p>
            <a:pPr algn="ctr" defTabSz="914225">
              <a:defRPr/>
            </a:pPr>
            <a:r>
              <a:rPr lang="it-IT" sz="1568" kern="0" dirty="0">
                <a:latin typeface="Segoe UI Semibold" panose="020B0702040204020203" pitchFamily="34" charset="0"/>
                <a:cs typeface="Segoe UI Semibold" panose="020B0702040204020203" pitchFamily="34" charset="0"/>
              </a:rPr>
              <a:t>SHOP FLOOR </a:t>
            </a:r>
          </a:p>
        </p:txBody>
      </p:sp>
      <p:sp>
        <p:nvSpPr>
          <p:cNvPr id="59" name="Rectangle 58"/>
          <p:cNvSpPr/>
          <p:nvPr/>
        </p:nvSpPr>
        <p:spPr>
          <a:xfrm>
            <a:off x="3645527" y="1868189"/>
            <a:ext cx="3577716" cy="363946"/>
          </a:xfrm>
          <a:prstGeom prst="rect">
            <a:avLst/>
          </a:prstGeom>
          <a:solidFill>
            <a:schemeClr val="bg1">
              <a:lumMod val="95000"/>
            </a:schemeClr>
          </a:solidFill>
          <a:ln w="12700" cap="flat" cmpd="sng" algn="ctr">
            <a:noFill/>
            <a:prstDash val="solid"/>
            <a:miter lim="800000"/>
          </a:ln>
          <a:effectLst/>
        </p:spPr>
        <p:txBody>
          <a:bodyPr wrap="square" rtlCol="0" anchor="ctr">
            <a:spAutoFit/>
          </a:bodyPr>
          <a:lstStyle/>
          <a:p>
            <a:pPr defTabSz="914225">
              <a:defRPr/>
            </a:pPr>
            <a:r>
              <a:rPr lang="it-IT" sz="1765" kern="0" dirty="0" err="1"/>
              <a:t>Plant</a:t>
            </a:r>
            <a:r>
              <a:rPr lang="it-IT" sz="1765" kern="0" dirty="0"/>
              <a:t> (</a:t>
            </a:r>
            <a:r>
              <a:rPr lang="it-IT" sz="1765" kern="0" dirty="0" err="1"/>
              <a:t>prod</a:t>
            </a:r>
            <a:r>
              <a:rPr lang="it-IT" sz="1765" kern="0" dirty="0"/>
              <a:t>. </a:t>
            </a:r>
            <a:r>
              <a:rPr lang="it-IT" sz="1765" kern="0" dirty="0" err="1"/>
              <a:t>lifecycle</a:t>
            </a:r>
            <a:r>
              <a:rPr lang="it-IT" sz="1765" kern="0" dirty="0"/>
              <a:t>, </a:t>
            </a:r>
            <a:r>
              <a:rPr lang="it-IT" sz="1765" kern="0" dirty="0" err="1"/>
              <a:t>scheduling</a:t>
            </a:r>
            <a:r>
              <a:rPr lang="it-IT" sz="1765" kern="0" dirty="0"/>
              <a:t>) </a:t>
            </a:r>
          </a:p>
        </p:txBody>
      </p:sp>
      <p:sp>
        <p:nvSpPr>
          <p:cNvPr id="60" name="Rectangle 59"/>
          <p:cNvSpPr/>
          <p:nvPr/>
        </p:nvSpPr>
        <p:spPr>
          <a:xfrm>
            <a:off x="4431689" y="3447721"/>
            <a:ext cx="2005393" cy="363946"/>
          </a:xfrm>
          <a:prstGeom prst="rect">
            <a:avLst/>
          </a:prstGeom>
          <a:solidFill>
            <a:schemeClr val="bg1">
              <a:lumMod val="95000"/>
            </a:schemeClr>
          </a:solidFill>
          <a:ln w="12700" cap="flat" cmpd="sng" algn="ctr">
            <a:noFill/>
            <a:prstDash val="solid"/>
            <a:miter lim="800000"/>
          </a:ln>
          <a:effectLst/>
        </p:spPr>
        <p:txBody>
          <a:bodyPr wrap="square" rtlCol="0" anchor="ctr">
            <a:spAutoFit/>
          </a:bodyPr>
          <a:lstStyle/>
          <a:p>
            <a:pPr defTabSz="914225">
              <a:defRPr/>
            </a:pPr>
            <a:r>
              <a:rPr lang="it-IT" sz="1765" kern="0" dirty="0"/>
              <a:t>Line (Monitoring) </a:t>
            </a:r>
          </a:p>
        </p:txBody>
      </p:sp>
      <p:cxnSp>
        <p:nvCxnSpPr>
          <p:cNvPr id="64" name="Straight Connector 63"/>
          <p:cNvCxnSpPr>
            <a:cxnSpLocks/>
          </p:cNvCxnSpPr>
          <p:nvPr/>
        </p:nvCxnSpPr>
        <p:spPr>
          <a:xfrm>
            <a:off x="3847491" y="2839927"/>
            <a:ext cx="794430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a:stCxn id="55" idx="2"/>
          </p:cNvCxnSpPr>
          <p:nvPr/>
        </p:nvCxnSpPr>
        <p:spPr>
          <a:xfrm>
            <a:off x="4698436" y="4419459"/>
            <a:ext cx="7093364"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5230043" y="5027253"/>
            <a:ext cx="5249410" cy="363946"/>
          </a:xfrm>
          <a:prstGeom prst="rect">
            <a:avLst/>
          </a:prstGeom>
          <a:solidFill>
            <a:schemeClr val="bg1">
              <a:lumMod val="95000"/>
            </a:schemeClr>
          </a:solidFill>
          <a:ln w="12700" cap="flat" cmpd="sng" algn="ctr">
            <a:noFill/>
            <a:prstDash val="solid"/>
            <a:miter lim="800000"/>
          </a:ln>
          <a:effectLst/>
        </p:spPr>
        <p:txBody>
          <a:bodyPr wrap="square" rtlCol="0" anchor="ctr">
            <a:spAutoFit/>
          </a:bodyPr>
          <a:lstStyle/>
          <a:p>
            <a:pPr defTabSz="914225">
              <a:defRPr/>
            </a:pPr>
            <a:r>
              <a:rPr lang="it-IT" sz="1765" kern="0" dirty="0"/>
              <a:t>Machine/</a:t>
            </a:r>
            <a:r>
              <a:rPr lang="it-IT" sz="1765" kern="0" dirty="0" err="1"/>
              <a:t>Tool</a:t>
            </a:r>
            <a:r>
              <a:rPr lang="it-IT" sz="1765" kern="0" dirty="0"/>
              <a:t>/</a:t>
            </a:r>
            <a:r>
              <a:rPr lang="it-IT" sz="1765" kern="0" dirty="0" err="1"/>
              <a:t>Equipment</a:t>
            </a:r>
            <a:r>
              <a:rPr lang="it-IT" sz="1765" kern="0" dirty="0"/>
              <a:t> (</a:t>
            </a:r>
            <a:r>
              <a:rPr lang="it-IT" sz="1765" kern="0" dirty="0" err="1"/>
              <a:t>sensors</a:t>
            </a:r>
            <a:r>
              <a:rPr lang="it-IT" sz="1765" kern="0" dirty="0"/>
              <a:t> and </a:t>
            </a:r>
            <a:r>
              <a:rPr lang="it-IT" sz="1765" kern="0" dirty="0" err="1"/>
              <a:t>actuators</a:t>
            </a:r>
            <a:r>
              <a:rPr lang="it-IT" sz="1765" kern="0" dirty="0"/>
              <a:t>) </a:t>
            </a:r>
          </a:p>
        </p:txBody>
      </p:sp>
    </p:spTree>
    <p:extLst>
      <p:ext uri="{BB962C8B-B14F-4D97-AF65-F5344CB8AC3E}">
        <p14:creationId xmlns:p14="http://schemas.microsoft.com/office/powerpoint/2010/main" val="3618176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722F4-B006-4F1A-96F3-167EBA93709E}"/>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1029"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DD3722F4-B006-4F1A-96F3-167EBA93709E}"/>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D1439C-F3B5-48D1-8851-5B4D9F8B5776}"/>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4117" dirty="0" err="1">
              <a:gradFill>
                <a:gsLst>
                  <a:gs pos="0">
                    <a:srgbClr val="FFFFFF"/>
                  </a:gs>
                  <a:gs pos="100000">
                    <a:srgbClr val="FFFFFF"/>
                  </a:gs>
                </a:gsLst>
                <a:lin ang="5400000" scaled="0"/>
              </a:gradFill>
              <a:latin typeface="Segoe UI Light" panose="020B0502040204020203" pitchFamily="34" charset="0"/>
              <a:cs typeface="Segoe UI" panose="020B0502040204020203" pitchFamily="34" charset="0"/>
              <a:sym typeface="Segoe UI Light" panose="020B0502040204020203" pitchFamily="34" charset="0"/>
            </a:endParaRPr>
          </a:p>
        </p:txBody>
      </p:sp>
      <p:sp>
        <p:nvSpPr>
          <p:cNvPr id="2" name="Title 1">
            <a:extLst>
              <a:ext uri="{FF2B5EF4-FFF2-40B4-BE49-F238E27FC236}">
                <a16:creationId xmlns:a16="http://schemas.microsoft.com/office/drawing/2014/main" id="{2B5096E9-5656-47ED-845C-C9DFB5894631}"/>
              </a:ext>
            </a:extLst>
          </p:cNvPr>
          <p:cNvSpPr>
            <a:spLocks noGrp="1"/>
          </p:cNvSpPr>
          <p:nvPr>
            <p:ph type="title"/>
          </p:nvPr>
        </p:nvSpPr>
        <p:spPr/>
        <p:txBody>
          <a:bodyPr>
            <a:normAutofit/>
          </a:bodyPr>
          <a:lstStyle/>
          <a:p>
            <a:r>
              <a:rPr lang="it-IT" sz="4117" dirty="0"/>
              <a:t>...Requires transformation to unlock the value of data</a:t>
            </a:r>
          </a:p>
        </p:txBody>
      </p:sp>
      <p:cxnSp>
        <p:nvCxnSpPr>
          <p:cNvPr id="136" name="Straight Arrow Connector 135">
            <a:extLst>
              <a:ext uri="{FF2B5EF4-FFF2-40B4-BE49-F238E27FC236}">
                <a16:creationId xmlns:a16="http://schemas.microsoft.com/office/drawing/2014/main" id="{571DE114-E70F-45DD-BE29-BED1A4BCFB46}"/>
              </a:ext>
            </a:extLst>
          </p:cNvPr>
          <p:cNvCxnSpPr/>
          <p:nvPr/>
        </p:nvCxnSpPr>
        <p:spPr>
          <a:xfrm>
            <a:off x="7138117" y="6106624"/>
            <a:ext cx="395600" cy="0"/>
          </a:xfrm>
          <a:prstGeom prst="straightConnector1">
            <a:avLst/>
          </a:prstGeom>
          <a:ln w="190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22531170-CBC8-4F29-812D-C61BEC94FD8C}"/>
              </a:ext>
            </a:extLst>
          </p:cNvPr>
          <p:cNvCxnSpPr>
            <a:cxnSpLocks/>
          </p:cNvCxnSpPr>
          <p:nvPr/>
        </p:nvCxnSpPr>
        <p:spPr>
          <a:xfrm>
            <a:off x="7120976" y="6106624"/>
            <a:ext cx="429883" cy="0"/>
          </a:xfrm>
          <a:prstGeom prst="straightConnector1">
            <a:avLst/>
          </a:prstGeom>
          <a:ln w="38100">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38" name="Picture 137">
            <a:extLst>
              <a:ext uri="{FF2B5EF4-FFF2-40B4-BE49-F238E27FC236}">
                <a16:creationId xmlns:a16="http://schemas.microsoft.com/office/drawing/2014/main" id="{856EF366-5468-4159-9C40-8F317D111BC3}"/>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45645" y="1364955"/>
            <a:ext cx="6034062" cy="5207144"/>
          </a:xfrm>
          <a:prstGeom prst="rect">
            <a:avLst/>
          </a:prstGeom>
        </p:spPr>
      </p:pic>
      <p:sp>
        <p:nvSpPr>
          <p:cNvPr id="139" name="TextBox 138">
            <a:extLst>
              <a:ext uri="{FF2B5EF4-FFF2-40B4-BE49-F238E27FC236}">
                <a16:creationId xmlns:a16="http://schemas.microsoft.com/office/drawing/2014/main" id="{A6F34CBE-906A-4926-90CF-56F54936DEEA}"/>
              </a:ext>
            </a:extLst>
          </p:cNvPr>
          <p:cNvSpPr txBox="1"/>
          <p:nvPr/>
        </p:nvSpPr>
        <p:spPr>
          <a:xfrm>
            <a:off x="1029325" y="1126541"/>
            <a:ext cx="4066705" cy="422291"/>
          </a:xfrm>
          <a:prstGeom prst="rect">
            <a:avLst/>
          </a:prstGeom>
          <a:noFill/>
        </p:spPr>
        <p:txBody>
          <a:bodyPr wrap="none" lIns="0" tIns="0" rIns="0" bIns="0" rtlCol="0">
            <a:spAutoFit/>
          </a:bodyPr>
          <a:lstStyle/>
          <a:p>
            <a:pPr algn="ctr" defTabSz="896386">
              <a:defRPr/>
            </a:pPr>
            <a:r>
              <a:rPr lang="en-US" sz="2744" dirty="0">
                <a:solidFill>
                  <a:schemeClr val="accent2"/>
                </a:solidFill>
                <a:latin typeface="Segoe UI Light" panose="020B0502040204020203" pitchFamily="34" charset="0"/>
                <a:cs typeface="Segoe UI Light" panose="020B0502040204020203" pitchFamily="34" charset="0"/>
              </a:rPr>
              <a:t>Enterprise &amp; Plant Topology</a:t>
            </a:r>
          </a:p>
        </p:txBody>
      </p:sp>
      <p:sp>
        <p:nvSpPr>
          <p:cNvPr id="140" name="Rectangle 139">
            <a:extLst>
              <a:ext uri="{FF2B5EF4-FFF2-40B4-BE49-F238E27FC236}">
                <a16:creationId xmlns:a16="http://schemas.microsoft.com/office/drawing/2014/main" id="{CCA70A30-101A-49EF-B4A8-BD8D33540E0A}"/>
              </a:ext>
            </a:extLst>
          </p:cNvPr>
          <p:cNvSpPr/>
          <p:nvPr/>
        </p:nvSpPr>
        <p:spPr>
          <a:xfrm>
            <a:off x="3944926" y="2428803"/>
            <a:ext cx="1333991" cy="467555"/>
          </a:xfrm>
          <a:prstGeom prst="rect">
            <a:avLst/>
          </a:prstGeom>
        </p:spPr>
        <p:txBody>
          <a:bodyPr wrap="square">
            <a:spAutoFit/>
          </a:bodyPr>
          <a:lstStyle/>
          <a:p>
            <a:pPr defTabSz="896386">
              <a:defRPr/>
            </a:pPr>
            <a:r>
              <a:rPr lang="en-US" sz="1568" dirty="0"/>
              <a:t>ERP-Level</a:t>
            </a:r>
          </a:p>
          <a:p>
            <a:pPr defTabSz="896386">
              <a:defRPr/>
            </a:pPr>
            <a:r>
              <a:rPr lang="en-US" sz="882" dirty="0"/>
              <a:t>Enterprise Resources</a:t>
            </a:r>
          </a:p>
        </p:txBody>
      </p:sp>
      <p:sp>
        <p:nvSpPr>
          <p:cNvPr id="141" name="Rectangle 140">
            <a:extLst>
              <a:ext uri="{FF2B5EF4-FFF2-40B4-BE49-F238E27FC236}">
                <a16:creationId xmlns:a16="http://schemas.microsoft.com/office/drawing/2014/main" id="{FE8577BD-9ABB-49DC-8FDC-EBFDC256FFD3}"/>
              </a:ext>
            </a:extLst>
          </p:cNvPr>
          <p:cNvSpPr/>
          <p:nvPr/>
        </p:nvSpPr>
        <p:spPr>
          <a:xfrm>
            <a:off x="4575316" y="3569521"/>
            <a:ext cx="1873927" cy="475028"/>
          </a:xfrm>
          <a:prstGeom prst="rect">
            <a:avLst/>
          </a:prstGeom>
        </p:spPr>
        <p:txBody>
          <a:bodyPr wrap="square">
            <a:spAutoFit/>
          </a:bodyPr>
          <a:lstStyle/>
          <a:p>
            <a:pPr defTabSz="896386">
              <a:defRPr/>
            </a:pPr>
            <a:r>
              <a:rPr lang="en-US" sz="1568" dirty="0"/>
              <a:t>MES-Level</a:t>
            </a:r>
          </a:p>
          <a:p>
            <a:pPr defTabSz="896386">
              <a:defRPr/>
            </a:pPr>
            <a:r>
              <a:rPr lang="en-US" sz="882" dirty="0"/>
              <a:t>Manufacturing Execution Systems</a:t>
            </a:r>
          </a:p>
        </p:txBody>
      </p:sp>
      <p:sp>
        <p:nvSpPr>
          <p:cNvPr id="142" name="Rectangle 141">
            <a:extLst>
              <a:ext uri="{FF2B5EF4-FFF2-40B4-BE49-F238E27FC236}">
                <a16:creationId xmlns:a16="http://schemas.microsoft.com/office/drawing/2014/main" id="{5D4E1E79-C44B-4054-BBE1-BE99FBCC205D}"/>
              </a:ext>
            </a:extLst>
          </p:cNvPr>
          <p:cNvSpPr/>
          <p:nvPr/>
        </p:nvSpPr>
        <p:spPr>
          <a:xfrm>
            <a:off x="5212708" y="4721541"/>
            <a:ext cx="1333991" cy="467555"/>
          </a:xfrm>
          <a:prstGeom prst="rect">
            <a:avLst/>
          </a:prstGeom>
        </p:spPr>
        <p:txBody>
          <a:bodyPr wrap="square">
            <a:spAutoFit/>
          </a:bodyPr>
          <a:lstStyle/>
          <a:p>
            <a:pPr defTabSz="896386">
              <a:defRPr/>
            </a:pPr>
            <a:r>
              <a:rPr lang="en-US" sz="1568" dirty="0"/>
              <a:t>Control-Level</a:t>
            </a:r>
          </a:p>
          <a:p>
            <a:pPr defTabSz="896386">
              <a:defRPr/>
            </a:pPr>
            <a:r>
              <a:rPr lang="en-US" sz="882" dirty="0"/>
              <a:t>Machine Controllers</a:t>
            </a:r>
          </a:p>
        </p:txBody>
      </p:sp>
      <p:sp>
        <p:nvSpPr>
          <p:cNvPr id="143" name="Rectangle 142">
            <a:extLst>
              <a:ext uri="{FF2B5EF4-FFF2-40B4-BE49-F238E27FC236}">
                <a16:creationId xmlns:a16="http://schemas.microsoft.com/office/drawing/2014/main" id="{1285E735-1B84-4D5E-83D2-D1017151DC18}"/>
              </a:ext>
            </a:extLst>
          </p:cNvPr>
          <p:cNvSpPr/>
          <p:nvPr/>
        </p:nvSpPr>
        <p:spPr>
          <a:xfrm>
            <a:off x="5871394" y="5856592"/>
            <a:ext cx="1333991" cy="467555"/>
          </a:xfrm>
          <a:prstGeom prst="rect">
            <a:avLst/>
          </a:prstGeom>
        </p:spPr>
        <p:txBody>
          <a:bodyPr wrap="square">
            <a:spAutoFit/>
          </a:bodyPr>
          <a:lstStyle/>
          <a:p>
            <a:pPr defTabSz="896386">
              <a:defRPr/>
            </a:pPr>
            <a:r>
              <a:rPr lang="en-US" sz="1568" dirty="0"/>
              <a:t>Device-Level</a:t>
            </a:r>
          </a:p>
          <a:p>
            <a:pPr defTabSz="896386">
              <a:defRPr/>
            </a:pPr>
            <a:r>
              <a:rPr lang="en-US" sz="882" dirty="0"/>
              <a:t>Sensors, Devices</a:t>
            </a:r>
          </a:p>
        </p:txBody>
      </p:sp>
      <p:sp>
        <p:nvSpPr>
          <p:cNvPr id="144" name="Rectangle 143">
            <a:extLst>
              <a:ext uri="{FF2B5EF4-FFF2-40B4-BE49-F238E27FC236}">
                <a16:creationId xmlns:a16="http://schemas.microsoft.com/office/drawing/2014/main" id="{9C9303A1-A62E-4DE7-8C65-88F1EF27E510}"/>
              </a:ext>
            </a:extLst>
          </p:cNvPr>
          <p:cNvSpPr/>
          <p:nvPr/>
        </p:nvSpPr>
        <p:spPr>
          <a:xfrm>
            <a:off x="7538534" y="2472484"/>
            <a:ext cx="4192930" cy="392245"/>
          </a:xfrm>
          <a:prstGeom prst="rect">
            <a:avLst/>
          </a:prstGeom>
          <a:noFill/>
        </p:spPr>
        <p:txBody>
          <a:bodyPr wrap="square" anchor="ctr">
            <a:spAutoFit/>
          </a:bodyPr>
          <a:lstStyle/>
          <a:p>
            <a:pPr defTabSz="896386">
              <a:defRPr/>
            </a:pPr>
            <a:r>
              <a:rPr lang="en-US" sz="1961" dirty="0">
                <a:solidFill>
                  <a:schemeClr val="accent2"/>
                </a:solidFill>
                <a:cs typeface="Segoe UI" panose="020B0502040204020203" pitchFamily="34" charset="0"/>
              </a:rPr>
              <a:t>Finance, HR, SCM, SRM, CRM …</a:t>
            </a:r>
          </a:p>
        </p:txBody>
      </p:sp>
      <p:sp>
        <p:nvSpPr>
          <p:cNvPr id="145" name="Rectangle 144">
            <a:extLst>
              <a:ext uri="{FF2B5EF4-FFF2-40B4-BE49-F238E27FC236}">
                <a16:creationId xmlns:a16="http://schemas.microsoft.com/office/drawing/2014/main" id="{B27380D8-BBE3-4B32-9C65-1BFB17043B65}"/>
              </a:ext>
            </a:extLst>
          </p:cNvPr>
          <p:cNvSpPr/>
          <p:nvPr/>
        </p:nvSpPr>
        <p:spPr>
          <a:xfrm>
            <a:off x="7538533" y="3460049"/>
            <a:ext cx="4192929" cy="693970"/>
          </a:xfrm>
          <a:prstGeom prst="rect">
            <a:avLst/>
          </a:prstGeom>
          <a:noFill/>
        </p:spPr>
        <p:txBody>
          <a:bodyPr wrap="square" anchor="ctr">
            <a:spAutoFit/>
          </a:bodyPr>
          <a:lstStyle/>
          <a:p>
            <a:pPr defTabSz="896386">
              <a:defRPr/>
            </a:pPr>
            <a:r>
              <a:rPr lang="en-US" sz="1961" dirty="0">
                <a:solidFill>
                  <a:schemeClr val="accent2"/>
                </a:solidFill>
                <a:cs typeface="Segoe UI" panose="020B0502040204020203" pitchFamily="34" charset="0"/>
              </a:rPr>
              <a:t>Plant Schedules, Products, BOMs, Routings, Quality, Performance …</a:t>
            </a:r>
          </a:p>
        </p:txBody>
      </p:sp>
      <p:sp>
        <p:nvSpPr>
          <p:cNvPr id="146" name="Rectangle 145">
            <a:extLst>
              <a:ext uri="{FF2B5EF4-FFF2-40B4-BE49-F238E27FC236}">
                <a16:creationId xmlns:a16="http://schemas.microsoft.com/office/drawing/2014/main" id="{5BE7B856-40B4-444C-9161-182D75DF969E}"/>
              </a:ext>
            </a:extLst>
          </p:cNvPr>
          <p:cNvSpPr/>
          <p:nvPr/>
        </p:nvSpPr>
        <p:spPr>
          <a:xfrm>
            <a:off x="7538533" y="4608333"/>
            <a:ext cx="4192929" cy="693970"/>
          </a:xfrm>
          <a:prstGeom prst="rect">
            <a:avLst/>
          </a:prstGeom>
          <a:noFill/>
        </p:spPr>
        <p:txBody>
          <a:bodyPr wrap="square" anchor="ctr">
            <a:spAutoFit/>
          </a:bodyPr>
          <a:lstStyle/>
          <a:p>
            <a:pPr defTabSz="896386">
              <a:defRPr/>
            </a:pPr>
            <a:r>
              <a:rPr lang="en-US" sz="1961" dirty="0">
                <a:solidFill>
                  <a:schemeClr val="accent2"/>
                </a:solidFill>
                <a:cs typeface="Segoe UI" panose="020B0502040204020203" pitchFamily="34" charset="0"/>
              </a:rPr>
              <a:t>HMI, SCADA, Alarms, Events, Historians …</a:t>
            </a:r>
          </a:p>
        </p:txBody>
      </p:sp>
      <p:sp>
        <p:nvSpPr>
          <p:cNvPr id="147" name="Rectangle 146">
            <a:extLst>
              <a:ext uri="{FF2B5EF4-FFF2-40B4-BE49-F238E27FC236}">
                <a16:creationId xmlns:a16="http://schemas.microsoft.com/office/drawing/2014/main" id="{581B5F25-E659-4EF9-9AF4-C17915B614E1}"/>
              </a:ext>
            </a:extLst>
          </p:cNvPr>
          <p:cNvSpPr/>
          <p:nvPr/>
        </p:nvSpPr>
        <p:spPr>
          <a:xfrm>
            <a:off x="7538533" y="5907444"/>
            <a:ext cx="4192929" cy="392245"/>
          </a:xfrm>
          <a:prstGeom prst="rect">
            <a:avLst/>
          </a:prstGeom>
          <a:noFill/>
        </p:spPr>
        <p:txBody>
          <a:bodyPr wrap="square" anchor="ctr">
            <a:spAutoFit/>
          </a:bodyPr>
          <a:lstStyle/>
          <a:p>
            <a:pPr defTabSz="896386">
              <a:defRPr/>
            </a:pPr>
            <a:r>
              <a:rPr lang="en-US" sz="1961" dirty="0">
                <a:solidFill>
                  <a:schemeClr val="accent2"/>
                </a:solidFill>
                <a:cs typeface="Segoe UI" panose="020B0502040204020203" pitchFamily="34" charset="0"/>
              </a:rPr>
              <a:t>Automation Control, Safety, …</a:t>
            </a:r>
          </a:p>
        </p:txBody>
      </p:sp>
      <p:sp>
        <p:nvSpPr>
          <p:cNvPr id="148" name="TextBox 147">
            <a:extLst>
              <a:ext uri="{FF2B5EF4-FFF2-40B4-BE49-F238E27FC236}">
                <a16:creationId xmlns:a16="http://schemas.microsoft.com/office/drawing/2014/main" id="{9341D39E-76AB-4964-B0B0-19A160C36A80}"/>
              </a:ext>
            </a:extLst>
          </p:cNvPr>
          <p:cNvSpPr txBox="1"/>
          <p:nvPr/>
        </p:nvSpPr>
        <p:spPr>
          <a:xfrm>
            <a:off x="7624989" y="1126541"/>
            <a:ext cx="2978542" cy="422291"/>
          </a:xfrm>
          <a:prstGeom prst="rect">
            <a:avLst/>
          </a:prstGeom>
          <a:noFill/>
        </p:spPr>
        <p:txBody>
          <a:bodyPr wrap="none" lIns="0" tIns="0" rIns="0" bIns="0"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799" b="0" i="0" u="none" strike="noStrike" cap="none" spc="0" normalizeH="0" baseline="0">
                <a:ln>
                  <a:noFill/>
                </a:ln>
                <a:solidFill>
                  <a:srgbClr val="44546A"/>
                </a:solidFill>
                <a:effectLst/>
                <a:uLnTx/>
                <a:uFillTx/>
                <a:latin typeface="Segoe UI Light" panose="020B0502040204020203" pitchFamily="34" charset="0"/>
                <a:cs typeface="Segoe UI Light" panose="020B0502040204020203" pitchFamily="34" charset="0"/>
              </a:defRPr>
            </a:lvl1pPr>
          </a:lstStyle>
          <a:p>
            <a:r>
              <a:rPr lang="en-US" sz="2744" dirty="0">
                <a:solidFill>
                  <a:schemeClr val="accent2"/>
                </a:solidFill>
              </a:rPr>
              <a:t>Information Systems</a:t>
            </a:r>
          </a:p>
        </p:txBody>
      </p:sp>
      <p:cxnSp>
        <p:nvCxnSpPr>
          <p:cNvPr id="149" name="Straight Arrow Connector 148">
            <a:extLst>
              <a:ext uri="{FF2B5EF4-FFF2-40B4-BE49-F238E27FC236}">
                <a16:creationId xmlns:a16="http://schemas.microsoft.com/office/drawing/2014/main" id="{3EDD4816-8731-4F96-8EAA-E98B09BFABA9}"/>
              </a:ext>
            </a:extLst>
          </p:cNvPr>
          <p:cNvCxnSpPr>
            <a:cxnSpLocks/>
            <a:stCxn id="159" idx="2"/>
            <a:endCxn id="160" idx="0"/>
          </p:cNvCxnSpPr>
          <p:nvPr/>
        </p:nvCxnSpPr>
        <p:spPr>
          <a:xfrm>
            <a:off x="9636167" y="3030506"/>
            <a:ext cx="0" cy="444457"/>
          </a:xfrm>
          <a:prstGeom prst="straightConnector1">
            <a:avLst/>
          </a:prstGeom>
          <a:ln w="190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5BA4FEAB-0777-4000-AABD-9A0F635E375F}"/>
              </a:ext>
            </a:extLst>
          </p:cNvPr>
          <p:cNvCxnSpPr>
            <a:cxnSpLocks/>
            <a:stCxn id="160" idx="2"/>
            <a:endCxn id="161" idx="0"/>
          </p:cNvCxnSpPr>
          <p:nvPr/>
        </p:nvCxnSpPr>
        <p:spPr>
          <a:xfrm>
            <a:off x="9636167" y="4168933"/>
            <a:ext cx="0" cy="454314"/>
          </a:xfrm>
          <a:prstGeom prst="straightConnector1">
            <a:avLst/>
          </a:prstGeom>
          <a:ln w="190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1C68114E-7A1C-4821-86FD-5B0E94F82309}"/>
              </a:ext>
            </a:extLst>
          </p:cNvPr>
          <p:cNvCxnSpPr>
            <a:cxnSpLocks/>
            <a:stCxn id="161" idx="2"/>
            <a:endCxn id="162" idx="0"/>
          </p:cNvCxnSpPr>
          <p:nvPr/>
        </p:nvCxnSpPr>
        <p:spPr>
          <a:xfrm>
            <a:off x="9636167" y="5317218"/>
            <a:ext cx="0" cy="417007"/>
          </a:xfrm>
          <a:prstGeom prst="straightConnector1">
            <a:avLst/>
          </a:prstGeom>
          <a:ln w="190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0A08C259-CCFD-4516-A363-DCEFE3C915AC}"/>
              </a:ext>
            </a:extLst>
          </p:cNvPr>
          <p:cNvCxnSpPr>
            <a:cxnSpLocks/>
            <a:endCxn id="144" idx="1"/>
          </p:cNvCxnSpPr>
          <p:nvPr/>
        </p:nvCxnSpPr>
        <p:spPr>
          <a:xfrm>
            <a:off x="5976166" y="2665230"/>
            <a:ext cx="1562367" cy="3377"/>
          </a:xfrm>
          <a:prstGeom prst="straightConnector1">
            <a:avLst/>
          </a:prstGeom>
          <a:ln w="38100">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66F5B9BD-3D0B-4CF4-B4F8-49572E68D79E}"/>
              </a:ext>
            </a:extLst>
          </p:cNvPr>
          <p:cNvCxnSpPr>
            <a:cxnSpLocks/>
          </p:cNvCxnSpPr>
          <p:nvPr/>
        </p:nvCxnSpPr>
        <p:spPr>
          <a:xfrm>
            <a:off x="6546699" y="3805587"/>
            <a:ext cx="991835" cy="2894"/>
          </a:xfrm>
          <a:prstGeom prst="straightConnector1">
            <a:avLst/>
          </a:prstGeom>
          <a:ln w="38100">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B3931FDF-BDA8-4BAA-A8A0-FDF2A34EBE8C}"/>
              </a:ext>
            </a:extLst>
          </p:cNvPr>
          <p:cNvCxnSpPr>
            <a:cxnSpLocks/>
          </p:cNvCxnSpPr>
          <p:nvPr/>
        </p:nvCxnSpPr>
        <p:spPr>
          <a:xfrm>
            <a:off x="6722992" y="4953852"/>
            <a:ext cx="815541" cy="2933"/>
          </a:xfrm>
          <a:prstGeom prst="straightConnector1">
            <a:avLst/>
          </a:prstGeom>
          <a:ln w="38100">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9" name="Rectangle 158">
            <a:extLst>
              <a:ext uri="{FF2B5EF4-FFF2-40B4-BE49-F238E27FC236}">
                <a16:creationId xmlns:a16="http://schemas.microsoft.com/office/drawing/2014/main" id="{6B604E50-B362-47E7-8356-A528333298D5}"/>
              </a:ext>
            </a:extLst>
          </p:cNvPr>
          <p:cNvSpPr/>
          <p:nvPr/>
        </p:nvSpPr>
        <p:spPr>
          <a:xfrm>
            <a:off x="7538533" y="2336535"/>
            <a:ext cx="4195268" cy="693970"/>
          </a:xfrm>
          <a:prstGeom prst="rect">
            <a:avLst/>
          </a:prstGeom>
          <a:solidFill>
            <a:schemeClr val="bg1"/>
          </a:solidFill>
        </p:spPr>
        <p:txBody>
          <a:bodyPr wrap="square" anchor="ctr">
            <a:spAutoFit/>
          </a:bodyPr>
          <a:lstStyle/>
          <a:p>
            <a:pPr defTabSz="896386">
              <a:defRPr/>
            </a:pPr>
            <a:r>
              <a:rPr lang="en-US" sz="1961" dirty="0">
                <a:solidFill>
                  <a:schemeClr val="accent3"/>
                </a:solidFill>
                <a:latin typeface="Segoe UI Semibold" panose="020B0702040204020203" pitchFamily="34" charset="0"/>
                <a:cs typeface="Segoe UI Semibold" panose="020B0702040204020203" pitchFamily="34" charset="0"/>
              </a:rPr>
              <a:t>Responsive and dynamic</a:t>
            </a:r>
            <a:br>
              <a:rPr lang="en-US" sz="1961" dirty="0">
                <a:solidFill>
                  <a:schemeClr val="accent3"/>
                </a:solidFill>
                <a:latin typeface="Segoe UI Semibold" panose="020B0702040204020203" pitchFamily="34" charset="0"/>
                <a:cs typeface="Segoe UI Semibold" panose="020B0702040204020203" pitchFamily="34" charset="0"/>
              </a:rPr>
            </a:br>
            <a:r>
              <a:rPr lang="en-US" sz="1961" dirty="0">
                <a:solidFill>
                  <a:schemeClr val="accent3"/>
                </a:solidFill>
                <a:latin typeface="Segoe UI Semibold" panose="020B0702040204020203" pitchFamily="34" charset="0"/>
                <a:cs typeface="Segoe UI Semibold" panose="020B0702040204020203" pitchFamily="34" charset="0"/>
              </a:rPr>
              <a:t>cross-I</a:t>
            </a:r>
            <a:r>
              <a:rPr lang="en-US" sz="1961" dirty="0" err="1">
                <a:solidFill>
                  <a:schemeClr val="accent3"/>
                </a:solidFill>
                <a:latin typeface="Segoe UI Semibold" panose="020B0702040204020203" pitchFamily="34" charset="0"/>
                <a:cs typeface="Segoe UI Semibold" panose="020B0702040204020203" pitchFamily="34" charset="0"/>
              </a:rPr>
              <a:t>ndustry</a:t>
            </a:r>
            <a:r>
              <a:rPr lang="en-US" sz="1961" dirty="0">
                <a:solidFill>
                  <a:schemeClr val="accent3"/>
                </a:solidFill>
                <a:latin typeface="Segoe UI Semibold" panose="020B0702040204020203" pitchFamily="34" charset="0"/>
                <a:cs typeface="Segoe UI Semibold" panose="020B0702040204020203" pitchFamily="34" charset="0"/>
              </a:rPr>
              <a:t> Value Networks</a:t>
            </a:r>
          </a:p>
        </p:txBody>
      </p:sp>
      <p:sp>
        <p:nvSpPr>
          <p:cNvPr id="160" name="Rectangle 159">
            <a:extLst>
              <a:ext uri="{FF2B5EF4-FFF2-40B4-BE49-F238E27FC236}">
                <a16:creationId xmlns:a16="http://schemas.microsoft.com/office/drawing/2014/main" id="{21D57A50-029E-4873-9D5A-213013C36FD4}"/>
              </a:ext>
            </a:extLst>
          </p:cNvPr>
          <p:cNvSpPr/>
          <p:nvPr/>
        </p:nvSpPr>
        <p:spPr>
          <a:xfrm>
            <a:off x="7538533" y="3474963"/>
            <a:ext cx="4195268" cy="693970"/>
          </a:xfrm>
          <a:prstGeom prst="rect">
            <a:avLst/>
          </a:prstGeom>
          <a:solidFill>
            <a:schemeClr val="bg1"/>
          </a:solidFill>
        </p:spPr>
        <p:txBody>
          <a:bodyPr wrap="square" anchor="ctr">
            <a:spAutoFit/>
          </a:bodyPr>
          <a:lstStyle/>
          <a:p>
            <a:pPr defTabSz="896386">
              <a:defRPr/>
            </a:pPr>
            <a:r>
              <a:rPr lang="en-US" sz="1961" dirty="0">
                <a:solidFill>
                  <a:schemeClr val="accent3"/>
                </a:solidFill>
                <a:latin typeface="Segoe UI Semibold" panose="020B0702040204020203" pitchFamily="34" charset="0"/>
                <a:cs typeface="Segoe UI Semibold" panose="020B0702040204020203" pitchFamily="34" charset="0"/>
              </a:rPr>
              <a:t>Cross-plant performance, coordination &amp; flexibility</a:t>
            </a:r>
          </a:p>
        </p:txBody>
      </p:sp>
      <p:sp>
        <p:nvSpPr>
          <p:cNvPr id="161" name="Rectangle 160">
            <a:extLst>
              <a:ext uri="{FF2B5EF4-FFF2-40B4-BE49-F238E27FC236}">
                <a16:creationId xmlns:a16="http://schemas.microsoft.com/office/drawing/2014/main" id="{24EE4CD2-8225-43C4-96C4-E1E5DD4C6E2D}"/>
              </a:ext>
            </a:extLst>
          </p:cNvPr>
          <p:cNvSpPr/>
          <p:nvPr/>
        </p:nvSpPr>
        <p:spPr>
          <a:xfrm>
            <a:off x="7538533" y="4623247"/>
            <a:ext cx="4195268" cy="693970"/>
          </a:xfrm>
          <a:prstGeom prst="rect">
            <a:avLst/>
          </a:prstGeom>
          <a:solidFill>
            <a:schemeClr val="bg1"/>
          </a:solidFill>
        </p:spPr>
        <p:txBody>
          <a:bodyPr wrap="square" anchor="ctr">
            <a:spAutoFit/>
          </a:bodyPr>
          <a:lstStyle/>
          <a:p>
            <a:pPr defTabSz="896386">
              <a:defRPr/>
            </a:pPr>
            <a:r>
              <a:rPr lang="en-US" sz="1961" dirty="0">
                <a:solidFill>
                  <a:schemeClr val="accent3"/>
                </a:solidFill>
                <a:latin typeface="Segoe UI Semibold" panose="020B0702040204020203" pitchFamily="34" charset="0"/>
                <a:cs typeface="Segoe UI Semibold" panose="020B0702040204020203" pitchFamily="34" charset="0"/>
              </a:rPr>
              <a:t>Production optimization &amp; reduced process costs</a:t>
            </a:r>
          </a:p>
        </p:txBody>
      </p:sp>
      <p:sp>
        <p:nvSpPr>
          <p:cNvPr id="162" name="Rectangle 161">
            <a:extLst>
              <a:ext uri="{FF2B5EF4-FFF2-40B4-BE49-F238E27FC236}">
                <a16:creationId xmlns:a16="http://schemas.microsoft.com/office/drawing/2014/main" id="{4D8EBEFC-61FA-4574-B098-4E0DFFCEA4DB}"/>
              </a:ext>
            </a:extLst>
          </p:cNvPr>
          <p:cNvSpPr/>
          <p:nvPr/>
        </p:nvSpPr>
        <p:spPr>
          <a:xfrm>
            <a:off x="7538533" y="5734225"/>
            <a:ext cx="4195268" cy="693970"/>
          </a:xfrm>
          <a:prstGeom prst="rect">
            <a:avLst/>
          </a:prstGeom>
          <a:solidFill>
            <a:schemeClr val="bg1"/>
          </a:solidFill>
        </p:spPr>
        <p:txBody>
          <a:bodyPr wrap="square" anchor="ctr">
            <a:spAutoFit/>
          </a:bodyPr>
          <a:lstStyle/>
          <a:p>
            <a:pPr defTabSz="896386">
              <a:defRPr/>
            </a:pPr>
            <a:r>
              <a:rPr lang="en-US" sz="1961" dirty="0">
                <a:solidFill>
                  <a:schemeClr val="accent3"/>
                </a:solidFill>
                <a:latin typeface="Segoe UI Semibold" panose="020B0702040204020203" pitchFamily="34" charset="0"/>
                <a:cs typeface="Segoe UI Semibold" panose="020B0702040204020203" pitchFamily="34" charset="0"/>
              </a:rPr>
              <a:t>Intelligent equipment with reduced failures &amp; downtime</a:t>
            </a:r>
          </a:p>
        </p:txBody>
      </p:sp>
    </p:spTree>
    <p:extLst>
      <p:ext uri="{BB962C8B-B14F-4D97-AF65-F5344CB8AC3E}">
        <p14:creationId xmlns:p14="http://schemas.microsoft.com/office/powerpoint/2010/main" val="1322668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8"/>
                                        </p:tgtEl>
                                        <p:attrNameLst>
                                          <p:attrName>style.visibility</p:attrName>
                                        </p:attrNameLst>
                                      </p:cBhvr>
                                      <p:to>
                                        <p:strVal val="visible"/>
                                      </p:to>
                                    </p:set>
                                    <p:animEffect transition="in" filter="fade">
                                      <p:cBhvr>
                                        <p:cTn id="7" dur="500"/>
                                        <p:tgtEl>
                                          <p:spTgt spid="14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36"/>
                                        </p:tgtEl>
                                        <p:attrNameLst>
                                          <p:attrName>style.visibility</p:attrName>
                                        </p:attrNameLst>
                                      </p:cBhvr>
                                      <p:to>
                                        <p:strVal val="visible"/>
                                      </p:to>
                                    </p:set>
                                    <p:animEffect transition="in" filter="wipe(left)">
                                      <p:cBhvr>
                                        <p:cTn id="11" dur="500"/>
                                        <p:tgtEl>
                                          <p:spTgt spid="136"/>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47"/>
                                        </p:tgtEl>
                                        <p:attrNameLst>
                                          <p:attrName>style.visibility</p:attrName>
                                        </p:attrNameLst>
                                      </p:cBhvr>
                                      <p:to>
                                        <p:strVal val="visible"/>
                                      </p:to>
                                    </p:set>
                                    <p:animEffect transition="in" filter="wipe(left)">
                                      <p:cBhvr>
                                        <p:cTn id="15" dur="500"/>
                                        <p:tgtEl>
                                          <p:spTgt spid="147"/>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151"/>
                                        </p:tgtEl>
                                        <p:attrNameLst>
                                          <p:attrName>style.visibility</p:attrName>
                                        </p:attrNameLst>
                                      </p:cBhvr>
                                      <p:to>
                                        <p:strVal val="visible"/>
                                      </p:to>
                                    </p:set>
                                    <p:animEffect transition="in" filter="wipe(down)">
                                      <p:cBhvr>
                                        <p:cTn id="19" dur="500"/>
                                        <p:tgtEl>
                                          <p:spTgt spid="151"/>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46"/>
                                        </p:tgtEl>
                                        <p:attrNameLst>
                                          <p:attrName>style.visibility</p:attrName>
                                        </p:attrNameLst>
                                      </p:cBhvr>
                                      <p:to>
                                        <p:strVal val="visible"/>
                                      </p:to>
                                    </p:set>
                                    <p:animEffect transition="in" filter="wipe(left)">
                                      <p:cBhvr>
                                        <p:cTn id="23" dur="500"/>
                                        <p:tgtEl>
                                          <p:spTgt spid="146"/>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150"/>
                                        </p:tgtEl>
                                        <p:attrNameLst>
                                          <p:attrName>style.visibility</p:attrName>
                                        </p:attrNameLst>
                                      </p:cBhvr>
                                      <p:to>
                                        <p:strVal val="visible"/>
                                      </p:to>
                                    </p:set>
                                    <p:animEffect transition="in" filter="wipe(down)">
                                      <p:cBhvr>
                                        <p:cTn id="27" dur="500"/>
                                        <p:tgtEl>
                                          <p:spTgt spid="150"/>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145"/>
                                        </p:tgtEl>
                                        <p:attrNameLst>
                                          <p:attrName>style.visibility</p:attrName>
                                        </p:attrNameLst>
                                      </p:cBhvr>
                                      <p:to>
                                        <p:strVal val="visible"/>
                                      </p:to>
                                    </p:set>
                                    <p:animEffect transition="in" filter="wipe(left)">
                                      <p:cBhvr>
                                        <p:cTn id="31" dur="500"/>
                                        <p:tgtEl>
                                          <p:spTgt spid="145"/>
                                        </p:tgtEl>
                                      </p:cBhvr>
                                    </p:animEffect>
                                  </p:childTnLst>
                                </p:cTn>
                              </p:par>
                            </p:childTnLst>
                          </p:cTn>
                        </p:par>
                        <p:par>
                          <p:cTn id="32" fill="hold">
                            <p:stCondLst>
                              <p:cond delay="3500"/>
                            </p:stCondLst>
                            <p:childTnLst>
                              <p:par>
                                <p:cTn id="33" presetID="22" presetClass="entr" presetSubtype="4" fill="hold" nodeType="afterEffect">
                                  <p:stCondLst>
                                    <p:cond delay="0"/>
                                  </p:stCondLst>
                                  <p:childTnLst>
                                    <p:set>
                                      <p:cBhvr>
                                        <p:cTn id="34" dur="1" fill="hold">
                                          <p:stCondLst>
                                            <p:cond delay="0"/>
                                          </p:stCondLst>
                                        </p:cTn>
                                        <p:tgtEl>
                                          <p:spTgt spid="149"/>
                                        </p:tgtEl>
                                        <p:attrNameLst>
                                          <p:attrName>style.visibility</p:attrName>
                                        </p:attrNameLst>
                                      </p:cBhvr>
                                      <p:to>
                                        <p:strVal val="visible"/>
                                      </p:to>
                                    </p:set>
                                    <p:animEffect transition="in" filter="wipe(down)">
                                      <p:cBhvr>
                                        <p:cTn id="35" dur="500"/>
                                        <p:tgtEl>
                                          <p:spTgt spid="149"/>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144"/>
                                        </p:tgtEl>
                                        <p:attrNameLst>
                                          <p:attrName>style.visibility</p:attrName>
                                        </p:attrNameLst>
                                      </p:cBhvr>
                                      <p:to>
                                        <p:strVal val="visible"/>
                                      </p:to>
                                    </p:set>
                                    <p:animEffect transition="in" filter="wipe(left)">
                                      <p:cBhvr>
                                        <p:cTn id="39" dur="500"/>
                                        <p:tgtEl>
                                          <p:spTgt spid="14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grpId="1" nodeType="clickEffect">
                                  <p:stCondLst>
                                    <p:cond delay="0"/>
                                  </p:stCondLst>
                                  <p:childTnLst>
                                    <p:animEffect transition="out" filter="fade">
                                      <p:cBhvr>
                                        <p:cTn id="43" dur="500"/>
                                        <p:tgtEl>
                                          <p:spTgt spid="147"/>
                                        </p:tgtEl>
                                      </p:cBhvr>
                                    </p:animEffect>
                                    <p:set>
                                      <p:cBhvr>
                                        <p:cTn id="44" dur="1" fill="hold">
                                          <p:stCondLst>
                                            <p:cond delay="499"/>
                                          </p:stCondLst>
                                        </p:cTn>
                                        <p:tgtEl>
                                          <p:spTgt spid="147"/>
                                        </p:tgtEl>
                                        <p:attrNameLst>
                                          <p:attrName>style.visibility</p:attrName>
                                        </p:attrNameLst>
                                      </p:cBhvr>
                                      <p:to>
                                        <p:strVal val="hidden"/>
                                      </p:to>
                                    </p:set>
                                  </p:childTnLst>
                                </p:cTn>
                              </p:par>
                              <p:par>
                                <p:cTn id="45" presetID="22" presetClass="entr" presetSubtype="8" fill="hold" nodeType="withEffect">
                                  <p:stCondLst>
                                    <p:cond delay="0"/>
                                  </p:stCondLst>
                                  <p:childTnLst>
                                    <p:set>
                                      <p:cBhvr>
                                        <p:cTn id="46" dur="1" fill="hold">
                                          <p:stCondLst>
                                            <p:cond delay="0"/>
                                          </p:stCondLst>
                                        </p:cTn>
                                        <p:tgtEl>
                                          <p:spTgt spid="137"/>
                                        </p:tgtEl>
                                        <p:attrNameLst>
                                          <p:attrName>style.visibility</p:attrName>
                                        </p:attrNameLst>
                                      </p:cBhvr>
                                      <p:to>
                                        <p:strVal val="visible"/>
                                      </p:to>
                                    </p:set>
                                    <p:animEffect transition="in" filter="wipe(left)">
                                      <p:cBhvr>
                                        <p:cTn id="47" dur="500"/>
                                        <p:tgtEl>
                                          <p:spTgt spid="137"/>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62"/>
                                        </p:tgtEl>
                                        <p:attrNameLst>
                                          <p:attrName>style.visibility</p:attrName>
                                        </p:attrNameLst>
                                      </p:cBhvr>
                                      <p:to>
                                        <p:strVal val="visible"/>
                                      </p:to>
                                    </p:set>
                                    <p:animEffect transition="in" filter="wipe(left)">
                                      <p:cBhvr>
                                        <p:cTn id="50" dur="750"/>
                                        <p:tgtEl>
                                          <p:spTgt spid="162"/>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xit" presetSubtype="0" fill="hold" grpId="1" nodeType="clickEffect">
                                  <p:stCondLst>
                                    <p:cond delay="0"/>
                                  </p:stCondLst>
                                  <p:childTnLst>
                                    <p:animEffect transition="out" filter="fade">
                                      <p:cBhvr>
                                        <p:cTn id="54" dur="500"/>
                                        <p:tgtEl>
                                          <p:spTgt spid="146"/>
                                        </p:tgtEl>
                                      </p:cBhvr>
                                    </p:animEffect>
                                    <p:set>
                                      <p:cBhvr>
                                        <p:cTn id="55" dur="1" fill="hold">
                                          <p:stCondLst>
                                            <p:cond delay="499"/>
                                          </p:stCondLst>
                                        </p:cTn>
                                        <p:tgtEl>
                                          <p:spTgt spid="146"/>
                                        </p:tgtEl>
                                        <p:attrNameLst>
                                          <p:attrName>style.visibility</p:attrName>
                                        </p:attrNameLst>
                                      </p:cBhvr>
                                      <p:to>
                                        <p:strVal val="hidden"/>
                                      </p:to>
                                    </p:set>
                                  </p:childTnLst>
                                </p:cTn>
                              </p:par>
                            </p:childTnLst>
                          </p:cTn>
                        </p:par>
                        <p:par>
                          <p:cTn id="56" fill="hold">
                            <p:stCondLst>
                              <p:cond delay="500"/>
                            </p:stCondLst>
                            <p:childTnLst>
                              <p:par>
                                <p:cTn id="57" presetID="22" presetClass="entr" presetSubtype="8" fill="hold" nodeType="afterEffect">
                                  <p:stCondLst>
                                    <p:cond delay="0"/>
                                  </p:stCondLst>
                                  <p:childTnLst>
                                    <p:set>
                                      <p:cBhvr>
                                        <p:cTn id="58" dur="1" fill="hold">
                                          <p:stCondLst>
                                            <p:cond delay="0"/>
                                          </p:stCondLst>
                                        </p:cTn>
                                        <p:tgtEl>
                                          <p:spTgt spid="154"/>
                                        </p:tgtEl>
                                        <p:attrNameLst>
                                          <p:attrName>style.visibility</p:attrName>
                                        </p:attrNameLst>
                                      </p:cBhvr>
                                      <p:to>
                                        <p:strVal val="visible"/>
                                      </p:to>
                                    </p:set>
                                    <p:animEffect transition="in" filter="wipe(left)">
                                      <p:cBhvr>
                                        <p:cTn id="59" dur="500"/>
                                        <p:tgtEl>
                                          <p:spTgt spid="154"/>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161"/>
                                        </p:tgtEl>
                                        <p:attrNameLst>
                                          <p:attrName>style.visibility</p:attrName>
                                        </p:attrNameLst>
                                      </p:cBhvr>
                                      <p:to>
                                        <p:strVal val="visible"/>
                                      </p:to>
                                    </p:set>
                                    <p:animEffect transition="in" filter="wipe(left)">
                                      <p:cBhvr>
                                        <p:cTn id="62" dur="750"/>
                                        <p:tgtEl>
                                          <p:spTgt spid="161"/>
                                        </p:tgtEl>
                                      </p:cBhvr>
                                    </p:animEffect>
                                  </p:childTnLst>
                                </p:cTn>
                              </p:par>
                            </p:childTnLst>
                          </p:cTn>
                        </p:par>
                        <p:par>
                          <p:cTn id="63" fill="hold">
                            <p:stCondLst>
                              <p:cond delay="1250"/>
                            </p:stCondLst>
                            <p:childTnLst>
                              <p:par>
                                <p:cTn id="64" presetID="10" presetClass="exit" presetSubtype="0" fill="hold" grpId="1" nodeType="afterEffect">
                                  <p:stCondLst>
                                    <p:cond delay="0"/>
                                  </p:stCondLst>
                                  <p:childTnLst>
                                    <p:animEffect transition="out" filter="fade">
                                      <p:cBhvr>
                                        <p:cTn id="65" dur="500"/>
                                        <p:tgtEl>
                                          <p:spTgt spid="145"/>
                                        </p:tgtEl>
                                      </p:cBhvr>
                                    </p:animEffect>
                                    <p:set>
                                      <p:cBhvr>
                                        <p:cTn id="66" dur="1" fill="hold">
                                          <p:stCondLst>
                                            <p:cond delay="499"/>
                                          </p:stCondLst>
                                        </p:cTn>
                                        <p:tgtEl>
                                          <p:spTgt spid="145"/>
                                        </p:tgtEl>
                                        <p:attrNameLst>
                                          <p:attrName>style.visibility</p:attrName>
                                        </p:attrNameLst>
                                      </p:cBhvr>
                                      <p:to>
                                        <p:strVal val="hidden"/>
                                      </p:to>
                                    </p:set>
                                  </p:childTnLst>
                                </p:cTn>
                              </p:par>
                            </p:childTnLst>
                          </p:cTn>
                        </p:par>
                        <p:par>
                          <p:cTn id="67" fill="hold">
                            <p:stCondLst>
                              <p:cond delay="1750"/>
                            </p:stCondLst>
                            <p:childTnLst>
                              <p:par>
                                <p:cTn id="68" presetID="22" presetClass="entr" presetSubtype="8" fill="hold" nodeType="afterEffect">
                                  <p:stCondLst>
                                    <p:cond delay="0"/>
                                  </p:stCondLst>
                                  <p:childTnLst>
                                    <p:set>
                                      <p:cBhvr>
                                        <p:cTn id="69" dur="1" fill="hold">
                                          <p:stCondLst>
                                            <p:cond delay="0"/>
                                          </p:stCondLst>
                                        </p:cTn>
                                        <p:tgtEl>
                                          <p:spTgt spid="153"/>
                                        </p:tgtEl>
                                        <p:attrNameLst>
                                          <p:attrName>style.visibility</p:attrName>
                                        </p:attrNameLst>
                                      </p:cBhvr>
                                      <p:to>
                                        <p:strVal val="visible"/>
                                      </p:to>
                                    </p:set>
                                    <p:animEffect transition="in" filter="wipe(left)">
                                      <p:cBhvr>
                                        <p:cTn id="70" dur="500"/>
                                        <p:tgtEl>
                                          <p:spTgt spid="153"/>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160"/>
                                        </p:tgtEl>
                                        <p:attrNameLst>
                                          <p:attrName>style.visibility</p:attrName>
                                        </p:attrNameLst>
                                      </p:cBhvr>
                                      <p:to>
                                        <p:strVal val="visible"/>
                                      </p:to>
                                    </p:set>
                                    <p:animEffect transition="in" filter="wipe(left)">
                                      <p:cBhvr>
                                        <p:cTn id="73" dur="750"/>
                                        <p:tgtEl>
                                          <p:spTgt spid="160"/>
                                        </p:tgtEl>
                                      </p:cBhvr>
                                    </p:animEffect>
                                  </p:childTnLst>
                                </p:cTn>
                              </p:par>
                            </p:childTnLst>
                          </p:cTn>
                        </p:par>
                        <p:par>
                          <p:cTn id="74" fill="hold">
                            <p:stCondLst>
                              <p:cond delay="2500"/>
                            </p:stCondLst>
                            <p:childTnLst>
                              <p:par>
                                <p:cTn id="75" presetID="10" presetClass="exit" presetSubtype="0" fill="hold" grpId="1" nodeType="afterEffect">
                                  <p:stCondLst>
                                    <p:cond delay="0"/>
                                  </p:stCondLst>
                                  <p:childTnLst>
                                    <p:animEffect transition="out" filter="fade">
                                      <p:cBhvr>
                                        <p:cTn id="76" dur="500"/>
                                        <p:tgtEl>
                                          <p:spTgt spid="144"/>
                                        </p:tgtEl>
                                      </p:cBhvr>
                                    </p:animEffect>
                                    <p:set>
                                      <p:cBhvr>
                                        <p:cTn id="77" dur="1" fill="hold">
                                          <p:stCondLst>
                                            <p:cond delay="499"/>
                                          </p:stCondLst>
                                        </p:cTn>
                                        <p:tgtEl>
                                          <p:spTgt spid="144"/>
                                        </p:tgtEl>
                                        <p:attrNameLst>
                                          <p:attrName>style.visibility</p:attrName>
                                        </p:attrNameLst>
                                      </p:cBhvr>
                                      <p:to>
                                        <p:strVal val="hidden"/>
                                      </p:to>
                                    </p:set>
                                  </p:childTnLst>
                                </p:cTn>
                              </p:par>
                            </p:childTnLst>
                          </p:cTn>
                        </p:par>
                        <p:par>
                          <p:cTn id="78" fill="hold">
                            <p:stCondLst>
                              <p:cond delay="3000"/>
                            </p:stCondLst>
                            <p:childTnLst>
                              <p:par>
                                <p:cTn id="79" presetID="22" presetClass="entr" presetSubtype="8" fill="hold" nodeType="afterEffect">
                                  <p:stCondLst>
                                    <p:cond delay="0"/>
                                  </p:stCondLst>
                                  <p:childTnLst>
                                    <p:set>
                                      <p:cBhvr>
                                        <p:cTn id="80" dur="1" fill="hold">
                                          <p:stCondLst>
                                            <p:cond delay="0"/>
                                          </p:stCondLst>
                                        </p:cTn>
                                        <p:tgtEl>
                                          <p:spTgt spid="152"/>
                                        </p:tgtEl>
                                        <p:attrNameLst>
                                          <p:attrName>style.visibility</p:attrName>
                                        </p:attrNameLst>
                                      </p:cBhvr>
                                      <p:to>
                                        <p:strVal val="visible"/>
                                      </p:to>
                                    </p:set>
                                    <p:animEffect transition="in" filter="wipe(left)">
                                      <p:cBhvr>
                                        <p:cTn id="81" dur="500"/>
                                        <p:tgtEl>
                                          <p:spTgt spid="152"/>
                                        </p:tgtEl>
                                      </p:cBhvr>
                                    </p:animEffect>
                                  </p:childTnLst>
                                </p:cTn>
                              </p:par>
                            </p:childTnLst>
                          </p:cTn>
                        </p:par>
                        <p:par>
                          <p:cTn id="82" fill="hold">
                            <p:stCondLst>
                              <p:cond delay="3500"/>
                            </p:stCondLst>
                            <p:childTnLst>
                              <p:par>
                                <p:cTn id="83" presetID="22" presetClass="entr" presetSubtype="8" fill="hold" grpId="0" nodeType="afterEffect">
                                  <p:stCondLst>
                                    <p:cond delay="0"/>
                                  </p:stCondLst>
                                  <p:childTnLst>
                                    <p:set>
                                      <p:cBhvr>
                                        <p:cTn id="84" dur="1" fill="hold">
                                          <p:stCondLst>
                                            <p:cond delay="0"/>
                                          </p:stCondLst>
                                        </p:cTn>
                                        <p:tgtEl>
                                          <p:spTgt spid="159"/>
                                        </p:tgtEl>
                                        <p:attrNameLst>
                                          <p:attrName>style.visibility</p:attrName>
                                        </p:attrNameLst>
                                      </p:cBhvr>
                                      <p:to>
                                        <p:strVal val="visible"/>
                                      </p:to>
                                    </p:set>
                                    <p:animEffect transition="in" filter="wipe(left)">
                                      <p:cBhvr>
                                        <p:cTn id="85" dur="75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p:bldP spid="144" grpId="1"/>
      <p:bldP spid="145" grpId="0"/>
      <p:bldP spid="145" grpId="1"/>
      <p:bldP spid="146" grpId="0"/>
      <p:bldP spid="146" grpId="1"/>
      <p:bldP spid="147" grpId="0"/>
      <p:bldP spid="147" grpId="1"/>
      <p:bldP spid="148" grpId="0"/>
      <p:bldP spid="159" grpId="0" animBg="1"/>
      <p:bldP spid="160" grpId="0" animBg="1"/>
      <p:bldP spid="161" grpId="0" animBg="1"/>
      <p:bldP spid="16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C818DD-ED76-4743-902E-3C20E29D9936}"/>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05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2AC818DD-ED76-4743-902E-3C20E29D9936}"/>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64D2977-411E-4D9A-8B6D-3880B6F7B6C2}"/>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dirty="0" err="1">
              <a:gradFill>
                <a:gsLst>
                  <a:gs pos="0">
                    <a:srgbClr val="FFFFFF"/>
                  </a:gs>
                  <a:gs pos="100000">
                    <a:srgbClr val="FFFFFF"/>
                  </a:gs>
                </a:gsLst>
                <a:lin ang="5400000" scaled="0"/>
              </a:gradFill>
              <a:latin typeface="Segoe UI Light" panose="020B0502040204020203" pitchFamily="34" charset="0"/>
              <a:cs typeface="Segoe UI" panose="020B0502040204020203" pitchFamily="34" charset="0"/>
              <a:sym typeface="Segoe UI Light" panose="020B0502040204020203" pitchFamily="34" charset="0"/>
            </a:endParaRPr>
          </a:p>
        </p:txBody>
      </p:sp>
      <p:cxnSp>
        <p:nvCxnSpPr>
          <p:cNvPr id="61" name="Straight Arrow Connector 60"/>
          <p:cNvCxnSpPr>
            <a:cxnSpLocks/>
          </p:cNvCxnSpPr>
          <p:nvPr/>
        </p:nvCxnSpPr>
        <p:spPr>
          <a:xfrm flipV="1">
            <a:off x="3085371" y="4884565"/>
            <a:ext cx="2044704" cy="0"/>
          </a:xfrm>
          <a:prstGeom prst="straightConnector1">
            <a:avLst/>
          </a:prstGeom>
          <a:ln w="12700">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normAutofit/>
          </a:bodyPr>
          <a:lstStyle/>
          <a:p>
            <a:r>
              <a:rPr lang="en-US" sz="3529" dirty="0"/>
              <a:t>First step… get connected through a common communication model</a:t>
            </a:r>
            <a:endParaRPr lang="en-IN" sz="3529" dirty="0"/>
          </a:p>
        </p:txBody>
      </p:sp>
      <p:sp>
        <p:nvSpPr>
          <p:cNvPr id="40" name="Rectangle 39"/>
          <p:cNvSpPr/>
          <p:nvPr/>
        </p:nvSpPr>
        <p:spPr>
          <a:xfrm>
            <a:off x="609223" y="4103626"/>
            <a:ext cx="2476149" cy="13866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r>
              <a:rPr lang="it-IT" sz="1765" dirty="0" err="1">
                <a:solidFill>
                  <a:schemeClr val="bg1"/>
                </a:solidFill>
              </a:rPr>
              <a:t>Process</a:t>
            </a:r>
            <a:r>
              <a:rPr lang="it-IT" sz="1765" dirty="0">
                <a:solidFill>
                  <a:schemeClr val="bg1"/>
                </a:solidFill>
              </a:rPr>
              <a:t> </a:t>
            </a:r>
          </a:p>
        </p:txBody>
      </p:sp>
      <p:sp>
        <p:nvSpPr>
          <p:cNvPr id="42" name="Rectangle 41"/>
          <p:cNvSpPr/>
          <p:nvPr/>
        </p:nvSpPr>
        <p:spPr>
          <a:xfrm>
            <a:off x="609223" y="2930313"/>
            <a:ext cx="2476149" cy="6933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it-IT" sz="1765" dirty="0">
                <a:solidFill>
                  <a:schemeClr val="bg1"/>
                </a:solidFill>
              </a:rPr>
              <a:t>Controller (PLC)</a:t>
            </a:r>
          </a:p>
        </p:txBody>
      </p:sp>
      <p:cxnSp>
        <p:nvCxnSpPr>
          <p:cNvPr id="43" name="Straight Arrow Connector 42"/>
          <p:cNvCxnSpPr/>
          <p:nvPr/>
        </p:nvCxnSpPr>
        <p:spPr>
          <a:xfrm flipV="1">
            <a:off x="1154602" y="3623634"/>
            <a:ext cx="0" cy="1089505"/>
          </a:xfrm>
          <a:prstGeom prst="straightConnector1">
            <a:avLst/>
          </a:prstGeom>
          <a:ln w="12700">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460620" y="3623635"/>
            <a:ext cx="0" cy="479992"/>
          </a:xfrm>
          <a:prstGeom prst="straightConnector1">
            <a:avLst/>
          </a:prstGeom>
          <a:ln w="12700">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1012388" y="2258927"/>
            <a:ext cx="1669817" cy="369279"/>
          </a:xfrm>
          <a:prstGeom prst="rect">
            <a:avLst/>
          </a:prstGeom>
          <a:noFill/>
        </p:spPr>
        <p:txBody>
          <a:bodyPr wrap="square" rtlCol="0">
            <a:noAutofit/>
          </a:bodyPr>
          <a:lstStyle/>
          <a:p>
            <a:pPr algn="ctr"/>
            <a:r>
              <a:rPr lang="it-IT" sz="1765" dirty="0">
                <a:latin typeface="Segoe UI Semibold" panose="020B0702040204020203" pitchFamily="34" charset="0"/>
                <a:cs typeface="Segoe UI Semibold" panose="020B0702040204020203" pitchFamily="34" charset="0"/>
              </a:rPr>
              <a:t>SETTINGS</a:t>
            </a:r>
          </a:p>
        </p:txBody>
      </p:sp>
      <p:cxnSp>
        <p:nvCxnSpPr>
          <p:cNvPr id="51" name="Straight Arrow Connector 50"/>
          <p:cNvCxnSpPr>
            <a:cxnSpLocks/>
          </p:cNvCxnSpPr>
          <p:nvPr/>
        </p:nvCxnSpPr>
        <p:spPr>
          <a:xfrm flipV="1">
            <a:off x="3085371" y="3276973"/>
            <a:ext cx="2044704" cy="0"/>
          </a:xfrm>
          <a:prstGeom prst="straightConnector1">
            <a:avLst/>
          </a:prstGeom>
          <a:ln w="12700">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rot="16200000">
            <a:off x="4929833" y="2784817"/>
            <a:ext cx="1384801" cy="984307"/>
          </a:xfrm>
          <a:prstGeom prst="trapezoid">
            <a:avLst/>
          </a:prstGeom>
          <a:solidFill>
            <a:schemeClr val="tx2">
              <a:lumMod val="75000"/>
            </a:schemeClr>
          </a:solidFill>
          <a:ln>
            <a:noFill/>
          </a:ln>
          <a:effectLst/>
        </p:spPr>
        <p:style>
          <a:lnRef idx="1">
            <a:schemeClr val="accent2"/>
          </a:lnRef>
          <a:fillRef idx="2">
            <a:schemeClr val="accent2"/>
          </a:fillRef>
          <a:effectRef idx="1">
            <a:schemeClr val="accent2"/>
          </a:effectRef>
          <a:fontRef idx="minor">
            <a:schemeClr val="dk1"/>
          </a:fontRef>
        </p:style>
        <p:txBody>
          <a:bodyPr vert="vert" wrap="none" lIns="0" tIns="0" rIns="0" bIns="89642" rtlCol="0" anchor="ctr">
            <a:noAutofit/>
          </a:bodyPr>
          <a:lstStyle>
            <a:defPPr>
              <a:defRPr lang="en-US"/>
            </a:defPPr>
            <a:lvl1pPr algn="ctr">
              <a:defRPr sz="24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it-IT" sz="1568" dirty="0">
                <a:solidFill>
                  <a:schemeClr val="bg1"/>
                </a:solidFill>
              </a:rPr>
              <a:t>Event</a:t>
            </a:r>
            <a:br>
              <a:rPr lang="it-IT" sz="1568" dirty="0">
                <a:solidFill>
                  <a:schemeClr val="bg1"/>
                </a:solidFill>
              </a:rPr>
            </a:br>
            <a:r>
              <a:rPr lang="it-IT" sz="1568" dirty="0">
                <a:solidFill>
                  <a:schemeClr val="bg1"/>
                </a:solidFill>
              </a:rPr>
              <a:t>Data</a:t>
            </a:r>
          </a:p>
        </p:txBody>
      </p:sp>
      <p:sp>
        <p:nvSpPr>
          <p:cNvPr id="53" name="Rectangle 52"/>
          <p:cNvSpPr/>
          <p:nvPr/>
        </p:nvSpPr>
        <p:spPr>
          <a:xfrm>
            <a:off x="3230465" y="2930313"/>
            <a:ext cx="700940" cy="2559957"/>
          </a:xfrm>
          <a:prstGeom prst="rect">
            <a:avLst/>
          </a:prstGeom>
          <a:solidFill>
            <a:schemeClr val="tx2"/>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it-IT" sz="1765" dirty="0">
                <a:solidFill>
                  <a:schemeClr val="bg1"/>
                </a:solidFill>
              </a:rPr>
              <a:t>OPC</a:t>
            </a:r>
          </a:p>
        </p:txBody>
      </p:sp>
      <p:sp>
        <p:nvSpPr>
          <p:cNvPr id="54" name="Rectangle 53"/>
          <p:cNvSpPr/>
          <p:nvPr/>
        </p:nvSpPr>
        <p:spPr>
          <a:xfrm>
            <a:off x="6114386" y="4192167"/>
            <a:ext cx="5468392" cy="1384799"/>
          </a:xfrm>
          <a:prstGeom prst="rect">
            <a:avLst/>
          </a:prstGeom>
          <a:solidFill>
            <a:schemeClr val="bg1">
              <a:lumMod val="95000"/>
            </a:schemeClr>
          </a:solidFill>
        </p:spPr>
        <p:txBody>
          <a:bodyPr wrap="square" anchor="ctr">
            <a:noAutofit/>
          </a:bodyPr>
          <a:lstStyle/>
          <a:p>
            <a:r>
              <a:rPr lang="en-US" sz="1372" i="1" dirty="0"/>
              <a:t>Process variables read and sent at specific time interval. For example:</a:t>
            </a:r>
          </a:p>
          <a:p>
            <a:pPr marL="220984" indent="-172742">
              <a:spcBef>
                <a:spcPts val="100"/>
              </a:spcBef>
              <a:spcAft>
                <a:spcPts val="300"/>
              </a:spcAft>
              <a:buFont typeface="Arial" panose="020B0604020202020204" pitchFamily="34" charset="0"/>
              <a:buChar char="•"/>
            </a:pPr>
            <a:r>
              <a:rPr lang="en-US" sz="1372" i="1" dirty="0"/>
              <a:t>Component part rejection rate</a:t>
            </a:r>
          </a:p>
          <a:p>
            <a:pPr marL="220984" indent="-172742">
              <a:spcBef>
                <a:spcPts val="100"/>
              </a:spcBef>
              <a:spcAft>
                <a:spcPts val="300"/>
              </a:spcAft>
              <a:buFont typeface="Arial" panose="020B0604020202020204" pitchFamily="34" charset="0"/>
              <a:buChar char="•"/>
            </a:pPr>
            <a:r>
              <a:rPr lang="en-US" sz="1372" i="1" dirty="0"/>
              <a:t>Chamber air pressure</a:t>
            </a:r>
          </a:p>
          <a:p>
            <a:pPr marL="220984" indent="-172742">
              <a:spcBef>
                <a:spcPts val="100"/>
              </a:spcBef>
              <a:spcAft>
                <a:spcPts val="300"/>
              </a:spcAft>
              <a:buFont typeface="Arial" panose="020B0604020202020204" pitchFamily="34" charset="0"/>
              <a:buChar char="•"/>
            </a:pPr>
            <a:r>
              <a:rPr lang="en-US" sz="1372" i="1" dirty="0"/>
              <a:t>Solder temperature</a:t>
            </a:r>
          </a:p>
        </p:txBody>
      </p:sp>
      <p:sp>
        <p:nvSpPr>
          <p:cNvPr id="55" name="Rectangle 54"/>
          <p:cNvSpPr/>
          <p:nvPr/>
        </p:nvSpPr>
        <p:spPr>
          <a:xfrm>
            <a:off x="6114386" y="2584574"/>
            <a:ext cx="5468392" cy="1384799"/>
          </a:xfrm>
          <a:prstGeom prst="rect">
            <a:avLst/>
          </a:prstGeom>
          <a:solidFill>
            <a:schemeClr val="bg1">
              <a:lumMod val="95000"/>
            </a:schemeClr>
          </a:solidFill>
        </p:spPr>
        <p:txBody>
          <a:bodyPr wrap="square" anchor="ctr">
            <a:noAutofit/>
          </a:bodyPr>
          <a:lstStyle/>
          <a:p>
            <a:r>
              <a:rPr lang="en-US" sz="1372" i="1" dirty="0"/>
              <a:t>Something has happened on the machine. For example:</a:t>
            </a:r>
          </a:p>
          <a:p>
            <a:pPr marL="220984" indent="-172742">
              <a:spcBef>
                <a:spcPts val="100"/>
              </a:spcBef>
              <a:spcAft>
                <a:spcPts val="300"/>
              </a:spcAft>
              <a:buFont typeface="Arial" panose="020B0604020202020204" pitchFamily="34" charset="0"/>
              <a:buChar char="•"/>
            </a:pPr>
            <a:r>
              <a:rPr lang="en-US" sz="1372" i="1" dirty="0"/>
              <a:t>Machine Started production</a:t>
            </a:r>
          </a:p>
          <a:p>
            <a:pPr marL="220984" indent="-172742">
              <a:spcBef>
                <a:spcPts val="100"/>
              </a:spcBef>
              <a:spcAft>
                <a:spcPts val="300"/>
              </a:spcAft>
              <a:buFont typeface="Arial" panose="020B0604020202020204" pitchFamily="34" charset="0"/>
              <a:buChar char="•"/>
            </a:pPr>
            <a:r>
              <a:rPr lang="en-US" sz="1372" i="1" dirty="0"/>
              <a:t>Machine Ended production</a:t>
            </a:r>
          </a:p>
          <a:p>
            <a:pPr marL="220984" indent="-172742">
              <a:spcBef>
                <a:spcPts val="100"/>
              </a:spcBef>
              <a:spcAft>
                <a:spcPts val="300"/>
              </a:spcAft>
              <a:buFont typeface="Arial" panose="020B0604020202020204" pitchFamily="34" charset="0"/>
              <a:buChar char="•"/>
            </a:pPr>
            <a:r>
              <a:rPr lang="en-US" sz="1372" i="1" dirty="0"/>
              <a:t>A setting has been changed on the machine</a:t>
            </a:r>
          </a:p>
          <a:p>
            <a:pPr marL="220984" indent="-172742">
              <a:spcBef>
                <a:spcPts val="100"/>
              </a:spcBef>
              <a:spcAft>
                <a:spcPts val="300"/>
              </a:spcAft>
              <a:buFont typeface="Arial" panose="020B0604020202020204" pitchFamily="34" charset="0"/>
              <a:buChar char="•"/>
            </a:pPr>
            <a:r>
              <a:rPr lang="en-US" sz="1372" i="1" dirty="0"/>
              <a:t>A raw material has been replaced</a:t>
            </a:r>
          </a:p>
        </p:txBody>
      </p:sp>
      <p:cxnSp>
        <p:nvCxnSpPr>
          <p:cNvPr id="56" name="Straight Arrow Connector 55"/>
          <p:cNvCxnSpPr/>
          <p:nvPr/>
        </p:nvCxnSpPr>
        <p:spPr>
          <a:xfrm>
            <a:off x="1847296" y="2628206"/>
            <a:ext cx="0" cy="260523"/>
          </a:xfrm>
          <a:prstGeom prst="straightConnector1">
            <a:avLst/>
          </a:prstGeom>
          <a:ln w="12700">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4094702" y="2930313"/>
            <a:ext cx="700940" cy="2559957"/>
          </a:xfrm>
          <a:prstGeom prst="rect">
            <a:avLst/>
          </a:prstGeom>
          <a:solidFill>
            <a:schemeClr val="tx2"/>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it-IT" sz="1765" dirty="0">
                <a:solidFill>
                  <a:schemeClr val="bg1"/>
                </a:solidFill>
              </a:rPr>
              <a:t>Field</a:t>
            </a:r>
          </a:p>
          <a:p>
            <a:pPr algn="ctr"/>
            <a:r>
              <a:rPr lang="it-IT" sz="1765" dirty="0">
                <a:solidFill>
                  <a:schemeClr val="bg1"/>
                </a:solidFill>
              </a:rPr>
              <a:t>GTW</a:t>
            </a:r>
          </a:p>
        </p:txBody>
      </p:sp>
      <p:sp>
        <p:nvSpPr>
          <p:cNvPr id="58" name="TextBox 57"/>
          <p:cNvSpPr txBox="1"/>
          <p:nvPr/>
        </p:nvSpPr>
        <p:spPr>
          <a:xfrm rot="16200000">
            <a:off x="4929833" y="4392411"/>
            <a:ext cx="1384801" cy="984307"/>
          </a:xfrm>
          <a:prstGeom prst="trapezoid">
            <a:avLst/>
          </a:prstGeom>
          <a:solidFill>
            <a:schemeClr val="tx2">
              <a:lumMod val="75000"/>
            </a:schemeClr>
          </a:solidFill>
          <a:ln>
            <a:noFill/>
          </a:ln>
          <a:effectLst/>
        </p:spPr>
        <p:style>
          <a:lnRef idx="1">
            <a:schemeClr val="accent2"/>
          </a:lnRef>
          <a:fillRef idx="2">
            <a:schemeClr val="accent2"/>
          </a:fillRef>
          <a:effectRef idx="1">
            <a:schemeClr val="accent2"/>
          </a:effectRef>
          <a:fontRef idx="minor">
            <a:schemeClr val="dk1"/>
          </a:fontRef>
        </p:style>
        <p:txBody>
          <a:bodyPr vert="vert" wrap="none" lIns="0" tIns="0" rIns="0" bIns="89642" rtlCol="0" anchor="ctr">
            <a:noAutofit/>
          </a:bodyPr>
          <a:lstStyle>
            <a:defPPr>
              <a:defRPr lang="en-US"/>
            </a:defPPr>
            <a:lvl1pPr algn="ctr">
              <a:defRPr sz="24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it-IT" sz="1568" dirty="0">
                <a:solidFill>
                  <a:schemeClr val="bg1"/>
                </a:solidFill>
              </a:rPr>
              <a:t>Telemetry</a:t>
            </a:r>
            <a:br>
              <a:rPr lang="it-IT" sz="1568" dirty="0">
                <a:solidFill>
                  <a:schemeClr val="bg1"/>
                </a:solidFill>
              </a:rPr>
            </a:br>
            <a:r>
              <a:rPr lang="it-IT" sz="1568" dirty="0">
                <a:solidFill>
                  <a:schemeClr val="bg1"/>
                </a:solidFill>
              </a:rPr>
              <a:t>Data</a:t>
            </a:r>
          </a:p>
        </p:txBody>
      </p:sp>
      <p:sp>
        <p:nvSpPr>
          <p:cNvPr id="41" name="Rectangle 40"/>
          <p:cNvSpPr/>
          <p:nvPr/>
        </p:nvSpPr>
        <p:spPr>
          <a:xfrm>
            <a:off x="860646" y="4713140"/>
            <a:ext cx="1955883" cy="479992"/>
          </a:xfrm>
          <a:prstGeom prst="rect">
            <a:avLst/>
          </a:prstGeom>
          <a:solidFill>
            <a:schemeClr val="bg1"/>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p>
            <a:pPr algn="ctr"/>
            <a:r>
              <a:rPr lang="it-IT" sz="1765" dirty="0">
                <a:solidFill>
                  <a:schemeClr val="tx1"/>
                </a:solidFill>
              </a:rPr>
              <a:t>Process Variables</a:t>
            </a:r>
          </a:p>
        </p:txBody>
      </p:sp>
      <p:sp>
        <p:nvSpPr>
          <p:cNvPr id="60" name="Rectangle 59"/>
          <p:cNvSpPr/>
          <p:nvPr/>
        </p:nvSpPr>
        <p:spPr>
          <a:xfrm>
            <a:off x="459862" y="2141192"/>
            <a:ext cx="11294953" cy="3656358"/>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IN" sz="1200" dirty="0" err="1"/>
          </a:p>
        </p:txBody>
      </p:sp>
    </p:spTree>
    <p:extLst>
      <p:ext uri="{BB962C8B-B14F-4D97-AF65-F5344CB8AC3E}">
        <p14:creationId xmlns:p14="http://schemas.microsoft.com/office/powerpoint/2010/main" val="1268160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left)">
                                      <p:cBhvr>
                                        <p:cTn id="7" dur="500"/>
                                        <p:tgtEl>
                                          <p:spTgt spid="51"/>
                                        </p:tgtEl>
                                      </p:cBhvr>
                                    </p:animEffect>
                                  </p:childTnLst>
                                </p:cTn>
                              </p:par>
                              <p:par>
                                <p:cTn id="8" presetID="22" presetClass="entr" presetSubtype="8" fill="hold"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wipe(left)">
                                      <p:cBhvr>
                                        <p:cTn id="10" dur="500"/>
                                        <p:tgtEl>
                                          <p:spTgt spid="61"/>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2"/>
                                        </p:tgtEl>
                                        <p:attrNameLst>
                                          <p:attrName>style.visibility</p:attrName>
                                        </p:attrNameLst>
                                      </p:cBhvr>
                                      <p:to>
                                        <p:strVal val="visible"/>
                                      </p:to>
                                    </p:set>
                                    <p:animEffect transition="in" filter="wipe(left)">
                                      <p:cBhvr>
                                        <p:cTn id="14" dur="500"/>
                                        <p:tgtEl>
                                          <p:spTgt spid="52"/>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5"/>
                                        </p:tgtEl>
                                        <p:attrNameLst>
                                          <p:attrName>style.visibility</p:attrName>
                                        </p:attrNameLst>
                                      </p:cBhvr>
                                      <p:to>
                                        <p:strVal val="visible"/>
                                      </p:to>
                                    </p:set>
                                    <p:animEffect transition="in" filter="fade">
                                      <p:cBhvr>
                                        <p:cTn id="21" dur="500"/>
                                        <p:tgtEl>
                                          <p:spTgt spid="5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4" grpId="0" animBg="1"/>
      <p:bldP spid="55" grpId="0" animBg="1"/>
      <p:bldP spid="5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450D25-FA24-4DC6-BB9E-C23E14888051}"/>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3077"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33450D25-FA24-4DC6-BB9E-C23E14888051}"/>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5F8ED1-584E-4E19-B7DD-8F11C0F29A20}"/>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dirty="0" err="1">
              <a:gradFill>
                <a:gsLst>
                  <a:gs pos="0">
                    <a:srgbClr val="FFFFFF"/>
                  </a:gs>
                  <a:gs pos="100000">
                    <a:srgbClr val="FFFFFF"/>
                  </a:gs>
                </a:gsLst>
                <a:lin ang="5400000" scaled="0"/>
              </a:gradFill>
              <a:latin typeface="Segoe UI Light" panose="020B0502040204020203" pitchFamily="34" charset="0"/>
              <a:cs typeface="Segoe UI" panose="020B0502040204020203" pitchFamily="34" charset="0"/>
              <a:sym typeface="Segoe UI Light" panose="020B0502040204020203" pitchFamily="34" charset="0"/>
            </a:endParaRPr>
          </a:p>
        </p:txBody>
      </p:sp>
      <p:sp>
        <p:nvSpPr>
          <p:cNvPr id="1374" name="Title 2"/>
          <p:cNvSpPr>
            <a:spLocks noGrp="1"/>
          </p:cNvSpPr>
          <p:nvPr>
            <p:ph type="title"/>
          </p:nvPr>
        </p:nvSpPr>
        <p:spPr/>
        <p:txBody>
          <a:bodyPr>
            <a:normAutofit/>
          </a:bodyPr>
          <a:lstStyle/>
          <a:p>
            <a:r>
              <a:rPr lang="en-US" sz="3529" dirty="0"/>
              <a:t>Second step… develop dashboards to allow global visibility…</a:t>
            </a:r>
          </a:p>
        </p:txBody>
      </p:sp>
      <p:sp>
        <p:nvSpPr>
          <p:cNvPr id="1344" name="Rectangle 1343">
            <a:extLst>
              <a:ext uri="{FF2B5EF4-FFF2-40B4-BE49-F238E27FC236}">
                <a16:creationId xmlns:a16="http://schemas.microsoft.com/office/drawing/2014/main" id="{CDE35C1B-4D32-44DB-8D49-6CA45CA14C56}"/>
              </a:ext>
            </a:extLst>
          </p:cNvPr>
          <p:cNvSpPr/>
          <p:nvPr/>
        </p:nvSpPr>
        <p:spPr bwMode="auto">
          <a:xfrm>
            <a:off x="478730" y="1442461"/>
            <a:ext cx="2786072" cy="7618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5" name="Freeform: Shape 1344">
            <a:extLst>
              <a:ext uri="{FF2B5EF4-FFF2-40B4-BE49-F238E27FC236}">
                <a16:creationId xmlns:a16="http://schemas.microsoft.com/office/drawing/2014/main" id="{1B525CA7-6618-43FF-89D4-D9AF347AE462}"/>
              </a:ext>
            </a:extLst>
          </p:cNvPr>
          <p:cNvSpPr/>
          <p:nvPr/>
        </p:nvSpPr>
        <p:spPr bwMode="auto">
          <a:xfrm>
            <a:off x="3668147" y="2152051"/>
            <a:ext cx="1537195" cy="670708"/>
          </a:xfrm>
          <a:custGeom>
            <a:avLst/>
            <a:gdLst>
              <a:gd name="connsiteX0" fmla="*/ 0 w 1383792"/>
              <a:gd name="connsiteY0" fmla="*/ 274320 h 548640"/>
              <a:gd name="connsiteX1" fmla="*/ 310896 w 1383792"/>
              <a:gd name="connsiteY1" fmla="*/ 548640 h 548640"/>
              <a:gd name="connsiteX2" fmla="*/ 1383792 w 1383792"/>
              <a:gd name="connsiteY2" fmla="*/ 548640 h 548640"/>
              <a:gd name="connsiteX3" fmla="*/ 1383792 w 1383792"/>
              <a:gd name="connsiteY3" fmla="*/ 0 h 548640"/>
              <a:gd name="connsiteX4" fmla="*/ 97536 w 1383792"/>
              <a:gd name="connsiteY4" fmla="*/ 0 h 548640"/>
              <a:gd name="connsiteX5" fmla="*/ 0 w 1383792"/>
              <a:gd name="connsiteY5" fmla="*/ 274320 h 548640"/>
              <a:gd name="connsiteX0" fmla="*/ 0 w 1383792"/>
              <a:gd name="connsiteY0" fmla="*/ 274320 h 579120"/>
              <a:gd name="connsiteX1" fmla="*/ 112776 w 1383792"/>
              <a:gd name="connsiteY1" fmla="*/ 579120 h 579120"/>
              <a:gd name="connsiteX2" fmla="*/ 1383792 w 1383792"/>
              <a:gd name="connsiteY2" fmla="*/ 548640 h 579120"/>
              <a:gd name="connsiteX3" fmla="*/ 1383792 w 1383792"/>
              <a:gd name="connsiteY3" fmla="*/ 0 h 579120"/>
              <a:gd name="connsiteX4" fmla="*/ 97536 w 1383792"/>
              <a:gd name="connsiteY4" fmla="*/ 0 h 579120"/>
              <a:gd name="connsiteX5" fmla="*/ 0 w 1383792"/>
              <a:gd name="connsiteY5" fmla="*/ 274320 h 579120"/>
              <a:gd name="connsiteX0" fmla="*/ 0 w 1286256"/>
              <a:gd name="connsiteY0" fmla="*/ 0 h 579120"/>
              <a:gd name="connsiteX1" fmla="*/ 15240 w 1286256"/>
              <a:gd name="connsiteY1" fmla="*/ 579120 h 579120"/>
              <a:gd name="connsiteX2" fmla="*/ 1286256 w 1286256"/>
              <a:gd name="connsiteY2" fmla="*/ 548640 h 579120"/>
              <a:gd name="connsiteX3" fmla="*/ 1286256 w 1286256"/>
              <a:gd name="connsiteY3" fmla="*/ 0 h 579120"/>
              <a:gd name="connsiteX4" fmla="*/ 0 w 1286256"/>
              <a:gd name="connsiteY4" fmla="*/ 0 h 579120"/>
              <a:gd name="connsiteX0" fmla="*/ 220980 w 1507236"/>
              <a:gd name="connsiteY0" fmla="*/ 0 h 563880"/>
              <a:gd name="connsiteX1" fmla="*/ 0 w 1507236"/>
              <a:gd name="connsiteY1" fmla="*/ 563880 h 563880"/>
              <a:gd name="connsiteX2" fmla="*/ 1507236 w 1507236"/>
              <a:gd name="connsiteY2" fmla="*/ 548640 h 563880"/>
              <a:gd name="connsiteX3" fmla="*/ 1507236 w 1507236"/>
              <a:gd name="connsiteY3" fmla="*/ 0 h 563880"/>
              <a:gd name="connsiteX4" fmla="*/ 220980 w 1507236"/>
              <a:gd name="connsiteY4" fmla="*/ 0 h 563880"/>
              <a:gd name="connsiteX0" fmla="*/ 220980 w 1507236"/>
              <a:gd name="connsiteY0" fmla="*/ 0 h 556260"/>
              <a:gd name="connsiteX1" fmla="*/ 0 w 1507236"/>
              <a:gd name="connsiteY1" fmla="*/ 556260 h 556260"/>
              <a:gd name="connsiteX2" fmla="*/ 1507236 w 1507236"/>
              <a:gd name="connsiteY2" fmla="*/ 548640 h 556260"/>
              <a:gd name="connsiteX3" fmla="*/ 1507236 w 1507236"/>
              <a:gd name="connsiteY3" fmla="*/ 0 h 556260"/>
              <a:gd name="connsiteX4" fmla="*/ 220980 w 1507236"/>
              <a:gd name="connsiteY4" fmla="*/ 0 h 556260"/>
              <a:gd name="connsiteX0" fmla="*/ 281940 w 1568196"/>
              <a:gd name="connsiteY0" fmla="*/ 0 h 562581"/>
              <a:gd name="connsiteX1" fmla="*/ 0 w 1568196"/>
              <a:gd name="connsiteY1" fmla="*/ 562581 h 562581"/>
              <a:gd name="connsiteX2" fmla="*/ 1568196 w 1568196"/>
              <a:gd name="connsiteY2" fmla="*/ 548640 h 562581"/>
              <a:gd name="connsiteX3" fmla="*/ 1568196 w 1568196"/>
              <a:gd name="connsiteY3" fmla="*/ 0 h 562581"/>
              <a:gd name="connsiteX4" fmla="*/ 281940 w 1568196"/>
              <a:gd name="connsiteY4" fmla="*/ 0 h 562581"/>
              <a:gd name="connsiteX0" fmla="*/ 281940 w 1568196"/>
              <a:gd name="connsiteY0" fmla="*/ 0 h 573924"/>
              <a:gd name="connsiteX1" fmla="*/ 0 w 1568196"/>
              <a:gd name="connsiteY1" fmla="*/ 562581 h 573924"/>
              <a:gd name="connsiteX2" fmla="*/ 1568196 w 1568196"/>
              <a:gd name="connsiteY2" fmla="*/ 573924 h 573924"/>
              <a:gd name="connsiteX3" fmla="*/ 1568196 w 1568196"/>
              <a:gd name="connsiteY3" fmla="*/ 0 h 573924"/>
              <a:gd name="connsiteX4" fmla="*/ 281940 w 1568196"/>
              <a:gd name="connsiteY4" fmla="*/ 0 h 573924"/>
              <a:gd name="connsiteX0" fmla="*/ 281940 w 1568196"/>
              <a:gd name="connsiteY0" fmla="*/ 0 h 567603"/>
              <a:gd name="connsiteX1" fmla="*/ 0 w 1568196"/>
              <a:gd name="connsiteY1" fmla="*/ 562581 h 567603"/>
              <a:gd name="connsiteX2" fmla="*/ 1568196 w 1568196"/>
              <a:gd name="connsiteY2" fmla="*/ 567603 h 567603"/>
              <a:gd name="connsiteX3" fmla="*/ 1568196 w 1568196"/>
              <a:gd name="connsiteY3" fmla="*/ 0 h 567603"/>
              <a:gd name="connsiteX4" fmla="*/ 281940 w 1568196"/>
              <a:gd name="connsiteY4" fmla="*/ 0 h 567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8196" h="567603">
                <a:moveTo>
                  <a:pt x="281940" y="0"/>
                </a:moveTo>
                <a:lnTo>
                  <a:pt x="0" y="562581"/>
                </a:lnTo>
                <a:lnTo>
                  <a:pt x="1568196" y="567603"/>
                </a:lnTo>
                <a:lnTo>
                  <a:pt x="1568196" y="0"/>
                </a:lnTo>
                <a:lnTo>
                  <a:pt x="28194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346" name="Straight Connector 1345">
            <a:extLst>
              <a:ext uri="{FF2B5EF4-FFF2-40B4-BE49-F238E27FC236}">
                <a16:creationId xmlns:a16="http://schemas.microsoft.com/office/drawing/2014/main" id="{89D977E0-B1D9-42B4-8AFB-FE27D70D6252}"/>
              </a:ext>
            </a:extLst>
          </p:cNvPr>
          <p:cNvCxnSpPr>
            <a:cxnSpLocks/>
          </p:cNvCxnSpPr>
          <p:nvPr/>
        </p:nvCxnSpPr>
        <p:spPr>
          <a:xfrm>
            <a:off x="1116116" y="4382901"/>
            <a:ext cx="1150281" cy="702120"/>
          </a:xfrm>
          <a:prstGeom prst="line">
            <a:avLst/>
          </a:prstGeom>
          <a:ln w="63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61E5B27D-4F37-4B41-8E2A-96C3131F310F}"/>
              </a:ext>
            </a:extLst>
          </p:cNvPr>
          <p:cNvCxnSpPr>
            <a:cxnSpLocks/>
          </p:cNvCxnSpPr>
          <p:nvPr/>
        </p:nvCxnSpPr>
        <p:spPr>
          <a:xfrm>
            <a:off x="1414890" y="4014411"/>
            <a:ext cx="1375607" cy="871426"/>
          </a:xfrm>
          <a:prstGeom prst="line">
            <a:avLst/>
          </a:prstGeom>
          <a:ln w="63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8" name="Straight Connector 1347">
            <a:extLst>
              <a:ext uri="{FF2B5EF4-FFF2-40B4-BE49-F238E27FC236}">
                <a16:creationId xmlns:a16="http://schemas.microsoft.com/office/drawing/2014/main" id="{A9C1AF36-C191-42DD-A06A-32C882CFDBFF}"/>
              </a:ext>
            </a:extLst>
          </p:cNvPr>
          <p:cNvCxnSpPr>
            <a:cxnSpLocks/>
          </p:cNvCxnSpPr>
          <p:nvPr/>
        </p:nvCxnSpPr>
        <p:spPr>
          <a:xfrm>
            <a:off x="1696236" y="3750495"/>
            <a:ext cx="1239914" cy="746936"/>
          </a:xfrm>
          <a:prstGeom prst="line">
            <a:avLst/>
          </a:prstGeom>
          <a:ln w="63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9" name="Straight Connector 1348">
            <a:extLst>
              <a:ext uri="{FF2B5EF4-FFF2-40B4-BE49-F238E27FC236}">
                <a16:creationId xmlns:a16="http://schemas.microsoft.com/office/drawing/2014/main" id="{BBE51FD8-331D-42B9-A197-E1DC54AE4B29}"/>
              </a:ext>
            </a:extLst>
          </p:cNvPr>
          <p:cNvCxnSpPr>
            <a:cxnSpLocks/>
            <a:stCxn id="3711" idx="5"/>
          </p:cNvCxnSpPr>
          <p:nvPr/>
        </p:nvCxnSpPr>
        <p:spPr>
          <a:xfrm>
            <a:off x="3056079" y="2834887"/>
            <a:ext cx="522436" cy="198550"/>
          </a:xfrm>
          <a:prstGeom prst="line">
            <a:avLst/>
          </a:prstGeom>
          <a:ln w="63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0" name="Straight Connector 1349">
            <a:extLst>
              <a:ext uri="{FF2B5EF4-FFF2-40B4-BE49-F238E27FC236}">
                <a16:creationId xmlns:a16="http://schemas.microsoft.com/office/drawing/2014/main" id="{9C97A6C8-8F73-461C-8402-32DAC02AE3A2}"/>
              </a:ext>
            </a:extLst>
          </p:cNvPr>
          <p:cNvCxnSpPr>
            <a:cxnSpLocks/>
          </p:cNvCxnSpPr>
          <p:nvPr/>
        </p:nvCxnSpPr>
        <p:spPr>
          <a:xfrm>
            <a:off x="1968867" y="3481598"/>
            <a:ext cx="1131609" cy="612487"/>
          </a:xfrm>
          <a:prstGeom prst="line">
            <a:avLst/>
          </a:prstGeom>
          <a:ln w="63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1" name="Straight Connector 1350">
            <a:extLst>
              <a:ext uri="{FF2B5EF4-FFF2-40B4-BE49-F238E27FC236}">
                <a16:creationId xmlns:a16="http://schemas.microsoft.com/office/drawing/2014/main" id="{E2F5F6B0-E6A1-45F3-BD4C-71C181C78304}"/>
              </a:ext>
            </a:extLst>
          </p:cNvPr>
          <p:cNvCxnSpPr>
            <a:cxnSpLocks/>
          </p:cNvCxnSpPr>
          <p:nvPr/>
        </p:nvCxnSpPr>
        <p:spPr>
          <a:xfrm>
            <a:off x="2107050" y="3216436"/>
            <a:ext cx="1112935" cy="616222"/>
          </a:xfrm>
          <a:prstGeom prst="line">
            <a:avLst/>
          </a:prstGeom>
          <a:ln w="63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FFA0C522-9C9D-4645-9C0B-BBF398FAB84E}"/>
              </a:ext>
            </a:extLst>
          </p:cNvPr>
          <p:cNvCxnSpPr>
            <a:cxnSpLocks/>
            <a:stCxn id="1354" idx="4"/>
          </p:cNvCxnSpPr>
          <p:nvPr/>
        </p:nvCxnSpPr>
        <p:spPr>
          <a:xfrm>
            <a:off x="2474542" y="2827282"/>
            <a:ext cx="991932" cy="430236"/>
          </a:xfrm>
          <a:prstGeom prst="line">
            <a:avLst/>
          </a:prstGeom>
          <a:ln w="63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3" name="Straight Connector 1352">
            <a:extLst>
              <a:ext uri="{FF2B5EF4-FFF2-40B4-BE49-F238E27FC236}">
                <a16:creationId xmlns:a16="http://schemas.microsoft.com/office/drawing/2014/main" id="{DA9EF641-4D7D-47D1-BE20-743A6860BA9C}"/>
              </a:ext>
            </a:extLst>
          </p:cNvPr>
          <p:cNvCxnSpPr>
            <a:cxnSpLocks/>
          </p:cNvCxnSpPr>
          <p:nvPr/>
        </p:nvCxnSpPr>
        <p:spPr>
          <a:xfrm>
            <a:off x="2364742" y="2984885"/>
            <a:ext cx="1000894" cy="511651"/>
          </a:xfrm>
          <a:prstGeom prst="line">
            <a:avLst/>
          </a:prstGeom>
          <a:ln w="63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4" name="Freeform: Shape 1353">
            <a:extLst>
              <a:ext uri="{FF2B5EF4-FFF2-40B4-BE49-F238E27FC236}">
                <a16:creationId xmlns:a16="http://schemas.microsoft.com/office/drawing/2014/main" id="{A5A40A2E-AB81-4EB8-80FE-7199F1707E3E}"/>
              </a:ext>
            </a:extLst>
          </p:cNvPr>
          <p:cNvSpPr/>
          <p:nvPr/>
        </p:nvSpPr>
        <p:spPr bwMode="auto">
          <a:xfrm>
            <a:off x="2473049" y="2215542"/>
            <a:ext cx="1442334" cy="611739"/>
          </a:xfrm>
          <a:custGeom>
            <a:avLst/>
            <a:gdLst>
              <a:gd name="connsiteX0" fmla="*/ 0 w 1328928"/>
              <a:gd name="connsiteY0" fmla="*/ 0 h 213360"/>
              <a:gd name="connsiteX1" fmla="*/ 1328928 w 1328928"/>
              <a:gd name="connsiteY1" fmla="*/ 0 h 213360"/>
              <a:gd name="connsiteX2" fmla="*/ 1219200 w 1328928"/>
              <a:gd name="connsiteY2" fmla="*/ 213360 h 213360"/>
              <a:gd name="connsiteX3" fmla="*/ 0 w 1328928"/>
              <a:gd name="connsiteY3" fmla="*/ 213360 h 213360"/>
              <a:gd name="connsiteX4" fmla="*/ 0 w 1328928"/>
              <a:gd name="connsiteY4" fmla="*/ 0 h 213360"/>
              <a:gd name="connsiteX0" fmla="*/ 1524 w 1330452"/>
              <a:gd name="connsiteY0" fmla="*/ 0 h 213360"/>
              <a:gd name="connsiteX1" fmla="*/ 1330452 w 1330452"/>
              <a:gd name="connsiteY1" fmla="*/ 0 h 213360"/>
              <a:gd name="connsiteX2" fmla="*/ 1220724 w 1330452"/>
              <a:gd name="connsiteY2" fmla="*/ 213360 h 213360"/>
              <a:gd name="connsiteX3" fmla="*/ 1524 w 1330452"/>
              <a:gd name="connsiteY3" fmla="*/ 213360 h 213360"/>
              <a:gd name="connsiteX4" fmla="*/ 0 w 1330452"/>
              <a:gd name="connsiteY4" fmla="*/ 124721 h 213360"/>
              <a:gd name="connsiteX5" fmla="*/ 1524 w 1330452"/>
              <a:gd name="connsiteY5" fmla="*/ 0 h 213360"/>
              <a:gd name="connsiteX0" fmla="*/ 1524 w 1330452"/>
              <a:gd name="connsiteY0" fmla="*/ 784 h 214144"/>
              <a:gd name="connsiteX1" fmla="*/ 262890 w 1330452"/>
              <a:gd name="connsiteY1" fmla="*/ 0 h 214144"/>
              <a:gd name="connsiteX2" fmla="*/ 1330452 w 1330452"/>
              <a:gd name="connsiteY2" fmla="*/ 784 h 214144"/>
              <a:gd name="connsiteX3" fmla="*/ 1220724 w 1330452"/>
              <a:gd name="connsiteY3" fmla="*/ 214144 h 214144"/>
              <a:gd name="connsiteX4" fmla="*/ 1524 w 1330452"/>
              <a:gd name="connsiteY4" fmla="*/ 214144 h 214144"/>
              <a:gd name="connsiteX5" fmla="*/ 0 w 1330452"/>
              <a:gd name="connsiteY5" fmla="*/ 125505 h 214144"/>
              <a:gd name="connsiteX6" fmla="*/ 1524 w 1330452"/>
              <a:gd name="connsiteY6" fmla="*/ 784 h 214144"/>
              <a:gd name="connsiteX0" fmla="*/ 0 w 1330452"/>
              <a:gd name="connsiteY0" fmla="*/ 125505 h 214144"/>
              <a:gd name="connsiteX1" fmla="*/ 262890 w 1330452"/>
              <a:gd name="connsiteY1" fmla="*/ 0 h 214144"/>
              <a:gd name="connsiteX2" fmla="*/ 1330452 w 1330452"/>
              <a:gd name="connsiteY2" fmla="*/ 784 h 214144"/>
              <a:gd name="connsiteX3" fmla="*/ 1220724 w 1330452"/>
              <a:gd name="connsiteY3" fmla="*/ 214144 h 214144"/>
              <a:gd name="connsiteX4" fmla="*/ 1524 w 1330452"/>
              <a:gd name="connsiteY4" fmla="*/ 214144 h 214144"/>
              <a:gd name="connsiteX5" fmla="*/ 0 w 1330452"/>
              <a:gd name="connsiteY5" fmla="*/ 125505 h 214144"/>
              <a:gd name="connsiteX0" fmla="*/ 0 w 1330452"/>
              <a:gd name="connsiteY0" fmla="*/ 125505 h 214144"/>
              <a:gd name="connsiteX1" fmla="*/ 274320 w 1330452"/>
              <a:gd name="connsiteY1" fmla="*/ 0 h 214144"/>
              <a:gd name="connsiteX2" fmla="*/ 1330452 w 1330452"/>
              <a:gd name="connsiteY2" fmla="*/ 784 h 214144"/>
              <a:gd name="connsiteX3" fmla="*/ 1220724 w 1330452"/>
              <a:gd name="connsiteY3" fmla="*/ 214144 h 214144"/>
              <a:gd name="connsiteX4" fmla="*/ 1524 w 1330452"/>
              <a:gd name="connsiteY4" fmla="*/ 214144 h 214144"/>
              <a:gd name="connsiteX5" fmla="*/ 0 w 1330452"/>
              <a:gd name="connsiteY5" fmla="*/ 125505 h 214144"/>
              <a:gd name="connsiteX0" fmla="*/ 0 w 1471422"/>
              <a:gd name="connsiteY0" fmla="*/ 125505 h 214144"/>
              <a:gd name="connsiteX1" fmla="*/ 274320 w 1471422"/>
              <a:gd name="connsiteY1" fmla="*/ 0 h 214144"/>
              <a:gd name="connsiteX2" fmla="*/ 1471422 w 1471422"/>
              <a:gd name="connsiteY2" fmla="*/ 3399 h 214144"/>
              <a:gd name="connsiteX3" fmla="*/ 1220724 w 1471422"/>
              <a:gd name="connsiteY3" fmla="*/ 214144 h 214144"/>
              <a:gd name="connsiteX4" fmla="*/ 1524 w 1471422"/>
              <a:gd name="connsiteY4" fmla="*/ 214144 h 214144"/>
              <a:gd name="connsiteX5" fmla="*/ 0 w 1471422"/>
              <a:gd name="connsiteY5" fmla="*/ 125505 h 21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1422" h="214144">
                <a:moveTo>
                  <a:pt x="0" y="125505"/>
                </a:moveTo>
                <a:lnTo>
                  <a:pt x="274320" y="0"/>
                </a:lnTo>
                <a:lnTo>
                  <a:pt x="1471422" y="3399"/>
                </a:lnTo>
                <a:lnTo>
                  <a:pt x="1220724" y="214144"/>
                </a:lnTo>
                <a:lnTo>
                  <a:pt x="1524" y="214144"/>
                </a:lnTo>
                <a:lnTo>
                  <a:pt x="0" y="125505"/>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5" name="Freeform: Shape 1354">
            <a:extLst>
              <a:ext uri="{FF2B5EF4-FFF2-40B4-BE49-F238E27FC236}">
                <a16:creationId xmlns:a16="http://schemas.microsoft.com/office/drawing/2014/main" id="{DD0FBFDA-6FAE-4FDC-B3A8-DC96A679A577}"/>
              </a:ext>
            </a:extLst>
          </p:cNvPr>
          <p:cNvSpPr/>
          <p:nvPr/>
        </p:nvSpPr>
        <p:spPr bwMode="auto">
          <a:xfrm>
            <a:off x="450364" y="2554905"/>
            <a:ext cx="2047022" cy="2548837"/>
          </a:xfrm>
          <a:custGeom>
            <a:avLst/>
            <a:gdLst>
              <a:gd name="connsiteX0" fmla="*/ 2106593 w 2106593"/>
              <a:gd name="connsiteY0" fmla="*/ 0 h 2604304"/>
              <a:gd name="connsiteX1" fmla="*/ 2106593 w 2106593"/>
              <a:gd name="connsiteY1" fmla="*/ 567160 h 2604304"/>
              <a:gd name="connsiteX2" fmla="*/ 405114 w 2106593"/>
              <a:gd name="connsiteY2" fmla="*/ 2604304 h 2604304"/>
              <a:gd name="connsiteX3" fmla="*/ 0 w 2106593"/>
              <a:gd name="connsiteY3" fmla="*/ 2604304 h 2604304"/>
              <a:gd name="connsiteX4" fmla="*/ 2106593 w 2106593"/>
              <a:gd name="connsiteY4" fmla="*/ 0 h 2604304"/>
              <a:gd name="connsiteX0" fmla="*/ 2076113 w 2076113"/>
              <a:gd name="connsiteY0" fmla="*/ 0 h 2604304"/>
              <a:gd name="connsiteX1" fmla="*/ 2076113 w 2076113"/>
              <a:gd name="connsiteY1" fmla="*/ 567160 h 2604304"/>
              <a:gd name="connsiteX2" fmla="*/ 374634 w 2076113"/>
              <a:gd name="connsiteY2" fmla="*/ 2604304 h 2604304"/>
              <a:gd name="connsiteX3" fmla="*/ 0 w 2076113"/>
              <a:gd name="connsiteY3" fmla="*/ 2604304 h 2604304"/>
              <a:gd name="connsiteX4" fmla="*/ 2076113 w 2076113"/>
              <a:gd name="connsiteY4" fmla="*/ 0 h 2604304"/>
              <a:gd name="connsiteX0" fmla="*/ 2076113 w 2076113"/>
              <a:gd name="connsiteY0" fmla="*/ 0 h 2604304"/>
              <a:gd name="connsiteX1" fmla="*/ 2076113 w 2076113"/>
              <a:gd name="connsiteY1" fmla="*/ 567160 h 2604304"/>
              <a:gd name="connsiteX2" fmla="*/ 283194 w 2076113"/>
              <a:gd name="connsiteY2" fmla="*/ 2604304 h 2604304"/>
              <a:gd name="connsiteX3" fmla="*/ 0 w 2076113"/>
              <a:gd name="connsiteY3" fmla="*/ 2604304 h 2604304"/>
              <a:gd name="connsiteX4" fmla="*/ 2076113 w 2076113"/>
              <a:gd name="connsiteY4" fmla="*/ 0 h 2604304"/>
              <a:gd name="connsiteX0" fmla="*/ 2076113 w 2076113"/>
              <a:gd name="connsiteY0" fmla="*/ 0 h 2604304"/>
              <a:gd name="connsiteX1" fmla="*/ 1984673 w 2076113"/>
              <a:gd name="connsiteY1" fmla="*/ 475720 h 2604304"/>
              <a:gd name="connsiteX2" fmla="*/ 283194 w 2076113"/>
              <a:gd name="connsiteY2" fmla="*/ 2604304 h 2604304"/>
              <a:gd name="connsiteX3" fmla="*/ 0 w 2076113"/>
              <a:gd name="connsiteY3" fmla="*/ 2604304 h 2604304"/>
              <a:gd name="connsiteX4" fmla="*/ 2076113 w 2076113"/>
              <a:gd name="connsiteY4" fmla="*/ 0 h 2604304"/>
              <a:gd name="connsiteX0" fmla="*/ 2076113 w 2076113"/>
              <a:gd name="connsiteY0" fmla="*/ 0 h 2604304"/>
              <a:gd name="connsiteX1" fmla="*/ 1942001 w 2076113"/>
              <a:gd name="connsiteY1" fmla="*/ 469624 h 2604304"/>
              <a:gd name="connsiteX2" fmla="*/ 283194 w 2076113"/>
              <a:gd name="connsiteY2" fmla="*/ 2604304 h 2604304"/>
              <a:gd name="connsiteX3" fmla="*/ 0 w 2076113"/>
              <a:gd name="connsiteY3" fmla="*/ 2604304 h 2604304"/>
              <a:gd name="connsiteX4" fmla="*/ 2076113 w 2076113"/>
              <a:gd name="connsiteY4" fmla="*/ 0 h 2604304"/>
              <a:gd name="connsiteX0" fmla="*/ 2076113 w 2076113"/>
              <a:gd name="connsiteY0" fmla="*/ 0 h 2604304"/>
              <a:gd name="connsiteX1" fmla="*/ 1942001 w 2076113"/>
              <a:gd name="connsiteY1" fmla="*/ 469624 h 2604304"/>
              <a:gd name="connsiteX2" fmla="*/ 264906 w 2076113"/>
              <a:gd name="connsiteY2" fmla="*/ 2604304 h 2604304"/>
              <a:gd name="connsiteX3" fmla="*/ 0 w 2076113"/>
              <a:gd name="connsiteY3" fmla="*/ 2604304 h 2604304"/>
              <a:gd name="connsiteX4" fmla="*/ 2076113 w 2076113"/>
              <a:gd name="connsiteY4" fmla="*/ 0 h 2604304"/>
              <a:gd name="connsiteX0" fmla="*/ 2076113 w 2076113"/>
              <a:gd name="connsiteY0" fmla="*/ 0 h 2604304"/>
              <a:gd name="connsiteX1" fmla="*/ 2057825 w 2076113"/>
              <a:gd name="connsiteY1" fmla="*/ 329416 h 2604304"/>
              <a:gd name="connsiteX2" fmla="*/ 264906 w 2076113"/>
              <a:gd name="connsiteY2" fmla="*/ 2604304 h 2604304"/>
              <a:gd name="connsiteX3" fmla="*/ 0 w 2076113"/>
              <a:gd name="connsiteY3" fmla="*/ 2604304 h 2604304"/>
              <a:gd name="connsiteX4" fmla="*/ 2076113 w 2076113"/>
              <a:gd name="connsiteY4" fmla="*/ 0 h 2604304"/>
              <a:gd name="connsiteX0" fmla="*/ 2088305 w 2088305"/>
              <a:gd name="connsiteY0" fmla="*/ 0 h 2579920"/>
              <a:gd name="connsiteX1" fmla="*/ 2057825 w 2088305"/>
              <a:gd name="connsiteY1" fmla="*/ 305032 h 2579920"/>
              <a:gd name="connsiteX2" fmla="*/ 264906 w 2088305"/>
              <a:gd name="connsiteY2" fmla="*/ 2579920 h 2579920"/>
              <a:gd name="connsiteX3" fmla="*/ 0 w 2088305"/>
              <a:gd name="connsiteY3" fmla="*/ 2579920 h 2579920"/>
              <a:gd name="connsiteX4" fmla="*/ 2088305 w 2088305"/>
              <a:gd name="connsiteY4" fmla="*/ 0 h 2579920"/>
              <a:gd name="connsiteX0" fmla="*/ 2088305 w 2088305"/>
              <a:gd name="connsiteY0" fmla="*/ 0 h 2579920"/>
              <a:gd name="connsiteX1" fmla="*/ 2082209 w 2088305"/>
              <a:gd name="connsiteY1" fmla="*/ 274552 h 2579920"/>
              <a:gd name="connsiteX2" fmla="*/ 264906 w 2088305"/>
              <a:gd name="connsiteY2" fmla="*/ 2579920 h 2579920"/>
              <a:gd name="connsiteX3" fmla="*/ 0 w 2088305"/>
              <a:gd name="connsiteY3" fmla="*/ 2579920 h 2579920"/>
              <a:gd name="connsiteX4" fmla="*/ 2088305 w 2088305"/>
              <a:gd name="connsiteY4" fmla="*/ 0 h 2579920"/>
              <a:gd name="connsiteX0" fmla="*/ 2088305 w 2088305"/>
              <a:gd name="connsiteY0" fmla="*/ 0 h 2600240"/>
              <a:gd name="connsiteX1" fmla="*/ 2082209 w 2088305"/>
              <a:gd name="connsiteY1" fmla="*/ 274552 h 2600240"/>
              <a:gd name="connsiteX2" fmla="*/ 51546 w 2088305"/>
              <a:gd name="connsiteY2" fmla="*/ 2600240 h 2600240"/>
              <a:gd name="connsiteX3" fmla="*/ 0 w 2088305"/>
              <a:gd name="connsiteY3" fmla="*/ 2579920 h 2600240"/>
              <a:gd name="connsiteX4" fmla="*/ 2088305 w 2088305"/>
              <a:gd name="connsiteY4" fmla="*/ 0 h 26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305" h="2600240">
                <a:moveTo>
                  <a:pt x="2088305" y="0"/>
                </a:moveTo>
                <a:lnTo>
                  <a:pt x="2082209" y="274552"/>
                </a:lnTo>
                <a:lnTo>
                  <a:pt x="51546" y="2600240"/>
                </a:lnTo>
                <a:lnTo>
                  <a:pt x="0" y="2579920"/>
                </a:lnTo>
                <a:lnTo>
                  <a:pt x="2088305"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56" name="Group 1355">
            <a:extLst>
              <a:ext uri="{FF2B5EF4-FFF2-40B4-BE49-F238E27FC236}">
                <a16:creationId xmlns:a16="http://schemas.microsoft.com/office/drawing/2014/main" id="{25C34BFE-A415-4C86-993E-F1E33B50EBB5}"/>
              </a:ext>
            </a:extLst>
          </p:cNvPr>
          <p:cNvGrpSpPr/>
          <p:nvPr/>
        </p:nvGrpSpPr>
        <p:grpSpPr>
          <a:xfrm flipH="1">
            <a:off x="471556" y="2754793"/>
            <a:ext cx="959517" cy="789004"/>
            <a:chOff x="1584983" y="2684261"/>
            <a:chExt cx="685020" cy="563286"/>
          </a:xfrm>
        </p:grpSpPr>
        <p:sp>
          <p:nvSpPr>
            <p:cNvPr id="1357" name="Rectangle 1356">
              <a:extLst>
                <a:ext uri="{FF2B5EF4-FFF2-40B4-BE49-F238E27FC236}">
                  <a16:creationId xmlns:a16="http://schemas.microsoft.com/office/drawing/2014/main" id="{1359ACE7-6B91-4871-94E9-8F6890435E60}"/>
                </a:ext>
              </a:extLst>
            </p:cNvPr>
            <p:cNvSpPr/>
            <p:nvPr/>
          </p:nvSpPr>
          <p:spPr bwMode="auto">
            <a:xfrm rot="2366189">
              <a:off x="2009645" y="3010801"/>
              <a:ext cx="82484" cy="156469"/>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8" name="Rectangle 21">
              <a:extLst>
                <a:ext uri="{FF2B5EF4-FFF2-40B4-BE49-F238E27FC236}">
                  <a16:creationId xmlns:a16="http://schemas.microsoft.com/office/drawing/2014/main" id="{BA57B160-6CD4-42C4-BA69-51CC297DF89B}"/>
                </a:ext>
              </a:extLst>
            </p:cNvPr>
            <p:cNvSpPr/>
            <p:nvPr/>
          </p:nvSpPr>
          <p:spPr bwMode="auto">
            <a:xfrm rot="19936818">
              <a:off x="1991676" y="2736193"/>
              <a:ext cx="87992" cy="2360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9" name="Rectangle 29">
              <a:extLst>
                <a:ext uri="{FF2B5EF4-FFF2-40B4-BE49-F238E27FC236}">
                  <a16:creationId xmlns:a16="http://schemas.microsoft.com/office/drawing/2014/main" id="{38A42DC8-487A-4DA9-AD6D-DFD348A5F6D6}"/>
                </a:ext>
              </a:extLst>
            </p:cNvPr>
            <p:cNvSpPr/>
            <p:nvPr/>
          </p:nvSpPr>
          <p:spPr bwMode="auto">
            <a:xfrm rot="15300000">
              <a:off x="1790684" y="2668102"/>
              <a:ext cx="67579" cy="22831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0" name="Oval 1359">
              <a:extLst>
                <a:ext uri="{FF2B5EF4-FFF2-40B4-BE49-F238E27FC236}">
                  <a16:creationId xmlns:a16="http://schemas.microsoft.com/office/drawing/2014/main" id="{95861DFD-7944-4FAD-BA25-AD16A6E6EDA0}"/>
                </a:ext>
              </a:extLst>
            </p:cNvPr>
            <p:cNvSpPr/>
            <p:nvPr/>
          </p:nvSpPr>
          <p:spPr bwMode="auto">
            <a:xfrm>
              <a:off x="1999737" y="2920754"/>
              <a:ext cx="160529" cy="162391"/>
            </a:xfrm>
            <a:prstGeom prst="ellipse">
              <a:avLst/>
            </a:prstGeom>
            <a:solidFill>
              <a:srgbClr val="BFBFBF"/>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1" name="Rectangle 1360">
              <a:extLst>
                <a:ext uri="{FF2B5EF4-FFF2-40B4-BE49-F238E27FC236}">
                  <a16:creationId xmlns:a16="http://schemas.microsoft.com/office/drawing/2014/main" id="{142CD400-A6FD-468B-936D-D38FFAE17054}"/>
                </a:ext>
              </a:extLst>
            </p:cNvPr>
            <p:cNvSpPr/>
            <p:nvPr/>
          </p:nvSpPr>
          <p:spPr bwMode="auto">
            <a:xfrm rot="11618614">
              <a:off x="1660987" y="2854183"/>
              <a:ext cx="44082" cy="80125"/>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2" name="Oval 1361">
              <a:extLst>
                <a:ext uri="{FF2B5EF4-FFF2-40B4-BE49-F238E27FC236}">
                  <a16:creationId xmlns:a16="http://schemas.microsoft.com/office/drawing/2014/main" id="{28D12ED7-1D13-4ED0-A6D6-FF8494EEACBA}"/>
                </a:ext>
              </a:extLst>
            </p:cNvPr>
            <p:cNvSpPr/>
            <p:nvPr/>
          </p:nvSpPr>
          <p:spPr bwMode="auto">
            <a:xfrm rot="11681175">
              <a:off x="1644543" y="2915902"/>
              <a:ext cx="50566" cy="51153"/>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3" name="Group 1362">
              <a:extLst>
                <a:ext uri="{FF2B5EF4-FFF2-40B4-BE49-F238E27FC236}">
                  <a16:creationId xmlns:a16="http://schemas.microsoft.com/office/drawing/2014/main" id="{084AEBCC-FD97-456B-AA22-D11725585A95}"/>
                </a:ext>
              </a:extLst>
            </p:cNvPr>
            <p:cNvGrpSpPr/>
            <p:nvPr/>
          </p:nvGrpSpPr>
          <p:grpSpPr>
            <a:xfrm rot="2114316">
              <a:off x="1584983" y="2906735"/>
              <a:ext cx="45201" cy="125794"/>
              <a:chOff x="5422401" y="1772114"/>
              <a:chExt cx="99173" cy="272833"/>
            </a:xfrm>
            <a:solidFill>
              <a:srgbClr val="505050">
                <a:lumMod val="40000"/>
                <a:lumOff val="60000"/>
              </a:srgbClr>
            </a:solidFill>
          </p:grpSpPr>
          <p:sp>
            <p:nvSpPr>
              <p:cNvPr id="1378" name="Rectangle 1377">
                <a:extLst>
                  <a:ext uri="{FF2B5EF4-FFF2-40B4-BE49-F238E27FC236}">
                    <a16:creationId xmlns:a16="http://schemas.microsoft.com/office/drawing/2014/main" id="{60AF6920-09AF-48DA-A9B9-5398AD2384A1}"/>
                  </a:ext>
                </a:extLst>
              </p:cNvPr>
              <p:cNvSpPr/>
              <p:nvPr/>
            </p:nvSpPr>
            <p:spPr bwMode="auto">
              <a:xfrm rot="13260000" flipH="1">
                <a:off x="5460056" y="1772114"/>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3" name="Diagonal Stripe 1422">
                <a:extLst>
                  <a:ext uri="{FF2B5EF4-FFF2-40B4-BE49-F238E27FC236}">
                    <a16:creationId xmlns:a16="http://schemas.microsoft.com/office/drawing/2014/main" id="{13C436DD-0E38-4F30-A1F3-EEFB6A8734E9}"/>
                  </a:ext>
                </a:extLst>
              </p:cNvPr>
              <p:cNvSpPr/>
              <p:nvPr/>
            </p:nvSpPr>
            <p:spPr bwMode="auto">
              <a:xfrm rot="19432650">
                <a:off x="5422401" y="1862067"/>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64" name="Rounded Rectangle 1424">
              <a:extLst>
                <a:ext uri="{FF2B5EF4-FFF2-40B4-BE49-F238E27FC236}">
                  <a16:creationId xmlns:a16="http://schemas.microsoft.com/office/drawing/2014/main" id="{E356FA05-9D10-4A0E-92FC-8002D7365ED6}"/>
                </a:ext>
              </a:extLst>
            </p:cNvPr>
            <p:cNvSpPr/>
            <p:nvPr/>
          </p:nvSpPr>
          <p:spPr bwMode="auto">
            <a:xfrm>
              <a:off x="1841087" y="3117009"/>
              <a:ext cx="385504" cy="122966"/>
            </a:xfrm>
            <a:prstGeom prst="round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5" name="Rounded Rectangle 1425">
              <a:extLst>
                <a:ext uri="{FF2B5EF4-FFF2-40B4-BE49-F238E27FC236}">
                  <a16:creationId xmlns:a16="http://schemas.microsoft.com/office/drawing/2014/main" id="{887BA247-1711-493E-A4F5-721F5BF1A483}"/>
                </a:ext>
              </a:extLst>
            </p:cNvPr>
            <p:cNvSpPr/>
            <p:nvPr/>
          </p:nvSpPr>
          <p:spPr bwMode="auto">
            <a:xfrm>
              <a:off x="1797675" y="3178490"/>
              <a:ext cx="472328" cy="69057"/>
            </a:xfrm>
            <a:prstGeom prst="round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6" name="Group 1365">
              <a:extLst>
                <a:ext uri="{FF2B5EF4-FFF2-40B4-BE49-F238E27FC236}">
                  <a16:creationId xmlns:a16="http://schemas.microsoft.com/office/drawing/2014/main" id="{59554665-251A-4594-A046-9A58F75829B7}"/>
                </a:ext>
              </a:extLst>
            </p:cNvPr>
            <p:cNvGrpSpPr/>
            <p:nvPr/>
          </p:nvGrpSpPr>
          <p:grpSpPr>
            <a:xfrm flipH="1">
              <a:off x="1664084" y="2784794"/>
              <a:ext cx="81714" cy="82662"/>
              <a:chOff x="4394973" y="1762558"/>
              <a:chExt cx="352210" cy="352210"/>
            </a:xfrm>
            <a:solidFill>
              <a:srgbClr val="FFFFFF">
                <a:lumMod val="75000"/>
              </a:srgbClr>
            </a:solidFill>
          </p:grpSpPr>
          <p:grpSp>
            <p:nvGrpSpPr>
              <p:cNvPr id="1371" name="Group 1370">
                <a:extLst>
                  <a:ext uri="{FF2B5EF4-FFF2-40B4-BE49-F238E27FC236}">
                    <a16:creationId xmlns:a16="http://schemas.microsoft.com/office/drawing/2014/main" id="{99D6B8EF-DF33-48D8-9CC2-1B49E2B02562}"/>
                  </a:ext>
                </a:extLst>
              </p:cNvPr>
              <p:cNvGrpSpPr/>
              <p:nvPr/>
            </p:nvGrpSpPr>
            <p:grpSpPr>
              <a:xfrm flipH="1">
                <a:off x="4394973" y="1762558"/>
                <a:ext cx="352210" cy="352210"/>
                <a:chOff x="5411363" y="1755522"/>
                <a:chExt cx="316187" cy="316187"/>
              </a:xfrm>
              <a:grpFill/>
            </p:grpSpPr>
            <p:sp>
              <p:nvSpPr>
                <p:cNvPr id="1375" name="Oval 1374">
                  <a:extLst>
                    <a:ext uri="{FF2B5EF4-FFF2-40B4-BE49-F238E27FC236}">
                      <a16:creationId xmlns:a16="http://schemas.microsoft.com/office/drawing/2014/main" id="{875FFD7F-9B9E-4CD8-B0F2-97190FCD73C3}"/>
                    </a:ext>
                  </a:extLst>
                </p:cNvPr>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6" name="Oval 1375">
                  <a:extLst>
                    <a:ext uri="{FF2B5EF4-FFF2-40B4-BE49-F238E27FC236}">
                      <a16:creationId xmlns:a16="http://schemas.microsoft.com/office/drawing/2014/main" id="{2588EB69-0C3A-4354-964C-95FB73CF4487}"/>
                    </a:ext>
                  </a:extLst>
                </p:cNvPr>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7" name="Oval 1376">
                  <a:extLst>
                    <a:ext uri="{FF2B5EF4-FFF2-40B4-BE49-F238E27FC236}">
                      <a16:creationId xmlns:a16="http://schemas.microsoft.com/office/drawing/2014/main" id="{368FCE43-425A-4558-AC30-9B57999CE23A}"/>
                    </a:ext>
                  </a:extLst>
                </p:cNvPr>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72" name="Rectangle 1371">
                <a:extLst>
                  <a:ext uri="{FF2B5EF4-FFF2-40B4-BE49-F238E27FC236}">
                    <a16:creationId xmlns:a16="http://schemas.microsoft.com/office/drawing/2014/main" id="{D0FA4501-7582-4DD9-B4D0-DA36C6A7AC7C}"/>
                  </a:ext>
                </a:extLst>
              </p:cNvPr>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3" name="Rectangle 1372">
                <a:extLst>
                  <a:ext uri="{FF2B5EF4-FFF2-40B4-BE49-F238E27FC236}">
                    <a16:creationId xmlns:a16="http://schemas.microsoft.com/office/drawing/2014/main" id="{C5F35187-F5E7-4890-9961-461EC8298BB1}"/>
                  </a:ext>
                </a:extLst>
              </p:cNvPr>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67" name="Rectangle 1366">
              <a:extLst>
                <a:ext uri="{FF2B5EF4-FFF2-40B4-BE49-F238E27FC236}">
                  <a16:creationId xmlns:a16="http://schemas.microsoft.com/office/drawing/2014/main" id="{B0F24BDB-305E-4657-833A-1926E2928163}"/>
                </a:ext>
              </a:extLst>
            </p:cNvPr>
            <p:cNvSpPr/>
            <p:nvPr/>
          </p:nvSpPr>
          <p:spPr bwMode="auto">
            <a:xfrm rot="9158614">
              <a:off x="1688138" y="2948990"/>
              <a:ext cx="20838" cy="63238"/>
            </a:xfrm>
            <a:prstGeom prst="rect">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8" name="Group 1367">
              <a:extLst>
                <a:ext uri="{FF2B5EF4-FFF2-40B4-BE49-F238E27FC236}">
                  <a16:creationId xmlns:a16="http://schemas.microsoft.com/office/drawing/2014/main" id="{BF5E800D-367A-4F27-AB34-FB9EB3C0DF6C}"/>
                </a:ext>
              </a:extLst>
            </p:cNvPr>
            <p:cNvGrpSpPr/>
            <p:nvPr/>
          </p:nvGrpSpPr>
          <p:grpSpPr>
            <a:xfrm>
              <a:off x="1910473" y="2684261"/>
              <a:ext cx="116912" cy="118269"/>
              <a:chOff x="5411363" y="1755522"/>
              <a:chExt cx="316187" cy="316187"/>
            </a:xfrm>
            <a:solidFill>
              <a:srgbClr val="FFFFFF">
                <a:lumMod val="75000"/>
              </a:srgbClr>
            </a:solidFill>
          </p:grpSpPr>
          <p:sp>
            <p:nvSpPr>
              <p:cNvPr id="1369" name="Oval 1368">
                <a:extLst>
                  <a:ext uri="{FF2B5EF4-FFF2-40B4-BE49-F238E27FC236}">
                    <a16:creationId xmlns:a16="http://schemas.microsoft.com/office/drawing/2014/main" id="{466368F3-4E57-4C7E-90E0-90BF916774CD}"/>
                  </a:ext>
                </a:extLst>
              </p:cNvPr>
              <p:cNvSpPr/>
              <p:nvPr/>
            </p:nvSpPr>
            <p:spPr bwMode="auto">
              <a:xfrm>
                <a:off x="5411363" y="1755522"/>
                <a:ext cx="316187" cy="316187"/>
              </a:xfrm>
              <a:prstGeom prst="ellipse">
                <a:avLst/>
              </a:prstGeom>
              <a:solidFill>
                <a:srgbClr val="FDE18C"/>
              </a:solidFill>
              <a:ln w="9525" cap="flat" cmpd="sng" algn="ctr">
                <a:solidFill>
                  <a:srgbClr val="FDE18C"/>
                </a:solid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0" name="Oval 1369">
                <a:extLst>
                  <a:ext uri="{FF2B5EF4-FFF2-40B4-BE49-F238E27FC236}">
                    <a16:creationId xmlns:a16="http://schemas.microsoft.com/office/drawing/2014/main" id="{8B2429D4-A91E-4D12-8DDF-5330591BE7D8}"/>
                  </a:ext>
                </a:extLst>
              </p:cNvPr>
              <p:cNvSpPr/>
              <p:nvPr/>
            </p:nvSpPr>
            <p:spPr bwMode="auto">
              <a:xfrm>
                <a:off x="5462797" y="1806956"/>
                <a:ext cx="213318" cy="213318"/>
              </a:xfrm>
              <a:prstGeom prst="ellipse">
                <a:avLst/>
              </a:prstGeom>
              <a:solidFill>
                <a:srgbClr val="FDE18C"/>
              </a:solidFill>
              <a:ln w="9525" cap="flat" cmpd="sng" algn="ctr">
                <a:solidFill>
                  <a:srgbClr val="FDE18C"/>
                </a:solid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424" name="Group 1423">
            <a:extLst>
              <a:ext uri="{FF2B5EF4-FFF2-40B4-BE49-F238E27FC236}">
                <a16:creationId xmlns:a16="http://schemas.microsoft.com/office/drawing/2014/main" id="{F238BB51-C024-44C6-92CE-DA149D59860D}"/>
              </a:ext>
            </a:extLst>
          </p:cNvPr>
          <p:cNvGrpSpPr/>
          <p:nvPr/>
        </p:nvGrpSpPr>
        <p:grpSpPr>
          <a:xfrm>
            <a:off x="524358" y="3607986"/>
            <a:ext cx="626613" cy="460512"/>
            <a:chOff x="7290563" y="3272789"/>
            <a:chExt cx="581571" cy="427409"/>
          </a:xfrm>
        </p:grpSpPr>
        <p:grpSp>
          <p:nvGrpSpPr>
            <p:cNvPr id="1428" name="Group 1427">
              <a:extLst>
                <a:ext uri="{FF2B5EF4-FFF2-40B4-BE49-F238E27FC236}">
                  <a16:creationId xmlns:a16="http://schemas.microsoft.com/office/drawing/2014/main" id="{4B752FDA-64D6-46C3-892C-8B15208A6D18}"/>
                </a:ext>
              </a:extLst>
            </p:cNvPr>
            <p:cNvGrpSpPr/>
            <p:nvPr/>
          </p:nvGrpSpPr>
          <p:grpSpPr>
            <a:xfrm>
              <a:off x="7290563" y="3272789"/>
              <a:ext cx="501193" cy="368891"/>
              <a:chOff x="6333970" y="1980913"/>
              <a:chExt cx="843035" cy="669917"/>
            </a:xfrm>
            <a:solidFill>
              <a:schemeClr val="tx1">
                <a:lumMod val="20000"/>
                <a:lumOff val="80000"/>
              </a:schemeClr>
            </a:solidFill>
          </p:grpSpPr>
          <p:grpSp>
            <p:nvGrpSpPr>
              <p:cNvPr id="1467" name="Group 1466">
                <a:extLst>
                  <a:ext uri="{FF2B5EF4-FFF2-40B4-BE49-F238E27FC236}">
                    <a16:creationId xmlns:a16="http://schemas.microsoft.com/office/drawing/2014/main" id="{D78B921F-5D8E-484F-A321-A765FD8DBDFE}"/>
                  </a:ext>
                </a:extLst>
              </p:cNvPr>
              <p:cNvGrpSpPr/>
              <p:nvPr/>
            </p:nvGrpSpPr>
            <p:grpSpPr>
              <a:xfrm flipH="1">
                <a:off x="6923045" y="2390830"/>
                <a:ext cx="253960" cy="260000"/>
                <a:chOff x="8636176" y="2775642"/>
                <a:chExt cx="1123468" cy="1150187"/>
              </a:xfrm>
              <a:grpFill/>
            </p:grpSpPr>
            <p:sp>
              <p:nvSpPr>
                <p:cNvPr id="1612" name="Parallelogram 1611">
                  <a:extLst>
                    <a:ext uri="{FF2B5EF4-FFF2-40B4-BE49-F238E27FC236}">
                      <a16:creationId xmlns:a16="http://schemas.microsoft.com/office/drawing/2014/main" id="{AF4DE84C-997A-42E0-A11F-F1F0BAC6B215}"/>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3" name="Parallelogram 1612">
                  <a:extLst>
                    <a:ext uri="{FF2B5EF4-FFF2-40B4-BE49-F238E27FC236}">
                      <a16:creationId xmlns:a16="http://schemas.microsoft.com/office/drawing/2014/main" id="{58C5B515-D3D6-4E9E-9F50-A489F2DE67A6}"/>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4" name="Rectangle 1613">
                  <a:extLst>
                    <a:ext uri="{FF2B5EF4-FFF2-40B4-BE49-F238E27FC236}">
                      <a16:creationId xmlns:a16="http://schemas.microsoft.com/office/drawing/2014/main" id="{E892CBB6-E1BC-4898-87AB-0A8075F288B5}"/>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68" name="Group 1567">
                <a:extLst>
                  <a:ext uri="{FF2B5EF4-FFF2-40B4-BE49-F238E27FC236}">
                    <a16:creationId xmlns:a16="http://schemas.microsoft.com/office/drawing/2014/main" id="{4A2D7A8A-30A8-4EA0-AE39-47D40130DE64}"/>
                  </a:ext>
                </a:extLst>
              </p:cNvPr>
              <p:cNvGrpSpPr/>
              <p:nvPr/>
            </p:nvGrpSpPr>
            <p:grpSpPr>
              <a:xfrm flipH="1">
                <a:off x="6724417" y="2390830"/>
                <a:ext cx="255538" cy="260000"/>
                <a:chOff x="8629196" y="2775642"/>
                <a:chExt cx="1130448" cy="1150187"/>
              </a:xfrm>
              <a:grpFill/>
            </p:grpSpPr>
            <p:sp>
              <p:nvSpPr>
                <p:cNvPr id="1607" name="Parallelogram 1606">
                  <a:extLst>
                    <a:ext uri="{FF2B5EF4-FFF2-40B4-BE49-F238E27FC236}">
                      <a16:creationId xmlns:a16="http://schemas.microsoft.com/office/drawing/2014/main" id="{272FFAD7-BC52-47CF-9C73-B9EDAA8BFA48}"/>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9" name="Parallelogram 1608">
                  <a:extLst>
                    <a:ext uri="{FF2B5EF4-FFF2-40B4-BE49-F238E27FC236}">
                      <a16:creationId xmlns:a16="http://schemas.microsoft.com/office/drawing/2014/main" id="{81DCAF37-308A-4396-BB52-1A546980874D}"/>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1" name="Rectangle 1610">
                  <a:extLst>
                    <a:ext uri="{FF2B5EF4-FFF2-40B4-BE49-F238E27FC236}">
                      <a16:creationId xmlns:a16="http://schemas.microsoft.com/office/drawing/2014/main" id="{C182640B-9392-490A-9FA2-E13AD0ACE847}"/>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72" name="Group 1571">
                <a:extLst>
                  <a:ext uri="{FF2B5EF4-FFF2-40B4-BE49-F238E27FC236}">
                    <a16:creationId xmlns:a16="http://schemas.microsoft.com/office/drawing/2014/main" id="{97BB7FAB-92CC-4D8C-81F9-AB63106E0446}"/>
                  </a:ext>
                </a:extLst>
              </p:cNvPr>
              <p:cNvGrpSpPr/>
              <p:nvPr/>
            </p:nvGrpSpPr>
            <p:grpSpPr>
              <a:xfrm flipH="1">
                <a:off x="6528784" y="2390830"/>
                <a:ext cx="255538" cy="260000"/>
                <a:chOff x="8629196" y="2775642"/>
                <a:chExt cx="1130448" cy="1150187"/>
              </a:xfrm>
              <a:grpFill/>
            </p:grpSpPr>
            <p:sp>
              <p:nvSpPr>
                <p:cNvPr id="1604" name="Parallelogram 1603">
                  <a:extLst>
                    <a:ext uri="{FF2B5EF4-FFF2-40B4-BE49-F238E27FC236}">
                      <a16:creationId xmlns:a16="http://schemas.microsoft.com/office/drawing/2014/main" id="{0E23F259-309D-4C22-87AE-53F3D68C2271}"/>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5" name="Parallelogram 1604">
                  <a:extLst>
                    <a:ext uri="{FF2B5EF4-FFF2-40B4-BE49-F238E27FC236}">
                      <a16:creationId xmlns:a16="http://schemas.microsoft.com/office/drawing/2014/main" id="{92ACA29C-521E-4490-9D66-D88E174E3F67}"/>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6" name="Rectangle 1605">
                  <a:extLst>
                    <a:ext uri="{FF2B5EF4-FFF2-40B4-BE49-F238E27FC236}">
                      <a16:creationId xmlns:a16="http://schemas.microsoft.com/office/drawing/2014/main" id="{11EBA56F-303A-470F-8304-C614A6127B2A}"/>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79" name="Group 1578">
                <a:extLst>
                  <a:ext uri="{FF2B5EF4-FFF2-40B4-BE49-F238E27FC236}">
                    <a16:creationId xmlns:a16="http://schemas.microsoft.com/office/drawing/2014/main" id="{1B31F1F2-9B64-4F73-ABAA-F6DD30F0A890}"/>
                  </a:ext>
                </a:extLst>
              </p:cNvPr>
              <p:cNvGrpSpPr/>
              <p:nvPr/>
            </p:nvGrpSpPr>
            <p:grpSpPr>
              <a:xfrm flipH="1">
                <a:off x="6333970" y="2390830"/>
                <a:ext cx="250150" cy="260000"/>
                <a:chOff x="8636176" y="2775642"/>
                <a:chExt cx="1106614" cy="1150187"/>
              </a:xfrm>
              <a:grpFill/>
            </p:grpSpPr>
            <p:sp>
              <p:nvSpPr>
                <p:cNvPr id="1601" name="Parallelogram 1600">
                  <a:extLst>
                    <a:ext uri="{FF2B5EF4-FFF2-40B4-BE49-F238E27FC236}">
                      <a16:creationId xmlns:a16="http://schemas.microsoft.com/office/drawing/2014/main" id="{A31A3C76-238D-4778-828F-19A936A53A9E}"/>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2" name="Parallelogram 1601">
                  <a:extLst>
                    <a:ext uri="{FF2B5EF4-FFF2-40B4-BE49-F238E27FC236}">
                      <a16:creationId xmlns:a16="http://schemas.microsoft.com/office/drawing/2014/main" id="{1FF264B8-EA98-4AEE-8B65-DEDD69515A57}"/>
                    </a:ext>
                  </a:extLst>
                </p:cNvPr>
                <p:cNvSpPr/>
                <p:nvPr/>
              </p:nvSpPr>
              <p:spPr bwMode="auto">
                <a:xfrm rot="16200000" flipH="1">
                  <a:off x="9079251" y="3229815"/>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3" name="Rectangle 1602">
                  <a:extLst>
                    <a:ext uri="{FF2B5EF4-FFF2-40B4-BE49-F238E27FC236}">
                      <a16:creationId xmlns:a16="http://schemas.microsoft.com/office/drawing/2014/main" id="{520A0A53-1FC8-432C-849B-50CCB3DC3F7F}"/>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0" name="Group 1579">
                <a:extLst>
                  <a:ext uri="{FF2B5EF4-FFF2-40B4-BE49-F238E27FC236}">
                    <a16:creationId xmlns:a16="http://schemas.microsoft.com/office/drawing/2014/main" id="{B4EA3BF7-0898-48D9-8299-CFD013080D6C}"/>
                  </a:ext>
                </a:extLst>
              </p:cNvPr>
              <p:cNvGrpSpPr/>
              <p:nvPr/>
            </p:nvGrpSpPr>
            <p:grpSpPr>
              <a:xfrm flipH="1">
                <a:off x="6821158" y="2181555"/>
                <a:ext cx="253960" cy="260000"/>
                <a:chOff x="8636176" y="2775642"/>
                <a:chExt cx="1123468" cy="1150187"/>
              </a:xfrm>
              <a:grpFill/>
            </p:grpSpPr>
            <p:sp>
              <p:nvSpPr>
                <p:cNvPr id="1597" name="Parallelogram 1596">
                  <a:extLst>
                    <a:ext uri="{FF2B5EF4-FFF2-40B4-BE49-F238E27FC236}">
                      <a16:creationId xmlns:a16="http://schemas.microsoft.com/office/drawing/2014/main" id="{79A5C44B-3373-4F26-8F35-5845AFD5A148}"/>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8" name="Parallelogram 1597">
                  <a:extLst>
                    <a:ext uri="{FF2B5EF4-FFF2-40B4-BE49-F238E27FC236}">
                      <a16:creationId xmlns:a16="http://schemas.microsoft.com/office/drawing/2014/main" id="{3706549E-D5A5-4AB9-BE28-366DCA28950C}"/>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0" name="Rectangle 1599">
                  <a:extLst>
                    <a:ext uri="{FF2B5EF4-FFF2-40B4-BE49-F238E27FC236}">
                      <a16:creationId xmlns:a16="http://schemas.microsoft.com/office/drawing/2014/main" id="{9D9A7632-32EB-4328-9E78-1E2D0DD526AE}"/>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1" name="Group 1580">
                <a:extLst>
                  <a:ext uri="{FF2B5EF4-FFF2-40B4-BE49-F238E27FC236}">
                    <a16:creationId xmlns:a16="http://schemas.microsoft.com/office/drawing/2014/main" id="{E13A9A60-594D-459F-A6F7-AC51F08B7A37}"/>
                  </a:ext>
                </a:extLst>
              </p:cNvPr>
              <p:cNvGrpSpPr/>
              <p:nvPr/>
            </p:nvGrpSpPr>
            <p:grpSpPr>
              <a:xfrm flipH="1">
                <a:off x="6629510" y="2181555"/>
                <a:ext cx="255538" cy="260000"/>
                <a:chOff x="8629196" y="2775642"/>
                <a:chExt cx="1130448" cy="1150187"/>
              </a:xfrm>
              <a:grpFill/>
            </p:grpSpPr>
            <p:sp>
              <p:nvSpPr>
                <p:cNvPr id="1594" name="Parallelogram 1593">
                  <a:extLst>
                    <a:ext uri="{FF2B5EF4-FFF2-40B4-BE49-F238E27FC236}">
                      <a16:creationId xmlns:a16="http://schemas.microsoft.com/office/drawing/2014/main" id="{F5947537-5076-4356-9C94-7687E1A98324}"/>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5" name="Parallelogram 1594">
                  <a:extLst>
                    <a:ext uri="{FF2B5EF4-FFF2-40B4-BE49-F238E27FC236}">
                      <a16:creationId xmlns:a16="http://schemas.microsoft.com/office/drawing/2014/main" id="{9965A067-912A-4345-8D13-159A754D0D20}"/>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6" name="Rectangle 1595">
                  <a:extLst>
                    <a:ext uri="{FF2B5EF4-FFF2-40B4-BE49-F238E27FC236}">
                      <a16:creationId xmlns:a16="http://schemas.microsoft.com/office/drawing/2014/main" id="{066B8AF8-DDBC-4BB2-81EE-565678DC4806}"/>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2" name="Group 1581">
                <a:extLst>
                  <a:ext uri="{FF2B5EF4-FFF2-40B4-BE49-F238E27FC236}">
                    <a16:creationId xmlns:a16="http://schemas.microsoft.com/office/drawing/2014/main" id="{FB4531FA-762B-4515-A6ED-8680949B0CAB}"/>
                  </a:ext>
                </a:extLst>
              </p:cNvPr>
              <p:cNvGrpSpPr/>
              <p:nvPr/>
            </p:nvGrpSpPr>
            <p:grpSpPr>
              <a:xfrm flipH="1">
                <a:off x="6435318" y="2181555"/>
                <a:ext cx="250454" cy="260000"/>
                <a:chOff x="8636176" y="2775642"/>
                <a:chExt cx="1107958" cy="1150187"/>
              </a:xfrm>
              <a:grpFill/>
            </p:grpSpPr>
            <p:sp>
              <p:nvSpPr>
                <p:cNvPr id="1591" name="Parallelogram 1590">
                  <a:extLst>
                    <a:ext uri="{FF2B5EF4-FFF2-40B4-BE49-F238E27FC236}">
                      <a16:creationId xmlns:a16="http://schemas.microsoft.com/office/drawing/2014/main" id="{5E7F6F40-57A7-45A9-B1D9-60E3E8BE527B}"/>
                    </a:ext>
                  </a:extLst>
                </p:cNvPr>
                <p:cNvSpPr/>
                <p:nvPr/>
              </p:nvSpPr>
              <p:spPr bwMode="auto">
                <a:xfrm>
                  <a:off x="8646050"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2" name="Parallelogram 1591">
                  <a:extLst>
                    <a:ext uri="{FF2B5EF4-FFF2-40B4-BE49-F238E27FC236}">
                      <a16:creationId xmlns:a16="http://schemas.microsoft.com/office/drawing/2014/main" id="{C737F55B-0155-4273-92C8-CFEE7A2E1E04}"/>
                    </a:ext>
                  </a:extLst>
                </p:cNvPr>
                <p:cNvSpPr/>
                <p:nvPr/>
              </p:nvSpPr>
              <p:spPr bwMode="auto">
                <a:xfrm rot="16200000" flipH="1">
                  <a:off x="9079251" y="3221388"/>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3" name="Rectangle 1592">
                  <a:extLst>
                    <a:ext uri="{FF2B5EF4-FFF2-40B4-BE49-F238E27FC236}">
                      <a16:creationId xmlns:a16="http://schemas.microsoft.com/office/drawing/2014/main" id="{6F62BE3E-E370-4FB6-9E0D-DDFCF661B303}"/>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3" name="Group 1582">
                <a:extLst>
                  <a:ext uri="{FF2B5EF4-FFF2-40B4-BE49-F238E27FC236}">
                    <a16:creationId xmlns:a16="http://schemas.microsoft.com/office/drawing/2014/main" id="{A2225451-EADE-4E2F-B991-540107C8C5CC}"/>
                  </a:ext>
                </a:extLst>
              </p:cNvPr>
              <p:cNvGrpSpPr/>
              <p:nvPr/>
            </p:nvGrpSpPr>
            <p:grpSpPr>
              <a:xfrm flipH="1">
                <a:off x="6676419" y="1980913"/>
                <a:ext cx="253960" cy="257467"/>
                <a:chOff x="8636176" y="2786845"/>
                <a:chExt cx="1123468" cy="1138984"/>
              </a:xfrm>
              <a:grpFill/>
            </p:grpSpPr>
            <p:sp>
              <p:nvSpPr>
                <p:cNvPr id="1588" name="Parallelogram 1587">
                  <a:extLst>
                    <a:ext uri="{FF2B5EF4-FFF2-40B4-BE49-F238E27FC236}">
                      <a16:creationId xmlns:a16="http://schemas.microsoft.com/office/drawing/2014/main" id="{22F343D9-1F21-43B7-9B52-6E6B0F9CEFCB}"/>
                    </a:ext>
                  </a:extLst>
                </p:cNvPr>
                <p:cNvSpPr/>
                <p:nvPr/>
              </p:nvSpPr>
              <p:spPr bwMode="auto">
                <a:xfrm>
                  <a:off x="8637623" y="2792494"/>
                  <a:ext cx="1098084" cy="228994"/>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9" name="Parallelogram 1588">
                  <a:extLst>
                    <a:ext uri="{FF2B5EF4-FFF2-40B4-BE49-F238E27FC236}">
                      <a16:creationId xmlns:a16="http://schemas.microsoft.com/office/drawing/2014/main" id="{73B33CCB-F09C-4A66-BA8E-DE9B497CD659}"/>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0" name="Rectangle 1589">
                  <a:extLst>
                    <a:ext uri="{FF2B5EF4-FFF2-40B4-BE49-F238E27FC236}">
                      <a16:creationId xmlns:a16="http://schemas.microsoft.com/office/drawing/2014/main" id="{55D5CA44-4C93-4EBE-A0B5-ED667B4383A3}"/>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4" name="Group 1583">
                <a:extLst>
                  <a:ext uri="{FF2B5EF4-FFF2-40B4-BE49-F238E27FC236}">
                    <a16:creationId xmlns:a16="http://schemas.microsoft.com/office/drawing/2014/main" id="{BFE5D170-7EF8-4CD3-B0D6-91A00DD8242E}"/>
                  </a:ext>
                </a:extLst>
              </p:cNvPr>
              <p:cNvGrpSpPr/>
              <p:nvPr/>
            </p:nvGrpSpPr>
            <p:grpSpPr>
              <a:xfrm flipH="1">
                <a:off x="6488278" y="1982191"/>
                <a:ext cx="250454" cy="256190"/>
                <a:chOff x="8636176" y="2792496"/>
                <a:chExt cx="1107958" cy="1133333"/>
              </a:xfrm>
              <a:grpFill/>
            </p:grpSpPr>
            <p:sp>
              <p:nvSpPr>
                <p:cNvPr id="1585" name="Parallelogram 1584">
                  <a:extLst>
                    <a:ext uri="{FF2B5EF4-FFF2-40B4-BE49-F238E27FC236}">
                      <a16:creationId xmlns:a16="http://schemas.microsoft.com/office/drawing/2014/main" id="{F0C68F78-248F-465A-94D4-4FC995CE7CD7}"/>
                    </a:ext>
                  </a:extLst>
                </p:cNvPr>
                <p:cNvSpPr/>
                <p:nvPr/>
              </p:nvSpPr>
              <p:spPr bwMode="auto">
                <a:xfrm>
                  <a:off x="8646050" y="2792496"/>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6" name="Parallelogram 1585">
                  <a:extLst>
                    <a:ext uri="{FF2B5EF4-FFF2-40B4-BE49-F238E27FC236}">
                      <a16:creationId xmlns:a16="http://schemas.microsoft.com/office/drawing/2014/main" id="{3AB1C4E5-C8E0-40B8-9051-BA13FC21E9A4}"/>
                    </a:ext>
                  </a:extLst>
                </p:cNvPr>
                <p:cNvSpPr/>
                <p:nvPr/>
              </p:nvSpPr>
              <p:spPr bwMode="auto">
                <a:xfrm rot="16200000" flipH="1">
                  <a:off x="9079249" y="3229819"/>
                  <a:ext cx="1098086"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7" name="Rectangle 1586">
                  <a:extLst>
                    <a:ext uri="{FF2B5EF4-FFF2-40B4-BE49-F238E27FC236}">
                      <a16:creationId xmlns:a16="http://schemas.microsoft.com/office/drawing/2014/main" id="{9FFF6DA7-F049-4FC8-B143-2B7AA7CEAAF5}"/>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431" name="Group 1430">
              <a:extLst>
                <a:ext uri="{FF2B5EF4-FFF2-40B4-BE49-F238E27FC236}">
                  <a16:creationId xmlns:a16="http://schemas.microsoft.com/office/drawing/2014/main" id="{17918709-92AB-46E4-B48B-4CE53F60DD82}"/>
                </a:ext>
              </a:extLst>
            </p:cNvPr>
            <p:cNvGrpSpPr/>
            <p:nvPr/>
          </p:nvGrpSpPr>
          <p:grpSpPr>
            <a:xfrm flipH="1">
              <a:off x="7721152" y="3557028"/>
              <a:ext cx="150982" cy="143170"/>
              <a:chOff x="8636176" y="2775642"/>
              <a:chExt cx="1123468" cy="1150187"/>
            </a:xfrm>
            <a:solidFill>
              <a:schemeClr val="bg1">
                <a:lumMod val="95000"/>
              </a:schemeClr>
            </a:solidFill>
          </p:grpSpPr>
          <p:sp>
            <p:nvSpPr>
              <p:cNvPr id="1464" name="Parallelogram 1463">
                <a:extLst>
                  <a:ext uri="{FF2B5EF4-FFF2-40B4-BE49-F238E27FC236}">
                    <a16:creationId xmlns:a16="http://schemas.microsoft.com/office/drawing/2014/main" id="{2B721316-4833-4FAE-8B66-09B5A363ECE0}"/>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65" name="Parallelogram 1464">
                <a:extLst>
                  <a:ext uri="{FF2B5EF4-FFF2-40B4-BE49-F238E27FC236}">
                    <a16:creationId xmlns:a16="http://schemas.microsoft.com/office/drawing/2014/main" id="{7AC2BD39-F0BA-4CA9-A632-E1F0EE4448F5}"/>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66" name="Rectangle 1465">
                <a:extLst>
                  <a:ext uri="{FF2B5EF4-FFF2-40B4-BE49-F238E27FC236}">
                    <a16:creationId xmlns:a16="http://schemas.microsoft.com/office/drawing/2014/main" id="{B4514097-8859-41F8-B010-C8A17DB20241}"/>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32" name="Group 1431">
              <a:extLst>
                <a:ext uri="{FF2B5EF4-FFF2-40B4-BE49-F238E27FC236}">
                  <a16:creationId xmlns:a16="http://schemas.microsoft.com/office/drawing/2014/main" id="{FDD1A651-4696-44F1-95C2-77496A27A642}"/>
                </a:ext>
              </a:extLst>
            </p:cNvPr>
            <p:cNvGrpSpPr/>
            <p:nvPr/>
          </p:nvGrpSpPr>
          <p:grpSpPr>
            <a:xfrm flipH="1">
              <a:off x="7603066" y="3557028"/>
              <a:ext cx="151920" cy="143170"/>
              <a:chOff x="8629196" y="2775642"/>
              <a:chExt cx="1130448" cy="1150187"/>
            </a:xfrm>
            <a:solidFill>
              <a:schemeClr val="bg1">
                <a:lumMod val="95000"/>
              </a:schemeClr>
            </a:solidFill>
          </p:grpSpPr>
          <p:sp>
            <p:nvSpPr>
              <p:cNvPr id="1461" name="Parallelogram 1460">
                <a:extLst>
                  <a:ext uri="{FF2B5EF4-FFF2-40B4-BE49-F238E27FC236}">
                    <a16:creationId xmlns:a16="http://schemas.microsoft.com/office/drawing/2014/main" id="{CD90BAF8-C00D-4DAE-9C66-B664F4771C74}"/>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62" name="Parallelogram 1461">
                <a:extLst>
                  <a:ext uri="{FF2B5EF4-FFF2-40B4-BE49-F238E27FC236}">
                    <a16:creationId xmlns:a16="http://schemas.microsoft.com/office/drawing/2014/main" id="{18E58715-66CF-4285-B1F8-4774E080A509}"/>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63" name="Rectangle 1462">
                <a:extLst>
                  <a:ext uri="{FF2B5EF4-FFF2-40B4-BE49-F238E27FC236}">
                    <a16:creationId xmlns:a16="http://schemas.microsoft.com/office/drawing/2014/main" id="{181A117D-ABF4-4237-8CDF-0935CD540AB4}"/>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33" name="Group 1432">
              <a:extLst>
                <a:ext uri="{FF2B5EF4-FFF2-40B4-BE49-F238E27FC236}">
                  <a16:creationId xmlns:a16="http://schemas.microsoft.com/office/drawing/2014/main" id="{8907BAF5-E834-4EDA-BBC7-21410F528932}"/>
                </a:ext>
              </a:extLst>
            </p:cNvPr>
            <p:cNvGrpSpPr/>
            <p:nvPr/>
          </p:nvGrpSpPr>
          <p:grpSpPr>
            <a:xfrm flipH="1">
              <a:off x="7486760" y="3557028"/>
              <a:ext cx="151920" cy="143170"/>
              <a:chOff x="8629196" y="2775642"/>
              <a:chExt cx="1130448" cy="1150187"/>
            </a:xfrm>
            <a:solidFill>
              <a:schemeClr val="bg1">
                <a:lumMod val="95000"/>
              </a:schemeClr>
            </a:solidFill>
          </p:grpSpPr>
          <p:sp>
            <p:nvSpPr>
              <p:cNvPr id="1453" name="Parallelogram 1452">
                <a:extLst>
                  <a:ext uri="{FF2B5EF4-FFF2-40B4-BE49-F238E27FC236}">
                    <a16:creationId xmlns:a16="http://schemas.microsoft.com/office/drawing/2014/main" id="{1F2CF317-0485-4A71-B184-E8D6CC405BD6}"/>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54" name="Parallelogram 1453">
                <a:extLst>
                  <a:ext uri="{FF2B5EF4-FFF2-40B4-BE49-F238E27FC236}">
                    <a16:creationId xmlns:a16="http://schemas.microsoft.com/office/drawing/2014/main" id="{F0A0544A-BDFA-4282-BBF1-43CD682D83D9}"/>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55" name="Rectangle 1454">
                <a:extLst>
                  <a:ext uri="{FF2B5EF4-FFF2-40B4-BE49-F238E27FC236}">
                    <a16:creationId xmlns:a16="http://schemas.microsoft.com/office/drawing/2014/main" id="{5F05911E-79C4-4424-B661-6B4A6B02BA61}"/>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34" name="Group 1433">
              <a:extLst>
                <a:ext uri="{FF2B5EF4-FFF2-40B4-BE49-F238E27FC236}">
                  <a16:creationId xmlns:a16="http://schemas.microsoft.com/office/drawing/2014/main" id="{99E663EC-906E-416E-99D4-5CDFC12AB7F0}"/>
                </a:ext>
              </a:extLst>
            </p:cNvPr>
            <p:cNvGrpSpPr/>
            <p:nvPr/>
          </p:nvGrpSpPr>
          <p:grpSpPr>
            <a:xfrm flipH="1">
              <a:off x="7370941" y="3557028"/>
              <a:ext cx="148717" cy="143170"/>
              <a:chOff x="8636176" y="2775642"/>
              <a:chExt cx="1106614" cy="1150187"/>
            </a:xfrm>
            <a:solidFill>
              <a:schemeClr val="bg1">
                <a:lumMod val="95000"/>
              </a:schemeClr>
            </a:solidFill>
          </p:grpSpPr>
          <p:sp>
            <p:nvSpPr>
              <p:cNvPr id="1450" name="Parallelogram 1449">
                <a:extLst>
                  <a:ext uri="{FF2B5EF4-FFF2-40B4-BE49-F238E27FC236}">
                    <a16:creationId xmlns:a16="http://schemas.microsoft.com/office/drawing/2014/main" id="{925B6E2D-2F01-44E0-A50A-53F65F0A4F4F}"/>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51" name="Parallelogram 1450">
                <a:extLst>
                  <a:ext uri="{FF2B5EF4-FFF2-40B4-BE49-F238E27FC236}">
                    <a16:creationId xmlns:a16="http://schemas.microsoft.com/office/drawing/2014/main" id="{9746367A-DD4B-4BCD-B085-8C7C01B47F00}"/>
                  </a:ext>
                </a:extLst>
              </p:cNvPr>
              <p:cNvSpPr/>
              <p:nvPr/>
            </p:nvSpPr>
            <p:spPr bwMode="auto">
              <a:xfrm rot="16200000" flipH="1">
                <a:off x="9079251" y="3229815"/>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52" name="Rectangle 1451">
                <a:extLst>
                  <a:ext uri="{FF2B5EF4-FFF2-40B4-BE49-F238E27FC236}">
                    <a16:creationId xmlns:a16="http://schemas.microsoft.com/office/drawing/2014/main" id="{65EC5CB6-8032-42F8-921E-2E63EF0899A6}"/>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35" name="Group 1434">
              <a:extLst>
                <a:ext uri="{FF2B5EF4-FFF2-40B4-BE49-F238E27FC236}">
                  <a16:creationId xmlns:a16="http://schemas.microsoft.com/office/drawing/2014/main" id="{AE4B3050-CF8E-42D8-99B5-AB2D649BAF01}"/>
                </a:ext>
              </a:extLst>
            </p:cNvPr>
            <p:cNvGrpSpPr/>
            <p:nvPr/>
          </p:nvGrpSpPr>
          <p:grpSpPr>
            <a:xfrm flipH="1">
              <a:off x="7660579" y="3441791"/>
              <a:ext cx="150982" cy="143170"/>
              <a:chOff x="8636176" y="2775642"/>
              <a:chExt cx="1123468" cy="1150187"/>
            </a:xfrm>
            <a:solidFill>
              <a:schemeClr val="bg1">
                <a:lumMod val="95000"/>
              </a:schemeClr>
            </a:solidFill>
          </p:grpSpPr>
          <p:sp>
            <p:nvSpPr>
              <p:cNvPr id="1444" name="Parallelogram 1443">
                <a:extLst>
                  <a:ext uri="{FF2B5EF4-FFF2-40B4-BE49-F238E27FC236}">
                    <a16:creationId xmlns:a16="http://schemas.microsoft.com/office/drawing/2014/main" id="{19B110FF-B7C4-49AE-9CE7-EC83904DB532}"/>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5" name="Parallelogram 1444">
                <a:extLst>
                  <a:ext uri="{FF2B5EF4-FFF2-40B4-BE49-F238E27FC236}">
                    <a16:creationId xmlns:a16="http://schemas.microsoft.com/office/drawing/2014/main" id="{DF13D0CB-1A60-4C55-BCDA-9C27104D5662}"/>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9" name="Rectangle 1448">
                <a:extLst>
                  <a:ext uri="{FF2B5EF4-FFF2-40B4-BE49-F238E27FC236}">
                    <a16:creationId xmlns:a16="http://schemas.microsoft.com/office/drawing/2014/main" id="{8E6B740E-300E-445E-A232-CF250D788C71}"/>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36" name="Group 1435">
              <a:extLst>
                <a:ext uri="{FF2B5EF4-FFF2-40B4-BE49-F238E27FC236}">
                  <a16:creationId xmlns:a16="http://schemas.microsoft.com/office/drawing/2014/main" id="{EB31E8D2-2321-415D-85F0-CCBE8A0B1211}"/>
                </a:ext>
              </a:extLst>
            </p:cNvPr>
            <p:cNvGrpSpPr/>
            <p:nvPr/>
          </p:nvGrpSpPr>
          <p:grpSpPr>
            <a:xfrm flipH="1">
              <a:off x="7546643" y="3441791"/>
              <a:ext cx="151920" cy="143170"/>
              <a:chOff x="8629196" y="2775642"/>
              <a:chExt cx="1130448" cy="1150187"/>
            </a:xfrm>
            <a:solidFill>
              <a:schemeClr val="bg1">
                <a:lumMod val="95000"/>
              </a:schemeClr>
            </a:solidFill>
          </p:grpSpPr>
          <p:sp>
            <p:nvSpPr>
              <p:cNvPr id="1441" name="Parallelogram 1440">
                <a:extLst>
                  <a:ext uri="{FF2B5EF4-FFF2-40B4-BE49-F238E27FC236}">
                    <a16:creationId xmlns:a16="http://schemas.microsoft.com/office/drawing/2014/main" id="{89114F88-022C-4EF8-A314-EEF6CFB3505A}"/>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2" name="Parallelogram 1441">
                <a:extLst>
                  <a:ext uri="{FF2B5EF4-FFF2-40B4-BE49-F238E27FC236}">
                    <a16:creationId xmlns:a16="http://schemas.microsoft.com/office/drawing/2014/main" id="{244829A8-7D3F-4B03-8C14-EC1383E1A9D5}"/>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3" name="Rectangle 1442">
                <a:extLst>
                  <a:ext uri="{FF2B5EF4-FFF2-40B4-BE49-F238E27FC236}">
                    <a16:creationId xmlns:a16="http://schemas.microsoft.com/office/drawing/2014/main" id="{079C8933-D5B2-4C29-8CDD-106B95468524}"/>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37" name="Group 1436">
              <a:extLst>
                <a:ext uri="{FF2B5EF4-FFF2-40B4-BE49-F238E27FC236}">
                  <a16:creationId xmlns:a16="http://schemas.microsoft.com/office/drawing/2014/main" id="{5E9F1ECD-1C4A-411F-8310-B011C9AB1123}"/>
                </a:ext>
              </a:extLst>
            </p:cNvPr>
            <p:cNvGrpSpPr/>
            <p:nvPr/>
          </p:nvGrpSpPr>
          <p:grpSpPr>
            <a:xfrm flipH="1">
              <a:off x="7431194" y="3441791"/>
              <a:ext cx="148897" cy="143170"/>
              <a:chOff x="8636176" y="2775642"/>
              <a:chExt cx="1107958" cy="1150187"/>
            </a:xfrm>
            <a:solidFill>
              <a:schemeClr val="bg1">
                <a:lumMod val="95000"/>
              </a:schemeClr>
            </a:solidFill>
          </p:grpSpPr>
          <p:sp>
            <p:nvSpPr>
              <p:cNvPr id="1438" name="Parallelogram 1437">
                <a:extLst>
                  <a:ext uri="{FF2B5EF4-FFF2-40B4-BE49-F238E27FC236}">
                    <a16:creationId xmlns:a16="http://schemas.microsoft.com/office/drawing/2014/main" id="{7E0EA062-A295-4C2D-9DD7-DDDAF08242CB}"/>
                  </a:ext>
                </a:extLst>
              </p:cNvPr>
              <p:cNvSpPr/>
              <p:nvPr/>
            </p:nvSpPr>
            <p:spPr bwMode="auto">
              <a:xfrm>
                <a:off x="8646050"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9" name="Parallelogram 1438">
                <a:extLst>
                  <a:ext uri="{FF2B5EF4-FFF2-40B4-BE49-F238E27FC236}">
                    <a16:creationId xmlns:a16="http://schemas.microsoft.com/office/drawing/2014/main" id="{648AA66A-9965-4C09-A3E2-44D41A448654}"/>
                  </a:ext>
                </a:extLst>
              </p:cNvPr>
              <p:cNvSpPr/>
              <p:nvPr/>
            </p:nvSpPr>
            <p:spPr bwMode="auto">
              <a:xfrm rot="16200000" flipH="1">
                <a:off x="9079251" y="3221388"/>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0" name="Rectangle 1439">
                <a:extLst>
                  <a:ext uri="{FF2B5EF4-FFF2-40B4-BE49-F238E27FC236}">
                    <a16:creationId xmlns:a16="http://schemas.microsoft.com/office/drawing/2014/main" id="{8CD638FB-8EB0-4564-9409-CBA2D48B5548}"/>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615" name="Freeform: Shape 1614">
            <a:extLst>
              <a:ext uri="{FF2B5EF4-FFF2-40B4-BE49-F238E27FC236}">
                <a16:creationId xmlns:a16="http://schemas.microsoft.com/office/drawing/2014/main" id="{248F9E9A-C1F6-40DD-95D2-FBE30F26875F}"/>
              </a:ext>
            </a:extLst>
          </p:cNvPr>
          <p:cNvSpPr/>
          <p:nvPr/>
        </p:nvSpPr>
        <p:spPr bwMode="auto">
          <a:xfrm flipH="1">
            <a:off x="465726" y="3210773"/>
            <a:ext cx="1493163" cy="182283"/>
          </a:xfrm>
          <a:custGeom>
            <a:avLst/>
            <a:gdLst>
              <a:gd name="connsiteX0" fmla="*/ 1523276 w 1523276"/>
              <a:gd name="connsiteY0" fmla="*/ 0 h 185959"/>
              <a:gd name="connsiteX1" fmla="*/ 0 w 1523276"/>
              <a:gd name="connsiteY1" fmla="*/ 0 h 185959"/>
              <a:gd name="connsiteX2" fmla="*/ 149082 w 1523276"/>
              <a:gd name="connsiteY2" fmla="*/ 185959 h 185959"/>
              <a:gd name="connsiteX3" fmla="*/ 1523276 w 1523276"/>
              <a:gd name="connsiteY3" fmla="*/ 185959 h 185959"/>
            </a:gdLst>
            <a:ahLst/>
            <a:cxnLst>
              <a:cxn ang="0">
                <a:pos x="connsiteX0" y="connsiteY0"/>
              </a:cxn>
              <a:cxn ang="0">
                <a:pos x="connsiteX1" y="connsiteY1"/>
              </a:cxn>
              <a:cxn ang="0">
                <a:pos x="connsiteX2" y="connsiteY2"/>
              </a:cxn>
              <a:cxn ang="0">
                <a:pos x="connsiteX3" y="connsiteY3"/>
              </a:cxn>
            </a:cxnLst>
            <a:rect l="l" t="t" r="r" b="b"/>
            <a:pathLst>
              <a:path w="1523276" h="185959">
                <a:moveTo>
                  <a:pt x="1523276" y="0"/>
                </a:moveTo>
                <a:lnTo>
                  <a:pt x="0" y="0"/>
                </a:lnTo>
                <a:lnTo>
                  <a:pt x="149082" y="185959"/>
                </a:lnTo>
                <a:lnTo>
                  <a:pt x="1523276" y="185959"/>
                </a:lnTo>
                <a:close/>
              </a:path>
            </a:pathLst>
          </a:cu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6" name="Freeform: Shape 1615">
            <a:extLst>
              <a:ext uri="{FF2B5EF4-FFF2-40B4-BE49-F238E27FC236}">
                <a16:creationId xmlns:a16="http://schemas.microsoft.com/office/drawing/2014/main" id="{8AA6769F-EFE8-408A-8717-4C3A39EED7FD}"/>
              </a:ext>
            </a:extLst>
          </p:cNvPr>
          <p:cNvSpPr/>
          <p:nvPr/>
        </p:nvSpPr>
        <p:spPr bwMode="auto">
          <a:xfrm flipH="1">
            <a:off x="465727" y="3393056"/>
            <a:ext cx="1347028" cy="32763"/>
          </a:xfrm>
          <a:custGeom>
            <a:avLst/>
            <a:gdLst>
              <a:gd name="connsiteX0" fmla="*/ 1374194 w 1374194"/>
              <a:gd name="connsiteY0" fmla="*/ 0 h 33423"/>
              <a:gd name="connsiteX1" fmla="*/ 0 w 1374194"/>
              <a:gd name="connsiteY1" fmla="*/ 0 h 33423"/>
              <a:gd name="connsiteX2" fmla="*/ 26795 w 1374194"/>
              <a:gd name="connsiteY2" fmla="*/ 33423 h 33423"/>
              <a:gd name="connsiteX3" fmla="*/ 1374194 w 1374194"/>
              <a:gd name="connsiteY3" fmla="*/ 33423 h 33423"/>
            </a:gdLst>
            <a:ahLst/>
            <a:cxnLst>
              <a:cxn ang="0">
                <a:pos x="connsiteX0" y="connsiteY0"/>
              </a:cxn>
              <a:cxn ang="0">
                <a:pos x="connsiteX1" y="connsiteY1"/>
              </a:cxn>
              <a:cxn ang="0">
                <a:pos x="connsiteX2" y="connsiteY2"/>
              </a:cxn>
              <a:cxn ang="0">
                <a:pos x="connsiteX3" y="connsiteY3"/>
              </a:cxn>
            </a:cxnLst>
            <a:rect l="l" t="t" r="r" b="b"/>
            <a:pathLst>
              <a:path w="1374194" h="33423">
                <a:moveTo>
                  <a:pt x="1374194" y="0"/>
                </a:moveTo>
                <a:lnTo>
                  <a:pt x="0" y="0"/>
                </a:lnTo>
                <a:lnTo>
                  <a:pt x="26795" y="33423"/>
                </a:lnTo>
                <a:lnTo>
                  <a:pt x="1374194" y="33423"/>
                </a:lnTo>
                <a:close/>
              </a:path>
            </a:pathLst>
          </a:custGeom>
          <a:solidFill>
            <a:srgbClr val="B4B4B4"/>
          </a:solidFill>
          <a:ln>
            <a:noFill/>
          </a:ln>
        </p:spPr>
        <p:txBody>
          <a:bodyPr vert="horz" wrap="square" lIns="119476" tIns="59738" rIns="119476" bIns="59738" numCol="1" anchor="t" anchorCtr="0" compatLnSpc="1">
            <a:prstTxWarp prst="textNoShape">
              <a:avLst/>
            </a:prstTxWarp>
            <a:noAutofit/>
          </a:bodyPr>
          <a:lstStyle/>
          <a:p>
            <a:pPr defTabSz="1194653">
              <a:defRPr/>
            </a:pPr>
            <a:endParaRPr lang="en-US" sz="2352" kern="0" dirty="0">
              <a:solidFill>
                <a:srgbClr val="505050"/>
              </a:solidFill>
              <a:latin typeface="Arial"/>
            </a:endParaRPr>
          </a:p>
        </p:txBody>
      </p:sp>
      <p:grpSp>
        <p:nvGrpSpPr>
          <p:cNvPr id="1617" name="Group 1616">
            <a:extLst>
              <a:ext uri="{FF2B5EF4-FFF2-40B4-BE49-F238E27FC236}">
                <a16:creationId xmlns:a16="http://schemas.microsoft.com/office/drawing/2014/main" id="{3E8CECB1-F7FE-42E6-B5BF-EB0F8DCE6715}"/>
              </a:ext>
            </a:extLst>
          </p:cNvPr>
          <p:cNvGrpSpPr/>
          <p:nvPr/>
        </p:nvGrpSpPr>
        <p:grpSpPr>
          <a:xfrm rot="791521">
            <a:off x="1263957" y="3161395"/>
            <a:ext cx="242365" cy="201300"/>
            <a:chOff x="2375866" y="3508354"/>
            <a:chExt cx="210389" cy="174742"/>
          </a:xfrm>
        </p:grpSpPr>
        <p:sp>
          <p:nvSpPr>
            <p:cNvPr id="1618" name="Freeform 72">
              <a:extLst>
                <a:ext uri="{FF2B5EF4-FFF2-40B4-BE49-F238E27FC236}">
                  <a16:creationId xmlns:a16="http://schemas.microsoft.com/office/drawing/2014/main" id="{1F2DAAA1-DD6D-4433-B0B1-2BAA52FA77B7}"/>
                </a:ext>
              </a:extLst>
            </p:cNvPr>
            <p:cNvSpPr>
              <a:spLocks/>
            </p:cNvSpPr>
            <p:nvPr/>
          </p:nvSpPr>
          <p:spPr bwMode="auto">
            <a:xfrm rot="20774749">
              <a:off x="2375866" y="3508354"/>
              <a:ext cx="210389" cy="174742"/>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chemeClr val="bg1">
                <a:lumMod val="50000"/>
              </a:schemeClr>
            </a:solidFill>
            <a:ln>
              <a:noFill/>
            </a:ln>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grpSp>
          <p:nvGrpSpPr>
            <p:cNvPr id="1633" name="Group 1632">
              <a:extLst>
                <a:ext uri="{FF2B5EF4-FFF2-40B4-BE49-F238E27FC236}">
                  <a16:creationId xmlns:a16="http://schemas.microsoft.com/office/drawing/2014/main" id="{9AC2F810-36C3-482F-9587-CCF1069E6392}"/>
                </a:ext>
              </a:extLst>
            </p:cNvPr>
            <p:cNvGrpSpPr/>
            <p:nvPr/>
          </p:nvGrpSpPr>
          <p:grpSpPr>
            <a:xfrm rot="20774749">
              <a:off x="2386657" y="3519503"/>
              <a:ext cx="188701" cy="152045"/>
              <a:chOff x="-4206875" y="1603375"/>
              <a:chExt cx="3978275" cy="3168650"/>
            </a:xfrm>
            <a:solidFill>
              <a:srgbClr val="FFFFFF"/>
            </a:solidFill>
          </p:grpSpPr>
          <p:sp>
            <p:nvSpPr>
              <p:cNvPr id="1635" name="Freeform 73">
                <a:extLst>
                  <a:ext uri="{FF2B5EF4-FFF2-40B4-BE49-F238E27FC236}">
                    <a16:creationId xmlns:a16="http://schemas.microsoft.com/office/drawing/2014/main" id="{A4CE1E23-8369-49B4-8C75-1E2A4F69C4AB}"/>
                  </a:ext>
                </a:extLst>
              </p:cNvPr>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1637" name="Freeform 74">
                <a:extLst>
                  <a:ext uri="{FF2B5EF4-FFF2-40B4-BE49-F238E27FC236}">
                    <a16:creationId xmlns:a16="http://schemas.microsoft.com/office/drawing/2014/main" id="{79AAF551-184C-4C2F-93EF-1F4C32A7D7F7}"/>
                  </a:ext>
                </a:extLst>
              </p:cNvPr>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1638" name="Freeform 75">
                <a:extLst>
                  <a:ext uri="{FF2B5EF4-FFF2-40B4-BE49-F238E27FC236}">
                    <a16:creationId xmlns:a16="http://schemas.microsoft.com/office/drawing/2014/main" id="{859B4209-6223-4171-AC40-CAFEBC0C56E1}"/>
                  </a:ext>
                </a:extLst>
              </p:cNvPr>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1639" name="Freeform 76">
                <a:extLst>
                  <a:ext uri="{FF2B5EF4-FFF2-40B4-BE49-F238E27FC236}">
                    <a16:creationId xmlns:a16="http://schemas.microsoft.com/office/drawing/2014/main" id="{47A231F5-AF2C-4327-8D6D-04A81615C541}"/>
                  </a:ext>
                </a:extLst>
              </p:cNvPr>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1640" name="Freeform 77">
                <a:extLst>
                  <a:ext uri="{FF2B5EF4-FFF2-40B4-BE49-F238E27FC236}">
                    <a16:creationId xmlns:a16="http://schemas.microsoft.com/office/drawing/2014/main" id="{84CDD06C-17FC-4804-B5A8-E205D7A4827C}"/>
                  </a:ext>
                </a:extLst>
              </p:cNvPr>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1641" name="Freeform 78">
                <a:extLst>
                  <a:ext uri="{FF2B5EF4-FFF2-40B4-BE49-F238E27FC236}">
                    <a16:creationId xmlns:a16="http://schemas.microsoft.com/office/drawing/2014/main" id="{9915BC60-DA0F-42AF-9CC8-6DFD67D6D444}"/>
                  </a:ext>
                </a:extLst>
              </p:cNvPr>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1642" name="Freeform 79">
                <a:extLst>
                  <a:ext uri="{FF2B5EF4-FFF2-40B4-BE49-F238E27FC236}">
                    <a16:creationId xmlns:a16="http://schemas.microsoft.com/office/drawing/2014/main" id="{2477120D-0C1E-435B-8AFC-FC96006B95B7}"/>
                  </a:ext>
                </a:extLst>
              </p:cNvPr>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1643" name="Freeform 80">
                <a:extLst>
                  <a:ext uri="{FF2B5EF4-FFF2-40B4-BE49-F238E27FC236}">
                    <a16:creationId xmlns:a16="http://schemas.microsoft.com/office/drawing/2014/main" id="{3493EA3D-F889-45C1-AB07-26EC7287CA84}"/>
                  </a:ext>
                </a:extLst>
              </p:cNvPr>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grpSp>
      </p:grpSp>
      <p:sp>
        <p:nvSpPr>
          <p:cNvPr id="1645" name="Diagonal Stripe 1644">
            <a:extLst>
              <a:ext uri="{FF2B5EF4-FFF2-40B4-BE49-F238E27FC236}">
                <a16:creationId xmlns:a16="http://schemas.microsoft.com/office/drawing/2014/main" id="{8562A787-62F5-4CC3-BFE3-293D2378FFA0}"/>
              </a:ext>
            </a:extLst>
          </p:cNvPr>
          <p:cNvSpPr/>
          <p:nvPr/>
        </p:nvSpPr>
        <p:spPr bwMode="auto">
          <a:xfrm rot="18614036">
            <a:off x="1250156" y="3184006"/>
            <a:ext cx="64048" cy="116752"/>
          </a:xfrm>
          <a:prstGeom prst="diagStripe">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46" name="Group 1645">
            <a:extLst>
              <a:ext uri="{FF2B5EF4-FFF2-40B4-BE49-F238E27FC236}">
                <a16:creationId xmlns:a16="http://schemas.microsoft.com/office/drawing/2014/main" id="{E092669B-91DB-47A8-9792-BC537DDC6E7E}"/>
              </a:ext>
            </a:extLst>
          </p:cNvPr>
          <p:cNvGrpSpPr/>
          <p:nvPr/>
        </p:nvGrpSpPr>
        <p:grpSpPr>
          <a:xfrm>
            <a:off x="1472967" y="2678889"/>
            <a:ext cx="483493" cy="355329"/>
            <a:chOff x="7290563" y="3272789"/>
            <a:chExt cx="581571" cy="427409"/>
          </a:xfrm>
        </p:grpSpPr>
        <p:grpSp>
          <p:nvGrpSpPr>
            <p:cNvPr id="1647" name="Group 1646">
              <a:extLst>
                <a:ext uri="{FF2B5EF4-FFF2-40B4-BE49-F238E27FC236}">
                  <a16:creationId xmlns:a16="http://schemas.microsoft.com/office/drawing/2014/main" id="{D2F0751A-DF78-4AA5-90C9-26552D541099}"/>
                </a:ext>
              </a:extLst>
            </p:cNvPr>
            <p:cNvGrpSpPr/>
            <p:nvPr/>
          </p:nvGrpSpPr>
          <p:grpSpPr>
            <a:xfrm>
              <a:off x="7290563" y="3272789"/>
              <a:ext cx="501193" cy="368891"/>
              <a:chOff x="6333970" y="1980913"/>
              <a:chExt cx="843035" cy="669917"/>
            </a:xfrm>
            <a:solidFill>
              <a:schemeClr val="tx1">
                <a:lumMod val="20000"/>
                <a:lumOff val="80000"/>
              </a:schemeClr>
            </a:solidFill>
          </p:grpSpPr>
          <p:grpSp>
            <p:nvGrpSpPr>
              <p:cNvPr id="1677" name="Group 1676">
                <a:extLst>
                  <a:ext uri="{FF2B5EF4-FFF2-40B4-BE49-F238E27FC236}">
                    <a16:creationId xmlns:a16="http://schemas.microsoft.com/office/drawing/2014/main" id="{E7F83744-C0E0-4DD2-BC42-AEC5A0B01615}"/>
                  </a:ext>
                </a:extLst>
              </p:cNvPr>
              <p:cNvGrpSpPr/>
              <p:nvPr/>
            </p:nvGrpSpPr>
            <p:grpSpPr>
              <a:xfrm flipH="1">
                <a:off x="6923045" y="2390830"/>
                <a:ext cx="253960" cy="260000"/>
                <a:chOff x="8636176" y="2775642"/>
                <a:chExt cx="1123468" cy="1150187"/>
              </a:xfrm>
              <a:grpFill/>
            </p:grpSpPr>
            <p:sp>
              <p:nvSpPr>
                <p:cNvPr id="1710" name="Parallelogram 1709">
                  <a:extLst>
                    <a:ext uri="{FF2B5EF4-FFF2-40B4-BE49-F238E27FC236}">
                      <a16:creationId xmlns:a16="http://schemas.microsoft.com/office/drawing/2014/main" id="{55A94268-6DBF-45AB-A4F7-7E311196F700}"/>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11" name="Parallelogram 1710">
                  <a:extLst>
                    <a:ext uri="{FF2B5EF4-FFF2-40B4-BE49-F238E27FC236}">
                      <a16:creationId xmlns:a16="http://schemas.microsoft.com/office/drawing/2014/main" id="{3DEDD551-7DE2-4AE2-B0F6-EFE1F535AA8E}"/>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12" name="Rectangle 1711">
                  <a:extLst>
                    <a:ext uri="{FF2B5EF4-FFF2-40B4-BE49-F238E27FC236}">
                      <a16:creationId xmlns:a16="http://schemas.microsoft.com/office/drawing/2014/main" id="{B5C2C02F-72EB-4A02-862F-20425C2DF567}"/>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78" name="Group 1677">
                <a:extLst>
                  <a:ext uri="{FF2B5EF4-FFF2-40B4-BE49-F238E27FC236}">
                    <a16:creationId xmlns:a16="http://schemas.microsoft.com/office/drawing/2014/main" id="{D03EE9C1-F6E1-43E9-B23C-07EC01960EC0}"/>
                  </a:ext>
                </a:extLst>
              </p:cNvPr>
              <p:cNvGrpSpPr/>
              <p:nvPr/>
            </p:nvGrpSpPr>
            <p:grpSpPr>
              <a:xfrm flipH="1">
                <a:off x="6724417" y="2390830"/>
                <a:ext cx="255538" cy="260000"/>
                <a:chOff x="8629196" y="2775642"/>
                <a:chExt cx="1130448" cy="1150187"/>
              </a:xfrm>
              <a:grpFill/>
            </p:grpSpPr>
            <p:sp>
              <p:nvSpPr>
                <p:cNvPr id="1707" name="Parallelogram 1706">
                  <a:extLst>
                    <a:ext uri="{FF2B5EF4-FFF2-40B4-BE49-F238E27FC236}">
                      <a16:creationId xmlns:a16="http://schemas.microsoft.com/office/drawing/2014/main" id="{3998604E-16E6-4913-8BCA-5D5A705F6FDB}"/>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8" name="Parallelogram 1707">
                  <a:extLst>
                    <a:ext uri="{FF2B5EF4-FFF2-40B4-BE49-F238E27FC236}">
                      <a16:creationId xmlns:a16="http://schemas.microsoft.com/office/drawing/2014/main" id="{3B8D184D-B9D0-49C6-BAE5-E400D9829713}"/>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9" name="Rectangle 1708">
                  <a:extLst>
                    <a:ext uri="{FF2B5EF4-FFF2-40B4-BE49-F238E27FC236}">
                      <a16:creationId xmlns:a16="http://schemas.microsoft.com/office/drawing/2014/main" id="{3523C2F6-E6AA-4C98-9419-EB8171AB2047}"/>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79" name="Group 1678">
                <a:extLst>
                  <a:ext uri="{FF2B5EF4-FFF2-40B4-BE49-F238E27FC236}">
                    <a16:creationId xmlns:a16="http://schemas.microsoft.com/office/drawing/2014/main" id="{6940B257-F49D-486C-A871-44110C170D00}"/>
                  </a:ext>
                </a:extLst>
              </p:cNvPr>
              <p:cNvGrpSpPr/>
              <p:nvPr/>
            </p:nvGrpSpPr>
            <p:grpSpPr>
              <a:xfrm flipH="1">
                <a:off x="6528784" y="2390830"/>
                <a:ext cx="255538" cy="260000"/>
                <a:chOff x="8629196" y="2775642"/>
                <a:chExt cx="1130448" cy="1150187"/>
              </a:xfrm>
              <a:grpFill/>
            </p:grpSpPr>
            <p:sp>
              <p:nvSpPr>
                <p:cNvPr id="1704" name="Parallelogram 1703">
                  <a:extLst>
                    <a:ext uri="{FF2B5EF4-FFF2-40B4-BE49-F238E27FC236}">
                      <a16:creationId xmlns:a16="http://schemas.microsoft.com/office/drawing/2014/main" id="{822B880D-A76F-4C94-91CD-3D5825F85E2E}"/>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5" name="Parallelogram 1704">
                  <a:extLst>
                    <a:ext uri="{FF2B5EF4-FFF2-40B4-BE49-F238E27FC236}">
                      <a16:creationId xmlns:a16="http://schemas.microsoft.com/office/drawing/2014/main" id="{DB7C4217-2B0F-4BA5-92C1-AA4D0E2B1B9D}"/>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6" name="Rectangle 1705">
                  <a:extLst>
                    <a:ext uri="{FF2B5EF4-FFF2-40B4-BE49-F238E27FC236}">
                      <a16:creationId xmlns:a16="http://schemas.microsoft.com/office/drawing/2014/main" id="{4F00C25B-17D9-4017-879C-A70B830E78E9}"/>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80" name="Group 1679">
                <a:extLst>
                  <a:ext uri="{FF2B5EF4-FFF2-40B4-BE49-F238E27FC236}">
                    <a16:creationId xmlns:a16="http://schemas.microsoft.com/office/drawing/2014/main" id="{2691BEF5-B7D0-4E4A-AFC2-D8455B638F39}"/>
                  </a:ext>
                </a:extLst>
              </p:cNvPr>
              <p:cNvGrpSpPr/>
              <p:nvPr/>
            </p:nvGrpSpPr>
            <p:grpSpPr>
              <a:xfrm flipH="1">
                <a:off x="6333970" y="2390830"/>
                <a:ext cx="250150" cy="260000"/>
                <a:chOff x="8636176" y="2775642"/>
                <a:chExt cx="1106614" cy="1150187"/>
              </a:xfrm>
              <a:grpFill/>
            </p:grpSpPr>
            <p:sp>
              <p:nvSpPr>
                <p:cNvPr id="1701" name="Parallelogram 1700">
                  <a:extLst>
                    <a:ext uri="{FF2B5EF4-FFF2-40B4-BE49-F238E27FC236}">
                      <a16:creationId xmlns:a16="http://schemas.microsoft.com/office/drawing/2014/main" id="{D2AC3DB9-417A-4725-B65E-D7ACF967D1FE}"/>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2" name="Parallelogram 1701">
                  <a:extLst>
                    <a:ext uri="{FF2B5EF4-FFF2-40B4-BE49-F238E27FC236}">
                      <a16:creationId xmlns:a16="http://schemas.microsoft.com/office/drawing/2014/main" id="{254884CC-E3E2-47A7-92E5-894A60C77416}"/>
                    </a:ext>
                  </a:extLst>
                </p:cNvPr>
                <p:cNvSpPr/>
                <p:nvPr/>
              </p:nvSpPr>
              <p:spPr bwMode="auto">
                <a:xfrm rot="16200000" flipH="1">
                  <a:off x="9079251" y="3229815"/>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3" name="Rectangle 1702">
                  <a:extLst>
                    <a:ext uri="{FF2B5EF4-FFF2-40B4-BE49-F238E27FC236}">
                      <a16:creationId xmlns:a16="http://schemas.microsoft.com/office/drawing/2014/main" id="{9983F060-08CE-4890-9E23-B9056F91D198}"/>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81" name="Group 1680">
                <a:extLst>
                  <a:ext uri="{FF2B5EF4-FFF2-40B4-BE49-F238E27FC236}">
                    <a16:creationId xmlns:a16="http://schemas.microsoft.com/office/drawing/2014/main" id="{58A8BC4F-DBEF-44D4-8A25-50233A436296}"/>
                  </a:ext>
                </a:extLst>
              </p:cNvPr>
              <p:cNvGrpSpPr/>
              <p:nvPr/>
            </p:nvGrpSpPr>
            <p:grpSpPr>
              <a:xfrm flipH="1">
                <a:off x="6821158" y="2181555"/>
                <a:ext cx="253960" cy="260000"/>
                <a:chOff x="8636176" y="2775642"/>
                <a:chExt cx="1123468" cy="1150187"/>
              </a:xfrm>
              <a:grpFill/>
            </p:grpSpPr>
            <p:sp>
              <p:nvSpPr>
                <p:cNvPr id="1698" name="Parallelogram 1697">
                  <a:extLst>
                    <a:ext uri="{FF2B5EF4-FFF2-40B4-BE49-F238E27FC236}">
                      <a16:creationId xmlns:a16="http://schemas.microsoft.com/office/drawing/2014/main" id="{F927E025-E5B0-4034-8F32-28236F73B8D6}"/>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9" name="Parallelogram 1698">
                  <a:extLst>
                    <a:ext uri="{FF2B5EF4-FFF2-40B4-BE49-F238E27FC236}">
                      <a16:creationId xmlns:a16="http://schemas.microsoft.com/office/drawing/2014/main" id="{8D92937E-CC0C-4AE7-9A1D-2B34CACBC3AB}"/>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0" name="Rectangle 1699">
                  <a:extLst>
                    <a:ext uri="{FF2B5EF4-FFF2-40B4-BE49-F238E27FC236}">
                      <a16:creationId xmlns:a16="http://schemas.microsoft.com/office/drawing/2014/main" id="{38D193DD-DB36-4300-8A7D-CE47297DD3F3}"/>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82" name="Group 1681">
                <a:extLst>
                  <a:ext uri="{FF2B5EF4-FFF2-40B4-BE49-F238E27FC236}">
                    <a16:creationId xmlns:a16="http://schemas.microsoft.com/office/drawing/2014/main" id="{3726E4E4-3C2E-416A-86F2-856CC2220608}"/>
                  </a:ext>
                </a:extLst>
              </p:cNvPr>
              <p:cNvGrpSpPr/>
              <p:nvPr/>
            </p:nvGrpSpPr>
            <p:grpSpPr>
              <a:xfrm flipH="1">
                <a:off x="6629510" y="2181555"/>
                <a:ext cx="255538" cy="260000"/>
                <a:chOff x="8629196" y="2775642"/>
                <a:chExt cx="1130448" cy="1150187"/>
              </a:xfrm>
              <a:grpFill/>
            </p:grpSpPr>
            <p:sp>
              <p:nvSpPr>
                <p:cNvPr id="1695" name="Parallelogram 1694">
                  <a:extLst>
                    <a:ext uri="{FF2B5EF4-FFF2-40B4-BE49-F238E27FC236}">
                      <a16:creationId xmlns:a16="http://schemas.microsoft.com/office/drawing/2014/main" id="{5522DFC5-D23A-47C7-927E-737D8913DC05}"/>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6" name="Parallelogram 1695">
                  <a:extLst>
                    <a:ext uri="{FF2B5EF4-FFF2-40B4-BE49-F238E27FC236}">
                      <a16:creationId xmlns:a16="http://schemas.microsoft.com/office/drawing/2014/main" id="{C9B8987F-A8AA-42AD-A3B4-42F4CDB06A1F}"/>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7" name="Rectangle 1696">
                  <a:extLst>
                    <a:ext uri="{FF2B5EF4-FFF2-40B4-BE49-F238E27FC236}">
                      <a16:creationId xmlns:a16="http://schemas.microsoft.com/office/drawing/2014/main" id="{5D1FE0BD-9237-4F5B-99C8-0FF0C0A32F58}"/>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83" name="Group 1682">
                <a:extLst>
                  <a:ext uri="{FF2B5EF4-FFF2-40B4-BE49-F238E27FC236}">
                    <a16:creationId xmlns:a16="http://schemas.microsoft.com/office/drawing/2014/main" id="{1D53B860-935C-4C1B-BFB7-8849F5D8B099}"/>
                  </a:ext>
                </a:extLst>
              </p:cNvPr>
              <p:cNvGrpSpPr/>
              <p:nvPr/>
            </p:nvGrpSpPr>
            <p:grpSpPr>
              <a:xfrm flipH="1">
                <a:off x="6435318" y="2181555"/>
                <a:ext cx="250454" cy="260000"/>
                <a:chOff x="8636176" y="2775642"/>
                <a:chExt cx="1107958" cy="1150187"/>
              </a:xfrm>
              <a:grpFill/>
            </p:grpSpPr>
            <p:sp>
              <p:nvSpPr>
                <p:cNvPr id="1692" name="Parallelogram 1691">
                  <a:extLst>
                    <a:ext uri="{FF2B5EF4-FFF2-40B4-BE49-F238E27FC236}">
                      <a16:creationId xmlns:a16="http://schemas.microsoft.com/office/drawing/2014/main" id="{E38A3315-5DE9-446E-8881-D2EAA65B32C9}"/>
                    </a:ext>
                  </a:extLst>
                </p:cNvPr>
                <p:cNvSpPr/>
                <p:nvPr/>
              </p:nvSpPr>
              <p:spPr bwMode="auto">
                <a:xfrm>
                  <a:off x="8646050"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3" name="Parallelogram 1692">
                  <a:extLst>
                    <a:ext uri="{FF2B5EF4-FFF2-40B4-BE49-F238E27FC236}">
                      <a16:creationId xmlns:a16="http://schemas.microsoft.com/office/drawing/2014/main" id="{B22CE131-4A27-40E5-A616-9D3AC90F6B0D}"/>
                    </a:ext>
                  </a:extLst>
                </p:cNvPr>
                <p:cNvSpPr/>
                <p:nvPr/>
              </p:nvSpPr>
              <p:spPr bwMode="auto">
                <a:xfrm rot="16200000" flipH="1">
                  <a:off x="9079251" y="3221388"/>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4" name="Rectangle 1693">
                  <a:extLst>
                    <a:ext uri="{FF2B5EF4-FFF2-40B4-BE49-F238E27FC236}">
                      <a16:creationId xmlns:a16="http://schemas.microsoft.com/office/drawing/2014/main" id="{C168B96D-EE40-4A7E-A533-E5F48D806DB7}"/>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84" name="Group 1683">
                <a:extLst>
                  <a:ext uri="{FF2B5EF4-FFF2-40B4-BE49-F238E27FC236}">
                    <a16:creationId xmlns:a16="http://schemas.microsoft.com/office/drawing/2014/main" id="{F10CD4F0-64E3-46D8-A48B-0023B465A0D2}"/>
                  </a:ext>
                </a:extLst>
              </p:cNvPr>
              <p:cNvGrpSpPr/>
              <p:nvPr/>
            </p:nvGrpSpPr>
            <p:grpSpPr>
              <a:xfrm flipH="1">
                <a:off x="6676419" y="1980913"/>
                <a:ext cx="253960" cy="257467"/>
                <a:chOff x="8636176" y="2786845"/>
                <a:chExt cx="1123468" cy="1138984"/>
              </a:xfrm>
              <a:grpFill/>
            </p:grpSpPr>
            <p:sp>
              <p:nvSpPr>
                <p:cNvPr id="1689" name="Parallelogram 1688">
                  <a:extLst>
                    <a:ext uri="{FF2B5EF4-FFF2-40B4-BE49-F238E27FC236}">
                      <a16:creationId xmlns:a16="http://schemas.microsoft.com/office/drawing/2014/main" id="{6ACE1768-EF9E-4A19-B033-9E839AD571A8}"/>
                    </a:ext>
                  </a:extLst>
                </p:cNvPr>
                <p:cNvSpPr/>
                <p:nvPr/>
              </p:nvSpPr>
              <p:spPr bwMode="auto">
                <a:xfrm>
                  <a:off x="8637623" y="2792494"/>
                  <a:ext cx="1098084" cy="228994"/>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0" name="Parallelogram 1689">
                  <a:extLst>
                    <a:ext uri="{FF2B5EF4-FFF2-40B4-BE49-F238E27FC236}">
                      <a16:creationId xmlns:a16="http://schemas.microsoft.com/office/drawing/2014/main" id="{6DFFB876-61A5-4946-9BAE-ED95CCAC742B}"/>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1" name="Rectangle 1690">
                  <a:extLst>
                    <a:ext uri="{FF2B5EF4-FFF2-40B4-BE49-F238E27FC236}">
                      <a16:creationId xmlns:a16="http://schemas.microsoft.com/office/drawing/2014/main" id="{B271D269-13C3-4907-ACDA-7F502B739880}"/>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85" name="Group 1684">
                <a:extLst>
                  <a:ext uri="{FF2B5EF4-FFF2-40B4-BE49-F238E27FC236}">
                    <a16:creationId xmlns:a16="http://schemas.microsoft.com/office/drawing/2014/main" id="{A556D012-3EB1-4C59-AA56-FA025A7A6716}"/>
                  </a:ext>
                </a:extLst>
              </p:cNvPr>
              <p:cNvGrpSpPr/>
              <p:nvPr/>
            </p:nvGrpSpPr>
            <p:grpSpPr>
              <a:xfrm flipH="1">
                <a:off x="6488278" y="1982191"/>
                <a:ext cx="250454" cy="256190"/>
                <a:chOff x="8636176" y="2792496"/>
                <a:chExt cx="1107958" cy="1133333"/>
              </a:xfrm>
              <a:grpFill/>
            </p:grpSpPr>
            <p:sp>
              <p:nvSpPr>
                <p:cNvPr id="1686" name="Parallelogram 1685">
                  <a:extLst>
                    <a:ext uri="{FF2B5EF4-FFF2-40B4-BE49-F238E27FC236}">
                      <a16:creationId xmlns:a16="http://schemas.microsoft.com/office/drawing/2014/main" id="{5A105741-6FDB-480A-923B-81DEFCFE3282}"/>
                    </a:ext>
                  </a:extLst>
                </p:cNvPr>
                <p:cNvSpPr/>
                <p:nvPr/>
              </p:nvSpPr>
              <p:spPr bwMode="auto">
                <a:xfrm>
                  <a:off x="8646050" y="2792496"/>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87" name="Parallelogram 1686">
                  <a:extLst>
                    <a:ext uri="{FF2B5EF4-FFF2-40B4-BE49-F238E27FC236}">
                      <a16:creationId xmlns:a16="http://schemas.microsoft.com/office/drawing/2014/main" id="{38EAB480-CEC4-4B34-9658-D9B0E66FBE26}"/>
                    </a:ext>
                  </a:extLst>
                </p:cNvPr>
                <p:cNvSpPr/>
                <p:nvPr/>
              </p:nvSpPr>
              <p:spPr bwMode="auto">
                <a:xfrm rot="16200000" flipH="1">
                  <a:off x="9079249" y="3229819"/>
                  <a:ext cx="1098086"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88" name="Rectangle 1687">
                  <a:extLst>
                    <a:ext uri="{FF2B5EF4-FFF2-40B4-BE49-F238E27FC236}">
                      <a16:creationId xmlns:a16="http://schemas.microsoft.com/office/drawing/2014/main" id="{789EFB2E-BBA9-43FD-AEFD-5968632F83AC}"/>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649" name="Group 1648">
              <a:extLst>
                <a:ext uri="{FF2B5EF4-FFF2-40B4-BE49-F238E27FC236}">
                  <a16:creationId xmlns:a16="http://schemas.microsoft.com/office/drawing/2014/main" id="{E158047F-9C64-4057-ABF2-EBC20B19AE60}"/>
                </a:ext>
              </a:extLst>
            </p:cNvPr>
            <p:cNvGrpSpPr/>
            <p:nvPr/>
          </p:nvGrpSpPr>
          <p:grpSpPr>
            <a:xfrm flipH="1">
              <a:off x="7721152" y="3557028"/>
              <a:ext cx="150982" cy="143170"/>
              <a:chOff x="8636176" y="2775642"/>
              <a:chExt cx="1123468" cy="1150187"/>
            </a:xfrm>
            <a:solidFill>
              <a:schemeClr val="bg1">
                <a:lumMod val="95000"/>
              </a:schemeClr>
            </a:solidFill>
          </p:grpSpPr>
          <p:sp>
            <p:nvSpPr>
              <p:cNvPr id="1674" name="Parallelogram 1673">
                <a:extLst>
                  <a:ext uri="{FF2B5EF4-FFF2-40B4-BE49-F238E27FC236}">
                    <a16:creationId xmlns:a16="http://schemas.microsoft.com/office/drawing/2014/main" id="{352BD646-C7FC-450D-B7A4-F1B7C1063D8D}"/>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75" name="Parallelogram 1674">
                <a:extLst>
                  <a:ext uri="{FF2B5EF4-FFF2-40B4-BE49-F238E27FC236}">
                    <a16:creationId xmlns:a16="http://schemas.microsoft.com/office/drawing/2014/main" id="{46A02F3F-7BBE-4D19-AC5C-7655EC10BC30}"/>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76" name="Rectangle 1675">
                <a:extLst>
                  <a:ext uri="{FF2B5EF4-FFF2-40B4-BE49-F238E27FC236}">
                    <a16:creationId xmlns:a16="http://schemas.microsoft.com/office/drawing/2014/main" id="{4E0C987B-F764-4C9B-AB5A-4C203C98EE4C}"/>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50" name="Group 1649">
              <a:extLst>
                <a:ext uri="{FF2B5EF4-FFF2-40B4-BE49-F238E27FC236}">
                  <a16:creationId xmlns:a16="http://schemas.microsoft.com/office/drawing/2014/main" id="{8525CBFE-0AF8-4B1F-A0B7-798C439A1014}"/>
                </a:ext>
              </a:extLst>
            </p:cNvPr>
            <p:cNvGrpSpPr/>
            <p:nvPr/>
          </p:nvGrpSpPr>
          <p:grpSpPr>
            <a:xfrm flipH="1">
              <a:off x="7603066" y="3557028"/>
              <a:ext cx="151920" cy="143170"/>
              <a:chOff x="8629196" y="2775642"/>
              <a:chExt cx="1130448" cy="1150187"/>
            </a:xfrm>
            <a:solidFill>
              <a:schemeClr val="bg1">
                <a:lumMod val="95000"/>
              </a:schemeClr>
            </a:solidFill>
          </p:grpSpPr>
          <p:sp>
            <p:nvSpPr>
              <p:cNvPr id="1671" name="Parallelogram 1670">
                <a:extLst>
                  <a:ext uri="{FF2B5EF4-FFF2-40B4-BE49-F238E27FC236}">
                    <a16:creationId xmlns:a16="http://schemas.microsoft.com/office/drawing/2014/main" id="{3ABEB2A1-6541-4D02-81CA-65CBDD8E2792}"/>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72" name="Parallelogram 1671">
                <a:extLst>
                  <a:ext uri="{FF2B5EF4-FFF2-40B4-BE49-F238E27FC236}">
                    <a16:creationId xmlns:a16="http://schemas.microsoft.com/office/drawing/2014/main" id="{E3B02A5E-F4D0-4697-A0B7-8DDB4ACD7DFC}"/>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73" name="Rectangle 1672">
                <a:extLst>
                  <a:ext uri="{FF2B5EF4-FFF2-40B4-BE49-F238E27FC236}">
                    <a16:creationId xmlns:a16="http://schemas.microsoft.com/office/drawing/2014/main" id="{0EF5455A-E386-40B6-B461-2F474C80F59E}"/>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51" name="Group 1650">
              <a:extLst>
                <a:ext uri="{FF2B5EF4-FFF2-40B4-BE49-F238E27FC236}">
                  <a16:creationId xmlns:a16="http://schemas.microsoft.com/office/drawing/2014/main" id="{7A1B1CB6-E5BD-4050-B550-D4E480C1A23F}"/>
                </a:ext>
              </a:extLst>
            </p:cNvPr>
            <p:cNvGrpSpPr/>
            <p:nvPr/>
          </p:nvGrpSpPr>
          <p:grpSpPr>
            <a:xfrm flipH="1">
              <a:off x="7486760" y="3557028"/>
              <a:ext cx="151920" cy="143170"/>
              <a:chOff x="8629196" y="2775642"/>
              <a:chExt cx="1130448" cy="1150187"/>
            </a:xfrm>
            <a:solidFill>
              <a:schemeClr val="bg1">
                <a:lumMod val="95000"/>
              </a:schemeClr>
            </a:solidFill>
          </p:grpSpPr>
          <p:sp>
            <p:nvSpPr>
              <p:cNvPr id="1668" name="Parallelogram 1667">
                <a:extLst>
                  <a:ext uri="{FF2B5EF4-FFF2-40B4-BE49-F238E27FC236}">
                    <a16:creationId xmlns:a16="http://schemas.microsoft.com/office/drawing/2014/main" id="{77226E13-D6AF-4850-97C4-8376CCC026E5}"/>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9" name="Parallelogram 1668">
                <a:extLst>
                  <a:ext uri="{FF2B5EF4-FFF2-40B4-BE49-F238E27FC236}">
                    <a16:creationId xmlns:a16="http://schemas.microsoft.com/office/drawing/2014/main" id="{27D1CF19-B9DE-46C3-A331-3C0C6C95BE48}"/>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70" name="Rectangle 1669">
                <a:extLst>
                  <a:ext uri="{FF2B5EF4-FFF2-40B4-BE49-F238E27FC236}">
                    <a16:creationId xmlns:a16="http://schemas.microsoft.com/office/drawing/2014/main" id="{EDCBC7DD-D275-4ED3-9455-1F668DA7A87E}"/>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52" name="Group 1651">
              <a:extLst>
                <a:ext uri="{FF2B5EF4-FFF2-40B4-BE49-F238E27FC236}">
                  <a16:creationId xmlns:a16="http://schemas.microsoft.com/office/drawing/2014/main" id="{230CAC23-D1E6-479F-88B8-B31B37DC6FE1}"/>
                </a:ext>
              </a:extLst>
            </p:cNvPr>
            <p:cNvGrpSpPr/>
            <p:nvPr/>
          </p:nvGrpSpPr>
          <p:grpSpPr>
            <a:xfrm flipH="1">
              <a:off x="7370941" y="3557028"/>
              <a:ext cx="148717" cy="143170"/>
              <a:chOff x="8636176" y="2775642"/>
              <a:chExt cx="1106614" cy="1150187"/>
            </a:xfrm>
            <a:solidFill>
              <a:schemeClr val="bg1">
                <a:lumMod val="95000"/>
              </a:schemeClr>
            </a:solidFill>
          </p:grpSpPr>
          <p:sp>
            <p:nvSpPr>
              <p:cNvPr id="1665" name="Parallelogram 1664">
                <a:extLst>
                  <a:ext uri="{FF2B5EF4-FFF2-40B4-BE49-F238E27FC236}">
                    <a16:creationId xmlns:a16="http://schemas.microsoft.com/office/drawing/2014/main" id="{51CE85A1-14D4-4CD8-BED0-A125D655E717}"/>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6" name="Parallelogram 1665">
                <a:extLst>
                  <a:ext uri="{FF2B5EF4-FFF2-40B4-BE49-F238E27FC236}">
                    <a16:creationId xmlns:a16="http://schemas.microsoft.com/office/drawing/2014/main" id="{1BEC80C1-5AC7-4877-BEF4-AEECDB4C9449}"/>
                  </a:ext>
                </a:extLst>
              </p:cNvPr>
              <p:cNvSpPr/>
              <p:nvPr/>
            </p:nvSpPr>
            <p:spPr bwMode="auto">
              <a:xfrm rot="16200000" flipH="1">
                <a:off x="9079251" y="3229815"/>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7" name="Rectangle 1666">
                <a:extLst>
                  <a:ext uri="{FF2B5EF4-FFF2-40B4-BE49-F238E27FC236}">
                    <a16:creationId xmlns:a16="http://schemas.microsoft.com/office/drawing/2014/main" id="{DF2F86C8-C39A-44FD-B70D-622DB94F842B}"/>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53" name="Group 1652">
              <a:extLst>
                <a:ext uri="{FF2B5EF4-FFF2-40B4-BE49-F238E27FC236}">
                  <a16:creationId xmlns:a16="http://schemas.microsoft.com/office/drawing/2014/main" id="{E01CF3EA-2C3B-4476-BF47-E4E36417F1C9}"/>
                </a:ext>
              </a:extLst>
            </p:cNvPr>
            <p:cNvGrpSpPr/>
            <p:nvPr/>
          </p:nvGrpSpPr>
          <p:grpSpPr>
            <a:xfrm flipH="1">
              <a:off x="7660579" y="3441791"/>
              <a:ext cx="150982" cy="143170"/>
              <a:chOff x="8636176" y="2775642"/>
              <a:chExt cx="1123468" cy="1150187"/>
            </a:xfrm>
            <a:solidFill>
              <a:schemeClr val="bg1">
                <a:lumMod val="95000"/>
              </a:schemeClr>
            </a:solidFill>
          </p:grpSpPr>
          <p:sp>
            <p:nvSpPr>
              <p:cNvPr id="1662" name="Parallelogram 1661">
                <a:extLst>
                  <a:ext uri="{FF2B5EF4-FFF2-40B4-BE49-F238E27FC236}">
                    <a16:creationId xmlns:a16="http://schemas.microsoft.com/office/drawing/2014/main" id="{20184ED4-901D-405A-A00E-5B9884153876}"/>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3" name="Parallelogram 1662">
                <a:extLst>
                  <a:ext uri="{FF2B5EF4-FFF2-40B4-BE49-F238E27FC236}">
                    <a16:creationId xmlns:a16="http://schemas.microsoft.com/office/drawing/2014/main" id="{88F7C424-0981-4B77-B3C1-114B434E9429}"/>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4" name="Rectangle 1663">
                <a:extLst>
                  <a:ext uri="{FF2B5EF4-FFF2-40B4-BE49-F238E27FC236}">
                    <a16:creationId xmlns:a16="http://schemas.microsoft.com/office/drawing/2014/main" id="{88F9ADAA-6B42-4DEE-B08C-376B503C8FFA}"/>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54" name="Group 1653">
              <a:extLst>
                <a:ext uri="{FF2B5EF4-FFF2-40B4-BE49-F238E27FC236}">
                  <a16:creationId xmlns:a16="http://schemas.microsoft.com/office/drawing/2014/main" id="{436FAFAF-147B-4BB3-942D-857601378F44}"/>
                </a:ext>
              </a:extLst>
            </p:cNvPr>
            <p:cNvGrpSpPr/>
            <p:nvPr/>
          </p:nvGrpSpPr>
          <p:grpSpPr>
            <a:xfrm flipH="1">
              <a:off x="7546643" y="3441791"/>
              <a:ext cx="151920" cy="143170"/>
              <a:chOff x="8629196" y="2775642"/>
              <a:chExt cx="1130448" cy="1150187"/>
            </a:xfrm>
            <a:solidFill>
              <a:schemeClr val="bg1">
                <a:lumMod val="95000"/>
              </a:schemeClr>
            </a:solidFill>
          </p:grpSpPr>
          <p:sp>
            <p:nvSpPr>
              <p:cNvPr id="1659" name="Parallelogram 1658">
                <a:extLst>
                  <a:ext uri="{FF2B5EF4-FFF2-40B4-BE49-F238E27FC236}">
                    <a16:creationId xmlns:a16="http://schemas.microsoft.com/office/drawing/2014/main" id="{E86EA34C-99FA-4642-ADA6-A1B5FA184571}"/>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0" name="Parallelogram 1659">
                <a:extLst>
                  <a:ext uri="{FF2B5EF4-FFF2-40B4-BE49-F238E27FC236}">
                    <a16:creationId xmlns:a16="http://schemas.microsoft.com/office/drawing/2014/main" id="{C91373F0-0A1A-4B05-9273-AE597DF4F541}"/>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1" name="Rectangle 1660">
                <a:extLst>
                  <a:ext uri="{FF2B5EF4-FFF2-40B4-BE49-F238E27FC236}">
                    <a16:creationId xmlns:a16="http://schemas.microsoft.com/office/drawing/2014/main" id="{78168A07-F7E6-4D7C-8FDA-CE98E1E6D60D}"/>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55" name="Group 1654">
              <a:extLst>
                <a:ext uri="{FF2B5EF4-FFF2-40B4-BE49-F238E27FC236}">
                  <a16:creationId xmlns:a16="http://schemas.microsoft.com/office/drawing/2014/main" id="{154411AA-B4F9-4805-8D74-1DD84656DBDC}"/>
                </a:ext>
              </a:extLst>
            </p:cNvPr>
            <p:cNvGrpSpPr/>
            <p:nvPr/>
          </p:nvGrpSpPr>
          <p:grpSpPr>
            <a:xfrm flipH="1">
              <a:off x="7431194" y="3441791"/>
              <a:ext cx="148897" cy="143170"/>
              <a:chOff x="8636176" y="2775642"/>
              <a:chExt cx="1107958" cy="1150187"/>
            </a:xfrm>
            <a:solidFill>
              <a:schemeClr val="bg1">
                <a:lumMod val="95000"/>
              </a:schemeClr>
            </a:solidFill>
          </p:grpSpPr>
          <p:sp>
            <p:nvSpPr>
              <p:cNvPr id="1656" name="Parallelogram 1655">
                <a:extLst>
                  <a:ext uri="{FF2B5EF4-FFF2-40B4-BE49-F238E27FC236}">
                    <a16:creationId xmlns:a16="http://schemas.microsoft.com/office/drawing/2014/main" id="{32B1CE3F-58AB-4AD8-858D-85D04798CB89}"/>
                  </a:ext>
                </a:extLst>
              </p:cNvPr>
              <p:cNvSpPr/>
              <p:nvPr/>
            </p:nvSpPr>
            <p:spPr bwMode="auto">
              <a:xfrm>
                <a:off x="8646050"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7" name="Parallelogram 1656">
                <a:extLst>
                  <a:ext uri="{FF2B5EF4-FFF2-40B4-BE49-F238E27FC236}">
                    <a16:creationId xmlns:a16="http://schemas.microsoft.com/office/drawing/2014/main" id="{6A62A0B0-A65B-47F4-A557-CE2FEABBF5C9}"/>
                  </a:ext>
                </a:extLst>
              </p:cNvPr>
              <p:cNvSpPr/>
              <p:nvPr/>
            </p:nvSpPr>
            <p:spPr bwMode="auto">
              <a:xfrm rot="16200000" flipH="1">
                <a:off x="9079251" y="3221388"/>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8" name="Rectangle 1657">
                <a:extLst>
                  <a:ext uri="{FF2B5EF4-FFF2-40B4-BE49-F238E27FC236}">
                    <a16:creationId xmlns:a16="http://schemas.microsoft.com/office/drawing/2014/main" id="{1679077D-F4C5-45BB-9099-CF1E493F3CD3}"/>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713" name="Rectangle 1712">
            <a:extLst>
              <a:ext uri="{FF2B5EF4-FFF2-40B4-BE49-F238E27FC236}">
                <a16:creationId xmlns:a16="http://schemas.microsoft.com/office/drawing/2014/main" id="{414F4145-0B8D-420A-AAF2-DF12DA4250E3}"/>
              </a:ext>
            </a:extLst>
          </p:cNvPr>
          <p:cNvSpPr/>
          <p:nvPr/>
        </p:nvSpPr>
        <p:spPr bwMode="auto">
          <a:xfrm flipH="1">
            <a:off x="454522" y="2171851"/>
            <a:ext cx="2579876" cy="32763"/>
          </a:xfrm>
          <a:prstGeom prst="rect">
            <a:avLst/>
          </a:prstGeom>
          <a:solidFill>
            <a:srgbClr val="B4B4B4"/>
          </a:solidFill>
          <a:ln>
            <a:noFill/>
          </a:ln>
        </p:spPr>
        <p:txBody>
          <a:bodyPr vert="horz" wrap="square" lIns="119476" tIns="59738" rIns="119476" bIns="59738" numCol="1" anchor="t" anchorCtr="0" compatLnSpc="1">
            <a:prstTxWarp prst="textNoShape">
              <a:avLst/>
            </a:prstTxWarp>
          </a:bodyPr>
          <a:lstStyle/>
          <a:p>
            <a:pPr defTabSz="1194653">
              <a:defRPr/>
            </a:pPr>
            <a:endParaRPr lang="en-US" sz="2352" kern="0" dirty="0">
              <a:solidFill>
                <a:srgbClr val="505050"/>
              </a:solidFill>
              <a:latin typeface="Arial"/>
            </a:endParaRPr>
          </a:p>
        </p:txBody>
      </p:sp>
      <p:sp>
        <p:nvSpPr>
          <p:cNvPr id="1714" name="Rectangle 1713">
            <a:extLst>
              <a:ext uri="{FF2B5EF4-FFF2-40B4-BE49-F238E27FC236}">
                <a16:creationId xmlns:a16="http://schemas.microsoft.com/office/drawing/2014/main" id="{96DDB06D-BF38-4CCF-850B-AA598BABC281}"/>
              </a:ext>
            </a:extLst>
          </p:cNvPr>
          <p:cNvSpPr/>
          <p:nvPr/>
        </p:nvSpPr>
        <p:spPr bwMode="auto">
          <a:xfrm flipH="1">
            <a:off x="454522" y="1989569"/>
            <a:ext cx="2579876" cy="182283"/>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15" name="Group 1714">
            <a:extLst>
              <a:ext uri="{FF2B5EF4-FFF2-40B4-BE49-F238E27FC236}">
                <a16:creationId xmlns:a16="http://schemas.microsoft.com/office/drawing/2014/main" id="{D0DCD200-9D4E-488D-87D3-61BD5991D5CC}"/>
              </a:ext>
            </a:extLst>
          </p:cNvPr>
          <p:cNvGrpSpPr/>
          <p:nvPr/>
        </p:nvGrpSpPr>
        <p:grpSpPr>
          <a:xfrm>
            <a:off x="5627371" y="1407606"/>
            <a:ext cx="5825030" cy="711502"/>
            <a:chOff x="5818710" y="1181100"/>
            <a:chExt cx="5942505" cy="725851"/>
          </a:xfrm>
        </p:grpSpPr>
        <p:sp>
          <p:nvSpPr>
            <p:cNvPr id="1716" name="Trapezoid 1715">
              <a:extLst>
                <a:ext uri="{FF2B5EF4-FFF2-40B4-BE49-F238E27FC236}">
                  <a16:creationId xmlns:a16="http://schemas.microsoft.com/office/drawing/2014/main" id="{B841F85D-22E6-49E7-8B93-71AA6C20A5FB}"/>
                </a:ext>
              </a:extLst>
            </p:cNvPr>
            <p:cNvSpPr/>
            <p:nvPr/>
          </p:nvSpPr>
          <p:spPr bwMode="auto">
            <a:xfrm>
              <a:off x="5818711" y="1181100"/>
              <a:ext cx="5931330" cy="63500"/>
            </a:xfrm>
            <a:prstGeom prst="trapezoid">
              <a:avLst>
                <a:gd name="adj" fmla="val 119421"/>
              </a:avLst>
            </a:prstGeom>
            <a:solidFill>
              <a:schemeClr val="bg1">
                <a:lumMod val="95000"/>
              </a:schemeClr>
            </a:solidFill>
            <a:ln w="12700"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89620" tIns="89620" rIns="134429" bIns="143392" numCol="1" spcCol="0" rtlCol="0" fromWordArt="0" anchor="t" anchorCtr="0" forceAA="0" compatLnSpc="1">
              <a:prstTxWarp prst="textNoShape">
                <a:avLst/>
              </a:prstTxWarp>
              <a:noAutofit/>
            </a:bodyPr>
            <a:lstStyle/>
            <a:p>
              <a:pPr defTabSz="914027" fontAlgn="base">
                <a:lnSpc>
                  <a:spcPct val="90000"/>
                </a:lnSpc>
                <a:spcBef>
                  <a:spcPct val="0"/>
                </a:spcBef>
                <a:spcAft>
                  <a:spcPct val="0"/>
                </a:spcAft>
                <a:defRPr/>
              </a:pPr>
              <a:endParaRPr lang="en-IN" sz="1372" dirty="0" err="1">
                <a:solidFill>
                  <a:prstClr val="white">
                    <a:lumMod val="50000"/>
                  </a:prstClr>
                </a:solidFill>
                <a:latin typeface="Arial"/>
                <a:cs typeface="Segoe UI" pitchFamily="34" charset="0"/>
              </a:endParaRPr>
            </a:p>
          </p:txBody>
        </p:sp>
        <p:sp>
          <p:nvSpPr>
            <p:cNvPr id="1717" name="Rectangle 1716">
              <a:extLst>
                <a:ext uri="{FF2B5EF4-FFF2-40B4-BE49-F238E27FC236}">
                  <a16:creationId xmlns:a16="http://schemas.microsoft.com/office/drawing/2014/main" id="{7ED1A873-8EB5-4298-8C06-A6224973FE82}"/>
                </a:ext>
              </a:extLst>
            </p:cNvPr>
            <p:cNvSpPr/>
            <p:nvPr/>
          </p:nvSpPr>
          <p:spPr bwMode="auto">
            <a:xfrm>
              <a:off x="5818710" y="1250416"/>
              <a:ext cx="5940015" cy="656535"/>
            </a:xfrm>
            <a:prstGeom prst="rect">
              <a:avLst/>
            </a:prstGeom>
            <a:noFill/>
            <a:ln w="12700"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89620" tIns="89620" rIns="134429" bIns="143392" numCol="1" spcCol="0" rtlCol="0" fromWordArt="0" anchor="t" anchorCtr="0" forceAA="0" compatLnSpc="1">
              <a:prstTxWarp prst="textNoShape">
                <a:avLst/>
              </a:prstTxWarp>
              <a:noAutofit/>
            </a:bodyPr>
            <a:lstStyle/>
            <a:p>
              <a:pPr defTabSz="914027" fontAlgn="base">
                <a:lnSpc>
                  <a:spcPct val="90000"/>
                </a:lnSpc>
                <a:spcBef>
                  <a:spcPct val="0"/>
                </a:spcBef>
                <a:spcAft>
                  <a:spcPct val="0"/>
                </a:spcAft>
                <a:defRPr/>
              </a:pPr>
              <a:endParaRPr lang="en-US" sz="1372" dirty="0" err="1">
                <a:solidFill>
                  <a:prstClr val="white">
                    <a:lumMod val="50000"/>
                  </a:prstClr>
                </a:solidFill>
                <a:latin typeface="Arial"/>
                <a:cs typeface="Segoe UI" pitchFamily="34" charset="0"/>
              </a:endParaRPr>
            </a:p>
          </p:txBody>
        </p:sp>
        <p:sp>
          <p:nvSpPr>
            <p:cNvPr id="1718" name="Rectangle 1717">
              <a:extLst>
                <a:ext uri="{FF2B5EF4-FFF2-40B4-BE49-F238E27FC236}">
                  <a16:creationId xmlns:a16="http://schemas.microsoft.com/office/drawing/2014/main" id="{1AC49F1B-965F-49F8-A615-73BF52B3DE6C}"/>
                </a:ext>
              </a:extLst>
            </p:cNvPr>
            <p:cNvSpPr/>
            <p:nvPr/>
          </p:nvSpPr>
          <p:spPr bwMode="auto">
            <a:xfrm>
              <a:off x="5827365" y="1258150"/>
              <a:ext cx="264826" cy="64098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19" name="Rectangle 1718">
              <a:extLst>
                <a:ext uri="{FF2B5EF4-FFF2-40B4-BE49-F238E27FC236}">
                  <a16:creationId xmlns:a16="http://schemas.microsoft.com/office/drawing/2014/main" id="{143C7AAD-4CF9-45BA-B727-1CCCA7C0ECDB}"/>
                </a:ext>
              </a:extLst>
            </p:cNvPr>
            <p:cNvSpPr/>
            <p:nvPr/>
          </p:nvSpPr>
          <p:spPr bwMode="auto">
            <a:xfrm>
              <a:off x="11496039" y="1258150"/>
              <a:ext cx="265176" cy="64098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0" name="Rectangle 1719">
              <a:extLst>
                <a:ext uri="{FF2B5EF4-FFF2-40B4-BE49-F238E27FC236}">
                  <a16:creationId xmlns:a16="http://schemas.microsoft.com/office/drawing/2014/main" id="{1DFBD00B-59D1-4806-A47A-B2797837DDAB}"/>
                </a:ext>
              </a:extLst>
            </p:cNvPr>
            <p:cNvSpPr/>
            <p:nvPr/>
          </p:nvSpPr>
          <p:spPr bwMode="auto">
            <a:xfrm>
              <a:off x="6088380" y="1257300"/>
              <a:ext cx="1789761" cy="6362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1" name="Rectangle 1720">
              <a:extLst>
                <a:ext uri="{FF2B5EF4-FFF2-40B4-BE49-F238E27FC236}">
                  <a16:creationId xmlns:a16="http://schemas.microsoft.com/office/drawing/2014/main" id="{779AAEFD-C30D-4329-925D-98502180860F}"/>
                </a:ext>
              </a:extLst>
            </p:cNvPr>
            <p:cNvSpPr/>
            <p:nvPr/>
          </p:nvSpPr>
          <p:spPr bwMode="auto">
            <a:xfrm>
              <a:off x="7894790" y="1257300"/>
              <a:ext cx="1789761" cy="63627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2" name="Rectangle 1721">
              <a:extLst>
                <a:ext uri="{FF2B5EF4-FFF2-40B4-BE49-F238E27FC236}">
                  <a16:creationId xmlns:a16="http://schemas.microsoft.com/office/drawing/2014/main" id="{F2B81261-0493-4CEC-9A96-2256F43F203D}"/>
                </a:ext>
              </a:extLst>
            </p:cNvPr>
            <p:cNvSpPr/>
            <p:nvPr/>
          </p:nvSpPr>
          <p:spPr bwMode="auto">
            <a:xfrm>
              <a:off x="9701199" y="1257300"/>
              <a:ext cx="1789761" cy="6362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3" name="TextBox 1722">
              <a:extLst>
                <a:ext uri="{FF2B5EF4-FFF2-40B4-BE49-F238E27FC236}">
                  <a16:creationId xmlns:a16="http://schemas.microsoft.com/office/drawing/2014/main" id="{EB624B16-EA6B-424C-9609-C607ACAC1AC4}"/>
                </a:ext>
              </a:extLst>
            </p:cNvPr>
            <p:cNvSpPr txBox="1"/>
            <p:nvPr/>
          </p:nvSpPr>
          <p:spPr>
            <a:xfrm>
              <a:off x="6529931" y="1671462"/>
              <a:ext cx="906658" cy="127303"/>
            </a:xfrm>
            <a:prstGeom prst="rect">
              <a:avLst/>
            </a:prstGeom>
            <a:noFill/>
          </p:spPr>
          <p:txBody>
            <a:bodyPr wrap="none" lIns="0" tIns="0" rIns="0" bIns="0" rtlCol="0">
              <a:noAutofit/>
            </a:bodyPr>
            <a:lstStyle>
              <a:defPPr>
                <a:defRPr lang="en-US"/>
              </a:defPPr>
              <a:lvl1pPr algn="ctr" defTabSz="951121">
                <a:spcAft>
                  <a:spcPts val="612"/>
                </a:spcAft>
                <a:defRPr sz="600" kern="0"/>
              </a:lvl1pPr>
            </a:lstStyle>
            <a:p>
              <a:pPr defTabSz="950752">
                <a:defRPr/>
              </a:pPr>
              <a:r>
                <a:rPr lang="en-US" sz="980" dirty="0">
                  <a:solidFill>
                    <a:srgbClr val="505050"/>
                  </a:solidFill>
                  <a:latin typeface="Segoe UI Semibold" panose="020B0702040204020203" pitchFamily="34" charset="0"/>
                  <a:cs typeface="Segoe UI Semibold" panose="020B0702040204020203" pitchFamily="34" charset="0"/>
                </a:rPr>
                <a:t>TALLAHASSEE</a:t>
              </a:r>
            </a:p>
          </p:txBody>
        </p:sp>
        <p:sp>
          <p:nvSpPr>
            <p:cNvPr id="1724" name="Rectangle 1723">
              <a:extLst>
                <a:ext uri="{FF2B5EF4-FFF2-40B4-BE49-F238E27FC236}">
                  <a16:creationId xmlns:a16="http://schemas.microsoft.com/office/drawing/2014/main" id="{36BA27B7-0014-4FFA-B132-0FBE8895EF63}"/>
                </a:ext>
              </a:extLst>
            </p:cNvPr>
            <p:cNvSpPr/>
            <p:nvPr/>
          </p:nvSpPr>
          <p:spPr bwMode="auto">
            <a:xfrm>
              <a:off x="6480801" y="1358602"/>
              <a:ext cx="1004919" cy="269726"/>
            </a:xfrm>
            <a:prstGeom prst="rect">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25" name="Group 1724">
              <a:extLst>
                <a:ext uri="{FF2B5EF4-FFF2-40B4-BE49-F238E27FC236}">
                  <a16:creationId xmlns:a16="http://schemas.microsoft.com/office/drawing/2014/main" id="{199C7A85-8470-4572-8948-7AB02B5A63A4}"/>
                </a:ext>
              </a:extLst>
            </p:cNvPr>
            <p:cNvGrpSpPr/>
            <p:nvPr/>
          </p:nvGrpSpPr>
          <p:grpSpPr>
            <a:xfrm>
              <a:off x="6692724" y="1422884"/>
              <a:ext cx="581073" cy="141163"/>
              <a:chOff x="3674152" y="2110561"/>
              <a:chExt cx="821228" cy="199505"/>
            </a:xfrm>
          </p:grpSpPr>
          <p:sp>
            <p:nvSpPr>
              <p:cNvPr id="1803" name="Freeform: Shape 1802">
                <a:extLst>
                  <a:ext uri="{FF2B5EF4-FFF2-40B4-BE49-F238E27FC236}">
                    <a16:creationId xmlns:a16="http://schemas.microsoft.com/office/drawing/2014/main" id="{D948C8B2-AD97-4CAE-8F19-0B5D9E5623D6}"/>
                  </a:ext>
                </a:extLst>
              </p:cNvPr>
              <p:cNvSpPr/>
              <p:nvPr/>
            </p:nvSpPr>
            <p:spPr bwMode="auto">
              <a:xfrm>
                <a:off x="3768363" y="2110561"/>
                <a:ext cx="22167" cy="96981"/>
              </a:xfrm>
              <a:custGeom>
                <a:avLst/>
                <a:gdLst/>
                <a:ahLst/>
                <a:cxnLst/>
                <a:rect l="l" t="t" r="r" b="b"/>
                <a:pathLst>
                  <a:path w="22167" h="96981">
                    <a:moveTo>
                      <a:pt x="8312" y="0"/>
                    </a:moveTo>
                    <a:cubicBezTo>
                      <a:pt x="15701" y="1847"/>
                      <a:pt x="20320" y="6465"/>
                      <a:pt x="22167" y="13854"/>
                    </a:cubicBezTo>
                    <a:lnTo>
                      <a:pt x="22167" y="91440"/>
                    </a:lnTo>
                    <a:lnTo>
                      <a:pt x="16625" y="96981"/>
                    </a:lnTo>
                    <a:lnTo>
                      <a:pt x="0" y="80356"/>
                    </a:lnTo>
                    <a:lnTo>
                      <a:pt x="0" y="22167"/>
                    </a:lnTo>
                    <a:lnTo>
                      <a:pt x="831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14" name="Freeform: Shape 1813">
                <a:extLst>
                  <a:ext uri="{FF2B5EF4-FFF2-40B4-BE49-F238E27FC236}">
                    <a16:creationId xmlns:a16="http://schemas.microsoft.com/office/drawing/2014/main" id="{C54A1DA4-7C4F-4908-8DC4-9B62D1FFB69B}"/>
                  </a:ext>
                </a:extLst>
              </p:cNvPr>
              <p:cNvSpPr/>
              <p:nvPr/>
            </p:nvSpPr>
            <p:spPr bwMode="auto">
              <a:xfrm>
                <a:off x="3864929" y="2110561"/>
                <a:ext cx="96705" cy="22167"/>
              </a:xfrm>
              <a:custGeom>
                <a:avLst/>
                <a:gdLst/>
                <a:ahLst/>
                <a:cxnLst/>
                <a:rect l="l" t="t" r="r" b="b"/>
                <a:pathLst>
                  <a:path w="96705" h="22167">
                    <a:moveTo>
                      <a:pt x="13854" y="0"/>
                    </a:moveTo>
                    <a:lnTo>
                      <a:pt x="96705" y="0"/>
                    </a:lnTo>
                    <a:lnTo>
                      <a:pt x="88392" y="22167"/>
                    </a:lnTo>
                    <a:lnTo>
                      <a:pt x="22167" y="22167"/>
                    </a:lnTo>
                    <a:lnTo>
                      <a:pt x="0" y="13854"/>
                    </a:lnTo>
                    <a:cubicBezTo>
                      <a:pt x="1847" y="6465"/>
                      <a:pt x="6465" y="1847"/>
                      <a:pt x="13854"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15" name="Freeform: Shape 1814">
                <a:extLst>
                  <a:ext uri="{FF2B5EF4-FFF2-40B4-BE49-F238E27FC236}">
                    <a16:creationId xmlns:a16="http://schemas.microsoft.com/office/drawing/2014/main" id="{BD8F0DAF-4F47-4288-96C3-962C81FDE77A}"/>
                  </a:ext>
                </a:extLst>
              </p:cNvPr>
              <p:cNvSpPr/>
              <p:nvPr/>
            </p:nvSpPr>
            <p:spPr bwMode="auto">
              <a:xfrm>
                <a:off x="3958863" y="2110561"/>
                <a:ext cx="22167" cy="96981"/>
              </a:xfrm>
              <a:custGeom>
                <a:avLst/>
                <a:gdLst/>
                <a:ahLst/>
                <a:cxnLst/>
                <a:rect l="l" t="t" r="r" b="b"/>
                <a:pathLst>
                  <a:path w="22167" h="96981">
                    <a:moveTo>
                      <a:pt x="8312" y="0"/>
                    </a:moveTo>
                    <a:cubicBezTo>
                      <a:pt x="15701" y="1847"/>
                      <a:pt x="20320" y="6465"/>
                      <a:pt x="22167" y="13854"/>
                    </a:cubicBezTo>
                    <a:lnTo>
                      <a:pt x="22167" y="91440"/>
                    </a:lnTo>
                    <a:lnTo>
                      <a:pt x="16625" y="96981"/>
                    </a:lnTo>
                    <a:lnTo>
                      <a:pt x="0" y="80356"/>
                    </a:lnTo>
                    <a:lnTo>
                      <a:pt x="0" y="22167"/>
                    </a:lnTo>
                    <a:lnTo>
                      <a:pt x="831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17" name="Freeform: Shape 1816">
                <a:extLst>
                  <a:ext uri="{FF2B5EF4-FFF2-40B4-BE49-F238E27FC236}">
                    <a16:creationId xmlns:a16="http://schemas.microsoft.com/office/drawing/2014/main" id="{73471380-0B76-4BA0-A129-1AABCDD51D31}"/>
                  </a:ext>
                </a:extLst>
              </p:cNvPr>
              <p:cNvSpPr/>
              <p:nvPr/>
            </p:nvSpPr>
            <p:spPr bwMode="auto">
              <a:xfrm>
                <a:off x="4007804" y="2110561"/>
                <a:ext cx="96705" cy="22167"/>
              </a:xfrm>
              <a:custGeom>
                <a:avLst/>
                <a:gdLst/>
                <a:ahLst/>
                <a:cxnLst/>
                <a:rect l="l" t="t" r="r" b="b"/>
                <a:pathLst>
                  <a:path w="96705" h="22167">
                    <a:moveTo>
                      <a:pt x="13854" y="0"/>
                    </a:moveTo>
                    <a:lnTo>
                      <a:pt x="96705" y="0"/>
                    </a:lnTo>
                    <a:lnTo>
                      <a:pt x="88392" y="22167"/>
                    </a:lnTo>
                    <a:lnTo>
                      <a:pt x="22167" y="22167"/>
                    </a:lnTo>
                    <a:lnTo>
                      <a:pt x="0" y="13854"/>
                    </a:lnTo>
                    <a:cubicBezTo>
                      <a:pt x="1847" y="6465"/>
                      <a:pt x="6465" y="1847"/>
                      <a:pt x="13854"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20" name="Freeform: Shape 1819">
                <a:extLst>
                  <a:ext uri="{FF2B5EF4-FFF2-40B4-BE49-F238E27FC236}">
                    <a16:creationId xmlns:a16="http://schemas.microsoft.com/office/drawing/2014/main" id="{E0FF9826-A161-47B8-B939-D07D0C1CA29B}"/>
                  </a:ext>
                </a:extLst>
              </p:cNvPr>
              <p:cNvSpPr/>
              <p:nvPr/>
            </p:nvSpPr>
            <p:spPr bwMode="auto">
              <a:xfrm>
                <a:off x="4101738" y="2110561"/>
                <a:ext cx="22167" cy="96981"/>
              </a:xfrm>
              <a:custGeom>
                <a:avLst/>
                <a:gdLst/>
                <a:ahLst/>
                <a:cxnLst/>
                <a:rect l="l" t="t" r="r" b="b"/>
                <a:pathLst>
                  <a:path w="22167" h="96981">
                    <a:moveTo>
                      <a:pt x="8312" y="0"/>
                    </a:moveTo>
                    <a:cubicBezTo>
                      <a:pt x="15701" y="1847"/>
                      <a:pt x="20320" y="6465"/>
                      <a:pt x="22167" y="13854"/>
                    </a:cubicBezTo>
                    <a:lnTo>
                      <a:pt x="22167" y="91440"/>
                    </a:lnTo>
                    <a:lnTo>
                      <a:pt x="16625" y="96981"/>
                    </a:lnTo>
                    <a:lnTo>
                      <a:pt x="0" y="80356"/>
                    </a:lnTo>
                    <a:lnTo>
                      <a:pt x="0" y="22167"/>
                    </a:lnTo>
                    <a:lnTo>
                      <a:pt x="831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22" name="Freeform: Shape 1821">
                <a:extLst>
                  <a:ext uri="{FF2B5EF4-FFF2-40B4-BE49-F238E27FC236}">
                    <a16:creationId xmlns:a16="http://schemas.microsoft.com/office/drawing/2014/main" id="{02FD8AC8-34E1-4CB5-8084-32954F3DF3FE}"/>
                  </a:ext>
                </a:extLst>
              </p:cNvPr>
              <p:cNvSpPr/>
              <p:nvPr/>
            </p:nvSpPr>
            <p:spPr bwMode="auto">
              <a:xfrm>
                <a:off x="4236404" y="2110561"/>
                <a:ext cx="96705" cy="22167"/>
              </a:xfrm>
              <a:custGeom>
                <a:avLst/>
                <a:gdLst/>
                <a:ahLst/>
                <a:cxnLst/>
                <a:rect l="l" t="t" r="r" b="b"/>
                <a:pathLst>
                  <a:path w="96705" h="22167">
                    <a:moveTo>
                      <a:pt x="13854" y="0"/>
                    </a:moveTo>
                    <a:lnTo>
                      <a:pt x="96705" y="0"/>
                    </a:lnTo>
                    <a:lnTo>
                      <a:pt x="88392" y="22167"/>
                    </a:lnTo>
                    <a:lnTo>
                      <a:pt x="22167" y="22167"/>
                    </a:lnTo>
                    <a:lnTo>
                      <a:pt x="0" y="13854"/>
                    </a:lnTo>
                    <a:cubicBezTo>
                      <a:pt x="1847" y="6465"/>
                      <a:pt x="6465" y="1847"/>
                      <a:pt x="13854"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23" name="Freeform: Shape 1822">
                <a:extLst>
                  <a:ext uri="{FF2B5EF4-FFF2-40B4-BE49-F238E27FC236}">
                    <a16:creationId xmlns:a16="http://schemas.microsoft.com/office/drawing/2014/main" id="{4E921CDE-E3C6-41B8-A208-09CF8BDDF89F}"/>
                  </a:ext>
                </a:extLst>
              </p:cNvPr>
              <p:cNvSpPr/>
              <p:nvPr/>
            </p:nvSpPr>
            <p:spPr bwMode="auto">
              <a:xfrm>
                <a:off x="4330338" y="2110561"/>
                <a:ext cx="22167" cy="96981"/>
              </a:xfrm>
              <a:custGeom>
                <a:avLst/>
                <a:gdLst/>
                <a:ahLst/>
                <a:cxnLst/>
                <a:rect l="l" t="t" r="r" b="b"/>
                <a:pathLst>
                  <a:path w="22167" h="96981">
                    <a:moveTo>
                      <a:pt x="8312" y="0"/>
                    </a:moveTo>
                    <a:cubicBezTo>
                      <a:pt x="15702" y="1847"/>
                      <a:pt x="20320" y="6465"/>
                      <a:pt x="22167" y="13854"/>
                    </a:cubicBezTo>
                    <a:lnTo>
                      <a:pt x="22167" y="91440"/>
                    </a:lnTo>
                    <a:lnTo>
                      <a:pt x="16625" y="96981"/>
                    </a:lnTo>
                    <a:lnTo>
                      <a:pt x="0" y="80356"/>
                    </a:lnTo>
                    <a:lnTo>
                      <a:pt x="0" y="22167"/>
                    </a:lnTo>
                    <a:lnTo>
                      <a:pt x="831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28" name="Freeform: Shape 1827">
                <a:extLst>
                  <a:ext uri="{FF2B5EF4-FFF2-40B4-BE49-F238E27FC236}">
                    <a16:creationId xmlns:a16="http://schemas.microsoft.com/office/drawing/2014/main" id="{D9042CFA-70DD-4B6E-A260-3911E10594F3}"/>
                  </a:ext>
                </a:extLst>
              </p:cNvPr>
              <p:cNvSpPr/>
              <p:nvPr/>
            </p:nvSpPr>
            <p:spPr bwMode="auto">
              <a:xfrm>
                <a:off x="4379279" y="2110561"/>
                <a:ext cx="96705" cy="22167"/>
              </a:xfrm>
              <a:custGeom>
                <a:avLst/>
                <a:gdLst/>
                <a:ahLst/>
                <a:cxnLst/>
                <a:rect l="l" t="t" r="r" b="b"/>
                <a:pathLst>
                  <a:path w="96705" h="22167">
                    <a:moveTo>
                      <a:pt x="13854" y="0"/>
                    </a:moveTo>
                    <a:lnTo>
                      <a:pt x="96705" y="0"/>
                    </a:lnTo>
                    <a:lnTo>
                      <a:pt x="88392" y="22167"/>
                    </a:lnTo>
                    <a:lnTo>
                      <a:pt x="22167" y="22167"/>
                    </a:lnTo>
                    <a:lnTo>
                      <a:pt x="0" y="13854"/>
                    </a:lnTo>
                    <a:cubicBezTo>
                      <a:pt x="1847" y="6465"/>
                      <a:pt x="6465" y="1847"/>
                      <a:pt x="13854"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29" name="Freeform: Shape 1828">
                <a:extLst>
                  <a:ext uri="{FF2B5EF4-FFF2-40B4-BE49-F238E27FC236}">
                    <a16:creationId xmlns:a16="http://schemas.microsoft.com/office/drawing/2014/main" id="{8F6E1629-949F-4BED-B55F-F0E43D14524F}"/>
                  </a:ext>
                </a:extLst>
              </p:cNvPr>
              <p:cNvSpPr/>
              <p:nvPr/>
            </p:nvSpPr>
            <p:spPr bwMode="auto">
              <a:xfrm>
                <a:off x="4473213" y="2110561"/>
                <a:ext cx="22167" cy="96981"/>
              </a:xfrm>
              <a:custGeom>
                <a:avLst/>
                <a:gdLst/>
                <a:ahLst/>
                <a:cxnLst/>
                <a:rect l="l" t="t" r="r" b="b"/>
                <a:pathLst>
                  <a:path w="22167" h="96981">
                    <a:moveTo>
                      <a:pt x="8312" y="0"/>
                    </a:moveTo>
                    <a:cubicBezTo>
                      <a:pt x="15702" y="1847"/>
                      <a:pt x="20320" y="6465"/>
                      <a:pt x="22167" y="13854"/>
                    </a:cubicBezTo>
                    <a:lnTo>
                      <a:pt x="22167" y="91440"/>
                    </a:lnTo>
                    <a:lnTo>
                      <a:pt x="16625" y="96981"/>
                    </a:lnTo>
                    <a:lnTo>
                      <a:pt x="0" y="80356"/>
                    </a:lnTo>
                    <a:lnTo>
                      <a:pt x="0" y="22167"/>
                    </a:lnTo>
                    <a:lnTo>
                      <a:pt x="831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30" name="Freeform: Shape 1829">
                <a:extLst>
                  <a:ext uri="{FF2B5EF4-FFF2-40B4-BE49-F238E27FC236}">
                    <a16:creationId xmlns:a16="http://schemas.microsoft.com/office/drawing/2014/main" id="{B9C4E1FD-4326-4013-A8C7-C201A39DDAA7}"/>
                  </a:ext>
                </a:extLst>
              </p:cNvPr>
              <p:cNvSpPr/>
              <p:nvPr/>
            </p:nvSpPr>
            <p:spPr bwMode="auto">
              <a:xfrm>
                <a:off x="3674152" y="2121644"/>
                <a:ext cx="22167" cy="85898"/>
              </a:xfrm>
              <a:custGeom>
                <a:avLst/>
                <a:gdLst/>
                <a:ahLst/>
                <a:cxnLst/>
                <a:rect l="l" t="t" r="r" b="b"/>
                <a:pathLst>
                  <a:path w="22167" h="85898">
                    <a:moveTo>
                      <a:pt x="0" y="0"/>
                    </a:moveTo>
                    <a:lnTo>
                      <a:pt x="22167" y="8313"/>
                    </a:lnTo>
                    <a:lnTo>
                      <a:pt x="22167" y="69273"/>
                    </a:lnTo>
                    <a:lnTo>
                      <a:pt x="5542" y="85898"/>
                    </a:lnTo>
                    <a:lnTo>
                      <a:pt x="0" y="80357"/>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31" name="Freeform: Shape 1830">
                <a:extLst>
                  <a:ext uri="{FF2B5EF4-FFF2-40B4-BE49-F238E27FC236}">
                    <a16:creationId xmlns:a16="http://schemas.microsoft.com/office/drawing/2014/main" id="{DD5730EA-0F88-4EF4-BFAC-B4B4741EDC19}"/>
                  </a:ext>
                </a:extLst>
              </p:cNvPr>
              <p:cNvSpPr/>
              <p:nvPr/>
            </p:nvSpPr>
            <p:spPr bwMode="auto">
              <a:xfrm>
                <a:off x="3864652" y="2129957"/>
                <a:ext cx="22167" cy="77585"/>
              </a:xfrm>
              <a:custGeom>
                <a:avLst/>
                <a:gdLst/>
                <a:ahLst/>
                <a:cxnLst/>
                <a:rect l="l" t="t" r="r" b="b"/>
                <a:pathLst>
                  <a:path w="22167" h="77585">
                    <a:moveTo>
                      <a:pt x="0" y="0"/>
                    </a:moveTo>
                    <a:lnTo>
                      <a:pt x="22167" y="8313"/>
                    </a:lnTo>
                    <a:lnTo>
                      <a:pt x="22167" y="60960"/>
                    </a:lnTo>
                    <a:lnTo>
                      <a:pt x="5542"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32" name="Freeform: Shape 1831">
                <a:extLst>
                  <a:ext uri="{FF2B5EF4-FFF2-40B4-BE49-F238E27FC236}">
                    <a16:creationId xmlns:a16="http://schemas.microsoft.com/office/drawing/2014/main" id="{7FE6E7FE-0C92-48B7-81AA-5517D6EE5390}"/>
                  </a:ext>
                </a:extLst>
              </p:cNvPr>
              <p:cNvSpPr/>
              <p:nvPr/>
            </p:nvSpPr>
            <p:spPr bwMode="auto">
              <a:xfrm>
                <a:off x="4007527" y="2129957"/>
                <a:ext cx="22167" cy="77585"/>
              </a:xfrm>
              <a:custGeom>
                <a:avLst/>
                <a:gdLst/>
                <a:ahLst/>
                <a:cxnLst/>
                <a:rect l="l" t="t" r="r" b="b"/>
                <a:pathLst>
                  <a:path w="22167" h="77585">
                    <a:moveTo>
                      <a:pt x="0" y="0"/>
                    </a:moveTo>
                    <a:lnTo>
                      <a:pt x="22167" y="8313"/>
                    </a:lnTo>
                    <a:lnTo>
                      <a:pt x="22167" y="60960"/>
                    </a:lnTo>
                    <a:lnTo>
                      <a:pt x="5542"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33" name="Freeform: Shape 1832">
                <a:extLst>
                  <a:ext uri="{FF2B5EF4-FFF2-40B4-BE49-F238E27FC236}">
                    <a16:creationId xmlns:a16="http://schemas.microsoft.com/office/drawing/2014/main" id="{686D6A20-E4C5-43A7-96D4-BC0765FBEF51}"/>
                  </a:ext>
                </a:extLst>
              </p:cNvPr>
              <p:cNvSpPr/>
              <p:nvPr/>
            </p:nvSpPr>
            <p:spPr bwMode="auto">
              <a:xfrm>
                <a:off x="4236127" y="2129957"/>
                <a:ext cx="22167" cy="77585"/>
              </a:xfrm>
              <a:custGeom>
                <a:avLst/>
                <a:gdLst/>
                <a:ahLst/>
                <a:cxnLst/>
                <a:rect l="l" t="t" r="r" b="b"/>
                <a:pathLst>
                  <a:path w="22167" h="77585">
                    <a:moveTo>
                      <a:pt x="0" y="0"/>
                    </a:moveTo>
                    <a:lnTo>
                      <a:pt x="22167" y="8313"/>
                    </a:lnTo>
                    <a:lnTo>
                      <a:pt x="22167" y="60960"/>
                    </a:lnTo>
                    <a:lnTo>
                      <a:pt x="5542"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34" name="Freeform: Shape 1833">
                <a:extLst>
                  <a:ext uri="{FF2B5EF4-FFF2-40B4-BE49-F238E27FC236}">
                    <a16:creationId xmlns:a16="http://schemas.microsoft.com/office/drawing/2014/main" id="{9851D35D-500E-45D4-A1A0-71AEA84F579C}"/>
                  </a:ext>
                </a:extLst>
              </p:cNvPr>
              <p:cNvSpPr/>
              <p:nvPr/>
            </p:nvSpPr>
            <p:spPr bwMode="auto">
              <a:xfrm>
                <a:off x="4379002" y="2129957"/>
                <a:ext cx="22167" cy="77585"/>
              </a:xfrm>
              <a:custGeom>
                <a:avLst/>
                <a:gdLst/>
                <a:ahLst/>
                <a:cxnLst/>
                <a:rect l="l" t="t" r="r" b="b"/>
                <a:pathLst>
                  <a:path w="22167" h="77585">
                    <a:moveTo>
                      <a:pt x="0" y="0"/>
                    </a:moveTo>
                    <a:lnTo>
                      <a:pt x="22167" y="8313"/>
                    </a:lnTo>
                    <a:lnTo>
                      <a:pt x="22167" y="60960"/>
                    </a:lnTo>
                    <a:lnTo>
                      <a:pt x="5542"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35" name="Freeform: Shape 1834">
                <a:extLst>
                  <a:ext uri="{FF2B5EF4-FFF2-40B4-BE49-F238E27FC236}">
                    <a16:creationId xmlns:a16="http://schemas.microsoft.com/office/drawing/2014/main" id="{7958B441-1A00-42F0-9F8C-6CFC8AF25BE4}"/>
                  </a:ext>
                </a:extLst>
              </p:cNvPr>
              <p:cNvSpPr/>
              <p:nvPr/>
            </p:nvSpPr>
            <p:spPr bwMode="auto">
              <a:xfrm>
                <a:off x="4426107" y="2138270"/>
                <a:ext cx="22167" cy="74814"/>
              </a:xfrm>
              <a:custGeom>
                <a:avLst/>
                <a:gdLst/>
                <a:ahLst/>
                <a:cxnLst/>
                <a:rect l="l" t="t" r="r" b="b"/>
                <a:pathLst>
                  <a:path w="22167" h="74814">
                    <a:moveTo>
                      <a:pt x="0" y="0"/>
                    </a:moveTo>
                    <a:lnTo>
                      <a:pt x="22167" y="0"/>
                    </a:lnTo>
                    <a:lnTo>
                      <a:pt x="22167" y="63731"/>
                    </a:lnTo>
                    <a:lnTo>
                      <a:pt x="11084" y="74814"/>
                    </a:lnTo>
                    <a:lnTo>
                      <a:pt x="0" y="63731"/>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36" name="Freeform: Shape 1835">
                <a:extLst>
                  <a:ext uri="{FF2B5EF4-FFF2-40B4-BE49-F238E27FC236}">
                    <a16:creationId xmlns:a16="http://schemas.microsoft.com/office/drawing/2014/main" id="{2708CB10-DB33-485D-BF29-DD4F2E7FC379}"/>
                  </a:ext>
                </a:extLst>
              </p:cNvPr>
              <p:cNvSpPr/>
              <p:nvPr/>
            </p:nvSpPr>
            <p:spPr bwMode="auto">
              <a:xfrm>
                <a:off x="3817027" y="2154895"/>
                <a:ext cx="22167" cy="22168"/>
              </a:xfrm>
              <a:custGeom>
                <a:avLst/>
                <a:gdLst/>
                <a:ahLst/>
                <a:cxnLst/>
                <a:rect l="l" t="t" r="r" b="b"/>
                <a:pathLst>
                  <a:path w="22167" h="22168">
                    <a:moveTo>
                      <a:pt x="0" y="0"/>
                    </a:moveTo>
                    <a:lnTo>
                      <a:pt x="22167" y="0"/>
                    </a:lnTo>
                    <a:lnTo>
                      <a:pt x="22167" y="22168"/>
                    </a:lnTo>
                    <a:lnTo>
                      <a:pt x="0" y="22168"/>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37" name="Freeform: Shape 1836">
                <a:extLst>
                  <a:ext uri="{FF2B5EF4-FFF2-40B4-BE49-F238E27FC236}">
                    <a16:creationId xmlns:a16="http://schemas.microsoft.com/office/drawing/2014/main" id="{2EE6F969-2019-4EA9-85E6-824951DAAB44}"/>
                  </a:ext>
                </a:extLst>
              </p:cNvPr>
              <p:cNvSpPr/>
              <p:nvPr/>
            </p:nvSpPr>
            <p:spPr bwMode="auto">
              <a:xfrm>
                <a:off x="3685235" y="2199230"/>
                <a:ext cx="94211" cy="22167"/>
              </a:xfrm>
              <a:custGeom>
                <a:avLst/>
                <a:gdLst/>
                <a:ahLst/>
                <a:cxnLst/>
                <a:rect l="l" t="t" r="r" b="b"/>
                <a:pathLst>
                  <a:path w="94211" h="22167">
                    <a:moveTo>
                      <a:pt x="11084" y="0"/>
                    </a:moveTo>
                    <a:lnTo>
                      <a:pt x="83128" y="0"/>
                    </a:lnTo>
                    <a:lnTo>
                      <a:pt x="94211" y="11083"/>
                    </a:lnTo>
                    <a:lnTo>
                      <a:pt x="83128" y="22167"/>
                    </a:lnTo>
                    <a:lnTo>
                      <a:pt x="11084" y="22167"/>
                    </a:lnTo>
                    <a:lnTo>
                      <a:pt x="0" y="11083"/>
                    </a:lnTo>
                    <a:lnTo>
                      <a:pt x="11084"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38" name="Freeform: Shape 1837">
                <a:extLst>
                  <a:ext uri="{FF2B5EF4-FFF2-40B4-BE49-F238E27FC236}">
                    <a16:creationId xmlns:a16="http://schemas.microsoft.com/office/drawing/2014/main" id="{5F6F5330-E9AC-40D5-9BA7-B52AB4A81668}"/>
                  </a:ext>
                </a:extLst>
              </p:cNvPr>
              <p:cNvSpPr/>
              <p:nvPr/>
            </p:nvSpPr>
            <p:spPr bwMode="auto">
              <a:xfrm>
                <a:off x="4247210" y="2199230"/>
                <a:ext cx="94211" cy="22167"/>
              </a:xfrm>
              <a:custGeom>
                <a:avLst/>
                <a:gdLst/>
                <a:ahLst/>
                <a:cxnLst/>
                <a:rect l="l" t="t" r="r" b="b"/>
                <a:pathLst>
                  <a:path w="94211" h="22167">
                    <a:moveTo>
                      <a:pt x="11084" y="0"/>
                    </a:moveTo>
                    <a:lnTo>
                      <a:pt x="83128" y="0"/>
                    </a:lnTo>
                    <a:lnTo>
                      <a:pt x="94211" y="11083"/>
                    </a:lnTo>
                    <a:lnTo>
                      <a:pt x="83128" y="22167"/>
                    </a:lnTo>
                    <a:lnTo>
                      <a:pt x="11084" y="22167"/>
                    </a:lnTo>
                    <a:lnTo>
                      <a:pt x="0" y="11083"/>
                    </a:lnTo>
                    <a:lnTo>
                      <a:pt x="11084"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39" name="Freeform: Shape 1838">
                <a:extLst>
                  <a:ext uri="{FF2B5EF4-FFF2-40B4-BE49-F238E27FC236}">
                    <a16:creationId xmlns:a16="http://schemas.microsoft.com/office/drawing/2014/main" id="{122E9D67-BD94-45FF-AF01-D6F983E9ABA1}"/>
                  </a:ext>
                </a:extLst>
              </p:cNvPr>
              <p:cNvSpPr/>
              <p:nvPr/>
            </p:nvSpPr>
            <p:spPr bwMode="auto">
              <a:xfrm>
                <a:off x="3768363" y="2213084"/>
                <a:ext cx="22167" cy="96982"/>
              </a:xfrm>
              <a:custGeom>
                <a:avLst/>
                <a:gdLst/>
                <a:ahLst/>
                <a:cxnLst/>
                <a:rect l="l" t="t" r="r" b="b"/>
                <a:pathLst>
                  <a:path w="22167" h="96982">
                    <a:moveTo>
                      <a:pt x="16625" y="0"/>
                    </a:moveTo>
                    <a:lnTo>
                      <a:pt x="22167" y="5542"/>
                    </a:lnTo>
                    <a:lnTo>
                      <a:pt x="22167" y="83128"/>
                    </a:lnTo>
                    <a:cubicBezTo>
                      <a:pt x="20320" y="90517"/>
                      <a:pt x="15701" y="95135"/>
                      <a:pt x="8312" y="96982"/>
                    </a:cubicBezTo>
                    <a:lnTo>
                      <a:pt x="0" y="74815"/>
                    </a:lnTo>
                    <a:lnTo>
                      <a:pt x="0" y="16626"/>
                    </a:lnTo>
                    <a:lnTo>
                      <a:pt x="16625"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40" name="Freeform: Shape 1839">
                <a:extLst>
                  <a:ext uri="{FF2B5EF4-FFF2-40B4-BE49-F238E27FC236}">
                    <a16:creationId xmlns:a16="http://schemas.microsoft.com/office/drawing/2014/main" id="{B8AF99AE-C9CE-4E63-86A9-9971A07786C9}"/>
                  </a:ext>
                </a:extLst>
              </p:cNvPr>
              <p:cNvSpPr/>
              <p:nvPr/>
            </p:nvSpPr>
            <p:spPr bwMode="auto">
              <a:xfrm>
                <a:off x="3864652" y="2213084"/>
                <a:ext cx="22167" cy="77586"/>
              </a:xfrm>
              <a:custGeom>
                <a:avLst/>
                <a:gdLst/>
                <a:ahLst/>
                <a:cxnLst/>
                <a:rect l="l" t="t" r="r" b="b"/>
                <a:pathLst>
                  <a:path w="22167" h="77586">
                    <a:moveTo>
                      <a:pt x="5542" y="0"/>
                    </a:moveTo>
                    <a:lnTo>
                      <a:pt x="22167" y="16626"/>
                    </a:lnTo>
                    <a:lnTo>
                      <a:pt x="22167" y="69273"/>
                    </a:lnTo>
                    <a:lnTo>
                      <a:pt x="0" y="77586"/>
                    </a:lnTo>
                    <a:lnTo>
                      <a:pt x="0" y="5542"/>
                    </a:lnTo>
                    <a:lnTo>
                      <a:pt x="554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41" name="Freeform: Shape 1840">
                <a:extLst>
                  <a:ext uri="{FF2B5EF4-FFF2-40B4-BE49-F238E27FC236}">
                    <a16:creationId xmlns:a16="http://schemas.microsoft.com/office/drawing/2014/main" id="{1CCCA868-7DEC-4DEA-9F00-A30BB269DDEF}"/>
                  </a:ext>
                </a:extLst>
              </p:cNvPr>
              <p:cNvSpPr/>
              <p:nvPr/>
            </p:nvSpPr>
            <p:spPr bwMode="auto">
              <a:xfrm>
                <a:off x="3958863" y="2213084"/>
                <a:ext cx="22167" cy="96982"/>
              </a:xfrm>
              <a:custGeom>
                <a:avLst/>
                <a:gdLst/>
                <a:ahLst/>
                <a:cxnLst/>
                <a:rect l="l" t="t" r="r" b="b"/>
                <a:pathLst>
                  <a:path w="22167" h="96982">
                    <a:moveTo>
                      <a:pt x="16625" y="0"/>
                    </a:moveTo>
                    <a:lnTo>
                      <a:pt x="22167" y="5542"/>
                    </a:lnTo>
                    <a:lnTo>
                      <a:pt x="22167" y="83128"/>
                    </a:lnTo>
                    <a:cubicBezTo>
                      <a:pt x="20320" y="90517"/>
                      <a:pt x="15701" y="95135"/>
                      <a:pt x="8312" y="96982"/>
                    </a:cubicBezTo>
                    <a:lnTo>
                      <a:pt x="0" y="74815"/>
                    </a:lnTo>
                    <a:lnTo>
                      <a:pt x="0" y="16626"/>
                    </a:lnTo>
                    <a:lnTo>
                      <a:pt x="16625"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42" name="Freeform: Shape 1841">
                <a:extLst>
                  <a:ext uri="{FF2B5EF4-FFF2-40B4-BE49-F238E27FC236}">
                    <a16:creationId xmlns:a16="http://schemas.microsoft.com/office/drawing/2014/main" id="{A390AC03-32CE-456B-8B29-6F2A51BA7168}"/>
                  </a:ext>
                </a:extLst>
              </p:cNvPr>
              <p:cNvSpPr/>
              <p:nvPr/>
            </p:nvSpPr>
            <p:spPr bwMode="auto">
              <a:xfrm>
                <a:off x="4007527" y="2213084"/>
                <a:ext cx="22167" cy="77586"/>
              </a:xfrm>
              <a:custGeom>
                <a:avLst/>
                <a:gdLst/>
                <a:ahLst/>
                <a:cxnLst/>
                <a:rect l="l" t="t" r="r" b="b"/>
                <a:pathLst>
                  <a:path w="22167" h="77586">
                    <a:moveTo>
                      <a:pt x="5542" y="0"/>
                    </a:moveTo>
                    <a:lnTo>
                      <a:pt x="22167" y="16626"/>
                    </a:lnTo>
                    <a:lnTo>
                      <a:pt x="22167" y="69273"/>
                    </a:lnTo>
                    <a:lnTo>
                      <a:pt x="0" y="77586"/>
                    </a:lnTo>
                    <a:lnTo>
                      <a:pt x="0" y="5542"/>
                    </a:lnTo>
                    <a:lnTo>
                      <a:pt x="554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43" name="Freeform: Shape 1842">
                <a:extLst>
                  <a:ext uri="{FF2B5EF4-FFF2-40B4-BE49-F238E27FC236}">
                    <a16:creationId xmlns:a16="http://schemas.microsoft.com/office/drawing/2014/main" id="{9C91D982-670A-4616-B611-CFC14936C188}"/>
                  </a:ext>
                </a:extLst>
              </p:cNvPr>
              <p:cNvSpPr/>
              <p:nvPr/>
            </p:nvSpPr>
            <p:spPr bwMode="auto">
              <a:xfrm>
                <a:off x="4101738" y="2213084"/>
                <a:ext cx="22167" cy="96982"/>
              </a:xfrm>
              <a:custGeom>
                <a:avLst/>
                <a:gdLst/>
                <a:ahLst/>
                <a:cxnLst/>
                <a:rect l="l" t="t" r="r" b="b"/>
                <a:pathLst>
                  <a:path w="22167" h="96982">
                    <a:moveTo>
                      <a:pt x="16625" y="0"/>
                    </a:moveTo>
                    <a:lnTo>
                      <a:pt x="22167" y="5542"/>
                    </a:lnTo>
                    <a:lnTo>
                      <a:pt x="22167" y="83128"/>
                    </a:lnTo>
                    <a:cubicBezTo>
                      <a:pt x="20320" y="90517"/>
                      <a:pt x="15701" y="95135"/>
                      <a:pt x="8312" y="96982"/>
                    </a:cubicBezTo>
                    <a:lnTo>
                      <a:pt x="0" y="74815"/>
                    </a:lnTo>
                    <a:lnTo>
                      <a:pt x="0" y="16626"/>
                    </a:lnTo>
                    <a:lnTo>
                      <a:pt x="16625"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44" name="Freeform: Shape 1843">
                <a:extLst>
                  <a:ext uri="{FF2B5EF4-FFF2-40B4-BE49-F238E27FC236}">
                    <a16:creationId xmlns:a16="http://schemas.microsoft.com/office/drawing/2014/main" id="{E088EA63-47F0-458D-B03B-E2CC3D023F37}"/>
                  </a:ext>
                </a:extLst>
              </p:cNvPr>
              <p:cNvSpPr/>
              <p:nvPr/>
            </p:nvSpPr>
            <p:spPr bwMode="auto">
              <a:xfrm>
                <a:off x="4236127" y="2213084"/>
                <a:ext cx="22167" cy="96982"/>
              </a:xfrm>
              <a:custGeom>
                <a:avLst/>
                <a:gdLst/>
                <a:ahLst/>
                <a:cxnLst/>
                <a:rect l="l" t="t" r="r" b="b"/>
                <a:pathLst>
                  <a:path w="22167" h="96982">
                    <a:moveTo>
                      <a:pt x="5542" y="0"/>
                    </a:moveTo>
                    <a:lnTo>
                      <a:pt x="22167" y="16626"/>
                    </a:lnTo>
                    <a:lnTo>
                      <a:pt x="22167" y="74815"/>
                    </a:lnTo>
                    <a:lnTo>
                      <a:pt x="13854" y="96982"/>
                    </a:lnTo>
                    <a:cubicBezTo>
                      <a:pt x="6465" y="95135"/>
                      <a:pt x="1847" y="90517"/>
                      <a:pt x="0" y="83128"/>
                    </a:cubicBezTo>
                    <a:lnTo>
                      <a:pt x="0" y="5542"/>
                    </a:lnTo>
                    <a:lnTo>
                      <a:pt x="554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45" name="Freeform: Shape 1844">
                <a:extLst>
                  <a:ext uri="{FF2B5EF4-FFF2-40B4-BE49-F238E27FC236}">
                    <a16:creationId xmlns:a16="http://schemas.microsoft.com/office/drawing/2014/main" id="{8CAD3C78-6130-4976-B930-F549A59A0BEB}"/>
                  </a:ext>
                </a:extLst>
              </p:cNvPr>
              <p:cNvSpPr/>
              <p:nvPr/>
            </p:nvSpPr>
            <p:spPr bwMode="auto">
              <a:xfrm>
                <a:off x="4330338" y="2213084"/>
                <a:ext cx="22167" cy="96982"/>
              </a:xfrm>
              <a:custGeom>
                <a:avLst/>
                <a:gdLst/>
                <a:ahLst/>
                <a:cxnLst/>
                <a:rect l="l" t="t" r="r" b="b"/>
                <a:pathLst>
                  <a:path w="22167" h="96982">
                    <a:moveTo>
                      <a:pt x="16625" y="0"/>
                    </a:moveTo>
                    <a:lnTo>
                      <a:pt x="22167" y="5542"/>
                    </a:lnTo>
                    <a:lnTo>
                      <a:pt x="22167" y="83128"/>
                    </a:lnTo>
                    <a:cubicBezTo>
                      <a:pt x="20320" y="90517"/>
                      <a:pt x="15702" y="95135"/>
                      <a:pt x="8312" y="96982"/>
                    </a:cubicBezTo>
                    <a:lnTo>
                      <a:pt x="0" y="74815"/>
                    </a:lnTo>
                    <a:lnTo>
                      <a:pt x="0" y="16626"/>
                    </a:lnTo>
                    <a:lnTo>
                      <a:pt x="16625"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46" name="Freeform: Shape 1845">
                <a:extLst>
                  <a:ext uri="{FF2B5EF4-FFF2-40B4-BE49-F238E27FC236}">
                    <a16:creationId xmlns:a16="http://schemas.microsoft.com/office/drawing/2014/main" id="{F09BA858-3A5E-4CE2-B1A6-A901D0BC21A9}"/>
                  </a:ext>
                </a:extLst>
              </p:cNvPr>
              <p:cNvSpPr/>
              <p:nvPr/>
            </p:nvSpPr>
            <p:spPr bwMode="auto">
              <a:xfrm>
                <a:off x="4379002" y="2213084"/>
                <a:ext cx="22167" cy="96982"/>
              </a:xfrm>
              <a:custGeom>
                <a:avLst/>
                <a:gdLst/>
                <a:ahLst/>
                <a:cxnLst/>
                <a:rect l="l" t="t" r="r" b="b"/>
                <a:pathLst>
                  <a:path w="22167" h="96982">
                    <a:moveTo>
                      <a:pt x="5542" y="0"/>
                    </a:moveTo>
                    <a:lnTo>
                      <a:pt x="22167" y="16626"/>
                    </a:lnTo>
                    <a:lnTo>
                      <a:pt x="22167" y="74815"/>
                    </a:lnTo>
                    <a:lnTo>
                      <a:pt x="13854" y="96982"/>
                    </a:lnTo>
                    <a:cubicBezTo>
                      <a:pt x="6465" y="95135"/>
                      <a:pt x="1847" y="90517"/>
                      <a:pt x="0" y="83128"/>
                    </a:cubicBezTo>
                    <a:lnTo>
                      <a:pt x="0" y="5542"/>
                    </a:lnTo>
                    <a:lnTo>
                      <a:pt x="554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47" name="Freeform: Shape 1846">
                <a:extLst>
                  <a:ext uri="{FF2B5EF4-FFF2-40B4-BE49-F238E27FC236}">
                    <a16:creationId xmlns:a16="http://schemas.microsoft.com/office/drawing/2014/main" id="{A7382A9D-036C-4956-B76A-EA2C16E1C180}"/>
                  </a:ext>
                </a:extLst>
              </p:cNvPr>
              <p:cNvSpPr/>
              <p:nvPr/>
            </p:nvSpPr>
            <p:spPr bwMode="auto">
              <a:xfrm>
                <a:off x="4473213" y="2213084"/>
                <a:ext cx="22167" cy="96982"/>
              </a:xfrm>
              <a:custGeom>
                <a:avLst/>
                <a:gdLst/>
                <a:ahLst/>
                <a:cxnLst/>
                <a:rect l="l" t="t" r="r" b="b"/>
                <a:pathLst>
                  <a:path w="22167" h="96982">
                    <a:moveTo>
                      <a:pt x="16625" y="0"/>
                    </a:moveTo>
                    <a:lnTo>
                      <a:pt x="22167" y="5542"/>
                    </a:lnTo>
                    <a:lnTo>
                      <a:pt x="22167" y="83128"/>
                    </a:lnTo>
                    <a:cubicBezTo>
                      <a:pt x="20320" y="90517"/>
                      <a:pt x="15702" y="95135"/>
                      <a:pt x="8312" y="96982"/>
                    </a:cubicBezTo>
                    <a:lnTo>
                      <a:pt x="0" y="74815"/>
                    </a:lnTo>
                    <a:lnTo>
                      <a:pt x="0" y="16626"/>
                    </a:lnTo>
                    <a:lnTo>
                      <a:pt x="16625"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48" name="Freeform: Shape 1847">
                <a:extLst>
                  <a:ext uri="{FF2B5EF4-FFF2-40B4-BE49-F238E27FC236}">
                    <a16:creationId xmlns:a16="http://schemas.microsoft.com/office/drawing/2014/main" id="{563A1A76-DAE4-4850-88A5-E331A490CEEF}"/>
                  </a:ext>
                </a:extLst>
              </p:cNvPr>
              <p:cNvSpPr/>
              <p:nvPr/>
            </p:nvSpPr>
            <p:spPr bwMode="auto">
              <a:xfrm>
                <a:off x="3817027" y="2243564"/>
                <a:ext cx="22167" cy="22168"/>
              </a:xfrm>
              <a:custGeom>
                <a:avLst/>
                <a:gdLst/>
                <a:ahLst/>
                <a:cxnLst/>
                <a:rect l="l" t="t" r="r" b="b"/>
                <a:pathLst>
                  <a:path w="22167" h="22168">
                    <a:moveTo>
                      <a:pt x="0" y="0"/>
                    </a:moveTo>
                    <a:lnTo>
                      <a:pt x="22167" y="0"/>
                    </a:lnTo>
                    <a:lnTo>
                      <a:pt x="22167" y="22168"/>
                    </a:lnTo>
                    <a:lnTo>
                      <a:pt x="0" y="22168"/>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49" name="Freeform: Shape 1848">
                <a:extLst>
                  <a:ext uri="{FF2B5EF4-FFF2-40B4-BE49-F238E27FC236}">
                    <a16:creationId xmlns:a16="http://schemas.microsoft.com/office/drawing/2014/main" id="{8A68DBA7-C1F9-4547-9132-33D707F18CA9}"/>
                  </a:ext>
                </a:extLst>
              </p:cNvPr>
              <p:cNvSpPr/>
              <p:nvPr/>
            </p:nvSpPr>
            <p:spPr bwMode="auto">
              <a:xfrm>
                <a:off x="3864652" y="2287899"/>
                <a:ext cx="96982" cy="22167"/>
              </a:xfrm>
              <a:custGeom>
                <a:avLst/>
                <a:gdLst/>
                <a:ahLst/>
                <a:cxnLst/>
                <a:rect l="l" t="t" r="r" b="b"/>
                <a:pathLst>
                  <a:path w="96982" h="22167">
                    <a:moveTo>
                      <a:pt x="22167" y="0"/>
                    </a:moveTo>
                    <a:lnTo>
                      <a:pt x="88669" y="0"/>
                    </a:lnTo>
                    <a:lnTo>
                      <a:pt x="96982" y="22167"/>
                    </a:lnTo>
                    <a:lnTo>
                      <a:pt x="13854" y="22167"/>
                    </a:lnTo>
                    <a:cubicBezTo>
                      <a:pt x="6465" y="20320"/>
                      <a:pt x="1847" y="15702"/>
                      <a:pt x="0" y="8313"/>
                    </a:cubicBezTo>
                    <a:lnTo>
                      <a:pt x="22167"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sp>
            <p:nvSpPr>
              <p:cNvPr id="1850" name="Freeform: Shape 1849">
                <a:extLst>
                  <a:ext uri="{FF2B5EF4-FFF2-40B4-BE49-F238E27FC236}">
                    <a16:creationId xmlns:a16="http://schemas.microsoft.com/office/drawing/2014/main" id="{52182946-95ED-495B-A0E6-801B928B084C}"/>
                  </a:ext>
                </a:extLst>
              </p:cNvPr>
              <p:cNvSpPr/>
              <p:nvPr/>
            </p:nvSpPr>
            <p:spPr bwMode="auto">
              <a:xfrm>
                <a:off x="4007527" y="2287899"/>
                <a:ext cx="96982" cy="22167"/>
              </a:xfrm>
              <a:custGeom>
                <a:avLst/>
                <a:gdLst/>
                <a:ahLst/>
                <a:cxnLst/>
                <a:rect l="l" t="t" r="r" b="b"/>
                <a:pathLst>
                  <a:path w="96982" h="22167">
                    <a:moveTo>
                      <a:pt x="22167" y="0"/>
                    </a:moveTo>
                    <a:lnTo>
                      <a:pt x="88669" y="0"/>
                    </a:lnTo>
                    <a:lnTo>
                      <a:pt x="96982" y="22167"/>
                    </a:lnTo>
                    <a:lnTo>
                      <a:pt x="13854" y="22167"/>
                    </a:lnTo>
                    <a:cubicBezTo>
                      <a:pt x="6465" y="20320"/>
                      <a:pt x="1847" y="15702"/>
                      <a:pt x="0" y="8313"/>
                    </a:cubicBezTo>
                    <a:lnTo>
                      <a:pt x="22167"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solidFill>
                    <a:srgbClr val="505050"/>
                  </a:solidFill>
                  <a:latin typeface="Digital-7" panose="02000000000000000000" pitchFamily="2" charset="0"/>
                  <a:ea typeface="Segoe UI" pitchFamily="34" charset="0"/>
                  <a:cs typeface="Segoe UI" pitchFamily="34" charset="0"/>
                </a:endParaRPr>
              </a:p>
            </p:txBody>
          </p:sp>
        </p:grpSp>
        <p:sp>
          <p:nvSpPr>
            <p:cNvPr id="1726" name="TextBox 1725">
              <a:extLst>
                <a:ext uri="{FF2B5EF4-FFF2-40B4-BE49-F238E27FC236}">
                  <a16:creationId xmlns:a16="http://schemas.microsoft.com/office/drawing/2014/main" id="{C988FE70-9100-45C2-8F23-75BD0A7E6BB7}"/>
                </a:ext>
              </a:extLst>
            </p:cNvPr>
            <p:cNvSpPr txBox="1"/>
            <p:nvPr/>
          </p:nvSpPr>
          <p:spPr>
            <a:xfrm>
              <a:off x="8336341" y="1671462"/>
              <a:ext cx="906658" cy="127303"/>
            </a:xfrm>
            <a:prstGeom prst="rect">
              <a:avLst/>
            </a:prstGeom>
            <a:noFill/>
          </p:spPr>
          <p:txBody>
            <a:bodyPr wrap="none" lIns="0" tIns="0" rIns="0" bIns="0" rtlCol="0">
              <a:noAutofit/>
            </a:bodyPr>
            <a:lstStyle>
              <a:defPPr>
                <a:defRPr lang="en-US"/>
              </a:defPPr>
              <a:lvl1pPr algn="ctr" defTabSz="951121">
                <a:spcAft>
                  <a:spcPts val="612"/>
                </a:spcAft>
                <a:defRPr sz="600" kern="0"/>
              </a:lvl1pPr>
            </a:lstStyle>
            <a:p>
              <a:pPr defTabSz="950752">
                <a:defRPr/>
              </a:pPr>
              <a:r>
                <a:rPr lang="en-US" sz="980" dirty="0">
                  <a:solidFill>
                    <a:prstClr val="white"/>
                  </a:solidFill>
                  <a:latin typeface="Segoe UI Semibold" panose="020B0702040204020203" pitchFamily="34" charset="0"/>
                  <a:cs typeface="Segoe UI Semibold" panose="020B0702040204020203" pitchFamily="34" charset="0"/>
                </a:rPr>
                <a:t>MUNICH</a:t>
              </a:r>
            </a:p>
          </p:txBody>
        </p:sp>
        <p:sp>
          <p:nvSpPr>
            <p:cNvPr id="1727" name="Rectangle 1726">
              <a:extLst>
                <a:ext uri="{FF2B5EF4-FFF2-40B4-BE49-F238E27FC236}">
                  <a16:creationId xmlns:a16="http://schemas.microsoft.com/office/drawing/2014/main" id="{6E5578FC-C12C-4A93-9F78-2F74F3546061}"/>
                </a:ext>
              </a:extLst>
            </p:cNvPr>
            <p:cNvSpPr/>
            <p:nvPr/>
          </p:nvSpPr>
          <p:spPr bwMode="auto">
            <a:xfrm>
              <a:off x="8287211" y="1358602"/>
              <a:ext cx="1004919" cy="269726"/>
            </a:xfrm>
            <a:prstGeom prst="rect">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28" name="Group 1727">
              <a:extLst>
                <a:ext uri="{FF2B5EF4-FFF2-40B4-BE49-F238E27FC236}">
                  <a16:creationId xmlns:a16="http://schemas.microsoft.com/office/drawing/2014/main" id="{99E6066F-01AF-44B1-AD5D-95F1635D8171}"/>
                </a:ext>
              </a:extLst>
            </p:cNvPr>
            <p:cNvGrpSpPr/>
            <p:nvPr/>
          </p:nvGrpSpPr>
          <p:grpSpPr>
            <a:xfrm>
              <a:off x="8471464" y="1420399"/>
              <a:ext cx="636413" cy="146132"/>
              <a:chOff x="3660502" y="3269120"/>
              <a:chExt cx="868853" cy="199505"/>
            </a:xfrm>
          </p:grpSpPr>
          <p:sp>
            <p:nvSpPr>
              <p:cNvPr id="1758" name="Freeform: Shape 1757">
                <a:extLst>
                  <a:ext uri="{FF2B5EF4-FFF2-40B4-BE49-F238E27FC236}">
                    <a16:creationId xmlns:a16="http://schemas.microsoft.com/office/drawing/2014/main" id="{5E1E2E6E-28A9-4636-9946-F3894CAF49B6}"/>
                  </a:ext>
                </a:extLst>
              </p:cNvPr>
              <p:cNvSpPr/>
              <p:nvPr/>
            </p:nvSpPr>
            <p:spPr bwMode="auto">
              <a:xfrm>
                <a:off x="3660502" y="3269120"/>
                <a:ext cx="22167" cy="96981"/>
              </a:xfrm>
              <a:custGeom>
                <a:avLst/>
                <a:gdLst/>
                <a:ahLst/>
                <a:cxnLst/>
                <a:rect l="l" t="t" r="r" b="b"/>
                <a:pathLst>
                  <a:path w="22167" h="96981">
                    <a:moveTo>
                      <a:pt x="8312" y="0"/>
                    </a:moveTo>
                    <a:cubicBezTo>
                      <a:pt x="15702" y="1847"/>
                      <a:pt x="20320" y="6465"/>
                      <a:pt x="22167" y="13854"/>
                    </a:cubicBezTo>
                    <a:lnTo>
                      <a:pt x="22167" y="91440"/>
                    </a:lnTo>
                    <a:lnTo>
                      <a:pt x="16625" y="96981"/>
                    </a:lnTo>
                    <a:lnTo>
                      <a:pt x="0" y="80356"/>
                    </a:lnTo>
                    <a:lnTo>
                      <a:pt x="0" y="22167"/>
                    </a:lnTo>
                    <a:lnTo>
                      <a:pt x="831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59" name="Freeform: Shape 1758">
                <a:extLst>
                  <a:ext uri="{FF2B5EF4-FFF2-40B4-BE49-F238E27FC236}">
                    <a16:creationId xmlns:a16="http://schemas.microsoft.com/office/drawing/2014/main" id="{18805C3D-C865-4EB3-A532-68D4913F678B}"/>
                  </a:ext>
                </a:extLst>
              </p:cNvPr>
              <p:cNvSpPr/>
              <p:nvPr/>
            </p:nvSpPr>
            <p:spPr bwMode="auto">
              <a:xfrm>
                <a:off x="3708404" y="3269120"/>
                <a:ext cx="96705" cy="22167"/>
              </a:xfrm>
              <a:custGeom>
                <a:avLst/>
                <a:gdLst/>
                <a:ahLst/>
                <a:cxnLst/>
                <a:rect l="l" t="t" r="r" b="b"/>
                <a:pathLst>
                  <a:path w="96705" h="22167">
                    <a:moveTo>
                      <a:pt x="13854" y="0"/>
                    </a:moveTo>
                    <a:lnTo>
                      <a:pt x="96705" y="0"/>
                    </a:lnTo>
                    <a:lnTo>
                      <a:pt x="88392" y="22167"/>
                    </a:lnTo>
                    <a:lnTo>
                      <a:pt x="22167" y="22167"/>
                    </a:lnTo>
                    <a:lnTo>
                      <a:pt x="0" y="13854"/>
                    </a:lnTo>
                    <a:cubicBezTo>
                      <a:pt x="1847" y="6465"/>
                      <a:pt x="6465" y="1847"/>
                      <a:pt x="13854"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60" name="Freeform: Shape 1759">
                <a:extLst>
                  <a:ext uri="{FF2B5EF4-FFF2-40B4-BE49-F238E27FC236}">
                    <a16:creationId xmlns:a16="http://schemas.microsoft.com/office/drawing/2014/main" id="{D847A65C-FE65-404D-8B8C-3D754DFA1D17}"/>
                  </a:ext>
                </a:extLst>
              </p:cNvPr>
              <p:cNvSpPr/>
              <p:nvPr/>
            </p:nvSpPr>
            <p:spPr bwMode="auto">
              <a:xfrm>
                <a:off x="3802338" y="3269120"/>
                <a:ext cx="22167" cy="96981"/>
              </a:xfrm>
              <a:custGeom>
                <a:avLst/>
                <a:gdLst/>
                <a:ahLst/>
                <a:cxnLst/>
                <a:rect l="l" t="t" r="r" b="b"/>
                <a:pathLst>
                  <a:path w="22167" h="96981">
                    <a:moveTo>
                      <a:pt x="8312" y="0"/>
                    </a:moveTo>
                    <a:cubicBezTo>
                      <a:pt x="15701" y="1847"/>
                      <a:pt x="20320" y="6465"/>
                      <a:pt x="22167" y="13854"/>
                    </a:cubicBezTo>
                    <a:lnTo>
                      <a:pt x="22167" y="91440"/>
                    </a:lnTo>
                    <a:lnTo>
                      <a:pt x="16625" y="96981"/>
                    </a:lnTo>
                    <a:lnTo>
                      <a:pt x="0" y="80356"/>
                    </a:lnTo>
                    <a:lnTo>
                      <a:pt x="0" y="22167"/>
                    </a:lnTo>
                    <a:lnTo>
                      <a:pt x="831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61" name="Freeform: Shape 1760">
                <a:extLst>
                  <a:ext uri="{FF2B5EF4-FFF2-40B4-BE49-F238E27FC236}">
                    <a16:creationId xmlns:a16="http://schemas.microsoft.com/office/drawing/2014/main" id="{A53AA039-7B33-4CBE-B8C3-46F07CB03082}"/>
                  </a:ext>
                </a:extLst>
              </p:cNvPr>
              <p:cNvSpPr/>
              <p:nvPr/>
            </p:nvSpPr>
            <p:spPr bwMode="auto">
              <a:xfrm>
                <a:off x="3898904" y="3269120"/>
                <a:ext cx="96705" cy="22167"/>
              </a:xfrm>
              <a:custGeom>
                <a:avLst/>
                <a:gdLst/>
                <a:ahLst/>
                <a:cxnLst/>
                <a:rect l="l" t="t" r="r" b="b"/>
                <a:pathLst>
                  <a:path w="96705" h="22167">
                    <a:moveTo>
                      <a:pt x="13854" y="0"/>
                    </a:moveTo>
                    <a:lnTo>
                      <a:pt x="96705" y="0"/>
                    </a:lnTo>
                    <a:lnTo>
                      <a:pt x="88392" y="22167"/>
                    </a:lnTo>
                    <a:lnTo>
                      <a:pt x="22167" y="22167"/>
                    </a:lnTo>
                    <a:lnTo>
                      <a:pt x="0" y="13854"/>
                    </a:lnTo>
                    <a:cubicBezTo>
                      <a:pt x="1847" y="6465"/>
                      <a:pt x="6465" y="1847"/>
                      <a:pt x="13854"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62" name="Freeform: Shape 1761">
                <a:extLst>
                  <a:ext uri="{FF2B5EF4-FFF2-40B4-BE49-F238E27FC236}">
                    <a16:creationId xmlns:a16="http://schemas.microsoft.com/office/drawing/2014/main" id="{D1B5C27E-9FA2-41EA-8E08-DE77D2F772EE}"/>
                  </a:ext>
                </a:extLst>
              </p:cNvPr>
              <p:cNvSpPr/>
              <p:nvPr/>
            </p:nvSpPr>
            <p:spPr bwMode="auto">
              <a:xfrm>
                <a:off x="3992838" y="3269120"/>
                <a:ext cx="22167" cy="96981"/>
              </a:xfrm>
              <a:custGeom>
                <a:avLst/>
                <a:gdLst/>
                <a:ahLst/>
                <a:cxnLst/>
                <a:rect l="l" t="t" r="r" b="b"/>
                <a:pathLst>
                  <a:path w="22167" h="96981">
                    <a:moveTo>
                      <a:pt x="8312" y="0"/>
                    </a:moveTo>
                    <a:cubicBezTo>
                      <a:pt x="15701" y="1847"/>
                      <a:pt x="20320" y="6465"/>
                      <a:pt x="22167" y="13854"/>
                    </a:cubicBezTo>
                    <a:lnTo>
                      <a:pt x="22167" y="91440"/>
                    </a:lnTo>
                    <a:lnTo>
                      <a:pt x="16625" y="96981"/>
                    </a:lnTo>
                    <a:lnTo>
                      <a:pt x="0" y="80356"/>
                    </a:lnTo>
                    <a:lnTo>
                      <a:pt x="0" y="22167"/>
                    </a:lnTo>
                    <a:lnTo>
                      <a:pt x="831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63" name="Freeform: Shape 1762">
                <a:extLst>
                  <a:ext uri="{FF2B5EF4-FFF2-40B4-BE49-F238E27FC236}">
                    <a16:creationId xmlns:a16="http://schemas.microsoft.com/office/drawing/2014/main" id="{A4541D6C-24F1-4C01-99E0-8A1898467E7E}"/>
                  </a:ext>
                </a:extLst>
              </p:cNvPr>
              <p:cNvSpPr/>
              <p:nvPr/>
            </p:nvSpPr>
            <p:spPr bwMode="auto">
              <a:xfrm>
                <a:off x="4041779" y="3269120"/>
                <a:ext cx="96705" cy="22167"/>
              </a:xfrm>
              <a:custGeom>
                <a:avLst/>
                <a:gdLst/>
                <a:ahLst/>
                <a:cxnLst/>
                <a:rect l="l" t="t" r="r" b="b"/>
                <a:pathLst>
                  <a:path w="96705" h="22167">
                    <a:moveTo>
                      <a:pt x="13854" y="0"/>
                    </a:moveTo>
                    <a:lnTo>
                      <a:pt x="96705" y="0"/>
                    </a:lnTo>
                    <a:lnTo>
                      <a:pt x="88392" y="22167"/>
                    </a:lnTo>
                    <a:lnTo>
                      <a:pt x="22167" y="22167"/>
                    </a:lnTo>
                    <a:lnTo>
                      <a:pt x="0" y="13854"/>
                    </a:lnTo>
                    <a:cubicBezTo>
                      <a:pt x="1847" y="6465"/>
                      <a:pt x="6465" y="1847"/>
                      <a:pt x="13854"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64" name="Freeform: Shape 1763">
                <a:extLst>
                  <a:ext uri="{FF2B5EF4-FFF2-40B4-BE49-F238E27FC236}">
                    <a16:creationId xmlns:a16="http://schemas.microsoft.com/office/drawing/2014/main" id="{69F3378E-20F3-4839-AFC9-3886861F38F7}"/>
                  </a:ext>
                </a:extLst>
              </p:cNvPr>
              <p:cNvSpPr/>
              <p:nvPr/>
            </p:nvSpPr>
            <p:spPr bwMode="auto">
              <a:xfrm>
                <a:off x="4135713" y="3269120"/>
                <a:ext cx="22167" cy="96981"/>
              </a:xfrm>
              <a:custGeom>
                <a:avLst/>
                <a:gdLst/>
                <a:ahLst/>
                <a:cxnLst/>
                <a:rect l="l" t="t" r="r" b="b"/>
                <a:pathLst>
                  <a:path w="22167" h="96981">
                    <a:moveTo>
                      <a:pt x="8312" y="0"/>
                    </a:moveTo>
                    <a:cubicBezTo>
                      <a:pt x="15701" y="1847"/>
                      <a:pt x="20320" y="6465"/>
                      <a:pt x="22167" y="13854"/>
                    </a:cubicBezTo>
                    <a:lnTo>
                      <a:pt x="22167" y="91440"/>
                    </a:lnTo>
                    <a:lnTo>
                      <a:pt x="16625" y="96981"/>
                    </a:lnTo>
                    <a:lnTo>
                      <a:pt x="0" y="80356"/>
                    </a:lnTo>
                    <a:lnTo>
                      <a:pt x="0" y="22167"/>
                    </a:lnTo>
                    <a:lnTo>
                      <a:pt x="831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65" name="Freeform: Shape 1764">
                <a:extLst>
                  <a:ext uri="{FF2B5EF4-FFF2-40B4-BE49-F238E27FC236}">
                    <a16:creationId xmlns:a16="http://schemas.microsoft.com/office/drawing/2014/main" id="{884F00CA-F414-4EEE-BC4A-A2620CB14B94}"/>
                  </a:ext>
                </a:extLst>
              </p:cNvPr>
              <p:cNvSpPr/>
              <p:nvPr/>
            </p:nvSpPr>
            <p:spPr bwMode="auto">
              <a:xfrm>
                <a:off x="4270379" y="3269120"/>
                <a:ext cx="96705" cy="22167"/>
              </a:xfrm>
              <a:custGeom>
                <a:avLst/>
                <a:gdLst/>
                <a:ahLst/>
                <a:cxnLst/>
                <a:rect l="l" t="t" r="r" b="b"/>
                <a:pathLst>
                  <a:path w="96705" h="22167">
                    <a:moveTo>
                      <a:pt x="13854" y="0"/>
                    </a:moveTo>
                    <a:lnTo>
                      <a:pt x="96705" y="0"/>
                    </a:lnTo>
                    <a:lnTo>
                      <a:pt x="88392" y="22167"/>
                    </a:lnTo>
                    <a:lnTo>
                      <a:pt x="22167" y="22167"/>
                    </a:lnTo>
                    <a:lnTo>
                      <a:pt x="0" y="13854"/>
                    </a:lnTo>
                    <a:cubicBezTo>
                      <a:pt x="1847" y="6465"/>
                      <a:pt x="6465" y="1847"/>
                      <a:pt x="13854"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66" name="Freeform: Shape 1765">
                <a:extLst>
                  <a:ext uri="{FF2B5EF4-FFF2-40B4-BE49-F238E27FC236}">
                    <a16:creationId xmlns:a16="http://schemas.microsoft.com/office/drawing/2014/main" id="{CC543048-5433-4AF3-AAF9-16852323C91E}"/>
                  </a:ext>
                </a:extLst>
              </p:cNvPr>
              <p:cNvSpPr/>
              <p:nvPr/>
            </p:nvSpPr>
            <p:spPr bwMode="auto">
              <a:xfrm>
                <a:off x="4364313" y="3269120"/>
                <a:ext cx="22167" cy="96981"/>
              </a:xfrm>
              <a:custGeom>
                <a:avLst/>
                <a:gdLst/>
                <a:ahLst/>
                <a:cxnLst/>
                <a:rect l="l" t="t" r="r" b="b"/>
                <a:pathLst>
                  <a:path w="22167" h="96981">
                    <a:moveTo>
                      <a:pt x="8312" y="0"/>
                    </a:moveTo>
                    <a:cubicBezTo>
                      <a:pt x="15701" y="1847"/>
                      <a:pt x="20320" y="6465"/>
                      <a:pt x="22167" y="13854"/>
                    </a:cubicBezTo>
                    <a:lnTo>
                      <a:pt x="22167" y="91440"/>
                    </a:lnTo>
                    <a:lnTo>
                      <a:pt x="16625" y="96981"/>
                    </a:lnTo>
                    <a:lnTo>
                      <a:pt x="0" y="80356"/>
                    </a:lnTo>
                    <a:lnTo>
                      <a:pt x="0" y="22167"/>
                    </a:lnTo>
                    <a:lnTo>
                      <a:pt x="831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67" name="Freeform: Shape 1766">
                <a:extLst>
                  <a:ext uri="{FF2B5EF4-FFF2-40B4-BE49-F238E27FC236}">
                    <a16:creationId xmlns:a16="http://schemas.microsoft.com/office/drawing/2014/main" id="{95D53DFB-04C4-4213-9906-3E2A734D607A}"/>
                  </a:ext>
                </a:extLst>
              </p:cNvPr>
              <p:cNvSpPr/>
              <p:nvPr/>
            </p:nvSpPr>
            <p:spPr bwMode="auto">
              <a:xfrm>
                <a:off x="4413254" y="3269120"/>
                <a:ext cx="96705" cy="22167"/>
              </a:xfrm>
              <a:custGeom>
                <a:avLst/>
                <a:gdLst/>
                <a:ahLst/>
                <a:cxnLst/>
                <a:rect l="l" t="t" r="r" b="b"/>
                <a:pathLst>
                  <a:path w="96705" h="22167">
                    <a:moveTo>
                      <a:pt x="13854" y="0"/>
                    </a:moveTo>
                    <a:lnTo>
                      <a:pt x="96705" y="0"/>
                    </a:lnTo>
                    <a:lnTo>
                      <a:pt x="88392" y="22167"/>
                    </a:lnTo>
                    <a:lnTo>
                      <a:pt x="22167" y="22167"/>
                    </a:lnTo>
                    <a:lnTo>
                      <a:pt x="0" y="13854"/>
                    </a:lnTo>
                    <a:cubicBezTo>
                      <a:pt x="1847" y="6465"/>
                      <a:pt x="6465" y="1847"/>
                      <a:pt x="13854"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68" name="Freeform: Shape 1767">
                <a:extLst>
                  <a:ext uri="{FF2B5EF4-FFF2-40B4-BE49-F238E27FC236}">
                    <a16:creationId xmlns:a16="http://schemas.microsoft.com/office/drawing/2014/main" id="{ABE6427C-3FC8-4133-A605-7A4167D697DD}"/>
                  </a:ext>
                </a:extLst>
              </p:cNvPr>
              <p:cNvSpPr/>
              <p:nvPr/>
            </p:nvSpPr>
            <p:spPr bwMode="auto">
              <a:xfrm>
                <a:off x="4507188" y="3269120"/>
                <a:ext cx="22167" cy="96981"/>
              </a:xfrm>
              <a:custGeom>
                <a:avLst/>
                <a:gdLst/>
                <a:ahLst/>
                <a:cxnLst/>
                <a:rect l="l" t="t" r="r" b="b"/>
                <a:pathLst>
                  <a:path w="22167" h="96981">
                    <a:moveTo>
                      <a:pt x="8312" y="0"/>
                    </a:moveTo>
                    <a:cubicBezTo>
                      <a:pt x="15701" y="1847"/>
                      <a:pt x="20320" y="6465"/>
                      <a:pt x="22167" y="13854"/>
                    </a:cubicBezTo>
                    <a:lnTo>
                      <a:pt x="22167" y="91440"/>
                    </a:lnTo>
                    <a:lnTo>
                      <a:pt x="16625" y="96981"/>
                    </a:lnTo>
                    <a:lnTo>
                      <a:pt x="0" y="80356"/>
                    </a:lnTo>
                    <a:lnTo>
                      <a:pt x="0" y="22167"/>
                    </a:lnTo>
                    <a:lnTo>
                      <a:pt x="831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69" name="Freeform: Shape 1768">
                <a:extLst>
                  <a:ext uri="{FF2B5EF4-FFF2-40B4-BE49-F238E27FC236}">
                    <a16:creationId xmlns:a16="http://schemas.microsoft.com/office/drawing/2014/main" id="{6C44AEAA-973F-4C15-A148-3C430F54C700}"/>
                  </a:ext>
                </a:extLst>
              </p:cNvPr>
              <p:cNvSpPr/>
              <p:nvPr/>
            </p:nvSpPr>
            <p:spPr bwMode="auto">
              <a:xfrm>
                <a:off x="3708127" y="3288516"/>
                <a:ext cx="22167" cy="77585"/>
              </a:xfrm>
              <a:custGeom>
                <a:avLst/>
                <a:gdLst/>
                <a:ahLst/>
                <a:cxnLst/>
                <a:rect l="l" t="t" r="r" b="b"/>
                <a:pathLst>
                  <a:path w="22167" h="77585">
                    <a:moveTo>
                      <a:pt x="0" y="0"/>
                    </a:moveTo>
                    <a:lnTo>
                      <a:pt x="22167" y="8313"/>
                    </a:lnTo>
                    <a:lnTo>
                      <a:pt x="22167" y="60960"/>
                    </a:lnTo>
                    <a:lnTo>
                      <a:pt x="5542"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70" name="Freeform: Shape 1769">
                <a:extLst>
                  <a:ext uri="{FF2B5EF4-FFF2-40B4-BE49-F238E27FC236}">
                    <a16:creationId xmlns:a16="http://schemas.microsoft.com/office/drawing/2014/main" id="{6A4D6FE4-96E7-4FCC-816C-FBEBF3517C88}"/>
                  </a:ext>
                </a:extLst>
              </p:cNvPr>
              <p:cNvSpPr/>
              <p:nvPr/>
            </p:nvSpPr>
            <p:spPr bwMode="auto">
              <a:xfrm>
                <a:off x="3898627" y="3288516"/>
                <a:ext cx="22167" cy="77585"/>
              </a:xfrm>
              <a:custGeom>
                <a:avLst/>
                <a:gdLst/>
                <a:ahLst/>
                <a:cxnLst/>
                <a:rect l="l" t="t" r="r" b="b"/>
                <a:pathLst>
                  <a:path w="22167" h="77585">
                    <a:moveTo>
                      <a:pt x="0" y="0"/>
                    </a:moveTo>
                    <a:lnTo>
                      <a:pt x="22167" y="8313"/>
                    </a:lnTo>
                    <a:lnTo>
                      <a:pt x="22167" y="60960"/>
                    </a:lnTo>
                    <a:lnTo>
                      <a:pt x="5542"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71" name="Freeform: Shape 1770">
                <a:extLst>
                  <a:ext uri="{FF2B5EF4-FFF2-40B4-BE49-F238E27FC236}">
                    <a16:creationId xmlns:a16="http://schemas.microsoft.com/office/drawing/2014/main" id="{D3672287-77B2-408A-B652-8E6557A662E5}"/>
                  </a:ext>
                </a:extLst>
              </p:cNvPr>
              <p:cNvSpPr/>
              <p:nvPr/>
            </p:nvSpPr>
            <p:spPr bwMode="auto">
              <a:xfrm>
                <a:off x="4041502" y="3288516"/>
                <a:ext cx="22167" cy="77585"/>
              </a:xfrm>
              <a:custGeom>
                <a:avLst/>
                <a:gdLst/>
                <a:ahLst/>
                <a:cxnLst/>
                <a:rect l="l" t="t" r="r" b="b"/>
                <a:pathLst>
                  <a:path w="22167" h="77585">
                    <a:moveTo>
                      <a:pt x="0" y="0"/>
                    </a:moveTo>
                    <a:lnTo>
                      <a:pt x="22167" y="8313"/>
                    </a:lnTo>
                    <a:lnTo>
                      <a:pt x="22167" y="60960"/>
                    </a:lnTo>
                    <a:lnTo>
                      <a:pt x="5542"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72" name="Freeform: Shape 1771">
                <a:extLst>
                  <a:ext uri="{FF2B5EF4-FFF2-40B4-BE49-F238E27FC236}">
                    <a16:creationId xmlns:a16="http://schemas.microsoft.com/office/drawing/2014/main" id="{4FD4D17A-07D7-4C33-B8DB-2FB5FCB7134A}"/>
                  </a:ext>
                </a:extLst>
              </p:cNvPr>
              <p:cNvSpPr/>
              <p:nvPr/>
            </p:nvSpPr>
            <p:spPr bwMode="auto">
              <a:xfrm>
                <a:off x="4270102" y="3288516"/>
                <a:ext cx="22167" cy="77585"/>
              </a:xfrm>
              <a:custGeom>
                <a:avLst/>
                <a:gdLst/>
                <a:ahLst/>
                <a:cxnLst/>
                <a:rect l="l" t="t" r="r" b="b"/>
                <a:pathLst>
                  <a:path w="22167" h="77585">
                    <a:moveTo>
                      <a:pt x="0" y="0"/>
                    </a:moveTo>
                    <a:lnTo>
                      <a:pt x="22167" y="8313"/>
                    </a:lnTo>
                    <a:lnTo>
                      <a:pt x="22167" y="60960"/>
                    </a:lnTo>
                    <a:lnTo>
                      <a:pt x="5542"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74" name="Freeform: Shape 1773">
                <a:extLst>
                  <a:ext uri="{FF2B5EF4-FFF2-40B4-BE49-F238E27FC236}">
                    <a16:creationId xmlns:a16="http://schemas.microsoft.com/office/drawing/2014/main" id="{69A6333E-21A0-4369-9FA7-CC64A2C6BED7}"/>
                  </a:ext>
                </a:extLst>
              </p:cNvPr>
              <p:cNvSpPr/>
              <p:nvPr/>
            </p:nvSpPr>
            <p:spPr bwMode="auto">
              <a:xfrm>
                <a:off x="4412977" y="3288516"/>
                <a:ext cx="22167" cy="77585"/>
              </a:xfrm>
              <a:custGeom>
                <a:avLst/>
                <a:gdLst/>
                <a:ahLst/>
                <a:cxnLst/>
                <a:rect l="l" t="t" r="r" b="b"/>
                <a:pathLst>
                  <a:path w="22167" h="77585">
                    <a:moveTo>
                      <a:pt x="0" y="0"/>
                    </a:moveTo>
                    <a:lnTo>
                      <a:pt x="22167" y="8313"/>
                    </a:lnTo>
                    <a:lnTo>
                      <a:pt x="22167" y="60960"/>
                    </a:lnTo>
                    <a:lnTo>
                      <a:pt x="5541"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75" name="Freeform: Shape 1774">
                <a:extLst>
                  <a:ext uri="{FF2B5EF4-FFF2-40B4-BE49-F238E27FC236}">
                    <a16:creationId xmlns:a16="http://schemas.microsoft.com/office/drawing/2014/main" id="{A11348B1-8EB4-4B59-B25F-9DEB9E03373D}"/>
                  </a:ext>
                </a:extLst>
              </p:cNvPr>
              <p:cNvSpPr/>
              <p:nvPr/>
            </p:nvSpPr>
            <p:spPr bwMode="auto">
              <a:xfrm>
                <a:off x="4460082" y="3296828"/>
                <a:ext cx="22167" cy="74814"/>
              </a:xfrm>
              <a:custGeom>
                <a:avLst/>
                <a:gdLst/>
                <a:ahLst/>
                <a:cxnLst/>
                <a:rect l="l" t="t" r="r" b="b"/>
                <a:pathLst>
                  <a:path w="22167" h="74814">
                    <a:moveTo>
                      <a:pt x="0" y="0"/>
                    </a:moveTo>
                    <a:lnTo>
                      <a:pt x="22167" y="0"/>
                    </a:lnTo>
                    <a:lnTo>
                      <a:pt x="22167" y="63731"/>
                    </a:lnTo>
                    <a:lnTo>
                      <a:pt x="11084" y="74814"/>
                    </a:lnTo>
                    <a:lnTo>
                      <a:pt x="0" y="63731"/>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77" name="Freeform: Shape 1776">
                <a:extLst>
                  <a:ext uri="{FF2B5EF4-FFF2-40B4-BE49-F238E27FC236}">
                    <a16:creationId xmlns:a16="http://schemas.microsoft.com/office/drawing/2014/main" id="{3E549C61-C932-44A6-9476-C2B33A332857}"/>
                  </a:ext>
                </a:extLst>
              </p:cNvPr>
              <p:cNvSpPr/>
              <p:nvPr/>
            </p:nvSpPr>
            <p:spPr bwMode="auto">
              <a:xfrm>
                <a:off x="3851002" y="3313453"/>
                <a:ext cx="22167" cy="22168"/>
              </a:xfrm>
              <a:custGeom>
                <a:avLst/>
                <a:gdLst/>
                <a:ahLst/>
                <a:cxnLst/>
                <a:rect l="l" t="t" r="r" b="b"/>
                <a:pathLst>
                  <a:path w="22167" h="22168">
                    <a:moveTo>
                      <a:pt x="0" y="0"/>
                    </a:moveTo>
                    <a:lnTo>
                      <a:pt x="22167" y="0"/>
                    </a:lnTo>
                    <a:lnTo>
                      <a:pt x="22167" y="22168"/>
                    </a:lnTo>
                    <a:lnTo>
                      <a:pt x="0" y="22168"/>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78" name="Freeform: Shape 1777">
                <a:extLst>
                  <a:ext uri="{FF2B5EF4-FFF2-40B4-BE49-F238E27FC236}">
                    <a16:creationId xmlns:a16="http://schemas.microsoft.com/office/drawing/2014/main" id="{5F6A7EE9-139C-4AD2-B064-0493936DF06D}"/>
                  </a:ext>
                </a:extLst>
              </p:cNvPr>
              <p:cNvSpPr/>
              <p:nvPr/>
            </p:nvSpPr>
            <p:spPr bwMode="auto">
              <a:xfrm>
                <a:off x="4281185" y="3357789"/>
                <a:ext cx="94211" cy="22167"/>
              </a:xfrm>
              <a:custGeom>
                <a:avLst/>
                <a:gdLst/>
                <a:ahLst/>
                <a:cxnLst/>
                <a:rect l="l" t="t" r="r" b="b"/>
                <a:pathLst>
                  <a:path w="94211" h="22167">
                    <a:moveTo>
                      <a:pt x="11084" y="0"/>
                    </a:moveTo>
                    <a:lnTo>
                      <a:pt x="83128" y="0"/>
                    </a:lnTo>
                    <a:lnTo>
                      <a:pt x="94211" y="11083"/>
                    </a:lnTo>
                    <a:lnTo>
                      <a:pt x="83128" y="22167"/>
                    </a:lnTo>
                    <a:lnTo>
                      <a:pt x="11084" y="22167"/>
                    </a:lnTo>
                    <a:lnTo>
                      <a:pt x="0" y="11083"/>
                    </a:lnTo>
                    <a:lnTo>
                      <a:pt x="11084"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80" name="Freeform: Shape 1779">
                <a:extLst>
                  <a:ext uri="{FF2B5EF4-FFF2-40B4-BE49-F238E27FC236}">
                    <a16:creationId xmlns:a16="http://schemas.microsoft.com/office/drawing/2014/main" id="{4E2169A5-CC80-4C41-8A96-9E1D828EE23A}"/>
                  </a:ext>
                </a:extLst>
              </p:cNvPr>
              <p:cNvSpPr/>
              <p:nvPr/>
            </p:nvSpPr>
            <p:spPr bwMode="auto">
              <a:xfrm>
                <a:off x="3660502" y="3371642"/>
                <a:ext cx="22167" cy="96982"/>
              </a:xfrm>
              <a:custGeom>
                <a:avLst/>
                <a:gdLst/>
                <a:ahLst/>
                <a:cxnLst/>
                <a:rect l="l" t="t" r="r" b="b"/>
                <a:pathLst>
                  <a:path w="22167" h="96982">
                    <a:moveTo>
                      <a:pt x="16625" y="0"/>
                    </a:moveTo>
                    <a:lnTo>
                      <a:pt x="22167" y="5542"/>
                    </a:lnTo>
                    <a:lnTo>
                      <a:pt x="22167" y="83128"/>
                    </a:lnTo>
                    <a:cubicBezTo>
                      <a:pt x="20320" y="90517"/>
                      <a:pt x="15702" y="95135"/>
                      <a:pt x="8312" y="96982"/>
                    </a:cubicBezTo>
                    <a:lnTo>
                      <a:pt x="0" y="74815"/>
                    </a:lnTo>
                    <a:lnTo>
                      <a:pt x="0" y="16626"/>
                    </a:lnTo>
                    <a:lnTo>
                      <a:pt x="16625"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81" name="Freeform: Shape 1780">
                <a:extLst>
                  <a:ext uri="{FF2B5EF4-FFF2-40B4-BE49-F238E27FC236}">
                    <a16:creationId xmlns:a16="http://schemas.microsoft.com/office/drawing/2014/main" id="{1D51B4E5-2E1D-44D5-949E-9C5322005583}"/>
                  </a:ext>
                </a:extLst>
              </p:cNvPr>
              <p:cNvSpPr/>
              <p:nvPr/>
            </p:nvSpPr>
            <p:spPr bwMode="auto">
              <a:xfrm>
                <a:off x="3708127" y="3371642"/>
                <a:ext cx="22167" cy="77586"/>
              </a:xfrm>
              <a:custGeom>
                <a:avLst/>
                <a:gdLst/>
                <a:ahLst/>
                <a:cxnLst/>
                <a:rect l="l" t="t" r="r" b="b"/>
                <a:pathLst>
                  <a:path w="22167" h="77586">
                    <a:moveTo>
                      <a:pt x="5542" y="0"/>
                    </a:moveTo>
                    <a:lnTo>
                      <a:pt x="22167" y="16626"/>
                    </a:lnTo>
                    <a:lnTo>
                      <a:pt x="22167" y="69273"/>
                    </a:lnTo>
                    <a:lnTo>
                      <a:pt x="0" y="77586"/>
                    </a:lnTo>
                    <a:lnTo>
                      <a:pt x="0" y="5542"/>
                    </a:lnTo>
                    <a:lnTo>
                      <a:pt x="554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82" name="Freeform: Shape 1781">
                <a:extLst>
                  <a:ext uri="{FF2B5EF4-FFF2-40B4-BE49-F238E27FC236}">
                    <a16:creationId xmlns:a16="http://schemas.microsoft.com/office/drawing/2014/main" id="{BD169767-358A-40B6-BEB9-053E2A528A18}"/>
                  </a:ext>
                </a:extLst>
              </p:cNvPr>
              <p:cNvSpPr/>
              <p:nvPr/>
            </p:nvSpPr>
            <p:spPr bwMode="auto">
              <a:xfrm>
                <a:off x="3802338" y="3371642"/>
                <a:ext cx="22167" cy="96982"/>
              </a:xfrm>
              <a:custGeom>
                <a:avLst/>
                <a:gdLst/>
                <a:ahLst/>
                <a:cxnLst/>
                <a:rect l="l" t="t" r="r" b="b"/>
                <a:pathLst>
                  <a:path w="22167" h="96982">
                    <a:moveTo>
                      <a:pt x="16625" y="0"/>
                    </a:moveTo>
                    <a:lnTo>
                      <a:pt x="22167" y="5542"/>
                    </a:lnTo>
                    <a:lnTo>
                      <a:pt x="22167" y="83128"/>
                    </a:lnTo>
                    <a:cubicBezTo>
                      <a:pt x="20320" y="90517"/>
                      <a:pt x="15701" y="95135"/>
                      <a:pt x="8312" y="96982"/>
                    </a:cubicBezTo>
                    <a:lnTo>
                      <a:pt x="0" y="74815"/>
                    </a:lnTo>
                    <a:lnTo>
                      <a:pt x="0" y="16626"/>
                    </a:lnTo>
                    <a:lnTo>
                      <a:pt x="16625"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84" name="Freeform: Shape 1783">
                <a:extLst>
                  <a:ext uri="{FF2B5EF4-FFF2-40B4-BE49-F238E27FC236}">
                    <a16:creationId xmlns:a16="http://schemas.microsoft.com/office/drawing/2014/main" id="{25E9079F-4BAC-4FCF-8328-7B5237F5E48D}"/>
                  </a:ext>
                </a:extLst>
              </p:cNvPr>
              <p:cNvSpPr/>
              <p:nvPr/>
            </p:nvSpPr>
            <p:spPr bwMode="auto">
              <a:xfrm>
                <a:off x="3898627" y="3371642"/>
                <a:ext cx="22167" cy="77586"/>
              </a:xfrm>
              <a:custGeom>
                <a:avLst/>
                <a:gdLst/>
                <a:ahLst/>
                <a:cxnLst/>
                <a:rect l="l" t="t" r="r" b="b"/>
                <a:pathLst>
                  <a:path w="22167" h="77586">
                    <a:moveTo>
                      <a:pt x="5542" y="0"/>
                    </a:moveTo>
                    <a:lnTo>
                      <a:pt x="22167" y="16626"/>
                    </a:lnTo>
                    <a:lnTo>
                      <a:pt x="22167" y="69273"/>
                    </a:lnTo>
                    <a:lnTo>
                      <a:pt x="0" y="77586"/>
                    </a:lnTo>
                    <a:lnTo>
                      <a:pt x="0" y="5542"/>
                    </a:lnTo>
                    <a:lnTo>
                      <a:pt x="554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85" name="Freeform: Shape 1784">
                <a:extLst>
                  <a:ext uri="{FF2B5EF4-FFF2-40B4-BE49-F238E27FC236}">
                    <a16:creationId xmlns:a16="http://schemas.microsoft.com/office/drawing/2014/main" id="{2177170C-AB11-4A11-B26F-32B943E97086}"/>
                  </a:ext>
                </a:extLst>
              </p:cNvPr>
              <p:cNvSpPr/>
              <p:nvPr/>
            </p:nvSpPr>
            <p:spPr bwMode="auto">
              <a:xfrm>
                <a:off x="3992838" y="3371642"/>
                <a:ext cx="22167" cy="96982"/>
              </a:xfrm>
              <a:custGeom>
                <a:avLst/>
                <a:gdLst/>
                <a:ahLst/>
                <a:cxnLst/>
                <a:rect l="l" t="t" r="r" b="b"/>
                <a:pathLst>
                  <a:path w="22167" h="96982">
                    <a:moveTo>
                      <a:pt x="16625" y="0"/>
                    </a:moveTo>
                    <a:lnTo>
                      <a:pt x="22167" y="5542"/>
                    </a:lnTo>
                    <a:lnTo>
                      <a:pt x="22167" y="83128"/>
                    </a:lnTo>
                    <a:cubicBezTo>
                      <a:pt x="20320" y="90517"/>
                      <a:pt x="15701" y="95135"/>
                      <a:pt x="8312" y="96982"/>
                    </a:cubicBezTo>
                    <a:lnTo>
                      <a:pt x="0" y="74815"/>
                    </a:lnTo>
                    <a:lnTo>
                      <a:pt x="0" y="16626"/>
                    </a:lnTo>
                    <a:lnTo>
                      <a:pt x="16625"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86" name="Freeform: Shape 1785">
                <a:extLst>
                  <a:ext uri="{FF2B5EF4-FFF2-40B4-BE49-F238E27FC236}">
                    <a16:creationId xmlns:a16="http://schemas.microsoft.com/office/drawing/2014/main" id="{21C1031B-8226-4A95-9281-AF4E7F8588B1}"/>
                  </a:ext>
                </a:extLst>
              </p:cNvPr>
              <p:cNvSpPr/>
              <p:nvPr/>
            </p:nvSpPr>
            <p:spPr bwMode="auto">
              <a:xfrm>
                <a:off x="4041502" y="3371642"/>
                <a:ext cx="22167" cy="77586"/>
              </a:xfrm>
              <a:custGeom>
                <a:avLst/>
                <a:gdLst/>
                <a:ahLst/>
                <a:cxnLst/>
                <a:rect l="l" t="t" r="r" b="b"/>
                <a:pathLst>
                  <a:path w="22167" h="77586">
                    <a:moveTo>
                      <a:pt x="5542" y="0"/>
                    </a:moveTo>
                    <a:lnTo>
                      <a:pt x="22167" y="16626"/>
                    </a:lnTo>
                    <a:lnTo>
                      <a:pt x="22167" y="69273"/>
                    </a:lnTo>
                    <a:lnTo>
                      <a:pt x="0" y="77586"/>
                    </a:lnTo>
                    <a:lnTo>
                      <a:pt x="0" y="5542"/>
                    </a:lnTo>
                    <a:lnTo>
                      <a:pt x="554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87" name="Freeform: Shape 1786">
                <a:extLst>
                  <a:ext uri="{FF2B5EF4-FFF2-40B4-BE49-F238E27FC236}">
                    <a16:creationId xmlns:a16="http://schemas.microsoft.com/office/drawing/2014/main" id="{4F2ADF4E-7669-404B-A60A-95509CCB9760}"/>
                  </a:ext>
                </a:extLst>
              </p:cNvPr>
              <p:cNvSpPr/>
              <p:nvPr/>
            </p:nvSpPr>
            <p:spPr bwMode="auto">
              <a:xfrm>
                <a:off x="4135713" y="3371642"/>
                <a:ext cx="22167" cy="96982"/>
              </a:xfrm>
              <a:custGeom>
                <a:avLst/>
                <a:gdLst/>
                <a:ahLst/>
                <a:cxnLst/>
                <a:rect l="l" t="t" r="r" b="b"/>
                <a:pathLst>
                  <a:path w="22167" h="96982">
                    <a:moveTo>
                      <a:pt x="16625" y="0"/>
                    </a:moveTo>
                    <a:lnTo>
                      <a:pt x="22167" y="5542"/>
                    </a:lnTo>
                    <a:lnTo>
                      <a:pt x="22167" y="83128"/>
                    </a:lnTo>
                    <a:cubicBezTo>
                      <a:pt x="20320" y="90517"/>
                      <a:pt x="15701" y="95135"/>
                      <a:pt x="8312" y="96982"/>
                    </a:cubicBezTo>
                    <a:lnTo>
                      <a:pt x="0" y="74815"/>
                    </a:lnTo>
                    <a:lnTo>
                      <a:pt x="0" y="16626"/>
                    </a:lnTo>
                    <a:lnTo>
                      <a:pt x="16625"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88" name="Freeform: Shape 1787">
                <a:extLst>
                  <a:ext uri="{FF2B5EF4-FFF2-40B4-BE49-F238E27FC236}">
                    <a16:creationId xmlns:a16="http://schemas.microsoft.com/office/drawing/2014/main" id="{43224272-A5CE-4DAB-9839-C72A3E956182}"/>
                  </a:ext>
                </a:extLst>
              </p:cNvPr>
              <p:cNvSpPr/>
              <p:nvPr/>
            </p:nvSpPr>
            <p:spPr bwMode="auto">
              <a:xfrm>
                <a:off x="4270102" y="3371642"/>
                <a:ext cx="22167" cy="96982"/>
              </a:xfrm>
              <a:custGeom>
                <a:avLst/>
                <a:gdLst/>
                <a:ahLst/>
                <a:cxnLst/>
                <a:rect l="l" t="t" r="r" b="b"/>
                <a:pathLst>
                  <a:path w="22167" h="96982">
                    <a:moveTo>
                      <a:pt x="5542" y="0"/>
                    </a:moveTo>
                    <a:lnTo>
                      <a:pt x="22167" y="16626"/>
                    </a:lnTo>
                    <a:lnTo>
                      <a:pt x="22167" y="74815"/>
                    </a:lnTo>
                    <a:lnTo>
                      <a:pt x="13854" y="96982"/>
                    </a:lnTo>
                    <a:cubicBezTo>
                      <a:pt x="6465" y="95135"/>
                      <a:pt x="1847" y="90517"/>
                      <a:pt x="0" y="83128"/>
                    </a:cubicBezTo>
                    <a:lnTo>
                      <a:pt x="0" y="5542"/>
                    </a:lnTo>
                    <a:lnTo>
                      <a:pt x="554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89" name="Freeform: Shape 1788">
                <a:extLst>
                  <a:ext uri="{FF2B5EF4-FFF2-40B4-BE49-F238E27FC236}">
                    <a16:creationId xmlns:a16="http://schemas.microsoft.com/office/drawing/2014/main" id="{BB82F883-E3C9-406C-B048-4B188904628F}"/>
                  </a:ext>
                </a:extLst>
              </p:cNvPr>
              <p:cNvSpPr/>
              <p:nvPr/>
            </p:nvSpPr>
            <p:spPr bwMode="auto">
              <a:xfrm>
                <a:off x="4364313" y="3371642"/>
                <a:ext cx="22167" cy="96982"/>
              </a:xfrm>
              <a:custGeom>
                <a:avLst/>
                <a:gdLst/>
                <a:ahLst/>
                <a:cxnLst/>
                <a:rect l="l" t="t" r="r" b="b"/>
                <a:pathLst>
                  <a:path w="22167" h="96982">
                    <a:moveTo>
                      <a:pt x="16625" y="0"/>
                    </a:moveTo>
                    <a:lnTo>
                      <a:pt x="22167" y="5542"/>
                    </a:lnTo>
                    <a:lnTo>
                      <a:pt x="22167" y="83128"/>
                    </a:lnTo>
                    <a:cubicBezTo>
                      <a:pt x="20320" y="90517"/>
                      <a:pt x="15701" y="95135"/>
                      <a:pt x="8312" y="96982"/>
                    </a:cubicBezTo>
                    <a:lnTo>
                      <a:pt x="0" y="74815"/>
                    </a:lnTo>
                    <a:lnTo>
                      <a:pt x="0" y="16626"/>
                    </a:lnTo>
                    <a:lnTo>
                      <a:pt x="16625"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90" name="Freeform: Shape 1789">
                <a:extLst>
                  <a:ext uri="{FF2B5EF4-FFF2-40B4-BE49-F238E27FC236}">
                    <a16:creationId xmlns:a16="http://schemas.microsoft.com/office/drawing/2014/main" id="{0728172A-ABFE-4547-8C6E-4F09014F864A}"/>
                  </a:ext>
                </a:extLst>
              </p:cNvPr>
              <p:cNvSpPr/>
              <p:nvPr/>
            </p:nvSpPr>
            <p:spPr bwMode="auto">
              <a:xfrm>
                <a:off x="4412977" y="3371642"/>
                <a:ext cx="22167" cy="96982"/>
              </a:xfrm>
              <a:custGeom>
                <a:avLst/>
                <a:gdLst/>
                <a:ahLst/>
                <a:cxnLst/>
                <a:rect l="l" t="t" r="r" b="b"/>
                <a:pathLst>
                  <a:path w="22167" h="96982">
                    <a:moveTo>
                      <a:pt x="5541" y="0"/>
                    </a:moveTo>
                    <a:lnTo>
                      <a:pt x="22167" y="16626"/>
                    </a:lnTo>
                    <a:lnTo>
                      <a:pt x="22167" y="74815"/>
                    </a:lnTo>
                    <a:lnTo>
                      <a:pt x="13854" y="96982"/>
                    </a:lnTo>
                    <a:cubicBezTo>
                      <a:pt x="6465" y="95135"/>
                      <a:pt x="1847" y="90517"/>
                      <a:pt x="0" y="83128"/>
                    </a:cubicBezTo>
                    <a:lnTo>
                      <a:pt x="0" y="5542"/>
                    </a:lnTo>
                    <a:lnTo>
                      <a:pt x="5541"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91" name="Freeform: Shape 1790">
                <a:extLst>
                  <a:ext uri="{FF2B5EF4-FFF2-40B4-BE49-F238E27FC236}">
                    <a16:creationId xmlns:a16="http://schemas.microsoft.com/office/drawing/2014/main" id="{AFA4C983-71F8-430F-BD09-D56696870F99}"/>
                  </a:ext>
                </a:extLst>
              </p:cNvPr>
              <p:cNvSpPr/>
              <p:nvPr/>
            </p:nvSpPr>
            <p:spPr bwMode="auto">
              <a:xfrm>
                <a:off x="4507188" y="3371642"/>
                <a:ext cx="22167" cy="96982"/>
              </a:xfrm>
              <a:custGeom>
                <a:avLst/>
                <a:gdLst/>
                <a:ahLst/>
                <a:cxnLst/>
                <a:rect l="l" t="t" r="r" b="b"/>
                <a:pathLst>
                  <a:path w="22167" h="96982">
                    <a:moveTo>
                      <a:pt x="16625" y="0"/>
                    </a:moveTo>
                    <a:lnTo>
                      <a:pt x="22167" y="5542"/>
                    </a:lnTo>
                    <a:lnTo>
                      <a:pt x="22167" y="83128"/>
                    </a:lnTo>
                    <a:cubicBezTo>
                      <a:pt x="20320" y="90517"/>
                      <a:pt x="15701" y="95135"/>
                      <a:pt x="8312" y="96982"/>
                    </a:cubicBezTo>
                    <a:lnTo>
                      <a:pt x="0" y="74815"/>
                    </a:lnTo>
                    <a:lnTo>
                      <a:pt x="0" y="16626"/>
                    </a:lnTo>
                    <a:lnTo>
                      <a:pt x="16625"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93" name="Freeform: Shape 1792">
                <a:extLst>
                  <a:ext uri="{FF2B5EF4-FFF2-40B4-BE49-F238E27FC236}">
                    <a16:creationId xmlns:a16="http://schemas.microsoft.com/office/drawing/2014/main" id="{1E997C7A-51EC-43D8-8449-E8D9A7AD2C00}"/>
                  </a:ext>
                </a:extLst>
              </p:cNvPr>
              <p:cNvSpPr/>
              <p:nvPr/>
            </p:nvSpPr>
            <p:spPr bwMode="auto">
              <a:xfrm>
                <a:off x="3851002" y="3402122"/>
                <a:ext cx="22167" cy="22168"/>
              </a:xfrm>
              <a:custGeom>
                <a:avLst/>
                <a:gdLst/>
                <a:ahLst/>
                <a:cxnLst/>
                <a:rect l="l" t="t" r="r" b="b"/>
                <a:pathLst>
                  <a:path w="22167" h="22168">
                    <a:moveTo>
                      <a:pt x="0" y="0"/>
                    </a:moveTo>
                    <a:lnTo>
                      <a:pt x="22167" y="0"/>
                    </a:lnTo>
                    <a:lnTo>
                      <a:pt x="22167" y="22168"/>
                    </a:lnTo>
                    <a:lnTo>
                      <a:pt x="0" y="22168"/>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94" name="Freeform: Shape 1793">
                <a:extLst>
                  <a:ext uri="{FF2B5EF4-FFF2-40B4-BE49-F238E27FC236}">
                    <a16:creationId xmlns:a16="http://schemas.microsoft.com/office/drawing/2014/main" id="{7ED8EEAD-9FF5-4804-A9A1-4CDAA98CA8A8}"/>
                  </a:ext>
                </a:extLst>
              </p:cNvPr>
              <p:cNvSpPr/>
              <p:nvPr/>
            </p:nvSpPr>
            <p:spPr bwMode="auto">
              <a:xfrm>
                <a:off x="3708126" y="3446458"/>
                <a:ext cx="96982" cy="22167"/>
              </a:xfrm>
              <a:custGeom>
                <a:avLst/>
                <a:gdLst/>
                <a:ahLst/>
                <a:cxnLst/>
                <a:rect l="l" t="t" r="r" b="b"/>
                <a:pathLst>
                  <a:path w="96982" h="22167">
                    <a:moveTo>
                      <a:pt x="22167" y="0"/>
                    </a:moveTo>
                    <a:lnTo>
                      <a:pt x="88669" y="0"/>
                    </a:lnTo>
                    <a:lnTo>
                      <a:pt x="96982" y="22167"/>
                    </a:lnTo>
                    <a:lnTo>
                      <a:pt x="13854" y="22167"/>
                    </a:lnTo>
                    <a:cubicBezTo>
                      <a:pt x="6465" y="20320"/>
                      <a:pt x="1847" y="15702"/>
                      <a:pt x="0" y="8313"/>
                    </a:cubicBezTo>
                    <a:lnTo>
                      <a:pt x="22167"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95" name="Freeform: Shape 1794">
                <a:extLst>
                  <a:ext uri="{FF2B5EF4-FFF2-40B4-BE49-F238E27FC236}">
                    <a16:creationId xmlns:a16="http://schemas.microsoft.com/office/drawing/2014/main" id="{9E959EBC-8B2D-4958-AFF6-5BC587E653A3}"/>
                  </a:ext>
                </a:extLst>
              </p:cNvPr>
              <p:cNvSpPr/>
              <p:nvPr/>
            </p:nvSpPr>
            <p:spPr bwMode="auto">
              <a:xfrm>
                <a:off x="3898626" y="3446458"/>
                <a:ext cx="96982" cy="22167"/>
              </a:xfrm>
              <a:custGeom>
                <a:avLst/>
                <a:gdLst/>
                <a:ahLst/>
                <a:cxnLst/>
                <a:rect l="l" t="t" r="r" b="b"/>
                <a:pathLst>
                  <a:path w="96982" h="22167">
                    <a:moveTo>
                      <a:pt x="22167" y="0"/>
                    </a:moveTo>
                    <a:lnTo>
                      <a:pt x="88669" y="0"/>
                    </a:lnTo>
                    <a:lnTo>
                      <a:pt x="96982" y="22167"/>
                    </a:lnTo>
                    <a:lnTo>
                      <a:pt x="13854" y="22167"/>
                    </a:lnTo>
                    <a:cubicBezTo>
                      <a:pt x="6465" y="20320"/>
                      <a:pt x="1847" y="15702"/>
                      <a:pt x="0" y="8313"/>
                    </a:cubicBezTo>
                    <a:lnTo>
                      <a:pt x="22167"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96" name="Freeform: Shape 1795">
                <a:extLst>
                  <a:ext uri="{FF2B5EF4-FFF2-40B4-BE49-F238E27FC236}">
                    <a16:creationId xmlns:a16="http://schemas.microsoft.com/office/drawing/2014/main" id="{D8AA22AA-78BD-4EB7-8279-380F3DCFB0F4}"/>
                  </a:ext>
                </a:extLst>
              </p:cNvPr>
              <p:cNvSpPr/>
              <p:nvPr/>
            </p:nvSpPr>
            <p:spPr bwMode="auto">
              <a:xfrm>
                <a:off x="4041501" y="3446458"/>
                <a:ext cx="96982" cy="22167"/>
              </a:xfrm>
              <a:custGeom>
                <a:avLst/>
                <a:gdLst/>
                <a:ahLst/>
                <a:cxnLst/>
                <a:rect l="l" t="t" r="r" b="b"/>
                <a:pathLst>
                  <a:path w="96982" h="22167">
                    <a:moveTo>
                      <a:pt x="22167" y="0"/>
                    </a:moveTo>
                    <a:lnTo>
                      <a:pt x="88669" y="0"/>
                    </a:lnTo>
                    <a:lnTo>
                      <a:pt x="96982" y="22167"/>
                    </a:lnTo>
                    <a:lnTo>
                      <a:pt x="13854" y="22167"/>
                    </a:lnTo>
                    <a:cubicBezTo>
                      <a:pt x="6465" y="20320"/>
                      <a:pt x="1847" y="15702"/>
                      <a:pt x="0" y="8313"/>
                    </a:cubicBezTo>
                    <a:lnTo>
                      <a:pt x="22167"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grpSp>
        <p:sp>
          <p:nvSpPr>
            <p:cNvPr id="1729" name="TextBox 1728">
              <a:extLst>
                <a:ext uri="{FF2B5EF4-FFF2-40B4-BE49-F238E27FC236}">
                  <a16:creationId xmlns:a16="http://schemas.microsoft.com/office/drawing/2014/main" id="{3E56BE8C-217E-4DCD-AE54-8C7CDDA8AE0C}"/>
                </a:ext>
              </a:extLst>
            </p:cNvPr>
            <p:cNvSpPr txBox="1"/>
            <p:nvPr/>
          </p:nvSpPr>
          <p:spPr>
            <a:xfrm>
              <a:off x="10142750" y="1671462"/>
              <a:ext cx="906658" cy="127303"/>
            </a:xfrm>
            <a:prstGeom prst="rect">
              <a:avLst/>
            </a:prstGeom>
            <a:noFill/>
          </p:spPr>
          <p:txBody>
            <a:bodyPr wrap="none" lIns="0" tIns="0" rIns="0" bIns="0" rtlCol="0">
              <a:noAutofit/>
            </a:bodyPr>
            <a:lstStyle>
              <a:defPPr>
                <a:defRPr lang="en-US"/>
              </a:defPPr>
              <a:lvl1pPr algn="ctr" defTabSz="951121">
                <a:spcAft>
                  <a:spcPts val="612"/>
                </a:spcAft>
                <a:defRPr sz="600" kern="0"/>
              </a:lvl1pPr>
            </a:lstStyle>
            <a:p>
              <a:pPr defTabSz="950752">
                <a:defRPr/>
              </a:pPr>
              <a:r>
                <a:rPr lang="en-US" sz="980" dirty="0">
                  <a:solidFill>
                    <a:srgbClr val="505050"/>
                  </a:solidFill>
                  <a:latin typeface="Segoe UI Semibold" panose="020B0702040204020203" pitchFamily="34" charset="0"/>
                  <a:cs typeface="Segoe UI Semibold" panose="020B0702040204020203" pitchFamily="34" charset="0"/>
                </a:rPr>
                <a:t>NEW DELHI</a:t>
              </a:r>
            </a:p>
          </p:txBody>
        </p:sp>
        <p:sp>
          <p:nvSpPr>
            <p:cNvPr id="1730" name="Rectangle 1729">
              <a:extLst>
                <a:ext uri="{FF2B5EF4-FFF2-40B4-BE49-F238E27FC236}">
                  <a16:creationId xmlns:a16="http://schemas.microsoft.com/office/drawing/2014/main" id="{A6B6C8CC-EE9F-4C64-8740-94484C6C18C3}"/>
                </a:ext>
              </a:extLst>
            </p:cNvPr>
            <p:cNvSpPr/>
            <p:nvPr/>
          </p:nvSpPr>
          <p:spPr bwMode="auto">
            <a:xfrm>
              <a:off x="10093620" y="1358602"/>
              <a:ext cx="1004919" cy="269726"/>
            </a:xfrm>
            <a:prstGeom prst="rect">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31" name="Group 1730">
              <a:extLst>
                <a:ext uri="{FF2B5EF4-FFF2-40B4-BE49-F238E27FC236}">
                  <a16:creationId xmlns:a16="http://schemas.microsoft.com/office/drawing/2014/main" id="{FFC6F349-2E07-4EF4-80F1-809684B2349C}"/>
                </a:ext>
              </a:extLst>
            </p:cNvPr>
            <p:cNvGrpSpPr/>
            <p:nvPr/>
          </p:nvGrpSpPr>
          <p:grpSpPr>
            <a:xfrm>
              <a:off x="10327290" y="1419600"/>
              <a:ext cx="537578" cy="147731"/>
              <a:chOff x="3779215" y="3017660"/>
              <a:chExt cx="725978" cy="199505"/>
            </a:xfrm>
          </p:grpSpPr>
          <p:sp>
            <p:nvSpPr>
              <p:cNvPr id="1732" name="Freeform: Shape 1731">
                <a:extLst>
                  <a:ext uri="{FF2B5EF4-FFF2-40B4-BE49-F238E27FC236}">
                    <a16:creationId xmlns:a16="http://schemas.microsoft.com/office/drawing/2014/main" id="{5A4CC1F7-C739-4B18-ACFA-2A4094AD5D66}"/>
                  </a:ext>
                </a:extLst>
              </p:cNvPr>
              <p:cNvSpPr/>
              <p:nvPr/>
            </p:nvSpPr>
            <p:spPr bwMode="auto">
              <a:xfrm>
                <a:off x="3779215" y="3017660"/>
                <a:ext cx="22167" cy="96981"/>
              </a:xfrm>
              <a:custGeom>
                <a:avLst/>
                <a:gdLst/>
                <a:ahLst/>
                <a:cxnLst/>
                <a:rect l="l" t="t" r="r" b="b"/>
                <a:pathLst>
                  <a:path w="22167" h="96981">
                    <a:moveTo>
                      <a:pt x="8313" y="0"/>
                    </a:moveTo>
                    <a:cubicBezTo>
                      <a:pt x="15702" y="1847"/>
                      <a:pt x="20320" y="6465"/>
                      <a:pt x="22167" y="13854"/>
                    </a:cubicBezTo>
                    <a:lnTo>
                      <a:pt x="22167" y="91440"/>
                    </a:lnTo>
                    <a:lnTo>
                      <a:pt x="16626" y="96981"/>
                    </a:lnTo>
                    <a:lnTo>
                      <a:pt x="0" y="80356"/>
                    </a:lnTo>
                    <a:lnTo>
                      <a:pt x="0" y="22167"/>
                    </a:lnTo>
                    <a:lnTo>
                      <a:pt x="8313"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33" name="Freeform: Shape 1732">
                <a:extLst>
                  <a:ext uri="{FF2B5EF4-FFF2-40B4-BE49-F238E27FC236}">
                    <a16:creationId xmlns:a16="http://schemas.microsoft.com/office/drawing/2014/main" id="{F5E9FC18-0BDB-489D-ABF2-0A257F7FA467}"/>
                  </a:ext>
                </a:extLst>
              </p:cNvPr>
              <p:cNvSpPr/>
              <p:nvPr/>
            </p:nvSpPr>
            <p:spPr bwMode="auto">
              <a:xfrm>
                <a:off x="3874742" y="3017660"/>
                <a:ext cx="96705" cy="22167"/>
              </a:xfrm>
              <a:custGeom>
                <a:avLst/>
                <a:gdLst/>
                <a:ahLst/>
                <a:cxnLst/>
                <a:rect l="l" t="t" r="r" b="b"/>
                <a:pathLst>
                  <a:path w="96705" h="22167">
                    <a:moveTo>
                      <a:pt x="13855" y="0"/>
                    </a:moveTo>
                    <a:lnTo>
                      <a:pt x="96705" y="0"/>
                    </a:lnTo>
                    <a:lnTo>
                      <a:pt x="88392" y="22167"/>
                    </a:lnTo>
                    <a:lnTo>
                      <a:pt x="22168" y="22167"/>
                    </a:lnTo>
                    <a:lnTo>
                      <a:pt x="0" y="13854"/>
                    </a:lnTo>
                    <a:cubicBezTo>
                      <a:pt x="1848" y="6465"/>
                      <a:pt x="6466" y="1847"/>
                      <a:pt x="13855"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34" name="Freeform: Shape 1733">
                <a:extLst>
                  <a:ext uri="{FF2B5EF4-FFF2-40B4-BE49-F238E27FC236}">
                    <a16:creationId xmlns:a16="http://schemas.microsoft.com/office/drawing/2014/main" id="{4E492628-B1B7-4CE9-9CDF-9805F7986D1F}"/>
                  </a:ext>
                </a:extLst>
              </p:cNvPr>
              <p:cNvSpPr/>
              <p:nvPr/>
            </p:nvSpPr>
            <p:spPr bwMode="auto">
              <a:xfrm>
                <a:off x="3968676" y="3017660"/>
                <a:ext cx="22167" cy="96981"/>
              </a:xfrm>
              <a:custGeom>
                <a:avLst/>
                <a:gdLst/>
                <a:ahLst/>
                <a:cxnLst/>
                <a:rect l="l" t="t" r="r" b="b"/>
                <a:pathLst>
                  <a:path w="22167" h="96981">
                    <a:moveTo>
                      <a:pt x="8313" y="0"/>
                    </a:moveTo>
                    <a:cubicBezTo>
                      <a:pt x="15702" y="1847"/>
                      <a:pt x="20320" y="6465"/>
                      <a:pt x="22167" y="13854"/>
                    </a:cubicBezTo>
                    <a:lnTo>
                      <a:pt x="22167" y="91440"/>
                    </a:lnTo>
                    <a:lnTo>
                      <a:pt x="16626" y="96981"/>
                    </a:lnTo>
                    <a:lnTo>
                      <a:pt x="0" y="80356"/>
                    </a:lnTo>
                    <a:lnTo>
                      <a:pt x="0" y="22167"/>
                    </a:lnTo>
                    <a:lnTo>
                      <a:pt x="8313"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35" name="Freeform: Shape 1734">
                <a:extLst>
                  <a:ext uri="{FF2B5EF4-FFF2-40B4-BE49-F238E27FC236}">
                    <a16:creationId xmlns:a16="http://schemas.microsoft.com/office/drawing/2014/main" id="{352CF9FD-A9C9-433E-B696-5F89252F69EE}"/>
                  </a:ext>
                </a:extLst>
              </p:cNvPr>
              <p:cNvSpPr/>
              <p:nvPr/>
            </p:nvSpPr>
            <p:spPr bwMode="auto">
              <a:xfrm>
                <a:off x="4017617" y="3017660"/>
                <a:ext cx="96705" cy="22167"/>
              </a:xfrm>
              <a:custGeom>
                <a:avLst/>
                <a:gdLst/>
                <a:ahLst/>
                <a:cxnLst/>
                <a:rect l="l" t="t" r="r" b="b"/>
                <a:pathLst>
                  <a:path w="96705" h="22167">
                    <a:moveTo>
                      <a:pt x="13855" y="0"/>
                    </a:moveTo>
                    <a:lnTo>
                      <a:pt x="96705" y="0"/>
                    </a:lnTo>
                    <a:lnTo>
                      <a:pt x="88392" y="22167"/>
                    </a:lnTo>
                    <a:lnTo>
                      <a:pt x="22168" y="22167"/>
                    </a:lnTo>
                    <a:lnTo>
                      <a:pt x="0" y="13854"/>
                    </a:lnTo>
                    <a:cubicBezTo>
                      <a:pt x="1848" y="6465"/>
                      <a:pt x="6466" y="1847"/>
                      <a:pt x="13855"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36" name="Freeform: Shape 1735">
                <a:extLst>
                  <a:ext uri="{FF2B5EF4-FFF2-40B4-BE49-F238E27FC236}">
                    <a16:creationId xmlns:a16="http://schemas.microsoft.com/office/drawing/2014/main" id="{FCE8C9EC-211D-4ED3-B7B8-DDFFC0DEF031}"/>
                  </a:ext>
                </a:extLst>
              </p:cNvPr>
              <p:cNvSpPr/>
              <p:nvPr/>
            </p:nvSpPr>
            <p:spPr bwMode="auto">
              <a:xfrm>
                <a:off x="4111551" y="3017660"/>
                <a:ext cx="22167" cy="96981"/>
              </a:xfrm>
              <a:custGeom>
                <a:avLst/>
                <a:gdLst/>
                <a:ahLst/>
                <a:cxnLst/>
                <a:rect l="l" t="t" r="r" b="b"/>
                <a:pathLst>
                  <a:path w="22167" h="96981">
                    <a:moveTo>
                      <a:pt x="8313" y="0"/>
                    </a:moveTo>
                    <a:cubicBezTo>
                      <a:pt x="15702" y="1847"/>
                      <a:pt x="20320" y="6465"/>
                      <a:pt x="22167" y="13854"/>
                    </a:cubicBezTo>
                    <a:lnTo>
                      <a:pt x="22167" y="91440"/>
                    </a:lnTo>
                    <a:lnTo>
                      <a:pt x="16626" y="96981"/>
                    </a:lnTo>
                    <a:lnTo>
                      <a:pt x="0" y="80356"/>
                    </a:lnTo>
                    <a:lnTo>
                      <a:pt x="0" y="22167"/>
                    </a:lnTo>
                    <a:lnTo>
                      <a:pt x="8313"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37" name="Freeform: Shape 1736">
                <a:extLst>
                  <a:ext uri="{FF2B5EF4-FFF2-40B4-BE49-F238E27FC236}">
                    <a16:creationId xmlns:a16="http://schemas.microsoft.com/office/drawing/2014/main" id="{EE30C625-74B8-4FA4-8745-DB98254702E0}"/>
                  </a:ext>
                </a:extLst>
              </p:cNvPr>
              <p:cNvSpPr/>
              <p:nvPr/>
            </p:nvSpPr>
            <p:spPr bwMode="auto">
              <a:xfrm>
                <a:off x="4245940" y="3017660"/>
                <a:ext cx="99753" cy="22167"/>
              </a:xfrm>
              <a:custGeom>
                <a:avLst/>
                <a:gdLst/>
                <a:ahLst/>
                <a:cxnLst/>
                <a:rect l="l" t="t" r="r" b="b"/>
                <a:pathLst>
                  <a:path w="99753" h="22167">
                    <a:moveTo>
                      <a:pt x="0" y="0"/>
                    </a:moveTo>
                    <a:lnTo>
                      <a:pt x="88669" y="0"/>
                    </a:lnTo>
                    <a:lnTo>
                      <a:pt x="99753" y="11083"/>
                    </a:lnTo>
                    <a:lnTo>
                      <a:pt x="88669" y="22167"/>
                    </a:lnTo>
                    <a:lnTo>
                      <a:pt x="22168" y="22167"/>
                    </a:lnTo>
                    <a:lnTo>
                      <a:pt x="0" y="1385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38" name="Freeform: Shape 1737">
                <a:extLst>
                  <a:ext uri="{FF2B5EF4-FFF2-40B4-BE49-F238E27FC236}">
                    <a16:creationId xmlns:a16="http://schemas.microsoft.com/office/drawing/2014/main" id="{1808D7E3-7C0F-4AB4-B7C2-9C87D741030D}"/>
                  </a:ext>
                </a:extLst>
              </p:cNvPr>
              <p:cNvSpPr/>
              <p:nvPr/>
            </p:nvSpPr>
            <p:spPr bwMode="auto">
              <a:xfrm>
                <a:off x="4389092" y="3017660"/>
                <a:ext cx="96705" cy="22167"/>
              </a:xfrm>
              <a:custGeom>
                <a:avLst/>
                <a:gdLst/>
                <a:ahLst/>
                <a:cxnLst/>
                <a:rect l="l" t="t" r="r" b="b"/>
                <a:pathLst>
                  <a:path w="96705" h="22167">
                    <a:moveTo>
                      <a:pt x="13855" y="0"/>
                    </a:moveTo>
                    <a:lnTo>
                      <a:pt x="96705" y="0"/>
                    </a:lnTo>
                    <a:lnTo>
                      <a:pt x="88392" y="22167"/>
                    </a:lnTo>
                    <a:lnTo>
                      <a:pt x="22168" y="22167"/>
                    </a:lnTo>
                    <a:lnTo>
                      <a:pt x="0" y="13854"/>
                    </a:lnTo>
                    <a:cubicBezTo>
                      <a:pt x="1848" y="6465"/>
                      <a:pt x="6466" y="1847"/>
                      <a:pt x="13855"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39" name="Freeform: Shape 1738">
                <a:extLst>
                  <a:ext uri="{FF2B5EF4-FFF2-40B4-BE49-F238E27FC236}">
                    <a16:creationId xmlns:a16="http://schemas.microsoft.com/office/drawing/2014/main" id="{3C5BE2DF-48D5-4850-AC1A-82FF1E1BB654}"/>
                  </a:ext>
                </a:extLst>
              </p:cNvPr>
              <p:cNvSpPr/>
              <p:nvPr/>
            </p:nvSpPr>
            <p:spPr bwMode="auto">
              <a:xfrm>
                <a:off x="4483026" y="3017660"/>
                <a:ext cx="22167" cy="96981"/>
              </a:xfrm>
              <a:custGeom>
                <a:avLst/>
                <a:gdLst/>
                <a:ahLst/>
                <a:cxnLst/>
                <a:rect l="l" t="t" r="r" b="b"/>
                <a:pathLst>
                  <a:path w="22167" h="96981">
                    <a:moveTo>
                      <a:pt x="8313" y="0"/>
                    </a:moveTo>
                    <a:cubicBezTo>
                      <a:pt x="15702" y="1847"/>
                      <a:pt x="20320" y="6465"/>
                      <a:pt x="22167" y="13854"/>
                    </a:cubicBezTo>
                    <a:lnTo>
                      <a:pt x="22167" y="91440"/>
                    </a:lnTo>
                    <a:lnTo>
                      <a:pt x="16626" y="96981"/>
                    </a:lnTo>
                    <a:lnTo>
                      <a:pt x="0" y="80356"/>
                    </a:lnTo>
                    <a:lnTo>
                      <a:pt x="0" y="22167"/>
                    </a:lnTo>
                    <a:lnTo>
                      <a:pt x="8313"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40" name="Freeform: Shape 1739">
                <a:extLst>
                  <a:ext uri="{FF2B5EF4-FFF2-40B4-BE49-F238E27FC236}">
                    <a16:creationId xmlns:a16="http://schemas.microsoft.com/office/drawing/2014/main" id="{F7682EAD-59A1-42A6-87FC-8A67F79F60CF}"/>
                  </a:ext>
                </a:extLst>
              </p:cNvPr>
              <p:cNvSpPr/>
              <p:nvPr/>
            </p:nvSpPr>
            <p:spPr bwMode="auto">
              <a:xfrm>
                <a:off x="4340151" y="3031514"/>
                <a:ext cx="22167" cy="83127"/>
              </a:xfrm>
              <a:custGeom>
                <a:avLst/>
                <a:gdLst/>
                <a:ahLst/>
                <a:cxnLst/>
                <a:rect l="l" t="t" r="r" b="b"/>
                <a:pathLst>
                  <a:path w="22167" h="83127">
                    <a:moveTo>
                      <a:pt x="8313" y="0"/>
                    </a:moveTo>
                    <a:lnTo>
                      <a:pt x="22167" y="13855"/>
                    </a:lnTo>
                    <a:lnTo>
                      <a:pt x="22167" y="77586"/>
                    </a:lnTo>
                    <a:lnTo>
                      <a:pt x="16626" y="83127"/>
                    </a:lnTo>
                    <a:lnTo>
                      <a:pt x="0" y="66502"/>
                    </a:lnTo>
                    <a:lnTo>
                      <a:pt x="0" y="8313"/>
                    </a:lnTo>
                    <a:lnTo>
                      <a:pt x="8313"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41" name="Freeform: Shape 1740">
                <a:extLst>
                  <a:ext uri="{FF2B5EF4-FFF2-40B4-BE49-F238E27FC236}">
                    <a16:creationId xmlns:a16="http://schemas.microsoft.com/office/drawing/2014/main" id="{AB98F5BD-FCF9-482C-B9F3-F44162163850}"/>
                  </a:ext>
                </a:extLst>
              </p:cNvPr>
              <p:cNvSpPr/>
              <p:nvPr/>
            </p:nvSpPr>
            <p:spPr bwMode="auto">
              <a:xfrm>
                <a:off x="4017340" y="3037056"/>
                <a:ext cx="22167" cy="77585"/>
              </a:xfrm>
              <a:custGeom>
                <a:avLst/>
                <a:gdLst/>
                <a:ahLst/>
                <a:cxnLst/>
                <a:rect l="l" t="t" r="r" b="b"/>
                <a:pathLst>
                  <a:path w="22167" h="77585">
                    <a:moveTo>
                      <a:pt x="0" y="0"/>
                    </a:moveTo>
                    <a:lnTo>
                      <a:pt x="22167" y="8313"/>
                    </a:lnTo>
                    <a:lnTo>
                      <a:pt x="22167" y="60960"/>
                    </a:lnTo>
                    <a:lnTo>
                      <a:pt x="5542"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42" name="Freeform: Shape 1741">
                <a:extLst>
                  <a:ext uri="{FF2B5EF4-FFF2-40B4-BE49-F238E27FC236}">
                    <a16:creationId xmlns:a16="http://schemas.microsoft.com/office/drawing/2014/main" id="{C8780D7D-F047-4DEE-A13C-03A57471ED9B}"/>
                  </a:ext>
                </a:extLst>
              </p:cNvPr>
              <p:cNvSpPr/>
              <p:nvPr/>
            </p:nvSpPr>
            <p:spPr bwMode="auto">
              <a:xfrm>
                <a:off x="4245939" y="3037056"/>
                <a:ext cx="22168" cy="77585"/>
              </a:xfrm>
              <a:custGeom>
                <a:avLst/>
                <a:gdLst/>
                <a:ahLst/>
                <a:cxnLst/>
                <a:rect l="l" t="t" r="r" b="b"/>
                <a:pathLst>
                  <a:path w="22168" h="77585">
                    <a:moveTo>
                      <a:pt x="0" y="0"/>
                    </a:moveTo>
                    <a:lnTo>
                      <a:pt x="22168" y="8313"/>
                    </a:lnTo>
                    <a:lnTo>
                      <a:pt x="22168" y="60960"/>
                    </a:lnTo>
                    <a:lnTo>
                      <a:pt x="5542"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43" name="Freeform: Shape 1742">
                <a:extLst>
                  <a:ext uri="{FF2B5EF4-FFF2-40B4-BE49-F238E27FC236}">
                    <a16:creationId xmlns:a16="http://schemas.microsoft.com/office/drawing/2014/main" id="{4EF9C2F1-241E-427A-8D9C-DD985C0ACABA}"/>
                  </a:ext>
                </a:extLst>
              </p:cNvPr>
              <p:cNvSpPr/>
              <p:nvPr/>
            </p:nvSpPr>
            <p:spPr bwMode="auto">
              <a:xfrm>
                <a:off x="4388815" y="3037056"/>
                <a:ext cx="22167" cy="77585"/>
              </a:xfrm>
              <a:custGeom>
                <a:avLst/>
                <a:gdLst/>
                <a:ahLst/>
                <a:cxnLst/>
                <a:rect l="l" t="t" r="r" b="b"/>
                <a:pathLst>
                  <a:path w="22167" h="77585">
                    <a:moveTo>
                      <a:pt x="0" y="0"/>
                    </a:moveTo>
                    <a:lnTo>
                      <a:pt x="22167" y="8313"/>
                    </a:lnTo>
                    <a:lnTo>
                      <a:pt x="22167" y="60960"/>
                    </a:lnTo>
                    <a:lnTo>
                      <a:pt x="5542" y="77585"/>
                    </a:lnTo>
                    <a:lnTo>
                      <a:pt x="0" y="72044"/>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44" name="Freeform: Shape 1743">
                <a:extLst>
                  <a:ext uri="{FF2B5EF4-FFF2-40B4-BE49-F238E27FC236}">
                    <a16:creationId xmlns:a16="http://schemas.microsoft.com/office/drawing/2014/main" id="{3CFB05CA-CA9C-4035-A6F0-6276DCFB58D4}"/>
                  </a:ext>
                </a:extLst>
              </p:cNvPr>
              <p:cNvSpPr/>
              <p:nvPr/>
            </p:nvSpPr>
            <p:spPr bwMode="auto">
              <a:xfrm>
                <a:off x="4435921" y="3045368"/>
                <a:ext cx="22167" cy="74814"/>
              </a:xfrm>
              <a:custGeom>
                <a:avLst/>
                <a:gdLst/>
                <a:ahLst/>
                <a:cxnLst/>
                <a:rect l="l" t="t" r="r" b="b"/>
                <a:pathLst>
                  <a:path w="22167" h="74814">
                    <a:moveTo>
                      <a:pt x="0" y="0"/>
                    </a:moveTo>
                    <a:lnTo>
                      <a:pt x="22167" y="0"/>
                    </a:lnTo>
                    <a:lnTo>
                      <a:pt x="22167" y="63731"/>
                    </a:lnTo>
                    <a:lnTo>
                      <a:pt x="11083" y="74814"/>
                    </a:lnTo>
                    <a:lnTo>
                      <a:pt x="0" y="63731"/>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45" name="Freeform: Shape 1744">
                <a:extLst>
                  <a:ext uri="{FF2B5EF4-FFF2-40B4-BE49-F238E27FC236}">
                    <a16:creationId xmlns:a16="http://schemas.microsoft.com/office/drawing/2014/main" id="{B8ABAB48-4D83-4D73-B2BB-D2E0A3C7BA1C}"/>
                  </a:ext>
                </a:extLst>
              </p:cNvPr>
              <p:cNvSpPr/>
              <p:nvPr/>
            </p:nvSpPr>
            <p:spPr bwMode="auto">
              <a:xfrm>
                <a:off x="3826840" y="3061993"/>
                <a:ext cx="22167" cy="22168"/>
              </a:xfrm>
              <a:custGeom>
                <a:avLst/>
                <a:gdLst/>
                <a:ahLst/>
                <a:cxnLst/>
                <a:rect l="l" t="t" r="r" b="b"/>
                <a:pathLst>
                  <a:path w="22167" h="22168">
                    <a:moveTo>
                      <a:pt x="0" y="0"/>
                    </a:moveTo>
                    <a:lnTo>
                      <a:pt x="22167" y="0"/>
                    </a:lnTo>
                    <a:lnTo>
                      <a:pt x="22167" y="22168"/>
                    </a:lnTo>
                    <a:lnTo>
                      <a:pt x="0" y="22168"/>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46" name="Freeform: Shape 1745">
                <a:extLst>
                  <a:ext uri="{FF2B5EF4-FFF2-40B4-BE49-F238E27FC236}">
                    <a16:creationId xmlns:a16="http://schemas.microsoft.com/office/drawing/2014/main" id="{4858CB70-5312-4A8F-AA83-73E0E7148D93}"/>
                  </a:ext>
                </a:extLst>
              </p:cNvPr>
              <p:cNvSpPr/>
              <p:nvPr/>
            </p:nvSpPr>
            <p:spPr bwMode="auto">
              <a:xfrm>
                <a:off x="3885549" y="3106329"/>
                <a:ext cx="94211" cy="22167"/>
              </a:xfrm>
              <a:custGeom>
                <a:avLst/>
                <a:gdLst/>
                <a:ahLst/>
                <a:cxnLst/>
                <a:rect l="l" t="t" r="r" b="b"/>
                <a:pathLst>
                  <a:path w="94211" h="22167">
                    <a:moveTo>
                      <a:pt x="11083" y="0"/>
                    </a:moveTo>
                    <a:lnTo>
                      <a:pt x="83127" y="0"/>
                    </a:lnTo>
                    <a:lnTo>
                      <a:pt x="94211" y="11083"/>
                    </a:lnTo>
                    <a:lnTo>
                      <a:pt x="83127" y="22167"/>
                    </a:lnTo>
                    <a:lnTo>
                      <a:pt x="11083" y="22167"/>
                    </a:lnTo>
                    <a:lnTo>
                      <a:pt x="0" y="11083"/>
                    </a:lnTo>
                    <a:lnTo>
                      <a:pt x="11083"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47" name="Freeform: Shape 1746">
                <a:extLst>
                  <a:ext uri="{FF2B5EF4-FFF2-40B4-BE49-F238E27FC236}">
                    <a16:creationId xmlns:a16="http://schemas.microsoft.com/office/drawing/2014/main" id="{394566A2-153F-45B7-83D5-62FC1727D0EC}"/>
                  </a:ext>
                </a:extLst>
              </p:cNvPr>
              <p:cNvSpPr/>
              <p:nvPr/>
            </p:nvSpPr>
            <p:spPr bwMode="auto">
              <a:xfrm>
                <a:off x="4257024" y="3106329"/>
                <a:ext cx="94211" cy="22167"/>
              </a:xfrm>
              <a:custGeom>
                <a:avLst/>
                <a:gdLst/>
                <a:ahLst/>
                <a:cxnLst/>
                <a:rect l="l" t="t" r="r" b="b"/>
                <a:pathLst>
                  <a:path w="94211" h="22167">
                    <a:moveTo>
                      <a:pt x="11084" y="0"/>
                    </a:moveTo>
                    <a:lnTo>
                      <a:pt x="83127" y="0"/>
                    </a:lnTo>
                    <a:lnTo>
                      <a:pt x="94211" y="11083"/>
                    </a:lnTo>
                    <a:lnTo>
                      <a:pt x="83127" y="22167"/>
                    </a:lnTo>
                    <a:lnTo>
                      <a:pt x="11084" y="22167"/>
                    </a:lnTo>
                    <a:lnTo>
                      <a:pt x="0" y="11083"/>
                    </a:lnTo>
                    <a:lnTo>
                      <a:pt x="11084"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48" name="Freeform: Shape 1747">
                <a:extLst>
                  <a:ext uri="{FF2B5EF4-FFF2-40B4-BE49-F238E27FC236}">
                    <a16:creationId xmlns:a16="http://schemas.microsoft.com/office/drawing/2014/main" id="{5AE47F7E-8C14-4121-9000-0A7A5811DDB1}"/>
                  </a:ext>
                </a:extLst>
              </p:cNvPr>
              <p:cNvSpPr/>
              <p:nvPr/>
            </p:nvSpPr>
            <p:spPr bwMode="auto">
              <a:xfrm>
                <a:off x="3779215" y="3120182"/>
                <a:ext cx="22167" cy="96982"/>
              </a:xfrm>
              <a:custGeom>
                <a:avLst/>
                <a:gdLst/>
                <a:ahLst/>
                <a:cxnLst/>
                <a:rect l="l" t="t" r="r" b="b"/>
                <a:pathLst>
                  <a:path w="22167" h="96982">
                    <a:moveTo>
                      <a:pt x="16626" y="0"/>
                    </a:moveTo>
                    <a:lnTo>
                      <a:pt x="22167" y="5542"/>
                    </a:lnTo>
                    <a:lnTo>
                      <a:pt x="22167" y="83128"/>
                    </a:lnTo>
                    <a:cubicBezTo>
                      <a:pt x="20320" y="90517"/>
                      <a:pt x="15702" y="95135"/>
                      <a:pt x="8313" y="96982"/>
                    </a:cubicBezTo>
                    <a:lnTo>
                      <a:pt x="0" y="74815"/>
                    </a:lnTo>
                    <a:lnTo>
                      <a:pt x="0" y="16626"/>
                    </a:lnTo>
                    <a:lnTo>
                      <a:pt x="16626"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49" name="Freeform: Shape 1748">
                <a:extLst>
                  <a:ext uri="{FF2B5EF4-FFF2-40B4-BE49-F238E27FC236}">
                    <a16:creationId xmlns:a16="http://schemas.microsoft.com/office/drawing/2014/main" id="{8AEEA419-FCC0-4239-A083-26FAAAE26EA1}"/>
                  </a:ext>
                </a:extLst>
              </p:cNvPr>
              <p:cNvSpPr/>
              <p:nvPr/>
            </p:nvSpPr>
            <p:spPr bwMode="auto">
              <a:xfrm>
                <a:off x="3968676" y="3120182"/>
                <a:ext cx="22167" cy="96982"/>
              </a:xfrm>
              <a:custGeom>
                <a:avLst/>
                <a:gdLst/>
                <a:ahLst/>
                <a:cxnLst/>
                <a:rect l="l" t="t" r="r" b="b"/>
                <a:pathLst>
                  <a:path w="22167" h="96982">
                    <a:moveTo>
                      <a:pt x="16626" y="0"/>
                    </a:moveTo>
                    <a:lnTo>
                      <a:pt x="22167" y="5542"/>
                    </a:lnTo>
                    <a:lnTo>
                      <a:pt x="22167" y="83128"/>
                    </a:lnTo>
                    <a:cubicBezTo>
                      <a:pt x="20320" y="90517"/>
                      <a:pt x="15702" y="95135"/>
                      <a:pt x="8313" y="96982"/>
                    </a:cubicBezTo>
                    <a:lnTo>
                      <a:pt x="0" y="74815"/>
                    </a:lnTo>
                    <a:lnTo>
                      <a:pt x="0" y="16626"/>
                    </a:lnTo>
                    <a:lnTo>
                      <a:pt x="16626"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50" name="Freeform: Shape 1749">
                <a:extLst>
                  <a:ext uri="{FF2B5EF4-FFF2-40B4-BE49-F238E27FC236}">
                    <a16:creationId xmlns:a16="http://schemas.microsoft.com/office/drawing/2014/main" id="{19FC33A5-21C0-4F15-A3D5-4B074E828E74}"/>
                  </a:ext>
                </a:extLst>
              </p:cNvPr>
              <p:cNvSpPr/>
              <p:nvPr/>
            </p:nvSpPr>
            <p:spPr bwMode="auto">
              <a:xfrm>
                <a:off x="4017340" y="3120182"/>
                <a:ext cx="22167" cy="77586"/>
              </a:xfrm>
              <a:custGeom>
                <a:avLst/>
                <a:gdLst/>
                <a:ahLst/>
                <a:cxnLst/>
                <a:rect l="l" t="t" r="r" b="b"/>
                <a:pathLst>
                  <a:path w="22167" h="77586">
                    <a:moveTo>
                      <a:pt x="5542" y="0"/>
                    </a:moveTo>
                    <a:lnTo>
                      <a:pt x="22167" y="16626"/>
                    </a:lnTo>
                    <a:lnTo>
                      <a:pt x="22167" y="69273"/>
                    </a:lnTo>
                    <a:lnTo>
                      <a:pt x="0" y="77586"/>
                    </a:lnTo>
                    <a:lnTo>
                      <a:pt x="0" y="5542"/>
                    </a:lnTo>
                    <a:lnTo>
                      <a:pt x="554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51" name="Freeform: Shape 1750">
                <a:extLst>
                  <a:ext uri="{FF2B5EF4-FFF2-40B4-BE49-F238E27FC236}">
                    <a16:creationId xmlns:a16="http://schemas.microsoft.com/office/drawing/2014/main" id="{CEBD5F83-EE53-4024-B7E1-0CF453E35646}"/>
                  </a:ext>
                </a:extLst>
              </p:cNvPr>
              <p:cNvSpPr/>
              <p:nvPr/>
            </p:nvSpPr>
            <p:spPr bwMode="auto">
              <a:xfrm>
                <a:off x="4111551" y="3120182"/>
                <a:ext cx="22167" cy="96982"/>
              </a:xfrm>
              <a:custGeom>
                <a:avLst/>
                <a:gdLst/>
                <a:ahLst/>
                <a:cxnLst/>
                <a:rect l="l" t="t" r="r" b="b"/>
                <a:pathLst>
                  <a:path w="22167" h="96982">
                    <a:moveTo>
                      <a:pt x="16626" y="0"/>
                    </a:moveTo>
                    <a:lnTo>
                      <a:pt x="22167" y="5542"/>
                    </a:lnTo>
                    <a:lnTo>
                      <a:pt x="22167" y="83128"/>
                    </a:lnTo>
                    <a:cubicBezTo>
                      <a:pt x="20320" y="90517"/>
                      <a:pt x="15702" y="95135"/>
                      <a:pt x="8313" y="96982"/>
                    </a:cubicBezTo>
                    <a:lnTo>
                      <a:pt x="0" y="74815"/>
                    </a:lnTo>
                    <a:lnTo>
                      <a:pt x="0" y="16626"/>
                    </a:lnTo>
                    <a:lnTo>
                      <a:pt x="16626"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52" name="Freeform: Shape 1751">
                <a:extLst>
                  <a:ext uri="{FF2B5EF4-FFF2-40B4-BE49-F238E27FC236}">
                    <a16:creationId xmlns:a16="http://schemas.microsoft.com/office/drawing/2014/main" id="{9BE32518-84B9-4944-88C3-5A8C1CF74630}"/>
                  </a:ext>
                </a:extLst>
              </p:cNvPr>
              <p:cNvSpPr/>
              <p:nvPr/>
            </p:nvSpPr>
            <p:spPr bwMode="auto">
              <a:xfrm>
                <a:off x="4245939" y="3120182"/>
                <a:ext cx="22168" cy="96982"/>
              </a:xfrm>
              <a:custGeom>
                <a:avLst/>
                <a:gdLst/>
                <a:ahLst/>
                <a:cxnLst/>
                <a:rect l="l" t="t" r="r" b="b"/>
                <a:pathLst>
                  <a:path w="22168" h="96982">
                    <a:moveTo>
                      <a:pt x="5542" y="0"/>
                    </a:moveTo>
                    <a:lnTo>
                      <a:pt x="22168" y="16626"/>
                    </a:lnTo>
                    <a:lnTo>
                      <a:pt x="22168" y="74815"/>
                    </a:lnTo>
                    <a:lnTo>
                      <a:pt x="13855" y="96982"/>
                    </a:lnTo>
                    <a:cubicBezTo>
                      <a:pt x="6466" y="95135"/>
                      <a:pt x="1847" y="90517"/>
                      <a:pt x="0" y="83128"/>
                    </a:cubicBezTo>
                    <a:lnTo>
                      <a:pt x="0" y="5542"/>
                    </a:lnTo>
                    <a:lnTo>
                      <a:pt x="554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53" name="Freeform: Shape 1752">
                <a:extLst>
                  <a:ext uri="{FF2B5EF4-FFF2-40B4-BE49-F238E27FC236}">
                    <a16:creationId xmlns:a16="http://schemas.microsoft.com/office/drawing/2014/main" id="{A7BA03FE-67A0-456D-9D75-223FD0FDF03F}"/>
                  </a:ext>
                </a:extLst>
              </p:cNvPr>
              <p:cNvSpPr/>
              <p:nvPr/>
            </p:nvSpPr>
            <p:spPr bwMode="auto">
              <a:xfrm>
                <a:off x="4388815" y="3120182"/>
                <a:ext cx="22167" cy="96982"/>
              </a:xfrm>
              <a:custGeom>
                <a:avLst/>
                <a:gdLst/>
                <a:ahLst/>
                <a:cxnLst/>
                <a:rect l="l" t="t" r="r" b="b"/>
                <a:pathLst>
                  <a:path w="22167" h="96982">
                    <a:moveTo>
                      <a:pt x="5542" y="0"/>
                    </a:moveTo>
                    <a:lnTo>
                      <a:pt x="22167" y="16626"/>
                    </a:lnTo>
                    <a:lnTo>
                      <a:pt x="22167" y="74815"/>
                    </a:lnTo>
                    <a:lnTo>
                      <a:pt x="13855" y="96982"/>
                    </a:lnTo>
                    <a:cubicBezTo>
                      <a:pt x="6466" y="95135"/>
                      <a:pt x="1848" y="90517"/>
                      <a:pt x="0" y="83128"/>
                    </a:cubicBezTo>
                    <a:lnTo>
                      <a:pt x="0" y="5542"/>
                    </a:lnTo>
                    <a:lnTo>
                      <a:pt x="5542"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54" name="Freeform: Shape 1753">
                <a:extLst>
                  <a:ext uri="{FF2B5EF4-FFF2-40B4-BE49-F238E27FC236}">
                    <a16:creationId xmlns:a16="http://schemas.microsoft.com/office/drawing/2014/main" id="{8DF636A0-A6F3-43B2-A0F0-2A4D48C787AF}"/>
                  </a:ext>
                </a:extLst>
              </p:cNvPr>
              <p:cNvSpPr/>
              <p:nvPr/>
            </p:nvSpPr>
            <p:spPr bwMode="auto">
              <a:xfrm>
                <a:off x="4483026" y="3120182"/>
                <a:ext cx="22167" cy="96982"/>
              </a:xfrm>
              <a:custGeom>
                <a:avLst/>
                <a:gdLst/>
                <a:ahLst/>
                <a:cxnLst/>
                <a:rect l="l" t="t" r="r" b="b"/>
                <a:pathLst>
                  <a:path w="22167" h="96982">
                    <a:moveTo>
                      <a:pt x="16626" y="0"/>
                    </a:moveTo>
                    <a:lnTo>
                      <a:pt x="22167" y="5542"/>
                    </a:lnTo>
                    <a:lnTo>
                      <a:pt x="22167" y="83128"/>
                    </a:lnTo>
                    <a:cubicBezTo>
                      <a:pt x="20320" y="90517"/>
                      <a:pt x="15702" y="95135"/>
                      <a:pt x="8313" y="96982"/>
                    </a:cubicBezTo>
                    <a:lnTo>
                      <a:pt x="0" y="74815"/>
                    </a:lnTo>
                    <a:lnTo>
                      <a:pt x="0" y="16626"/>
                    </a:lnTo>
                    <a:lnTo>
                      <a:pt x="16626"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55" name="Freeform: Shape 1754">
                <a:extLst>
                  <a:ext uri="{FF2B5EF4-FFF2-40B4-BE49-F238E27FC236}">
                    <a16:creationId xmlns:a16="http://schemas.microsoft.com/office/drawing/2014/main" id="{8412C022-834B-4772-8A32-078EF35F8F77}"/>
                  </a:ext>
                </a:extLst>
              </p:cNvPr>
              <p:cNvSpPr/>
              <p:nvPr/>
            </p:nvSpPr>
            <p:spPr bwMode="auto">
              <a:xfrm>
                <a:off x="3826840" y="3150662"/>
                <a:ext cx="22167" cy="22168"/>
              </a:xfrm>
              <a:custGeom>
                <a:avLst/>
                <a:gdLst/>
                <a:ahLst/>
                <a:cxnLst/>
                <a:rect l="l" t="t" r="r" b="b"/>
                <a:pathLst>
                  <a:path w="22167" h="22168">
                    <a:moveTo>
                      <a:pt x="0" y="0"/>
                    </a:moveTo>
                    <a:lnTo>
                      <a:pt x="22167" y="0"/>
                    </a:lnTo>
                    <a:lnTo>
                      <a:pt x="22167" y="22168"/>
                    </a:lnTo>
                    <a:lnTo>
                      <a:pt x="0" y="22168"/>
                    </a:lnTo>
                    <a:lnTo>
                      <a:pt x="0"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56" name="Freeform: Shape 1755">
                <a:extLst>
                  <a:ext uri="{FF2B5EF4-FFF2-40B4-BE49-F238E27FC236}">
                    <a16:creationId xmlns:a16="http://schemas.microsoft.com/office/drawing/2014/main" id="{6F504829-4FBE-437D-83A7-D34A8DFF63DE}"/>
                  </a:ext>
                </a:extLst>
              </p:cNvPr>
              <p:cNvSpPr/>
              <p:nvPr/>
            </p:nvSpPr>
            <p:spPr bwMode="auto">
              <a:xfrm>
                <a:off x="3874464" y="3194998"/>
                <a:ext cx="96982" cy="22167"/>
              </a:xfrm>
              <a:custGeom>
                <a:avLst/>
                <a:gdLst/>
                <a:ahLst/>
                <a:cxnLst/>
                <a:rect l="l" t="t" r="r" b="b"/>
                <a:pathLst>
                  <a:path w="96982" h="22167">
                    <a:moveTo>
                      <a:pt x="22167" y="0"/>
                    </a:moveTo>
                    <a:lnTo>
                      <a:pt x="88669" y="0"/>
                    </a:lnTo>
                    <a:lnTo>
                      <a:pt x="96982" y="22167"/>
                    </a:lnTo>
                    <a:lnTo>
                      <a:pt x="13855" y="22167"/>
                    </a:lnTo>
                    <a:cubicBezTo>
                      <a:pt x="6466" y="20320"/>
                      <a:pt x="1847" y="15702"/>
                      <a:pt x="0" y="8313"/>
                    </a:cubicBezTo>
                    <a:lnTo>
                      <a:pt x="22167"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sp>
            <p:nvSpPr>
              <p:cNvPr id="1757" name="Freeform: Shape 1756">
                <a:extLst>
                  <a:ext uri="{FF2B5EF4-FFF2-40B4-BE49-F238E27FC236}">
                    <a16:creationId xmlns:a16="http://schemas.microsoft.com/office/drawing/2014/main" id="{4347D0E2-F3F1-41C5-A289-86465CE0D3D4}"/>
                  </a:ext>
                </a:extLst>
              </p:cNvPr>
              <p:cNvSpPr/>
              <p:nvPr/>
            </p:nvSpPr>
            <p:spPr bwMode="auto">
              <a:xfrm>
                <a:off x="4017339" y="3194998"/>
                <a:ext cx="96982" cy="22167"/>
              </a:xfrm>
              <a:custGeom>
                <a:avLst/>
                <a:gdLst/>
                <a:ahLst/>
                <a:cxnLst/>
                <a:rect l="l" t="t" r="r" b="b"/>
                <a:pathLst>
                  <a:path w="96982" h="22167">
                    <a:moveTo>
                      <a:pt x="22167" y="0"/>
                    </a:moveTo>
                    <a:lnTo>
                      <a:pt x="88669" y="0"/>
                    </a:lnTo>
                    <a:lnTo>
                      <a:pt x="96982" y="22167"/>
                    </a:lnTo>
                    <a:lnTo>
                      <a:pt x="13855" y="22167"/>
                    </a:lnTo>
                    <a:cubicBezTo>
                      <a:pt x="6466" y="20320"/>
                      <a:pt x="1847" y="15702"/>
                      <a:pt x="0" y="8313"/>
                    </a:cubicBezTo>
                    <a:lnTo>
                      <a:pt x="22167"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Digital-7" panose="02000000000000000000" pitchFamily="2" charset="0"/>
                  <a:ea typeface="Segoe UI" pitchFamily="34" charset="0"/>
                  <a:cs typeface="Segoe UI" pitchFamily="34" charset="0"/>
                </a:endParaRPr>
              </a:p>
            </p:txBody>
          </p:sp>
        </p:grpSp>
      </p:grpSp>
      <p:sp>
        <p:nvSpPr>
          <p:cNvPr id="1851" name="TextBox 1850">
            <a:extLst>
              <a:ext uri="{FF2B5EF4-FFF2-40B4-BE49-F238E27FC236}">
                <a16:creationId xmlns:a16="http://schemas.microsoft.com/office/drawing/2014/main" id="{6D65152C-B8A8-46E8-8C7F-46CE88DDA157}"/>
              </a:ext>
            </a:extLst>
          </p:cNvPr>
          <p:cNvSpPr txBox="1"/>
          <p:nvPr/>
        </p:nvSpPr>
        <p:spPr>
          <a:xfrm>
            <a:off x="5407428" y="5163098"/>
            <a:ext cx="1319686" cy="128050"/>
          </a:xfrm>
          <a:prstGeom prst="rect">
            <a:avLst/>
          </a:prstGeom>
          <a:noFill/>
        </p:spPr>
        <p:txBody>
          <a:bodyPr wrap="none" lIns="0" tIns="0" rIns="0" bIns="0" rtlCol="0">
            <a:noAutofit/>
          </a:bodyPr>
          <a:lstStyle/>
          <a:p>
            <a:pPr defTabSz="932307">
              <a:lnSpc>
                <a:spcPct val="90000"/>
              </a:lnSpc>
              <a:spcAft>
                <a:spcPts val="600"/>
              </a:spcAft>
              <a:defRPr/>
            </a:pPr>
            <a:r>
              <a:rPr lang="en-US" sz="1078" kern="0" dirty="0">
                <a:latin typeface="Segoe UI Semibold" panose="020B0702040204020203" pitchFamily="34" charset="0"/>
                <a:cs typeface="Segoe UI Semibold" panose="020B0702040204020203" pitchFamily="34" charset="0"/>
              </a:rPr>
              <a:t>Global Control Room</a:t>
            </a:r>
          </a:p>
        </p:txBody>
      </p:sp>
      <p:sp>
        <p:nvSpPr>
          <p:cNvPr id="1852" name="Freeform 11">
            <a:extLst>
              <a:ext uri="{FF2B5EF4-FFF2-40B4-BE49-F238E27FC236}">
                <a16:creationId xmlns:a16="http://schemas.microsoft.com/office/drawing/2014/main" id="{384B818B-E9AA-42E3-8CB4-6A65124BBC21}"/>
              </a:ext>
            </a:extLst>
          </p:cNvPr>
          <p:cNvSpPr>
            <a:spLocks/>
          </p:cNvSpPr>
          <p:nvPr/>
        </p:nvSpPr>
        <p:spPr bwMode="auto">
          <a:xfrm>
            <a:off x="5336707" y="2104774"/>
            <a:ext cx="6406445" cy="235412"/>
          </a:xfrm>
          <a:custGeom>
            <a:avLst/>
            <a:gdLst>
              <a:gd name="T0" fmla="*/ 0 w 1686"/>
              <a:gd name="T1" fmla="*/ 0 h 66"/>
              <a:gd name="T2" fmla="*/ 1686 w 1686"/>
              <a:gd name="T3" fmla="*/ 0 h 66"/>
              <a:gd name="T4" fmla="*/ 1686 w 1686"/>
              <a:gd name="T5" fmla="*/ 66 h 66"/>
              <a:gd name="T6" fmla="*/ 0 w 1686"/>
              <a:gd name="T7" fmla="*/ 66 h 66"/>
              <a:gd name="T8" fmla="*/ 0 w 1686"/>
              <a:gd name="T9" fmla="*/ 0 h 66"/>
              <a:gd name="T10" fmla="*/ 0 w 1686"/>
              <a:gd name="T11" fmla="*/ 0 h 66"/>
            </a:gdLst>
            <a:ahLst/>
            <a:cxnLst>
              <a:cxn ang="0">
                <a:pos x="T0" y="T1"/>
              </a:cxn>
              <a:cxn ang="0">
                <a:pos x="T2" y="T3"/>
              </a:cxn>
              <a:cxn ang="0">
                <a:pos x="T4" y="T5"/>
              </a:cxn>
              <a:cxn ang="0">
                <a:pos x="T6" y="T7"/>
              </a:cxn>
              <a:cxn ang="0">
                <a:pos x="T8" y="T9"/>
              </a:cxn>
              <a:cxn ang="0">
                <a:pos x="T10" y="T11"/>
              </a:cxn>
            </a:cxnLst>
            <a:rect l="0" t="0" r="r" b="b"/>
            <a:pathLst>
              <a:path w="1686" h="66">
                <a:moveTo>
                  <a:pt x="0" y="0"/>
                </a:moveTo>
                <a:lnTo>
                  <a:pt x="1686" y="0"/>
                </a:lnTo>
                <a:lnTo>
                  <a:pt x="1686" y="66"/>
                </a:lnTo>
                <a:lnTo>
                  <a:pt x="0" y="66"/>
                </a:lnTo>
                <a:lnTo>
                  <a:pt x="0" y="0"/>
                </a:lnTo>
                <a:lnTo>
                  <a:pt x="0" y="0"/>
                </a:lnTo>
                <a:close/>
              </a:path>
            </a:pathLst>
          </a:custGeom>
          <a:solidFill>
            <a:schemeClr val="bg1">
              <a:lumMod val="50000"/>
            </a:schemeClr>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53" name="Freeform 16">
            <a:extLst>
              <a:ext uri="{FF2B5EF4-FFF2-40B4-BE49-F238E27FC236}">
                <a16:creationId xmlns:a16="http://schemas.microsoft.com/office/drawing/2014/main" id="{A4209CE1-73FE-459C-93B4-75ADF2C50DD4}"/>
              </a:ext>
            </a:extLst>
          </p:cNvPr>
          <p:cNvSpPr>
            <a:spLocks noEditPoints="1"/>
          </p:cNvSpPr>
          <p:nvPr/>
        </p:nvSpPr>
        <p:spPr bwMode="auto">
          <a:xfrm>
            <a:off x="11490650" y="2152004"/>
            <a:ext cx="159475" cy="159475"/>
          </a:xfrm>
          <a:custGeom>
            <a:avLst/>
            <a:gdLst>
              <a:gd name="T0" fmla="*/ 17 w 21"/>
              <a:gd name="T1" fmla="*/ 10 h 21"/>
              <a:gd name="T2" fmla="*/ 17 w 21"/>
              <a:gd name="T3" fmla="*/ 7 h 21"/>
              <a:gd name="T4" fmla="*/ 10 w 21"/>
              <a:gd name="T5" fmla="*/ 0 h 21"/>
              <a:gd name="T6" fmla="*/ 4 w 21"/>
              <a:gd name="T7" fmla="*/ 7 h 21"/>
              <a:gd name="T8" fmla="*/ 4 w 21"/>
              <a:gd name="T9" fmla="*/ 10 h 21"/>
              <a:gd name="T10" fmla="*/ 0 w 21"/>
              <a:gd name="T11" fmla="*/ 17 h 21"/>
              <a:gd name="T12" fmla="*/ 0 w 21"/>
              <a:gd name="T13" fmla="*/ 21 h 21"/>
              <a:gd name="T14" fmla="*/ 2 w 21"/>
              <a:gd name="T15" fmla="*/ 21 h 21"/>
              <a:gd name="T16" fmla="*/ 2 w 21"/>
              <a:gd name="T17" fmla="*/ 17 h 21"/>
              <a:gd name="T18" fmla="*/ 6 w 21"/>
              <a:gd name="T19" fmla="*/ 11 h 21"/>
              <a:gd name="T20" fmla="*/ 6 w 21"/>
              <a:gd name="T21" fmla="*/ 11 h 21"/>
              <a:gd name="T22" fmla="*/ 6 w 21"/>
              <a:gd name="T23" fmla="*/ 12 h 21"/>
              <a:gd name="T24" fmla="*/ 10 w 21"/>
              <a:gd name="T25" fmla="*/ 14 h 21"/>
              <a:gd name="T26" fmla="*/ 15 w 21"/>
              <a:gd name="T27" fmla="*/ 12 h 21"/>
              <a:gd name="T28" fmla="*/ 15 w 21"/>
              <a:gd name="T29" fmla="*/ 11 h 21"/>
              <a:gd name="T30" fmla="*/ 15 w 21"/>
              <a:gd name="T31" fmla="*/ 11 h 21"/>
              <a:gd name="T32" fmla="*/ 19 w 21"/>
              <a:gd name="T33" fmla="*/ 17 h 21"/>
              <a:gd name="T34" fmla="*/ 19 w 21"/>
              <a:gd name="T35" fmla="*/ 21 h 21"/>
              <a:gd name="T36" fmla="*/ 21 w 21"/>
              <a:gd name="T37" fmla="*/ 21 h 21"/>
              <a:gd name="T38" fmla="*/ 21 w 21"/>
              <a:gd name="T39" fmla="*/ 17 h 21"/>
              <a:gd name="T40" fmla="*/ 17 w 21"/>
              <a:gd name="T41" fmla="*/ 10 h 21"/>
              <a:gd name="T42" fmla="*/ 10 w 21"/>
              <a:gd name="T43" fmla="*/ 2 h 21"/>
              <a:gd name="T44" fmla="*/ 15 w 21"/>
              <a:gd name="T45" fmla="*/ 7 h 21"/>
              <a:gd name="T46" fmla="*/ 14 w 21"/>
              <a:gd name="T47" fmla="*/ 10 h 21"/>
              <a:gd name="T48" fmla="*/ 10 w 21"/>
              <a:gd name="T49" fmla="*/ 11 h 21"/>
              <a:gd name="T50" fmla="*/ 7 w 21"/>
              <a:gd name="T51" fmla="*/ 10 h 21"/>
              <a:gd name="T52" fmla="*/ 6 w 21"/>
              <a:gd name="T53" fmla="*/ 7 h 21"/>
              <a:gd name="T54" fmla="*/ 10 w 21"/>
              <a:gd name="T5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21">
                <a:moveTo>
                  <a:pt x="17" y="10"/>
                </a:moveTo>
                <a:cubicBezTo>
                  <a:pt x="17" y="9"/>
                  <a:pt x="17" y="8"/>
                  <a:pt x="17" y="7"/>
                </a:cubicBezTo>
                <a:cubicBezTo>
                  <a:pt x="17" y="3"/>
                  <a:pt x="14" y="0"/>
                  <a:pt x="10" y="0"/>
                </a:cubicBezTo>
                <a:cubicBezTo>
                  <a:pt x="7" y="0"/>
                  <a:pt x="4" y="3"/>
                  <a:pt x="4" y="7"/>
                </a:cubicBezTo>
                <a:cubicBezTo>
                  <a:pt x="4" y="8"/>
                  <a:pt x="4" y="9"/>
                  <a:pt x="4" y="10"/>
                </a:cubicBezTo>
                <a:cubicBezTo>
                  <a:pt x="2" y="11"/>
                  <a:pt x="0" y="14"/>
                  <a:pt x="0" y="17"/>
                </a:cubicBezTo>
                <a:cubicBezTo>
                  <a:pt x="0" y="21"/>
                  <a:pt x="0" y="21"/>
                  <a:pt x="0" y="21"/>
                </a:cubicBezTo>
                <a:cubicBezTo>
                  <a:pt x="2" y="21"/>
                  <a:pt x="2" y="21"/>
                  <a:pt x="2" y="21"/>
                </a:cubicBezTo>
                <a:cubicBezTo>
                  <a:pt x="2" y="17"/>
                  <a:pt x="2" y="17"/>
                  <a:pt x="2" y="17"/>
                </a:cubicBezTo>
                <a:cubicBezTo>
                  <a:pt x="2" y="15"/>
                  <a:pt x="3" y="12"/>
                  <a:pt x="6" y="11"/>
                </a:cubicBezTo>
                <a:cubicBezTo>
                  <a:pt x="6" y="11"/>
                  <a:pt x="6" y="11"/>
                  <a:pt x="6" y="11"/>
                </a:cubicBezTo>
                <a:cubicBezTo>
                  <a:pt x="6" y="11"/>
                  <a:pt x="6" y="12"/>
                  <a:pt x="6" y="12"/>
                </a:cubicBezTo>
                <a:cubicBezTo>
                  <a:pt x="7" y="13"/>
                  <a:pt x="9" y="14"/>
                  <a:pt x="10" y="14"/>
                </a:cubicBezTo>
                <a:cubicBezTo>
                  <a:pt x="12" y="14"/>
                  <a:pt x="14" y="13"/>
                  <a:pt x="15" y="12"/>
                </a:cubicBezTo>
                <a:cubicBezTo>
                  <a:pt x="15" y="12"/>
                  <a:pt x="15" y="11"/>
                  <a:pt x="15" y="11"/>
                </a:cubicBezTo>
                <a:cubicBezTo>
                  <a:pt x="15" y="11"/>
                  <a:pt x="15" y="11"/>
                  <a:pt x="15" y="11"/>
                </a:cubicBezTo>
                <a:cubicBezTo>
                  <a:pt x="18" y="12"/>
                  <a:pt x="19" y="15"/>
                  <a:pt x="19" y="17"/>
                </a:cubicBezTo>
                <a:cubicBezTo>
                  <a:pt x="19" y="21"/>
                  <a:pt x="19" y="21"/>
                  <a:pt x="19" y="21"/>
                </a:cubicBezTo>
                <a:cubicBezTo>
                  <a:pt x="21" y="21"/>
                  <a:pt x="21" y="21"/>
                  <a:pt x="21" y="21"/>
                </a:cubicBezTo>
                <a:cubicBezTo>
                  <a:pt x="21" y="17"/>
                  <a:pt x="21" y="17"/>
                  <a:pt x="21" y="17"/>
                </a:cubicBezTo>
                <a:cubicBezTo>
                  <a:pt x="21" y="14"/>
                  <a:pt x="19" y="11"/>
                  <a:pt x="17" y="10"/>
                </a:cubicBezTo>
                <a:close/>
                <a:moveTo>
                  <a:pt x="10" y="2"/>
                </a:moveTo>
                <a:cubicBezTo>
                  <a:pt x="13" y="2"/>
                  <a:pt x="15" y="4"/>
                  <a:pt x="15" y="7"/>
                </a:cubicBezTo>
                <a:cubicBezTo>
                  <a:pt x="15" y="8"/>
                  <a:pt x="14" y="9"/>
                  <a:pt x="14" y="10"/>
                </a:cubicBezTo>
                <a:cubicBezTo>
                  <a:pt x="13" y="11"/>
                  <a:pt x="12" y="11"/>
                  <a:pt x="10" y="11"/>
                </a:cubicBezTo>
                <a:cubicBezTo>
                  <a:pt x="9" y="11"/>
                  <a:pt x="8" y="11"/>
                  <a:pt x="7" y="10"/>
                </a:cubicBezTo>
                <a:cubicBezTo>
                  <a:pt x="7" y="9"/>
                  <a:pt x="6" y="8"/>
                  <a:pt x="6" y="7"/>
                </a:cubicBezTo>
                <a:cubicBezTo>
                  <a:pt x="6" y="4"/>
                  <a:pt x="8" y="2"/>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54" name="TextBox 1853">
            <a:extLst>
              <a:ext uri="{FF2B5EF4-FFF2-40B4-BE49-F238E27FC236}">
                <a16:creationId xmlns:a16="http://schemas.microsoft.com/office/drawing/2014/main" id="{0A430675-CE5B-4D2E-8663-64F31261C569}"/>
              </a:ext>
            </a:extLst>
          </p:cNvPr>
          <p:cNvSpPr txBox="1"/>
          <p:nvPr/>
        </p:nvSpPr>
        <p:spPr>
          <a:xfrm>
            <a:off x="5493050" y="2189502"/>
            <a:ext cx="1832596" cy="89599"/>
          </a:xfrm>
          <a:custGeom>
            <a:avLst/>
            <a:gdLst>
              <a:gd name="connsiteX0" fmla="*/ 3551248 w 4027200"/>
              <a:gd name="connsiteY0" fmla="*/ 97766 h 196899"/>
              <a:gd name="connsiteX1" fmla="*/ 3525463 w 4027200"/>
              <a:gd name="connsiteY1" fmla="*/ 101380 h 196899"/>
              <a:gd name="connsiteX2" fmla="*/ 3513938 w 4027200"/>
              <a:gd name="connsiteY2" fmla="*/ 103821 h 196899"/>
              <a:gd name="connsiteX3" fmla="*/ 3506027 w 4027200"/>
              <a:gd name="connsiteY3" fmla="*/ 107777 h 196899"/>
              <a:gd name="connsiteX4" fmla="*/ 3501437 w 4027200"/>
              <a:gd name="connsiteY4" fmla="*/ 113930 h 196899"/>
              <a:gd name="connsiteX5" fmla="*/ 3499972 w 4027200"/>
              <a:gd name="connsiteY5" fmla="*/ 122964 h 196899"/>
              <a:gd name="connsiteX6" fmla="*/ 3501388 w 4027200"/>
              <a:gd name="connsiteY6" fmla="*/ 130387 h 196899"/>
              <a:gd name="connsiteX7" fmla="*/ 3505490 w 4027200"/>
              <a:gd name="connsiteY7" fmla="*/ 136296 h 196899"/>
              <a:gd name="connsiteX8" fmla="*/ 3512034 w 4027200"/>
              <a:gd name="connsiteY8" fmla="*/ 140154 h 196899"/>
              <a:gd name="connsiteX9" fmla="*/ 3520775 w 4027200"/>
              <a:gd name="connsiteY9" fmla="*/ 141521 h 196899"/>
              <a:gd name="connsiteX10" fmla="*/ 3532984 w 4027200"/>
              <a:gd name="connsiteY10" fmla="*/ 138982 h 196899"/>
              <a:gd name="connsiteX11" fmla="*/ 3542604 w 4027200"/>
              <a:gd name="connsiteY11" fmla="*/ 131950 h 196899"/>
              <a:gd name="connsiteX12" fmla="*/ 3548952 w 4027200"/>
              <a:gd name="connsiteY12" fmla="*/ 121206 h 196899"/>
              <a:gd name="connsiteX13" fmla="*/ 3551248 w 4027200"/>
              <a:gd name="connsiteY13" fmla="*/ 107630 h 196899"/>
              <a:gd name="connsiteX14" fmla="*/ 2229733 w 4027200"/>
              <a:gd name="connsiteY14" fmla="*/ 87413 h 196899"/>
              <a:gd name="connsiteX15" fmla="*/ 2329746 w 4027200"/>
              <a:gd name="connsiteY15" fmla="*/ 87413 h 196899"/>
              <a:gd name="connsiteX16" fmla="*/ 2329746 w 4027200"/>
              <a:gd name="connsiteY16" fmla="*/ 98157 h 196899"/>
              <a:gd name="connsiteX17" fmla="*/ 2229733 w 4027200"/>
              <a:gd name="connsiteY17" fmla="*/ 98157 h 196899"/>
              <a:gd name="connsiteX18" fmla="*/ 3802223 w 4027200"/>
              <a:gd name="connsiteY18" fmla="*/ 58406 h 196899"/>
              <a:gd name="connsiteX19" fmla="*/ 3787378 w 4027200"/>
              <a:gd name="connsiteY19" fmla="*/ 61238 h 196899"/>
              <a:gd name="connsiteX20" fmla="*/ 3775999 w 4027200"/>
              <a:gd name="connsiteY20" fmla="*/ 69491 h 196899"/>
              <a:gd name="connsiteX21" fmla="*/ 3768723 w 4027200"/>
              <a:gd name="connsiteY21" fmla="*/ 82774 h 196899"/>
              <a:gd name="connsiteX22" fmla="*/ 3766184 w 4027200"/>
              <a:gd name="connsiteY22" fmla="*/ 100598 h 196899"/>
              <a:gd name="connsiteX23" fmla="*/ 3768723 w 4027200"/>
              <a:gd name="connsiteY23" fmla="*/ 117495 h 196899"/>
              <a:gd name="connsiteX24" fmla="*/ 3775902 w 4027200"/>
              <a:gd name="connsiteY24" fmla="*/ 130387 h 196899"/>
              <a:gd name="connsiteX25" fmla="*/ 3787182 w 4027200"/>
              <a:gd name="connsiteY25" fmla="*/ 138640 h 196899"/>
              <a:gd name="connsiteX26" fmla="*/ 3802028 w 4027200"/>
              <a:gd name="connsiteY26" fmla="*/ 141521 h 196899"/>
              <a:gd name="connsiteX27" fmla="*/ 3816874 w 4027200"/>
              <a:gd name="connsiteY27" fmla="*/ 138738 h 196899"/>
              <a:gd name="connsiteX28" fmla="*/ 3827812 w 4027200"/>
              <a:gd name="connsiteY28" fmla="*/ 130631 h 196899"/>
              <a:gd name="connsiteX29" fmla="*/ 3834600 w 4027200"/>
              <a:gd name="connsiteY29" fmla="*/ 117593 h 196899"/>
              <a:gd name="connsiteX30" fmla="*/ 3836896 w 4027200"/>
              <a:gd name="connsiteY30" fmla="*/ 100012 h 196899"/>
              <a:gd name="connsiteX31" fmla="*/ 3827910 w 4027200"/>
              <a:gd name="connsiteY31" fmla="*/ 69100 h 196899"/>
              <a:gd name="connsiteX32" fmla="*/ 3802223 w 4027200"/>
              <a:gd name="connsiteY32" fmla="*/ 58406 h 196899"/>
              <a:gd name="connsiteX33" fmla="*/ 3285627 w 4027200"/>
              <a:gd name="connsiteY33" fmla="*/ 58406 h 196899"/>
              <a:gd name="connsiteX34" fmla="*/ 3271953 w 4027200"/>
              <a:gd name="connsiteY34" fmla="*/ 61336 h 196899"/>
              <a:gd name="connsiteX35" fmla="*/ 3261259 w 4027200"/>
              <a:gd name="connsiteY35" fmla="*/ 69784 h 196899"/>
              <a:gd name="connsiteX36" fmla="*/ 3254324 w 4027200"/>
              <a:gd name="connsiteY36" fmla="*/ 83213 h 196899"/>
              <a:gd name="connsiteX37" fmla="*/ 3251834 w 4027200"/>
              <a:gd name="connsiteY37" fmla="*/ 101184 h 196899"/>
              <a:gd name="connsiteX38" fmla="*/ 3254080 w 4027200"/>
              <a:gd name="connsiteY38" fmla="*/ 118179 h 196899"/>
              <a:gd name="connsiteX39" fmla="*/ 3260477 w 4027200"/>
              <a:gd name="connsiteY39" fmla="*/ 130876 h 196899"/>
              <a:gd name="connsiteX40" fmla="*/ 3270391 w 4027200"/>
              <a:gd name="connsiteY40" fmla="*/ 138787 h 196899"/>
              <a:gd name="connsiteX41" fmla="*/ 3283185 w 4027200"/>
              <a:gd name="connsiteY41" fmla="*/ 141521 h 196899"/>
              <a:gd name="connsiteX42" fmla="*/ 3296908 w 4027200"/>
              <a:gd name="connsiteY42" fmla="*/ 138787 h 196899"/>
              <a:gd name="connsiteX43" fmla="*/ 3307260 w 4027200"/>
              <a:gd name="connsiteY43" fmla="*/ 131266 h 196899"/>
              <a:gd name="connsiteX44" fmla="*/ 3313804 w 4027200"/>
              <a:gd name="connsiteY44" fmla="*/ 120034 h 196899"/>
              <a:gd name="connsiteX45" fmla="*/ 3316099 w 4027200"/>
              <a:gd name="connsiteY45" fmla="*/ 106263 h 196899"/>
              <a:gd name="connsiteX46" fmla="*/ 3316099 w 4027200"/>
              <a:gd name="connsiteY46" fmla="*/ 89562 h 196899"/>
              <a:gd name="connsiteX47" fmla="*/ 3313853 w 4027200"/>
              <a:gd name="connsiteY47" fmla="*/ 77353 h 196899"/>
              <a:gd name="connsiteX48" fmla="*/ 3307602 w 4027200"/>
              <a:gd name="connsiteY48" fmla="*/ 67489 h 196899"/>
              <a:gd name="connsiteX49" fmla="*/ 3297982 w 4027200"/>
              <a:gd name="connsiteY49" fmla="*/ 60847 h 196899"/>
              <a:gd name="connsiteX50" fmla="*/ 3285627 w 4027200"/>
              <a:gd name="connsiteY50" fmla="*/ 58406 h 196899"/>
              <a:gd name="connsiteX51" fmla="*/ 3179289 w 4027200"/>
              <a:gd name="connsiteY51" fmla="*/ 58406 h 196899"/>
              <a:gd name="connsiteX52" fmla="*/ 3167520 w 4027200"/>
              <a:gd name="connsiteY52" fmla="*/ 60652 h 196899"/>
              <a:gd name="connsiteX53" fmla="*/ 3157998 w 4027200"/>
              <a:gd name="connsiteY53" fmla="*/ 67147 h 196899"/>
              <a:gd name="connsiteX54" fmla="*/ 3151210 w 4027200"/>
              <a:gd name="connsiteY54" fmla="*/ 77500 h 196899"/>
              <a:gd name="connsiteX55" fmla="*/ 3147449 w 4027200"/>
              <a:gd name="connsiteY55" fmla="*/ 91222 h 196899"/>
              <a:gd name="connsiteX56" fmla="*/ 3206539 w 4027200"/>
              <a:gd name="connsiteY56" fmla="*/ 91222 h 196899"/>
              <a:gd name="connsiteX57" fmla="*/ 3199116 w 4027200"/>
              <a:gd name="connsiteY57" fmla="*/ 67000 h 196899"/>
              <a:gd name="connsiteX58" fmla="*/ 3179289 w 4027200"/>
              <a:gd name="connsiteY58" fmla="*/ 58406 h 196899"/>
              <a:gd name="connsiteX59" fmla="*/ 2912589 w 4027200"/>
              <a:gd name="connsiteY59" fmla="*/ 58406 h 196899"/>
              <a:gd name="connsiteX60" fmla="*/ 2900820 w 4027200"/>
              <a:gd name="connsiteY60" fmla="*/ 60652 h 196899"/>
              <a:gd name="connsiteX61" fmla="*/ 2891298 w 4027200"/>
              <a:gd name="connsiteY61" fmla="*/ 67147 h 196899"/>
              <a:gd name="connsiteX62" fmla="*/ 2884510 w 4027200"/>
              <a:gd name="connsiteY62" fmla="*/ 77500 h 196899"/>
              <a:gd name="connsiteX63" fmla="*/ 2880749 w 4027200"/>
              <a:gd name="connsiteY63" fmla="*/ 91222 h 196899"/>
              <a:gd name="connsiteX64" fmla="*/ 2939839 w 4027200"/>
              <a:gd name="connsiteY64" fmla="*/ 91222 h 196899"/>
              <a:gd name="connsiteX65" fmla="*/ 2932416 w 4027200"/>
              <a:gd name="connsiteY65" fmla="*/ 67000 h 196899"/>
              <a:gd name="connsiteX66" fmla="*/ 2912589 w 4027200"/>
              <a:gd name="connsiteY66" fmla="*/ 58406 h 196899"/>
              <a:gd name="connsiteX67" fmla="*/ 2573498 w 4027200"/>
              <a:gd name="connsiteY67" fmla="*/ 58406 h 196899"/>
              <a:gd name="connsiteX68" fmla="*/ 2558653 w 4027200"/>
              <a:gd name="connsiteY68" fmla="*/ 61238 h 196899"/>
              <a:gd name="connsiteX69" fmla="*/ 2547274 w 4027200"/>
              <a:gd name="connsiteY69" fmla="*/ 69491 h 196899"/>
              <a:gd name="connsiteX70" fmla="*/ 2539998 w 4027200"/>
              <a:gd name="connsiteY70" fmla="*/ 82774 h 196899"/>
              <a:gd name="connsiteX71" fmla="*/ 2537459 w 4027200"/>
              <a:gd name="connsiteY71" fmla="*/ 100598 h 196899"/>
              <a:gd name="connsiteX72" fmla="*/ 2539998 w 4027200"/>
              <a:gd name="connsiteY72" fmla="*/ 117495 h 196899"/>
              <a:gd name="connsiteX73" fmla="*/ 2547177 w 4027200"/>
              <a:gd name="connsiteY73" fmla="*/ 130387 h 196899"/>
              <a:gd name="connsiteX74" fmla="*/ 2558457 w 4027200"/>
              <a:gd name="connsiteY74" fmla="*/ 138640 h 196899"/>
              <a:gd name="connsiteX75" fmla="*/ 2573303 w 4027200"/>
              <a:gd name="connsiteY75" fmla="*/ 141521 h 196899"/>
              <a:gd name="connsiteX76" fmla="*/ 2588149 w 4027200"/>
              <a:gd name="connsiteY76" fmla="*/ 138738 h 196899"/>
              <a:gd name="connsiteX77" fmla="*/ 2599087 w 4027200"/>
              <a:gd name="connsiteY77" fmla="*/ 130631 h 196899"/>
              <a:gd name="connsiteX78" fmla="*/ 2605875 w 4027200"/>
              <a:gd name="connsiteY78" fmla="*/ 117593 h 196899"/>
              <a:gd name="connsiteX79" fmla="*/ 2608171 w 4027200"/>
              <a:gd name="connsiteY79" fmla="*/ 100012 h 196899"/>
              <a:gd name="connsiteX80" fmla="*/ 2599185 w 4027200"/>
              <a:gd name="connsiteY80" fmla="*/ 69100 h 196899"/>
              <a:gd name="connsiteX81" fmla="*/ 2573498 w 4027200"/>
              <a:gd name="connsiteY81" fmla="*/ 58406 h 196899"/>
              <a:gd name="connsiteX82" fmla="*/ 2131539 w 4027200"/>
              <a:gd name="connsiteY82" fmla="*/ 58406 h 196899"/>
              <a:gd name="connsiteX83" fmla="*/ 2119770 w 4027200"/>
              <a:gd name="connsiteY83" fmla="*/ 60652 h 196899"/>
              <a:gd name="connsiteX84" fmla="*/ 2110247 w 4027200"/>
              <a:gd name="connsiteY84" fmla="*/ 67147 h 196899"/>
              <a:gd name="connsiteX85" fmla="*/ 2103459 w 4027200"/>
              <a:gd name="connsiteY85" fmla="*/ 77500 h 196899"/>
              <a:gd name="connsiteX86" fmla="*/ 2099699 w 4027200"/>
              <a:gd name="connsiteY86" fmla="*/ 91222 h 196899"/>
              <a:gd name="connsiteX87" fmla="*/ 2158789 w 4027200"/>
              <a:gd name="connsiteY87" fmla="*/ 91222 h 196899"/>
              <a:gd name="connsiteX88" fmla="*/ 2151366 w 4027200"/>
              <a:gd name="connsiteY88" fmla="*/ 67000 h 196899"/>
              <a:gd name="connsiteX89" fmla="*/ 2131539 w 4027200"/>
              <a:gd name="connsiteY89" fmla="*/ 58406 h 196899"/>
              <a:gd name="connsiteX90" fmla="*/ 1525748 w 4027200"/>
              <a:gd name="connsiteY90" fmla="*/ 58406 h 196899"/>
              <a:gd name="connsiteX91" fmla="*/ 1510903 w 4027200"/>
              <a:gd name="connsiteY91" fmla="*/ 61238 h 196899"/>
              <a:gd name="connsiteX92" fmla="*/ 1499524 w 4027200"/>
              <a:gd name="connsiteY92" fmla="*/ 69491 h 196899"/>
              <a:gd name="connsiteX93" fmla="*/ 1492248 w 4027200"/>
              <a:gd name="connsiteY93" fmla="*/ 82774 h 196899"/>
              <a:gd name="connsiteX94" fmla="*/ 1489709 w 4027200"/>
              <a:gd name="connsiteY94" fmla="*/ 100598 h 196899"/>
              <a:gd name="connsiteX95" fmla="*/ 1492248 w 4027200"/>
              <a:gd name="connsiteY95" fmla="*/ 117495 h 196899"/>
              <a:gd name="connsiteX96" fmla="*/ 1499427 w 4027200"/>
              <a:gd name="connsiteY96" fmla="*/ 130387 h 196899"/>
              <a:gd name="connsiteX97" fmla="*/ 1510707 w 4027200"/>
              <a:gd name="connsiteY97" fmla="*/ 138640 h 196899"/>
              <a:gd name="connsiteX98" fmla="*/ 1525553 w 4027200"/>
              <a:gd name="connsiteY98" fmla="*/ 141521 h 196899"/>
              <a:gd name="connsiteX99" fmla="*/ 1540398 w 4027200"/>
              <a:gd name="connsiteY99" fmla="*/ 138738 h 196899"/>
              <a:gd name="connsiteX100" fmla="*/ 1551337 w 4027200"/>
              <a:gd name="connsiteY100" fmla="*/ 130631 h 196899"/>
              <a:gd name="connsiteX101" fmla="*/ 1558125 w 4027200"/>
              <a:gd name="connsiteY101" fmla="*/ 117593 h 196899"/>
              <a:gd name="connsiteX102" fmla="*/ 1560421 w 4027200"/>
              <a:gd name="connsiteY102" fmla="*/ 100012 h 196899"/>
              <a:gd name="connsiteX103" fmla="*/ 1551435 w 4027200"/>
              <a:gd name="connsiteY103" fmla="*/ 69100 h 196899"/>
              <a:gd name="connsiteX104" fmla="*/ 1525748 w 4027200"/>
              <a:gd name="connsiteY104" fmla="*/ 58406 h 196899"/>
              <a:gd name="connsiteX105" fmla="*/ 1312389 w 4027200"/>
              <a:gd name="connsiteY105" fmla="*/ 58406 h 196899"/>
              <a:gd name="connsiteX106" fmla="*/ 1300620 w 4027200"/>
              <a:gd name="connsiteY106" fmla="*/ 60652 h 196899"/>
              <a:gd name="connsiteX107" fmla="*/ 1291097 w 4027200"/>
              <a:gd name="connsiteY107" fmla="*/ 67147 h 196899"/>
              <a:gd name="connsiteX108" fmla="*/ 1284309 w 4027200"/>
              <a:gd name="connsiteY108" fmla="*/ 77500 h 196899"/>
              <a:gd name="connsiteX109" fmla="*/ 1280549 w 4027200"/>
              <a:gd name="connsiteY109" fmla="*/ 91222 h 196899"/>
              <a:gd name="connsiteX110" fmla="*/ 1339639 w 4027200"/>
              <a:gd name="connsiteY110" fmla="*/ 91222 h 196899"/>
              <a:gd name="connsiteX111" fmla="*/ 1332216 w 4027200"/>
              <a:gd name="connsiteY111" fmla="*/ 67000 h 196899"/>
              <a:gd name="connsiteX112" fmla="*/ 1312389 w 4027200"/>
              <a:gd name="connsiteY112" fmla="*/ 58406 h 196899"/>
              <a:gd name="connsiteX113" fmla="*/ 620873 w 4027200"/>
              <a:gd name="connsiteY113" fmla="*/ 58406 h 196899"/>
              <a:gd name="connsiteX114" fmla="*/ 606028 w 4027200"/>
              <a:gd name="connsiteY114" fmla="*/ 61238 h 196899"/>
              <a:gd name="connsiteX115" fmla="*/ 594649 w 4027200"/>
              <a:gd name="connsiteY115" fmla="*/ 69491 h 196899"/>
              <a:gd name="connsiteX116" fmla="*/ 587373 w 4027200"/>
              <a:gd name="connsiteY116" fmla="*/ 82774 h 196899"/>
              <a:gd name="connsiteX117" fmla="*/ 584834 w 4027200"/>
              <a:gd name="connsiteY117" fmla="*/ 100598 h 196899"/>
              <a:gd name="connsiteX118" fmla="*/ 587373 w 4027200"/>
              <a:gd name="connsiteY118" fmla="*/ 117495 h 196899"/>
              <a:gd name="connsiteX119" fmla="*/ 594552 w 4027200"/>
              <a:gd name="connsiteY119" fmla="*/ 130387 h 196899"/>
              <a:gd name="connsiteX120" fmla="*/ 605832 w 4027200"/>
              <a:gd name="connsiteY120" fmla="*/ 138640 h 196899"/>
              <a:gd name="connsiteX121" fmla="*/ 620678 w 4027200"/>
              <a:gd name="connsiteY121" fmla="*/ 141521 h 196899"/>
              <a:gd name="connsiteX122" fmla="*/ 635524 w 4027200"/>
              <a:gd name="connsiteY122" fmla="*/ 138738 h 196899"/>
              <a:gd name="connsiteX123" fmla="*/ 646462 w 4027200"/>
              <a:gd name="connsiteY123" fmla="*/ 130631 h 196899"/>
              <a:gd name="connsiteX124" fmla="*/ 653250 w 4027200"/>
              <a:gd name="connsiteY124" fmla="*/ 117593 h 196899"/>
              <a:gd name="connsiteX125" fmla="*/ 655546 w 4027200"/>
              <a:gd name="connsiteY125" fmla="*/ 100012 h 196899"/>
              <a:gd name="connsiteX126" fmla="*/ 646560 w 4027200"/>
              <a:gd name="connsiteY126" fmla="*/ 69100 h 196899"/>
              <a:gd name="connsiteX127" fmla="*/ 620873 w 4027200"/>
              <a:gd name="connsiteY127" fmla="*/ 58406 h 196899"/>
              <a:gd name="connsiteX128" fmla="*/ 420848 w 4027200"/>
              <a:gd name="connsiteY128" fmla="*/ 58406 h 196899"/>
              <a:gd name="connsiteX129" fmla="*/ 406003 w 4027200"/>
              <a:gd name="connsiteY129" fmla="*/ 61238 h 196899"/>
              <a:gd name="connsiteX130" fmla="*/ 394624 w 4027200"/>
              <a:gd name="connsiteY130" fmla="*/ 69491 h 196899"/>
              <a:gd name="connsiteX131" fmla="*/ 387348 w 4027200"/>
              <a:gd name="connsiteY131" fmla="*/ 82774 h 196899"/>
              <a:gd name="connsiteX132" fmla="*/ 384809 w 4027200"/>
              <a:gd name="connsiteY132" fmla="*/ 100598 h 196899"/>
              <a:gd name="connsiteX133" fmla="*/ 387348 w 4027200"/>
              <a:gd name="connsiteY133" fmla="*/ 117495 h 196899"/>
              <a:gd name="connsiteX134" fmla="*/ 394527 w 4027200"/>
              <a:gd name="connsiteY134" fmla="*/ 130387 h 196899"/>
              <a:gd name="connsiteX135" fmla="*/ 405807 w 4027200"/>
              <a:gd name="connsiteY135" fmla="*/ 138640 h 196899"/>
              <a:gd name="connsiteX136" fmla="*/ 420653 w 4027200"/>
              <a:gd name="connsiteY136" fmla="*/ 141521 h 196899"/>
              <a:gd name="connsiteX137" fmla="*/ 435498 w 4027200"/>
              <a:gd name="connsiteY137" fmla="*/ 138738 h 196899"/>
              <a:gd name="connsiteX138" fmla="*/ 446437 w 4027200"/>
              <a:gd name="connsiteY138" fmla="*/ 130631 h 196899"/>
              <a:gd name="connsiteX139" fmla="*/ 453225 w 4027200"/>
              <a:gd name="connsiteY139" fmla="*/ 117593 h 196899"/>
              <a:gd name="connsiteX140" fmla="*/ 455521 w 4027200"/>
              <a:gd name="connsiteY140" fmla="*/ 100012 h 196899"/>
              <a:gd name="connsiteX141" fmla="*/ 446535 w 4027200"/>
              <a:gd name="connsiteY141" fmla="*/ 69100 h 196899"/>
              <a:gd name="connsiteX142" fmla="*/ 420848 w 4027200"/>
              <a:gd name="connsiteY142" fmla="*/ 58406 h 196899"/>
              <a:gd name="connsiteX143" fmla="*/ 3936369 w 4027200"/>
              <a:gd name="connsiteY143" fmla="*/ 49908 h 196899"/>
              <a:gd name="connsiteX144" fmla="*/ 3950238 w 4027200"/>
              <a:gd name="connsiteY144" fmla="*/ 49908 h 196899"/>
              <a:gd name="connsiteX145" fmla="*/ 3978854 w 4027200"/>
              <a:gd name="connsiteY145" fmla="*/ 129117 h 196899"/>
              <a:gd name="connsiteX146" fmla="*/ 3979978 w 4027200"/>
              <a:gd name="connsiteY146" fmla="*/ 132682 h 196899"/>
              <a:gd name="connsiteX147" fmla="*/ 3981003 w 4027200"/>
              <a:gd name="connsiteY147" fmla="*/ 136638 h 196899"/>
              <a:gd name="connsiteX148" fmla="*/ 3981491 w 4027200"/>
              <a:gd name="connsiteY148" fmla="*/ 136638 h 196899"/>
              <a:gd name="connsiteX149" fmla="*/ 3982419 w 4027200"/>
              <a:gd name="connsiteY149" fmla="*/ 133268 h 196899"/>
              <a:gd name="connsiteX150" fmla="*/ 3983640 w 4027200"/>
              <a:gd name="connsiteY150" fmla="*/ 129508 h 196899"/>
              <a:gd name="connsiteX151" fmla="*/ 4014015 w 4027200"/>
              <a:gd name="connsiteY151" fmla="*/ 49908 h 196899"/>
              <a:gd name="connsiteX152" fmla="*/ 4027200 w 4027200"/>
              <a:gd name="connsiteY152" fmla="*/ 49908 h 196899"/>
              <a:gd name="connsiteX153" fmla="*/ 3979831 w 4027200"/>
              <a:gd name="connsiteY153" fmla="*/ 168087 h 196899"/>
              <a:gd name="connsiteX154" fmla="*/ 3966353 w 4027200"/>
              <a:gd name="connsiteY154" fmla="*/ 189818 h 196899"/>
              <a:gd name="connsiteX155" fmla="*/ 3947893 w 4027200"/>
              <a:gd name="connsiteY155" fmla="*/ 196899 h 196899"/>
              <a:gd name="connsiteX156" fmla="*/ 3938810 w 4027200"/>
              <a:gd name="connsiteY156" fmla="*/ 195630 h 196899"/>
              <a:gd name="connsiteX157" fmla="*/ 3938810 w 4027200"/>
              <a:gd name="connsiteY157" fmla="*/ 183909 h 196899"/>
              <a:gd name="connsiteX158" fmla="*/ 3943157 w 4027200"/>
              <a:gd name="connsiteY158" fmla="*/ 185082 h 196899"/>
              <a:gd name="connsiteX159" fmla="*/ 3947600 w 4027200"/>
              <a:gd name="connsiteY159" fmla="*/ 185472 h 196899"/>
              <a:gd name="connsiteX160" fmla="*/ 3958295 w 4027200"/>
              <a:gd name="connsiteY160" fmla="*/ 181614 h 196899"/>
              <a:gd name="connsiteX161" fmla="*/ 3966157 w 4027200"/>
              <a:gd name="connsiteY161" fmla="*/ 169943 h 196899"/>
              <a:gd name="connsiteX162" fmla="*/ 3974850 w 4027200"/>
              <a:gd name="connsiteY162" fmla="*/ 149433 h 196899"/>
              <a:gd name="connsiteX163" fmla="*/ 1979148 w 4027200"/>
              <a:gd name="connsiteY163" fmla="*/ 49908 h 196899"/>
              <a:gd name="connsiteX164" fmla="*/ 1991650 w 4027200"/>
              <a:gd name="connsiteY164" fmla="*/ 49908 h 196899"/>
              <a:gd name="connsiteX165" fmla="*/ 1991650 w 4027200"/>
              <a:gd name="connsiteY165" fmla="*/ 149921 h 196899"/>
              <a:gd name="connsiteX166" fmla="*/ 1979148 w 4027200"/>
              <a:gd name="connsiteY166" fmla="*/ 149921 h 196899"/>
              <a:gd name="connsiteX167" fmla="*/ 1862700 w 4027200"/>
              <a:gd name="connsiteY167" fmla="*/ 49908 h 196899"/>
              <a:gd name="connsiteX168" fmla="*/ 1875201 w 4027200"/>
              <a:gd name="connsiteY168" fmla="*/ 49908 h 196899"/>
              <a:gd name="connsiteX169" fmla="*/ 1875201 w 4027200"/>
              <a:gd name="connsiteY169" fmla="*/ 106361 h 196899"/>
              <a:gd name="connsiteX170" fmla="*/ 1881599 w 4027200"/>
              <a:gd name="connsiteY170" fmla="*/ 132927 h 196899"/>
              <a:gd name="connsiteX171" fmla="*/ 1901181 w 4027200"/>
              <a:gd name="connsiteY171" fmla="*/ 141521 h 196899"/>
              <a:gd name="connsiteX172" fmla="*/ 1912950 w 4027200"/>
              <a:gd name="connsiteY172" fmla="*/ 139031 h 196899"/>
              <a:gd name="connsiteX173" fmla="*/ 1922131 w 4027200"/>
              <a:gd name="connsiteY173" fmla="*/ 131999 h 196899"/>
              <a:gd name="connsiteX174" fmla="*/ 1928138 w 4027200"/>
              <a:gd name="connsiteY174" fmla="*/ 121109 h 196899"/>
              <a:gd name="connsiteX175" fmla="*/ 1930286 w 4027200"/>
              <a:gd name="connsiteY175" fmla="*/ 107044 h 196899"/>
              <a:gd name="connsiteX176" fmla="*/ 1930286 w 4027200"/>
              <a:gd name="connsiteY176" fmla="*/ 49908 h 196899"/>
              <a:gd name="connsiteX177" fmla="*/ 1942788 w 4027200"/>
              <a:gd name="connsiteY177" fmla="*/ 49908 h 196899"/>
              <a:gd name="connsiteX178" fmla="*/ 1942788 w 4027200"/>
              <a:gd name="connsiteY178" fmla="*/ 149921 h 196899"/>
              <a:gd name="connsiteX179" fmla="*/ 1930286 w 4027200"/>
              <a:gd name="connsiteY179" fmla="*/ 149921 h 196899"/>
              <a:gd name="connsiteX180" fmla="*/ 1930286 w 4027200"/>
              <a:gd name="connsiteY180" fmla="*/ 132927 h 196899"/>
              <a:gd name="connsiteX181" fmla="*/ 1929896 w 4027200"/>
              <a:gd name="connsiteY181" fmla="*/ 132927 h 196899"/>
              <a:gd name="connsiteX182" fmla="*/ 1898349 w 4027200"/>
              <a:gd name="connsiteY182" fmla="*/ 152265 h 196899"/>
              <a:gd name="connsiteX183" fmla="*/ 1862700 w 4027200"/>
              <a:gd name="connsiteY183" fmla="*/ 108705 h 196899"/>
              <a:gd name="connsiteX184" fmla="*/ 1091175 w 4027200"/>
              <a:gd name="connsiteY184" fmla="*/ 49908 h 196899"/>
              <a:gd name="connsiteX185" fmla="*/ 1103676 w 4027200"/>
              <a:gd name="connsiteY185" fmla="*/ 49908 h 196899"/>
              <a:gd name="connsiteX186" fmla="*/ 1103676 w 4027200"/>
              <a:gd name="connsiteY186" fmla="*/ 106361 h 196899"/>
              <a:gd name="connsiteX187" fmla="*/ 1110074 w 4027200"/>
              <a:gd name="connsiteY187" fmla="*/ 132927 h 196899"/>
              <a:gd name="connsiteX188" fmla="*/ 1129656 w 4027200"/>
              <a:gd name="connsiteY188" fmla="*/ 141521 h 196899"/>
              <a:gd name="connsiteX189" fmla="*/ 1141425 w 4027200"/>
              <a:gd name="connsiteY189" fmla="*/ 139031 h 196899"/>
              <a:gd name="connsiteX190" fmla="*/ 1150606 w 4027200"/>
              <a:gd name="connsiteY190" fmla="*/ 131999 h 196899"/>
              <a:gd name="connsiteX191" fmla="*/ 1156613 w 4027200"/>
              <a:gd name="connsiteY191" fmla="*/ 121109 h 196899"/>
              <a:gd name="connsiteX192" fmla="*/ 1158761 w 4027200"/>
              <a:gd name="connsiteY192" fmla="*/ 107044 h 196899"/>
              <a:gd name="connsiteX193" fmla="*/ 1158761 w 4027200"/>
              <a:gd name="connsiteY193" fmla="*/ 49908 h 196899"/>
              <a:gd name="connsiteX194" fmla="*/ 1171263 w 4027200"/>
              <a:gd name="connsiteY194" fmla="*/ 49908 h 196899"/>
              <a:gd name="connsiteX195" fmla="*/ 1171263 w 4027200"/>
              <a:gd name="connsiteY195" fmla="*/ 149921 h 196899"/>
              <a:gd name="connsiteX196" fmla="*/ 1158761 w 4027200"/>
              <a:gd name="connsiteY196" fmla="*/ 149921 h 196899"/>
              <a:gd name="connsiteX197" fmla="*/ 1158761 w 4027200"/>
              <a:gd name="connsiteY197" fmla="*/ 132927 h 196899"/>
              <a:gd name="connsiteX198" fmla="*/ 1158371 w 4027200"/>
              <a:gd name="connsiteY198" fmla="*/ 132927 h 196899"/>
              <a:gd name="connsiteX199" fmla="*/ 1126824 w 4027200"/>
              <a:gd name="connsiteY199" fmla="*/ 152265 h 196899"/>
              <a:gd name="connsiteX200" fmla="*/ 1091175 w 4027200"/>
              <a:gd name="connsiteY200" fmla="*/ 108705 h 196899"/>
              <a:gd name="connsiteX201" fmla="*/ 991530 w 4027200"/>
              <a:gd name="connsiteY201" fmla="*/ 49908 h 196899"/>
              <a:gd name="connsiteX202" fmla="*/ 1068493 w 4027200"/>
              <a:gd name="connsiteY202" fmla="*/ 49908 h 196899"/>
              <a:gd name="connsiteX203" fmla="*/ 1068493 w 4027200"/>
              <a:gd name="connsiteY203" fmla="*/ 53424 h 196899"/>
              <a:gd name="connsiteX204" fmla="*/ 1005399 w 4027200"/>
              <a:gd name="connsiteY204" fmla="*/ 138982 h 196899"/>
              <a:gd name="connsiteX205" fmla="*/ 1067027 w 4027200"/>
              <a:gd name="connsiteY205" fmla="*/ 138982 h 196899"/>
              <a:gd name="connsiteX206" fmla="*/ 1067027 w 4027200"/>
              <a:gd name="connsiteY206" fmla="*/ 149921 h 196899"/>
              <a:gd name="connsiteX207" fmla="*/ 986353 w 4027200"/>
              <a:gd name="connsiteY207" fmla="*/ 149921 h 196899"/>
              <a:gd name="connsiteX208" fmla="*/ 986353 w 4027200"/>
              <a:gd name="connsiteY208" fmla="*/ 145721 h 196899"/>
              <a:gd name="connsiteX209" fmla="*/ 1049154 w 4027200"/>
              <a:gd name="connsiteY209" fmla="*/ 60847 h 196899"/>
              <a:gd name="connsiteX210" fmla="*/ 991530 w 4027200"/>
              <a:gd name="connsiteY210" fmla="*/ 60847 h 196899"/>
              <a:gd name="connsiteX211" fmla="*/ 169399 w 4027200"/>
              <a:gd name="connsiteY211" fmla="*/ 49908 h 196899"/>
              <a:gd name="connsiteX212" fmla="*/ 181900 w 4027200"/>
              <a:gd name="connsiteY212" fmla="*/ 49908 h 196899"/>
              <a:gd name="connsiteX213" fmla="*/ 181900 w 4027200"/>
              <a:gd name="connsiteY213" fmla="*/ 149921 h 196899"/>
              <a:gd name="connsiteX214" fmla="*/ 169399 w 4027200"/>
              <a:gd name="connsiteY214" fmla="*/ 149921 h 196899"/>
              <a:gd name="connsiteX215" fmla="*/ 3914472 w 4027200"/>
              <a:gd name="connsiteY215" fmla="*/ 48053 h 196899"/>
              <a:gd name="connsiteX216" fmla="*/ 3919893 w 4027200"/>
              <a:gd name="connsiteY216" fmla="*/ 48443 h 196899"/>
              <a:gd name="connsiteX217" fmla="*/ 3924239 w 4027200"/>
              <a:gd name="connsiteY217" fmla="*/ 49615 h 196899"/>
              <a:gd name="connsiteX218" fmla="*/ 3924239 w 4027200"/>
              <a:gd name="connsiteY218" fmla="*/ 62703 h 196899"/>
              <a:gd name="connsiteX219" fmla="*/ 3912910 w 4027200"/>
              <a:gd name="connsiteY219" fmla="*/ 59480 h 196899"/>
              <a:gd name="connsiteX220" fmla="*/ 3904119 w 4027200"/>
              <a:gd name="connsiteY220" fmla="*/ 61384 h 196899"/>
              <a:gd name="connsiteX221" fmla="*/ 3897429 w 4027200"/>
              <a:gd name="connsiteY221" fmla="*/ 66512 h 196899"/>
              <a:gd name="connsiteX222" fmla="*/ 3892546 w 4027200"/>
              <a:gd name="connsiteY222" fmla="*/ 73984 h 196899"/>
              <a:gd name="connsiteX223" fmla="*/ 3889323 w 4027200"/>
              <a:gd name="connsiteY223" fmla="*/ 82823 h 196899"/>
              <a:gd name="connsiteX224" fmla="*/ 3887565 w 4027200"/>
              <a:gd name="connsiteY224" fmla="*/ 92101 h 196899"/>
              <a:gd name="connsiteX225" fmla="*/ 3887027 w 4027200"/>
              <a:gd name="connsiteY225" fmla="*/ 100989 h 196899"/>
              <a:gd name="connsiteX226" fmla="*/ 3887027 w 4027200"/>
              <a:gd name="connsiteY226" fmla="*/ 149921 h 196899"/>
              <a:gd name="connsiteX227" fmla="*/ 3874624 w 4027200"/>
              <a:gd name="connsiteY227" fmla="*/ 149921 h 196899"/>
              <a:gd name="connsiteX228" fmla="*/ 3874624 w 4027200"/>
              <a:gd name="connsiteY228" fmla="*/ 49908 h 196899"/>
              <a:gd name="connsiteX229" fmla="*/ 3887027 w 4027200"/>
              <a:gd name="connsiteY229" fmla="*/ 49908 h 196899"/>
              <a:gd name="connsiteX230" fmla="*/ 3887027 w 4027200"/>
              <a:gd name="connsiteY230" fmla="*/ 71298 h 196899"/>
              <a:gd name="connsiteX231" fmla="*/ 3887418 w 4027200"/>
              <a:gd name="connsiteY231" fmla="*/ 71298 h 196899"/>
              <a:gd name="connsiteX232" fmla="*/ 3891862 w 4027200"/>
              <a:gd name="connsiteY232" fmla="*/ 61482 h 196899"/>
              <a:gd name="connsiteX233" fmla="*/ 3898064 w 4027200"/>
              <a:gd name="connsiteY233" fmla="*/ 54157 h 196899"/>
              <a:gd name="connsiteX234" fmla="*/ 3905731 w 4027200"/>
              <a:gd name="connsiteY234" fmla="*/ 49615 h 196899"/>
              <a:gd name="connsiteX235" fmla="*/ 3914472 w 4027200"/>
              <a:gd name="connsiteY235" fmla="*/ 48053 h 196899"/>
              <a:gd name="connsiteX236" fmla="*/ 1247472 w 4027200"/>
              <a:gd name="connsiteY236" fmla="*/ 48053 h 196899"/>
              <a:gd name="connsiteX237" fmla="*/ 1252893 w 4027200"/>
              <a:gd name="connsiteY237" fmla="*/ 48443 h 196899"/>
              <a:gd name="connsiteX238" fmla="*/ 1257239 w 4027200"/>
              <a:gd name="connsiteY238" fmla="*/ 49615 h 196899"/>
              <a:gd name="connsiteX239" fmla="*/ 1257239 w 4027200"/>
              <a:gd name="connsiteY239" fmla="*/ 62703 h 196899"/>
              <a:gd name="connsiteX240" fmla="*/ 1245909 w 4027200"/>
              <a:gd name="connsiteY240" fmla="*/ 59480 h 196899"/>
              <a:gd name="connsiteX241" fmla="*/ 1237119 w 4027200"/>
              <a:gd name="connsiteY241" fmla="*/ 61384 h 196899"/>
              <a:gd name="connsiteX242" fmla="*/ 1230429 w 4027200"/>
              <a:gd name="connsiteY242" fmla="*/ 66512 h 196899"/>
              <a:gd name="connsiteX243" fmla="*/ 1225545 w 4027200"/>
              <a:gd name="connsiteY243" fmla="*/ 73984 h 196899"/>
              <a:gd name="connsiteX244" fmla="*/ 1222323 w 4027200"/>
              <a:gd name="connsiteY244" fmla="*/ 82823 h 196899"/>
              <a:gd name="connsiteX245" fmla="*/ 1220565 w 4027200"/>
              <a:gd name="connsiteY245" fmla="*/ 92101 h 196899"/>
              <a:gd name="connsiteX246" fmla="*/ 1220027 w 4027200"/>
              <a:gd name="connsiteY246" fmla="*/ 100989 h 196899"/>
              <a:gd name="connsiteX247" fmla="*/ 1220027 w 4027200"/>
              <a:gd name="connsiteY247" fmla="*/ 149921 h 196899"/>
              <a:gd name="connsiteX248" fmla="*/ 1207623 w 4027200"/>
              <a:gd name="connsiteY248" fmla="*/ 149921 h 196899"/>
              <a:gd name="connsiteX249" fmla="*/ 1207623 w 4027200"/>
              <a:gd name="connsiteY249" fmla="*/ 49908 h 196899"/>
              <a:gd name="connsiteX250" fmla="*/ 1220027 w 4027200"/>
              <a:gd name="connsiteY250" fmla="*/ 49908 h 196899"/>
              <a:gd name="connsiteX251" fmla="*/ 1220027 w 4027200"/>
              <a:gd name="connsiteY251" fmla="*/ 71298 h 196899"/>
              <a:gd name="connsiteX252" fmla="*/ 1220418 w 4027200"/>
              <a:gd name="connsiteY252" fmla="*/ 71298 h 196899"/>
              <a:gd name="connsiteX253" fmla="*/ 1224862 w 4027200"/>
              <a:gd name="connsiteY253" fmla="*/ 61482 h 196899"/>
              <a:gd name="connsiteX254" fmla="*/ 1231064 w 4027200"/>
              <a:gd name="connsiteY254" fmla="*/ 54157 h 196899"/>
              <a:gd name="connsiteX255" fmla="*/ 1238731 w 4027200"/>
              <a:gd name="connsiteY255" fmla="*/ 49615 h 196899"/>
              <a:gd name="connsiteX256" fmla="*/ 1247472 w 4027200"/>
              <a:gd name="connsiteY256" fmla="*/ 48053 h 196899"/>
              <a:gd name="connsiteX257" fmla="*/ 352122 w 4027200"/>
              <a:gd name="connsiteY257" fmla="*/ 48053 h 196899"/>
              <a:gd name="connsiteX258" fmla="*/ 357543 w 4027200"/>
              <a:gd name="connsiteY258" fmla="*/ 48443 h 196899"/>
              <a:gd name="connsiteX259" fmla="*/ 361889 w 4027200"/>
              <a:gd name="connsiteY259" fmla="*/ 49615 h 196899"/>
              <a:gd name="connsiteX260" fmla="*/ 361889 w 4027200"/>
              <a:gd name="connsiteY260" fmla="*/ 62703 h 196899"/>
              <a:gd name="connsiteX261" fmla="*/ 350560 w 4027200"/>
              <a:gd name="connsiteY261" fmla="*/ 59480 h 196899"/>
              <a:gd name="connsiteX262" fmla="*/ 341769 w 4027200"/>
              <a:gd name="connsiteY262" fmla="*/ 61384 h 196899"/>
              <a:gd name="connsiteX263" fmla="*/ 335079 w 4027200"/>
              <a:gd name="connsiteY263" fmla="*/ 66512 h 196899"/>
              <a:gd name="connsiteX264" fmla="*/ 330196 w 4027200"/>
              <a:gd name="connsiteY264" fmla="*/ 73984 h 196899"/>
              <a:gd name="connsiteX265" fmla="*/ 326973 w 4027200"/>
              <a:gd name="connsiteY265" fmla="*/ 82823 h 196899"/>
              <a:gd name="connsiteX266" fmla="*/ 325215 w 4027200"/>
              <a:gd name="connsiteY266" fmla="*/ 92101 h 196899"/>
              <a:gd name="connsiteX267" fmla="*/ 324677 w 4027200"/>
              <a:gd name="connsiteY267" fmla="*/ 100989 h 196899"/>
              <a:gd name="connsiteX268" fmla="*/ 324677 w 4027200"/>
              <a:gd name="connsiteY268" fmla="*/ 149921 h 196899"/>
              <a:gd name="connsiteX269" fmla="*/ 312274 w 4027200"/>
              <a:gd name="connsiteY269" fmla="*/ 149921 h 196899"/>
              <a:gd name="connsiteX270" fmla="*/ 312274 w 4027200"/>
              <a:gd name="connsiteY270" fmla="*/ 49908 h 196899"/>
              <a:gd name="connsiteX271" fmla="*/ 324677 w 4027200"/>
              <a:gd name="connsiteY271" fmla="*/ 49908 h 196899"/>
              <a:gd name="connsiteX272" fmla="*/ 324677 w 4027200"/>
              <a:gd name="connsiteY272" fmla="*/ 71298 h 196899"/>
              <a:gd name="connsiteX273" fmla="*/ 325068 w 4027200"/>
              <a:gd name="connsiteY273" fmla="*/ 71298 h 196899"/>
              <a:gd name="connsiteX274" fmla="*/ 329512 w 4027200"/>
              <a:gd name="connsiteY274" fmla="*/ 61482 h 196899"/>
              <a:gd name="connsiteX275" fmla="*/ 335714 w 4027200"/>
              <a:gd name="connsiteY275" fmla="*/ 54157 h 196899"/>
              <a:gd name="connsiteX276" fmla="*/ 343381 w 4027200"/>
              <a:gd name="connsiteY276" fmla="*/ 49615 h 196899"/>
              <a:gd name="connsiteX277" fmla="*/ 352122 w 4027200"/>
              <a:gd name="connsiteY277" fmla="*/ 48053 h 196899"/>
              <a:gd name="connsiteX278" fmla="*/ 3803005 w 4027200"/>
              <a:gd name="connsiteY278" fmla="*/ 47564 h 196899"/>
              <a:gd name="connsiteX279" fmla="*/ 3822538 w 4027200"/>
              <a:gd name="connsiteY279" fmla="*/ 51129 h 196899"/>
              <a:gd name="connsiteX280" fmla="*/ 3837286 w 4027200"/>
              <a:gd name="connsiteY280" fmla="*/ 61433 h 196899"/>
              <a:gd name="connsiteX281" fmla="*/ 3846565 w 4027200"/>
              <a:gd name="connsiteY281" fmla="*/ 77842 h 196899"/>
              <a:gd name="connsiteX282" fmla="*/ 3849788 w 4027200"/>
              <a:gd name="connsiteY282" fmla="*/ 99817 h 196899"/>
              <a:gd name="connsiteX283" fmla="*/ 3846418 w 4027200"/>
              <a:gd name="connsiteY283" fmla="*/ 121158 h 196899"/>
              <a:gd name="connsiteX284" fmla="*/ 3836798 w 4027200"/>
              <a:gd name="connsiteY284" fmla="*/ 137712 h 196899"/>
              <a:gd name="connsiteX285" fmla="*/ 3821562 w 4027200"/>
              <a:gd name="connsiteY285" fmla="*/ 148456 h 196899"/>
              <a:gd name="connsiteX286" fmla="*/ 3801247 w 4027200"/>
              <a:gd name="connsiteY286" fmla="*/ 152265 h 196899"/>
              <a:gd name="connsiteX287" fmla="*/ 3781273 w 4027200"/>
              <a:gd name="connsiteY287" fmla="*/ 148554 h 196899"/>
              <a:gd name="connsiteX288" fmla="*/ 3766184 w 4027200"/>
              <a:gd name="connsiteY288" fmla="*/ 138054 h 196899"/>
              <a:gd name="connsiteX289" fmla="*/ 3756612 w 4027200"/>
              <a:gd name="connsiteY289" fmla="*/ 121792 h 196899"/>
              <a:gd name="connsiteX290" fmla="*/ 3753291 w 4027200"/>
              <a:gd name="connsiteY290" fmla="*/ 100794 h 196899"/>
              <a:gd name="connsiteX291" fmla="*/ 3756807 w 4027200"/>
              <a:gd name="connsiteY291" fmla="*/ 78428 h 196899"/>
              <a:gd name="connsiteX292" fmla="*/ 3766818 w 4027200"/>
              <a:gd name="connsiteY292" fmla="*/ 61677 h 196899"/>
              <a:gd name="connsiteX293" fmla="*/ 3782494 w 4027200"/>
              <a:gd name="connsiteY293" fmla="*/ 51178 h 196899"/>
              <a:gd name="connsiteX294" fmla="*/ 3803005 w 4027200"/>
              <a:gd name="connsiteY294" fmla="*/ 47564 h 196899"/>
              <a:gd name="connsiteX295" fmla="*/ 3642545 w 4027200"/>
              <a:gd name="connsiteY295" fmla="*/ 47564 h 196899"/>
              <a:gd name="connsiteX296" fmla="*/ 3665204 w 4027200"/>
              <a:gd name="connsiteY296" fmla="*/ 52350 h 196899"/>
              <a:gd name="connsiteX297" fmla="*/ 3665204 w 4027200"/>
              <a:gd name="connsiteY297" fmla="*/ 65633 h 196899"/>
              <a:gd name="connsiteX298" fmla="*/ 3641568 w 4027200"/>
              <a:gd name="connsiteY298" fmla="*/ 58406 h 196899"/>
              <a:gd name="connsiteX299" fmla="*/ 3625746 w 4027200"/>
              <a:gd name="connsiteY299" fmla="*/ 61775 h 196899"/>
              <a:gd name="connsiteX300" fmla="*/ 3614074 w 4027200"/>
              <a:gd name="connsiteY300" fmla="*/ 70956 h 196899"/>
              <a:gd name="connsiteX301" fmla="*/ 3606847 w 4027200"/>
              <a:gd name="connsiteY301" fmla="*/ 84532 h 196899"/>
              <a:gd name="connsiteX302" fmla="*/ 3604356 w 4027200"/>
              <a:gd name="connsiteY302" fmla="*/ 100989 h 196899"/>
              <a:gd name="connsiteX303" fmla="*/ 3606456 w 4027200"/>
              <a:gd name="connsiteY303" fmla="*/ 116323 h 196899"/>
              <a:gd name="connsiteX304" fmla="*/ 3612902 w 4027200"/>
              <a:gd name="connsiteY304" fmla="*/ 129264 h 196899"/>
              <a:gd name="connsiteX305" fmla="*/ 3623890 w 4027200"/>
              <a:gd name="connsiteY305" fmla="*/ 138201 h 196899"/>
              <a:gd name="connsiteX306" fmla="*/ 3639517 w 4027200"/>
              <a:gd name="connsiteY306" fmla="*/ 141521 h 196899"/>
              <a:gd name="connsiteX307" fmla="*/ 3664911 w 4027200"/>
              <a:gd name="connsiteY307" fmla="*/ 133122 h 196899"/>
              <a:gd name="connsiteX308" fmla="*/ 3664911 w 4027200"/>
              <a:gd name="connsiteY308" fmla="*/ 145428 h 196899"/>
              <a:gd name="connsiteX309" fmla="*/ 3637954 w 4027200"/>
              <a:gd name="connsiteY309" fmla="*/ 152363 h 196899"/>
              <a:gd name="connsiteX310" fmla="*/ 3618616 w 4027200"/>
              <a:gd name="connsiteY310" fmla="*/ 148651 h 196899"/>
              <a:gd name="connsiteX311" fmla="*/ 3603966 w 4027200"/>
              <a:gd name="connsiteY311" fmla="*/ 138054 h 196899"/>
              <a:gd name="connsiteX312" fmla="*/ 3594687 w 4027200"/>
              <a:gd name="connsiteY312" fmla="*/ 122037 h 196899"/>
              <a:gd name="connsiteX313" fmla="*/ 3591464 w 4027200"/>
              <a:gd name="connsiteY313" fmla="*/ 101966 h 196899"/>
              <a:gd name="connsiteX314" fmla="*/ 3594882 w 4027200"/>
              <a:gd name="connsiteY314" fmla="*/ 80820 h 196899"/>
              <a:gd name="connsiteX315" fmla="*/ 3604845 w 4027200"/>
              <a:gd name="connsiteY315" fmla="*/ 63533 h 196899"/>
              <a:gd name="connsiteX316" fmla="*/ 3620862 w 4027200"/>
              <a:gd name="connsiteY316" fmla="*/ 51862 h 196899"/>
              <a:gd name="connsiteX317" fmla="*/ 3642545 w 4027200"/>
              <a:gd name="connsiteY317" fmla="*/ 47564 h 196899"/>
              <a:gd name="connsiteX318" fmla="*/ 3529956 w 4027200"/>
              <a:gd name="connsiteY318" fmla="*/ 47564 h 196899"/>
              <a:gd name="connsiteX319" fmla="*/ 3555203 w 4027200"/>
              <a:gd name="connsiteY319" fmla="*/ 56941 h 196899"/>
              <a:gd name="connsiteX320" fmla="*/ 3563749 w 4027200"/>
              <a:gd name="connsiteY320" fmla="*/ 84874 h 196899"/>
              <a:gd name="connsiteX321" fmla="*/ 3563749 w 4027200"/>
              <a:gd name="connsiteY321" fmla="*/ 149921 h 196899"/>
              <a:gd name="connsiteX322" fmla="*/ 3551248 w 4027200"/>
              <a:gd name="connsiteY322" fmla="*/ 149921 h 196899"/>
              <a:gd name="connsiteX323" fmla="*/ 3551248 w 4027200"/>
              <a:gd name="connsiteY323" fmla="*/ 132145 h 196899"/>
              <a:gd name="connsiteX324" fmla="*/ 3550857 w 4027200"/>
              <a:gd name="connsiteY324" fmla="*/ 132145 h 196899"/>
              <a:gd name="connsiteX325" fmla="*/ 3537525 w 4027200"/>
              <a:gd name="connsiteY325" fmla="*/ 146991 h 196899"/>
              <a:gd name="connsiteX326" fmla="*/ 3518431 w 4027200"/>
              <a:gd name="connsiteY326" fmla="*/ 152265 h 196899"/>
              <a:gd name="connsiteX327" fmla="*/ 3505392 w 4027200"/>
              <a:gd name="connsiteY327" fmla="*/ 150214 h 196899"/>
              <a:gd name="connsiteX328" fmla="*/ 3495528 w 4027200"/>
              <a:gd name="connsiteY328" fmla="*/ 144403 h 196899"/>
              <a:gd name="connsiteX329" fmla="*/ 3489277 w 4027200"/>
              <a:gd name="connsiteY329" fmla="*/ 135368 h 196899"/>
              <a:gd name="connsiteX330" fmla="*/ 3487079 w 4027200"/>
              <a:gd name="connsiteY330" fmla="*/ 123746 h 196899"/>
              <a:gd name="connsiteX331" fmla="*/ 3495479 w 4027200"/>
              <a:gd name="connsiteY331" fmla="*/ 102112 h 196899"/>
              <a:gd name="connsiteX332" fmla="*/ 3520873 w 4027200"/>
              <a:gd name="connsiteY332" fmla="*/ 91613 h 196899"/>
              <a:gd name="connsiteX333" fmla="*/ 3551248 w 4027200"/>
              <a:gd name="connsiteY333" fmla="*/ 87218 h 196899"/>
              <a:gd name="connsiteX334" fmla="*/ 3528882 w 4027200"/>
              <a:gd name="connsiteY334" fmla="*/ 58406 h 196899"/>
              <a:gd name="connsiteX335" fmla="*/ 3496456 w 4027200"/>
              <a:gd name="connsiteY335" fmla="*/ 71200 h 196899"/>
              <a:gd name="connsiteX336" fmla="*/ 3496456 w 4027200"/>
              <a:gd name="connsiteY336" fmla="*/ 57527 h 196899"/>
              <a:gd name="connsiteX337" fmla="*/ 3503537 w 4027200"/>
              <a:gd name="connsiteY337" fmla="*/ 53473 h 196899"/>
              <a:gd name="connsiteX338" fmla="*/ 3511887 w 4027200"/>
              <a:gd name="connsiteY338" fmla="*/ 50348 h 196899"/>
              <a:gd name="connsiteX339" fmla="*/ 3520922 w 4027200"/>
              <a:gd name="connsiteY339" fmla="*/ 48297 h 196899"/>
              <a:gd name="connsiteX340" fmla="*/ 3529956 w 4027200"/>
              <a:gd name="connsiteY340" fmla="*/ 47564 h 196899"/>
              <a:gd name="connsiteX341" fmla="*/ 3179582 w 4027200"/>
              <a:gd name="connsiteY341" fmla="*/ 47564 h 196899"/>
              <a:gd name="connsiteX342" fmla="*/ 3196674 w 4027200"/>
              <a:gd name="connsiteY342" fmla="*/ 50934 h 196899"/>
              <a:gd name="connsiteX343" fmla="*/ 3209127 w 4027200"/>
              <a:gd name="connsiteY343" fmla="*/ 60554 h 196899"/>
              <a:gd name="connsiteX344" fmla="*/ 3216794 w 4027200"/>
              <a:gd name="connsiteY344" fmla="*/ 75791 h 196899"/>
              <a:gd name="connsiteX345" fmla="*/ 3219431 w 4027200"/>
              <a:gd name="connsiteY345" fmla="*/ 95910 h 196899"/>
              <a:gd name="connsiteX346" fmla="*/ 3219431 w 4027200"/>
              <a:gd name="connsiteY346" fmla="*/ 102161 h 196899"/>
              <a:gd name="connsiteX347" fmla="*/ 3147156 w 4027200"/>
              <a:gd name="connsiteY347" fmla="*/ 102161 h 196899"/>
              <a:gd name="connsiteX348" fmla="*/ 3149598 w 4027200"/>
              <a:gd name="connsiteY348" fmla="*/ 118667 h 196899"/>
              <a:gd name="connsiteX349" fmla="*/ 3156337 w 4027200"/>
              <a:gd name="connsiteY349" fmla="*/ 131071 h 196899"/>
              <a:gd name="connsiteX350" fmla="*/ 3167032 w 4027200"/>
              <a:gd name="connsiteY350" fmla="*/ 138835 h 196899"/>
              <a:gd name="connsiteX351" fmla="*/ 3181243 w 4027200"/>
              <a:gd name="connsiteY351" fmla="*/ 141521 h 196899"/>
              <a:gd name="connsiteX352" fmla="*/ 3213180 w 4027200"/>
              <a:gd name="connsiteY352" fmla="*/ 129703 h 196899"/>
              <a:gd name="connsiteX353" fmla="*/ 3213180 w 4027200"/>
              <a:gd name="connsiteY353" fmla="*/ 142010 h 196899"/>
              <a:gd name="connsiteX354" fmla="*/ 3178410 w 4027200"/>
              <a:gd name="connsiteY354" fmla="*/ 152265 h 196899"/>
              <a:gd name="connsiteX355" fmla="*/ 3160146 w 4027200"/>
              <a:gd name="connsiteY355" fmla="*/ 148749 h 196899"/>
              <a:gd name="connsiteX356" fmla="*/ 3146180 w 4027200"/>
              <a:gd name="connsiteY356" fmla="*/ 138542 h 196899"/>
              <a:gd name="connsiteX357" fmla="*/ 3137292 w 4027200"/>
              <a:gd name="connsiteY357" fmla="*/ 122085 h 196899"/>
              <a:gd name="connsiteX358" fmla="*/ 3134166 w 4027200"/>
              <a:gd name="connsiteY358" fmla="*/ 99817 h 196899"/>
              <a:gd name="connsiteX359" fmla="*/ 3137585 w 4027200"/>
              <a:gd name="connsiteY359" fmla="*/ 79014 h 196899"/>
              <a:gd name="connsiteX360" fmla="*/ 3147059 w 4027200"/>
              <a:gd name="connsiteY360" fmla="*/ 62459 h 196899"/>
              <a:gd name="connsiteX361" fmla="*/ 3161416 w 4027200"/>
              <a:gd name="connsiteY361" fmla="*/ 51520 h 196899"/>
              <a:gd name="connsiteX362" fmla="*/ 3179582 w 4027200"/>
              <a:gd name="connsiteY362" fmla="*/ 47564 h 196899"/>
              <a:gd name="connsiteX363" fmla="*/ 3023420 w 4027200"/>
              <a:gd name="connsiteY363" fmla="*/ 47564 h 196899"/>
              <a:gd name="connsiteX364" fmla="*/ 3046079 w 4027200"/>
              <a:gd name="connsiteY364" fmla="*/ 52350 h 196899"/>
              <a:gd name="connsiteX365" fmla="*/ 3046079 w 4027200"/>
              <a:gd name="connsiteY365" fmla="*/ 65633 h 196899"/>
              <a:gd name="connsiteX366" fmla="*/ 3022443 w 4027200"/>
              <a:gd name="connsiteY366" fmla="*/ 58406 h 196899"/>
              <a:gd name="connsiteX367" fmla="*/ 3006621 w 4027200"/>
              <a:gd name="connsiteY367" fmla="*/ 61775 h 196899"/>
              <a:gd name="connsiteX368" fmla="*/ 2994949 w 4027200"/>
              <a:gd name="connsiteY368" fmla="*/ 70956 h 196899"/>
              <a:gd name="connsiteX369" fmla="*/ 2987722 w 4027200"/>
              <a:gd name="connsiteY369" fmla="*/ 84532 h 196899"/>
              <a:gd name="connsiteX370" fmla="*/ 2985231 w 4027200"/>
              <a:gd name="connsiteY370" fmla="*/ 100989 h 196899"/>
              <a:gd name="connsiteX371" fmla="*/ 2987331 w 4027200"/>
              <a:gd name="connsiteY371" fmla="*/ 116323 h 196899"/>
              <a:gd name="connsiteX372" fmla="*/ 2993777 w 4027200"/>
              <a:gd name="connsiteY372" fmla="*/ 129264 h 196899"/>
              <a:gd name="connsiteX373" fmla="*/ 3004765 w 4027200"/>
              <a:gd name="connsiteY373" fmla="*/ 138201 h 196899"/>
              <a:gd name="connsiteX374" fmla="*/ 3020392 w 4027200"/>
              <a:gd name="connsiteY374" fmla="*/ 141521 h 196899"/>
              <a:gd name="connsiteX375" fmla="*/ 3045786 w 4027200"/>
              <a:gd name="connsiteY375" fmla="*/ 133122 h 196899"/>
              <a:gd name="connsiteX376" fmla="*/ 3045786 w 4027200"/>
              <a:gd name="connsiteY376" fmla="*/ 145428 h 196899"/>
              <a:gd name="connsiteX377" fmla="*/ 3018829 w 4027200"/>
              <a:gd name="connsiteY377" fmla="*/ 152363 h 196899"/>
              <a:gd name="connsiteX378" fmla="*/ 2999491 w 4027200"/>
              <a:gd name="connsiteY378" fmla="*/ 148651 h 196899"/>
              <a:gd name="connsiteX379" fmla="*/ 2984841 w 4027200"/>
              <a:gd name="connsiteY379" fmla="*/ 138054 h 196899"/>
              <a:gd name="connsiteX380" fmla="*/ 2975562 w 4027200"/>
              <a:gd name="connsiteY380" fmla="*/ 122037 h 196899"/>
              <a:gd name="connsiteX381" fmla="*/ 2972339 w 4027200"/>
              <a:gd name="connsiteY381" fmla="*/ 101966 h 196899"/>
              <a:gd name="connsiteX382" fmla="*/ 2975757 w 4027200"/>
              <a:gd name="connsiteY382" fmla="*/ 80820 h 196899"/>
              <a:gd name="connsiteX383" fmla="*/ 2985720 w 4027200"/>
              <a:gd name="connsiteY383" fmla="*/ 63533 h 196899"/>
              <a:gd name="connsiteX384" fmla="*/ 3001737 w 4027200"/>
              <a:gd name="connsiteY384" fmla="*/ 51862 h 196899"/>
              <a:gd name="connsiteX385" fmla="*/ 3023420 w 4027200"/>
              <a:gd name="connsiteY385" fmla="*/ 47564 h 196899"/>
              <a:gd name="connsiteX386" fmla="*/ 2912882 w 4027200"/>
              <a:gd name="connsiteY386" fmla="*/ 47564 h 196899"/>
              <a:gd name="connsiteX387" fmla="*/ 2929974 w 4027200"/>
              <a:gd name="connsiteY387" fmla="*/ 50934 h 196899"/>
              <a:gd name="connsiteX388" fmla="*/ 2942427 w 4027200"/>
              <a:gd name="connsiteY388" fmla="*/ 60554 h 196899"/>
              <a:gd name="connsiteX389" fmla="*/ 2950094 w 4027200"/>
              <a:gd name="connsiteY389" fmla="*/ 75791 h 196899"/>
              <a:gd name="connsiteX390" fmla="*/ 2952731 w 4027200"/>
              <a:gd name="connsiteY390" fmla="*/ 95910 h 196899"/>
              <a:gd name="connsiteX391" fmla="*/ 2952731 w 4027200"/>
              <a:gd name="connsiteY391" fmla="*/ 102161 h 196899"/>
              <a:gd name="connsiteX392" fmla="*/ 2880456 w 4027200"/>
              <a:gd name="connsiteY392" fmla="*/ 102161 h 196899"/>
              <a:gd name="connsiteX393" fmla="*/ 2882898 w 4027200"/>
              <a:gd name="connsiteY393" fmla="*/ 118667 h 196899"/>
              <a:gd name="connsiteX394" fmla="*/ 2889637 w 4027200"/>
              <a:gd name="connsiteY394" fmla="*/ 131071 h 196899"/>
              <a:gd name="connsiteX395" fmla="*/ 2900332 w 4027200"/>
              <a:gd name="connsiteY395" fmla="*/ 138835 h 196899"/>
              <a:gd name="connsiteX396" fmla="*/ 2914543 w 4027200"/>
              <a:gd name="connsiteY396" fmla="*/ 141521 h 196899"/>
              <a:gd name="connsiteX397" fmla="*/ 2946480 w 4027200"/>
              <a:gd name="connsiteY397" fmla="*/ 129703 h 196899"/>
              <a:gd name="connsiteX398" fmla="*/ 2946480 w 4027200"/>
              <a:gd name="connsiteY398" fmla="*/ 142010 h 196899"/>
              <a:gd name="connsiteX399" fmla="*/ 2911710 w 4027200"/>
              <a:gd name="connsiteY399" fmla="*/ 152265 h 196899"/>
              <a:gd name="connsiteX400" fmla="*/ 2893446 w 4027200"/>
              <a:gd name="connsiteY400" fmla="*/ 148749 h 196899"/>
              <a:gd name="connsiteX401" fmla="*/ 2879480 w 4027200"/>
              <a:gd name="connsiteY401" fmla="*/ 138542 h 196899"/>
              <a:gd name="connsiteX402" fmla="*/ 2870592 w 4027200"/>
              <a:gd name="connsiteY402" fmla="*/ 122085 h 196899"/>
              <a:gd name="connsiteX403" fmla="*/ 2867466 w 4027200"/>
              <a:gd name="connsiteY403" fmla="*/ 99817 h 196899"/>
              <a:gd name="connsiteX404" fmla="*/ 2870885 w 4027200"/>
              <a:gd name="connsiteY404" fmla="*/ 79014 h 196899"/>
              <a:gd name="connsiteX405" fmla="*/ 2880359 w 4027200"/>
              <a:gd name="connsiteY405" fmla="*/ 62459 h 196899"/>
              <a:gd name="connsiteX406" fmla="*/ 2894716 w 4027200"/>
              <a:gd name="connsiteY406" fmla="*/ 51520 h 196899"/>
              <a:gd name="connsiteX407" fmla="*/ 2912882 w 4027200"/>
              <a:gd name="connsiteY407" fmla="*/ 47564 h 196899"/>
              <a:gd name="connsiteX408" fmla="*/ 2806591 w 4027200"/>
              <a:gd name="connsiteY408" fmla="*/ 47564 h 196899"/>
              <a:gd name="connsiteX409" fmla="*/ 2831594 w 4027200"/>
              <a:gd name="connsiteY409" fmla="*/ 58210 h 196899"/>
              <a:gd name="connsiteX410" fmla="*/ 2840189 w 4027200"/>
              <a:gd name="connsiteY410" fmla="*/ 88976 h 196899"/>
              <a:gd name="connsiteX411" fmla="*/ 2840189 w 4027200"/>
              <a:gd name="connsiteY411" fmla="*/ 149921 h 196899"/>
              <a:gd name="connsiteX412" fmla="*/ 2827687 w 4027200"/>
              <a:gd name="connsiteY412" fmla="*/ 149921 h 196899"/>
              <a:gd name="connsiteX413" fmla="*/ 2827687 w 4027200"/>
              <a:gd name="connsiteY413" fmla="*/ 92296 h 196899"/>
              <a:gd name="connsiteX414" fmla="*/ 2803075 w 4027200"/>
              <a:gd name="connsiteY414" fmla="*/ 58406 h 196899"/>
              <a:gd name="connsiteX415" fmla="*/ 2790964 w 4027200"/>
              <a:gd name="connsiteY415" fmla="*/ 60994 h 196899"/>
              <a:gd name="connsiteX416" fmla="*/ 2781344 w 4027200"/>
              <a:gd name="connsiteY416" fmla="*/ 68172 h 196899"/>
              <a:gd name="connsiteX417" fmla="*/ 2774995 w 4027200"/>
              <a:gd name="connsiteY417" fmla="*/ 79062 h 196899"/>
              <a:gd name="connsiteX418" fmla="*/ 2772700 w 4027200"/>
              <a:gd name="connsiteY418" fmla="*/ 92687 h 196899"/>
              <a:gd name="connsiteX419" fmla="*/ 2772700 w 4027200"/>
              <a:gd name="connsiteY419" fmla="*/ 149921 h 196899"/>
              <a:gd name="connsiteX420" fmla="*/ 2760199 w 4027200"/>
              <a:gd name="connsiteY420" fmla="*/ 149921 h 196899"/>
              <a:gd name="connsiteX421" fmla="*/ 2760199 w 4027200"/>
              <a:gd name="connsiteY421" fmla="*/ 49908 h 196899"/>
              <a:gd name="connsiteX422" fmla="*/ 2772700 w 4027200"/>
              <a:gd name="connsiteY422" fmla="*/ 49908 h 196899"/>
              <a:gd name="connsiteX423" fmla="*/ 2772700 w 4027200"/>
              <a:gd name="connsiteY423" fmla="*/ 67293 h 196899"/>
              <a:gd name="connsiteX424" fmla="*/ 2773091 w 4027200"/>
              <a:gd name="connsiteY424" fmla="*/ 67293 h 196899"/>
              <a:gd name="connsiteX425" fmla="*/ 2806591 w 4027200"/>
              <a:gd name="connsiteY425" fmla="*/ 47564 h 196899"/>
              <a:gd name="connsiteX426" fmla="*/ 2692291 w 4027200"/>
              <a:gd name="connsiteY426" fmla="*/ 47564 h 196899"/>
              <a:gd name="connsiteX427" fmla="*/ 2717294 w 4027200"/>
              <a:gd name="connsiteY427" fmla="*/ 58210 h 196899"/>
              <a:gd name="connsiteX428" fmla="*/ 2725889 w 4027200"/>
              <a:gd name="connsiteY428" fmla="*/ 88976 h 196899"/>
              <a:gd name="connsiteX429" fmla="*/ 2725889 w 4027200"/>
              <a:gd name="connsiteY429" fmla="*/ 149921 h 196899"/>
              <a:gd name="connsiteX430" fmla="*/ 2713387 w 4027200"/>
              <a:gd name="connsiteY430" fmla="*/ 149921 h 196899"/>
              <a:gd name="connsiteX431" fmla="*/ 2713387 w 4027200"/>
              <a:gd name="connsiteY431" fmla="*/ 92296 h 196899"/>
              <a:gd name="connsiteX432" fmla="*/ 2688775 w 4027200"/>
              <a:gd name="connsiteY432" fmla="*/ 58406 h 196899"/>
              <a:gd name="connsiteX433" fmla="*/ 2676664 w 4027200"/>
              <a:gd name="connsiteY433" fmla="*/ 60994 h 196899"/>
              <a:gd name="connsiteX434" fmla="*/ 2667044 w 4027200"/>
              <a:gd name="connsiteY434" fmla="*/ 68172 h 196899"/>
              <a:gd name="connsiteX435" fmla="*/ 2660695 w 4027200"/>
              <a:gd name="connsiteY435" fmla="*/ 79062 h 196899"/>
              <a:gd name="connsiteX436" fmla="*/ 2658400 w 4027200"/>
              <a:gd name="connsiteY436" fmla="*/ 92687 h 196899"/>
              <a:gd name="connsiteX437" fmla="*/ 2658400 w 4027200"/>
              <a:gd name="connsiteY437" fmla="*/ 149921 h 196899"/>
              <a:gd name="connsiteX438" fmla="*/ 2645899 w 4027200"/>
              <a:gd name="connsiteY438" fmla="*/ 149921 h 196899"/>
              <a:gd name="connsiteX439" fmla="*/ 2645899 w 4027200"/>
              <a:gd name="connsiteY439" fmla="*/ 49908 h 196899"/>
              <a:gd name="connsiteX440" fmla="*/ 2658400 w 4027200"/>
              <a:gd name="connsiteY440" fmla="*/ 49908 h 196899"/>
              <a:gd name="connsiteX441" fmla="*/ 2658400 w 4027200"/>
              <a:gd name="connsiteY441" fmla="*/ 67293 h 196899"/>
              <a:gd name="connsiteX442" fmla="*/ 2658791 w 4027200"/>
              <a:gd name="connsiteY442" fmla="*/ 67293 h 196899"/>
              <a:gd name="connsiteX443" fmla="*/ 2692291 w 4027200"/>
              <a:gd name="connsiteY443" fmla="*/ 47564 h 196899"/>
              <a:gd name="connsiteX444" fmla="*/ 2574280 w 4027200"/>
              <a:gd name="connsiteY444" fmla="*/ 47564 h 196899"/>
              <a:gd name="connsiteX445" fmla="*/ 2593813 w 4027200"/>
              <a:gd name="connsiteY445" fmla="*/ 51129 h 196899"/>
              <a:gd name="connsiteX446" fmla="*/ 2608561 w 4027200"/>
              <a:gd name="connsiteY446" fmla="*/ 61433 h 196899"/>
              <a:gd name="connsiteX447" fmla="*/ 2617840 w 4027200"/>
              <a:gd name="connsiteY447" fmla="*/ 77842 h 196899"/>
              <a:gd name="connsiteX448" fmla="*/ 2621063 w 4027200"/>
              <a:gd name="connsiteY448" fmla="*/ 99817 h 196899"/>
              <a:gd name="connsiteX449" fmla="*/ 2617693 w 4027200"/>
              <a:gd name="connsiteY449" fmla="*/ 121158 h 196899"/>
              <a:gd name="connsiteX450" fmla="*/ 2608073 w 4027200"/>
              <a:gd name="connsiteY450" fmla="*/ 137712 h 196899"/>
              <a:gd name="connsiteX451" fmla="*/ 2592837 w 4027200"/>
              <a:gd name="connsiteY451" fmla="*/ 148456 h 196899"/>
              <a:gd name="connsiteX452" fmla="*/ 2572522 w 4027200"/>
              <a:gd name="connsiteY452" fmla="*/ 152265 h 196899"/>
              <a:gd name="connsiteX453" fmla="*/ 2552548 w 4027200"/>
              <a:gd name="connsiteY453" fmla="*/ 148554 h 196899"/>
              <a:gd name="connsiteX454" fmla="*/ 2537459 w 4027200"/>
              <a:gd name="connsiteY454" fmla="*/ 138054 h 196899"/>
              <a:gd name="connsiteX455" fmla="*/ 2527887 w 4027200"/>
              <a:gd name="connsiteY455" fmla="*/ 121792 h 196899"/>
              <a:gd name="connsiteX456" fmla="*/ 2524566 w 4027200"/>
              <a:gd name="connsiteY456" fmla="*/ 100794 h 196899"/>
              <a:gd name="connsiteX457" fmla="*/ 2528082 w 4027200"/>
              <a:gd name="connsiteY457" fmla="*/ 78428 h 196899"/>
              <a:gd name="connsiteX458" fmla="*/ 2538093 w 4027200"/>
              <a:gd name="connsiteY458" fmla="*/ 61677 h 196899"/>
              <a:gd name="connsiteX459" fmla="*/ 2553769 w 4027200"/>
              <a:gd name="connsiteY459" fmla="*/ 51178 h 196899"/>
              <a:gd name="connsiteX460" fmla="*/ 2574280 w 4027200"/>
              <a:gd name="connsiteY460" fmla="*/ 47564 h 196899"/>
              <a:gd name="connsiteX461" fmla="*/ 2131832 w 4027200"/>
              <a:gd name="connsiteY461" fmla="*/ 47564 h 196899"/>
              <a:gd name="connsiteX462" fmla="*/ 2148924 w 4027200"/>
              <a:gd name="connsiteY462" fmla="*/ 50934 h 196899"/>
              <a:gd name="connsiteX463" fmla="*/ 2161377 w 4027200"/>
              <a:gd name="connsiteY463" fmla="*/ 60554 h 196899"/>
              <a:gd name="connsiteX464" fmla="*/ 2169044 w 4027200"/>
              <a:gd name="connsiteY464" fmla="*/ 75791 h 196899"/>
              <a:gd name="connsiteX465" fmla="*/ 2171681 w 4027200"/>
              <a:gd name="connsiteY465" fmla="*/ 95910 h 196899"/>
              <a:gd name="connsiteX466" fmla="*/ 2171681 w 4027200"/>
              <a:gd name="connsiteY466" fmla="*/ 102161 h 196899"/>
              <a:gd name="connsiteX467" fmla="*/ 2099406 w 4027200"/>
              <a:gd name="connsiteY467" fmla="*/ 102161 h 196899"/>
              <a:gd name="connsiteX468" fmla="*/ 2101848 w 4027200"/>
              <a:gd name="connsiteY468" fmla="*/ 118667 h 196899"/>
              <a:gd name="connsiteX469" fmla="*/ 2108587 w 4027200"/>
              <a:gd name="connsiteY469" fmla="*/ 131071 h 196899"/>
              <a:gd name="connsiteX470" fmla="*/ 2119282 w 4027200"/>
              <a:gd name="connsiteY470" fmla="*/ 138835 h 196899"/>
              <a:gd name="connsiteX471" fmla="*/ 2133492 w 4027200"/>
              <a:gd name="connsiteY471" fmla="*/ 141521 h 196899"/>
              <a:gd name="connsiteX472" fmla="*/ 2165430 w 4027200"/>
              <a:gd name="connsiteY472" fmla="*/ 129703 h 196899"/>
              <a:gd name="connsiteX473" fmla="*/ 2165430 w 4027200"/>
              <a:gd name="connsiteY473" fmla="*/ 142010 h 196899"/>
              <a:gd name="connsiteX474" fmla="*/ 2130660 w 4027200"/>
              <a:gd name="connsiteY474" fmla="*/ 152265 h 196899"/>
              <a:gd name="connsiteX475" fmla="*/ 2112396 w 4027200"/>
              <a:gd name="connsiteY475" fmla="*/ 148749 h 196899"/>
              <a:gd name="connsiteX476" fmla="*/ 2098429 w 4027200"/>
              <a:gd name="connsiteY476" fmla="*/ 138542 h 196899"/>
              <a:gd name="connsiteX477" fmla="*/ 2089542 w 4027200"/>
              <a:gd name="connsiteY477" fmla="*/ 122085 h 196899"/>
              <a:gd name="connsiteX478" fmla="*/ 2086416 w 4027200"/>
              <a:gd name="connsiteY478" fmla="*/ 99817 h 196899"/>
              <a:gd name="connsiteX479" fmla="*/ 2089835 w 4027200"/>
              <a:gd name="connsiteY479" fmla="*/ 79014 h 196899"/>
              <a:gd name="connsiteX480" fmla="*/ 2099308 w 4027200"/>
              <a:gd name="connsiteY480" fmla="*/ 62459 h 196899"/>
              <a:gd name="connsiteX481" fmla="*/ 2113666 w 4027200"/>
              <a:gd name="connsiteY481" fmla="*/ 51520 h 196899"/>
              <a:gd name="connsiteX482" fmla="*/ 2131832 w 4027200"/>
              <a:gd name="connsiteY482" fmla="*/ 47564 h 196899"/>
              <a:gd name="connsiteX483" fmla="*/ 1526529 w 4027200"/>
              <a:gd name="connsiteY483" fmla="*/ 47564 h 196899"/>
              <a:gd name="connsiteX484" fmla="*/ 1546063 w 4027200"/>
              <a:gd name="connsiteY484" fmla="*/ 51129 h 196899"/>
              <a:gd name="connsiteX485" fmla="*/ 1560811 w 4027200"/>
              <a:gd name="connsiteY485" fmla="*/ 61433 h 196899"/>
              <a:gd name="connsiteX486" fmla="*/ 1570090 w 4027200"/>
              <a:gd name="connsiteY486" fmla="*/ 77842 h 196899"/>
              <a:gd name="connsiteX487" fmla="*/ 1573313 w 4027200"/>
              <a:gd name="connsiteY487" fmla="*/ 99817 h 196899"/>
              <a:gd name="connsiteX488" fmla="*/ 1569943 w 4027200"/>
              <a:gd name="connsiteY488" fmla="*/ 121158 h 196899"/>
              <a:gd name="connsiteX489" fmla="*/ 1560323 w 4027200"/>
              <a:gd name="connsiteY489" fmla="*/ 137712 h 196899"/>
              <a:gd name="connsiteX490" fmla="*/ 1545086 w 4027200"/>
              <a:gd name="connsiteY490" fmla="*/ 148456 h 196899"/>
              <a:gd name="connsiteX491" fmla="*/ 1524772 w 4027200"/>
              <a:gd name="connsiteY491" fmla="*/ 152265 h 196899"/>
              <a:gd name="connsiteX492" fmla="*/ 1504798 w 4027200"/>
              <a:gd name="connsiteY492" fmla="*/ 148554 h 196899"/>
              <a:gd name="connsiteX493" fmla="*/ 1489709 w 4027200"/>
              <a:gd name="connsiteY493" fmla="*/ 138054 h 196899"/>
              <a:gd name="connsiteX494" fmla="*/ 1480137 w 4027200"/>
              <a:gd name="connsiteY494" fmla="*/ 121792 h 196899"/>
              <a:gd name="connsiteX495" fmla="*/ 1476816 w 4027200"/>
              <a:gd name="connsiteY495" fmla="*/ 100794 h 196899"/>
              <a:gd name="connsiteX496" fmla="*/ 1480332 w 4027200"/>
              <a:gd name="connsiteY496" fmla="*/ 78428 h 196899"/>
              <a:gd name="connsiteX497" fmla="*/ 1490343 w 4027200"/>
              <a:gd name="connsiteY497" fmla="*/ 61677 h 196899"/>
              <a:gd name="connsiteX498" fmla="*/ 1506019 w 4027200"/>
              <a:gd name="connsiteY498" fmla="*/ 51178 h 196899"/>
              <a:gd name="connsiteX499" fmla="*/ 1526529 w 4027200"/>
              <a:gd name="connsiteY499" fmla="*/ 47564 h 196899"/>
              <a:gd name="connsiteX500" fmla="*/ 1312682 w 4027200"/>
              <a:gd name="connsiteY500" fmla="*/ 47564 h 196899"/>
              <a:gd name="connsiteX501" fmla="*/ 1329774 w 4027200"/>
              <a:gd name="connsiteY501" fmla="*/ 50934 h 196899"/>
              <a:gd name="connsiteX502" fmla="*/ 1342227 w 4027200"/>
              <a:gd name="connsiteY502" fmla="*/ 60554 h 196899"/>
              <a:gd name="connsiteX503" fmla="*/ 1349894 w 4027200"/>
              <a:gd name="connsiteY503" fmla="*/ 75791 h 196899"/>
              <a:gd name="connsiteX504" fmla="*/ 1352531 w 4027200"/>
              <a:gd name="connsiteY504" fmla="*/ 95910 h 196899"/>
              <a:gd name="connsiteX505" fmla="*/ 1352531 w 4027200"/>
              <a:gd name="connsiteY505" fmla="*/ 102161 h 196899"/>
              <a:gd name="connsiteX506" fmla="*/ 1280256 w 4027200"/>
              <a:gd name="connsiteY506" fmla="*/ 102161 h 196899"/>
              <a:gd name="connsiteX507" fmla="*/ 1282698 w 4027200"/>
              <a:gd name="connsiteY507" fmla="*/ 118667 h 196899"/>
              <a:gd name="connsiteX508" fmla="*/ 1289437 w 4027200"/>
              <a:gd name="connsiteY508" fmla="*/ 131071 h 196899"/>
              <a:gd name="connsiteX509" fmla="*/ 1300132 w 4027200"/>
              <a:gd name="connsiteY509" fmla="*/ 138835 h 196899"/>
              <a:gd name="connsiteX510" fmla="*/ 1314343 w 4027200"/>
              <a:gd name="connsiteY510" fmla="*/ 141521 h 196899"/>
              <a:gd name="connsiteX511" fmla="*/ 1346280 w 4027200"/>
              <a:gd name="connsiteY511" fmla="*/ 129703 h 196899"/>
              <a:gd name="connsiteX512" fmla="*/ 1346280 w 4027200"/>
              <a:gd name="connsiteY512" fmla="*/ 142010 h 196899"/>
              <a:gd name="connsiteX513" fmla="*/ 1311510 w 4027200"/>
              <a:gd name="connsiteY513" fmla="*/ 152265 h 196899"/>
              <a:gd name="connsiteX514" fmla="*/ 1293246 w 4027200"/>
              <a:gd name="connsiteY514" fmla="*/ 148749 h 196899"/>
              <a:gd name="connsiteX515" fmla="*/ 1279279 w 4027200"/>
              <a:gd name="connsiteY515" fmla="*/ 138542 h 196899"/>
              <a:gd name="connsiteX516" fmla="*/ 1270392 w 4027200"/>
              <a:gd name="connsiteY516" fmla="*/ 122085 h 196899"/>
              <a:gd name="connsiteX517" fmla="*/ 1267266 w 4027200"/>
              <a:gd name="connsiteY517" fmla="*/ 99817 h 196899"/>
              <a:gd name="connsiteX518" fmla="*/ 1270685 w 4027200"/>
              <a:gd name="connsiteY518" fmla="*/ 79014 h 196899"/>
              <a:gd name="connsiteX519" fmla="*/ 1280159 w 4027200"/>
              <a:gd name="connsiteY519" fmla="*/ 62459 h 196899"/>
              <a:gd name="connsiteX520" fmla="*/ 1294516 w 4027200"/>
              <a:gd name="connsiteY520" fmla="*/ 51520 h 196899"/>
              <a:gd name="connsiteX521" fmla="*/ 1312682 w 4027200"/>
              <a:gd name="connsiteY521" fmla="*/ 47564 h 196899"/>
              <a:gd name="connsiteX522" fmla="*/ 621655 w 4027200"/>
              <a:gd name="connsiteY522" fmla="*/ 47564 h 196899"/>
              <a:gd name="connsiteX523" fmla="*/ 641188 w 4027200"/>
              <a:gd name="connsiteY523" fmla="*/ 51129 h 196899"/>
              <a:gd name="connsiteX524" fmla="*/ 655936 w 4027200"/>
              <a:gd name="connsiteY524" fmla="*/ 61433 h 196899"/>
              <a:gd name="connsiteX525" fmla="*/ 665215 w 4027200"/>
              <a:gd name="connsiteY525" fmla="*/ 77842 h 196899"/>
              <a:gd name="connsiteX526" fmla="*/ 668438 w 4027200"/>
              <a:gd name="connsiteY526" fmla="*/ 99817 h 196899"/>
              <a:gd name="connsiteX527" fmla="*/ 665068 w 4027200"/>
              <a:gd name="connsiteY527" fmla="*/ 121158 h 196899"/>
              <a:gd name="connsiteX528" fmla="*/ 655448 w 4027200"/>
              <a:gd name="connsiteY528" fmla="*/ 137712 h 196899"/>
              <a:gd name="connsiteX529" fmla="*/ 640212 w 4027200"/>
              <a:gd name="connsiteY529" fmla="*/ 148456 h 196899"/>
              <a:gd name="connsiteX530" fmla="*/ 619897 w 4027200"/>
              <a:gd name="connsiteY530" fmla="*/ 152265 h 196899"/>
              <a:gd name="connsiteX531" fmla="*/ 599923 w 4027200"/>
              <a:gd name="connsiteY531" fmla="*/ 148554 h 196899"/>
              <a:gd name="connsiteX532" fmla="*/ 584834 w 4027200"/>
              <a:gd name="connsiteY532" fmla="*/ 138054 h 196899"/>
              <a:gd name="connsiteX533" fmla="*/ 575262 w 4027200"/>
              <a:gd name="connsiteY533" fmla="*/ 121792 h 196899"/>
              <a:gd name="connsiteX534" fmla="*/ 571941 w 4027200"/>
              <a:gd name="connsiteY534" fmla="*/ 100794 h 196899"/>
              <a:gd name="connsiteX535" fmla="*/ 575457 w 4027200"/>
              <a:gd name="connsiteY535" fmla="*/ 78428 h 196899"/>
              <a:gd name="connsiteX536" fmla="*/ 585468 w 4027200"/>
              <a:gd name="connsiteY536" fmla="*/ 61677 h 196899"/>
              <a:gd name="connsiteX537" fmla="*/ 601144 w 4027200"/>
              <a:gd name="connsiteY537" fmla="*/ 51178 h 196899"/>
              <a:gd name="connsiteX538" fmla="*/ 621655 w 4027200"/>
              <a:gd name="connsiteY538" fmla="*/ 47564 h 196899"/>
              <a:gd name="connsiteX539" fmla="*/ 523233 w 4027200"/>
              <a:gd name="connsiteY539" fmla="*/ 47564 h 196899"/>
              <a:gd name="connsiteX540" fmla="*/ 545892 w 4027200"/>
              <a:gd name="connsiteY540" fmla="*/ 52448 h 196899"/>
              <a:gd name="connsiteX541" fmla="*/ 545892 w 4027200"/>
              <a:gd name="connsiteY541" fmla="*/ 65633 h 196899"/>
              <a:gd name="connsiteX542" fmla="*/ 521670 w 4027200"/>
              <a:gd name="connsiteY542" fmla="*/ 58406 h 196899"/>
              <a:gd name="connsiteX543" fmla="*/ 513124 w 4027200"/>
              <a:gd name="connsiteY543" fmla="*/ 59578 h 196899"/>
              <a:gd name="connsiteX544" fmla="*/ 506531 w 4027200"/>
              <a:gd name="connsiteY544" fmla="*/ 62898 h 196899"/>
              <a:gd name="connsiteX545" fmla="*/ 502283 w 4027200"/>
              <a:gd name="connsiteY545" fmla="*/ 68026 h 196899"/>
              <a:gd name="connsiteX546" fmla="*/ 500769 w 4027200"/>
              <a:gd name="connsiteY546" fmla="*/ 74618 h 196899"/>
              <a:gd name="connsiteX547" fmla="*/ 501941 w 4027200"/>
              <a:gd name="connsiteY547" fmla="*/ 81113 h 196899"/>
              <a:gd name="connsiteX548" fmla="*/ 505604 w 4027200"/>
              <a:gd name="connsiteY548" fmla="*/ 86143 h 196899"/>
              <a:gd name="connsiteX549" fmla="*/ 512050 w 4027200"/>
              <a:gd name="connsiteY549" fmla="*/ 90441 h 196899"/>
              <a:gd name="connsiteX550" fmla="*/ 521670 w 4027200"/>
              <a:gd name="connsiteY550" fmla="*/ 94836 h 196899"/>
              <a:gd name="connsiteX551" fmla="*/ 534172 w 4027200"/>
              <a:gd name="connsiteY551" fmla="*/ 100647 h 196899"/>
              <a:gd name="connsiteX552" fmla="*/ 542864 w 4027200"/>
              <a:gd name="connsiteY552" fmla="*/ 106898 h 196899"/>
              <a:gd name="connsiteX553" fmla="*/ 547943 w 4027200"/>
              <a:gd name="connsiteY553" fmla="*/ 114418 h 196899"/>
              <a:gd name="connsiteX554" fmla="*/ 549603 w 4027200"/>
              <a:gd name="connsiteY554" fmla="*/ 124039 h 196899"/>
              <a:gd name="connsiteX555" fmla="*/ 546820 w 4027200"/>
              <a:gd name="connsiteY555" fmla="*/ 136052 h 196899"/>
              <a:gd name="connsiteX556" fmla="*/ 539104 w 4027200"/>
              <a:gd name="connsiteY556" fmla="*/ 144940 h 196899"/>
              <a:gd name="connsiteX557" fmla="*/ 527530 w 4027200"/>
              <a:gd name="connsiteY557" fmla="*/ 150409 h 196899"/>
              <a:gd name="connsiteX558" fmla="*/ 513075 w 4027200"/>
              <a:gd name="connsiteY558" fmla="*/ 152265 h 196899"/>
              <a:gd name="connsiteX559" fmla="*/ 487584 w 4027200"/>
              <a:gd name="connsiteY559" fmla="*/ 145916 h 196899"/>
              <a:gd name="connsiteX560" fmla="*/ 487584 w 4027200"/>
              <a:gd name="connsiteY560" fmla="*/ 131950 h 196899"/>
              <a:gd name="connsiteX561" fmla="*/ 493737 w 4027200"/>
              <a:gd name="connsiteY561" fmla="*/ 135954 h 196899"/>
              <a:gd name="connsiteX562" fmla="*/ 500574 w 4027200"/>
              <a:gd name="connsiteY562" fmla="*/ 138982 h 196899"/>
              <a:gd name="connsiteX563" fmla="*/ 507655 w 4027200"/>
              <a:gd name="connsiteY563" fmla="*/ 140887 h 196899"/>
              <a:gd name="connsiteX564" fmla="*/ 514443 w 4027200"/>
              <a:gd name="connsiteY564" fmla="*/ 141521 h 196899"/>
              <a:gd name="connsiteX565" fmla="*/ 536711 w 4027200"/>
              <a:gd name="connsiteY565" fmla="*/ 124820 h 196899"/>
              <a:gd name="connsiteX566" fmla="*/ 535148 w 4027200"/>
              <a:gd name="connsiteY566" fmla="*/ 118227 h 196899"/>
              <a:gd name="connsiteX567" fmla="*/ 530656 w 4027200"/>
              <a:gd name="connsiteY567" fmla="*/ 113149 h 196899"/>
              <a:gd name="connsiteX568" fmla="*/ 523623 w 4027200"/>
              <a:gd name="connsiteY568" fmla="*/ 108900 h 196899"/>
              <a:gd name="connsiteX569" fmla="*/ 514345 w 4027200"/>
              <a:gd name="connsiteY569" fmla="*/ 104798 h 196899"/>
              <a:gd name="connsiteX570" fmla="*/ 502429 w 4027200"/>
              <a:gd name="connsiteY570" fmla="*/ 99036 h 196899"/>
              <a:gd name="connsiteX571" fmla="*/ 494225 w 4027200"/>
              <a:gd name="connsiteY571" fmla="*/ 92638 h 196899"/>
              <a:gd name="connsiteX572" fmla="*/ 489439 w 4027200"/>
              <a:gd name="connsiteY572" fmla="*/ 85020 h 196899"/>
              <a:gd name="connsiteX573" fmla="*/ 487877 w 4027200"/>
              <a:gd name="connsiteY573" fmla="*/ 75595 h 196899"/>
              <a:gd name="connsiteX574" fmla="*/ 490758 w 4027200"/>
              <a:gd name="connsiteY574" fmla="*/ 63777 h 196899"/>
              <a:gd name="connsiteX575" fmla="*/ 498523 w 4027200"/>
              <a:gd name="connsiteY575" fmla="*/ 54987 h 196899"/>
              <a:gd name="connsiteX576" fmla="*/ 509803 w 4027200"/>
              <a:gd name="connsiteY576" fmla="*/ 49469 h 196899"/>
              <a:gd name="connsiteX577" fmla="*/ 523233 w 4027200"/>
              <a:gd name="connsiteY577" fmla="*/ 47564 h 196899"/>
              <a:gd name="connsiteX578" fmla="*/ 421630 w 4027200"/>
              <a:gd name="connsiteY578" fmla="*/ 47564 h 196899"/>
              <a:gd name="connsiteX579" fmla="*/ 441163 w 4027200"/>
              <a:gd name="connsiteY579" fmla="*/ 51129 h 196899"/>
              <a:gd name="connsiteX580" fmla="*/ 455911 w 4027200"/>
              <a:gd name="connsiteY580" fmla="*/ 61433 h 196899"/>
              <a:gd name="connsiteX581" fmla="*/ 465190 w 4027200"/>
              <a:gd name="connsiteY581" fmla="*/ 77842 h 196899"/>
              <a:gd name="connsiteX582" fmla="*/ 468413 w 4027200"/>
              <a:gd name="connsiteY582" fmla="*/ 99817 h 196899"/>
              <a:gd name="connsiteX583" fmla="*/ 465043 w 4027200"/>
              <a:gd name="connsiteY583" fmla="*/ 121158 h 196899"/>
              <a:gd name="connsiteX584" fmla="*/ 455423 w 4027200"/>
              <a:gd name="connsiteY584" fmla="*/ 137712 h 196899"/>
              <a:gd name="connsiteX585" fmla="*/ 440187 w 4027200"/>
              <a:gd name="connsiteY585" fmla="*/ 148456 h 196899"/>
              <a:gd name="connsiteX586" fmla="*/ 419872 w 4027200"/>
              <a:gd name="connsiteY586" fmla="*/ 152265 h 196899"/>
              <a:gd name="connsiteX587" fmla="*/ 399898 w 4027200"/>
              <a:gd name="connsiteY587" fmla="*/ 148554 h 196899"/>
              <a:gd name="connsiteX588" fmla="*/ 384809 w 4027200"/>
              <a:gd name="connsiteY588" fmla="*/ 138054 h 196899"/>
              <a:gd name="connsiteX589" fmla="*/ 375237 w 4027200"/>
              <a:gd name="connsiteY589" fmla="*/ 121792 h 196899"/>
              <a:gd name="connsiteX590" fmla="*/ 371916 w 4027200"/>
              <a:gd name="connsiteY590" fmla="*/ 100794 h 196899"/>
              <a:gd name="connsiteX591" fmla="*/ 375432 w 4027200"/>
              <a:gd name="connsiteY591" fmla="*/ 78428 h 196899"/>
              <a:gd name="connsiteX592" fmla="*/ 385443 w 4027200"/>
              <a:gd name="connsiteY592" fmla="*/ 61677 h 196899"/>
              <a:gd name="connsiteX593" fmla="*/ 401119 w 4027200"/>
              <a:gd name="connsiteY593" fmla="*/ 51178 h 196899"/>
              <a:gd name="connsiteX594" fmla="*/ 421630 w 4027200"/>
              <a:gd name="connsiteY594" fmla="*/ 47564 h 196899"/>
              <a:gd name="connsiteX595" fmla="*/ 261170 w 4027200"/>
              <a:gd name="connsiteY595" fmla="*/ 47564 h 196899"/>
              <a:gd name="connsiteX596" fmla="*/ 283829 w 4027200"/>
              <a:gd name="connsiteY596" fmla="*/ 52350 h 196899"/>
              <a:gd name="connsiteX597" fmla="*/ 283829 w 4027200"/>
              <a:gd name="connsiteY597" fmla="*/ 65633 h 196899"/>
              <a:gd name="connsiteX598" fmla="*/ 260193 w 4027200"/>
              <a:gd name="connsiteY598" fmla="*/ 58406 h 196899"/>
              <a:gd name="connsiteX599" fmla="*/ 244371 w 4027200"/>
              <a:gd name="connsiteY599" fmla="*/ 61775 h 196899"/>
              <a:gd name="connsiteX600" fmla="*/ 232699 w 4027200"/>
              <a:gd name="connsiteY600" fmla="*/ 70956 h 196899"/>
              <a:gd name="connsiteX601" fmla="*/ 225472 w 4027200"/>
              <a:gd name="connsiteY601" fmla="*/ 84532 h 196899"/>
              <a:gd name="connsiteX602" fmla="*/ 222981 w 4027200"/>
              <a:gd name="connsiteY602" fmla="*/ 100989 h 196899"/>
              <a:gd name="connsiteX603" fmla="*/ 225081 w 4027200"/>
              <a:gd name="connsiteY603" fmla="*/ 116323 h 196899"/>
              <a:gd name="connsiteX604" fmla="*/ 231527 w 4027200"/>
              <a:gd name="connsiteY604" fmla="*/ 129264 h 196899"/>
              <a:gd name="connsiteX605" fmla="*/ 242515 w 4027200"/>
              <a:gd name="connsiteY605" fmla="*/ 138201 h 196899"/>
              <a:gd name="connsiteX606" fmla="*/ 258142 w 4027200"/>
              <a:gd name="connsiteY606" fmla="*/ 141521 h 196899"/>
              <a:gd name="connsiteX607" fmla="*/ 283536 w 4027200"/>
              <a:gd name="connsiteY607" fmla="*/ 133122 h 196899"/>
              <a:gd name="connsiteX608" fmla="*/ 283536 w 4027200"/>
              <a:gd name="connsiteY608" fmla="*/ 145428 h 196899"/>
              <a:gd name="connsiteX609" fmla="*/ 256579 w 4027200"/>
              <a:gd name="connsiteY609" fmla="*/ 152363 h 196899"/>
              <a:gd name="connsiteX610" fmla="*/ 237241 w 4027200"/>
              <a:gd name="connsiteY610" fmla="*/ 148651 h 196899"/>
              <a:gd name="connsiteX611" fmla="*/ 222591 w 4027200"/>
              <a:gd name="connsiteY611" fmla="*/ 138054 h 196899"/>
              <a:gd name="connsiteX612" fmla="*/ 213312 w 4027200"/>
              <a:gd name="connsiteY612" fmla="*/ 122037 h 196899"/>
              <a:gd name="connsiteX613" fmla="*/ 210089 w 4027200"/>
              <a:gd name="connsiteY613" fmla="*/ 101966 h 196899"/>
              <a:gd name="connsiteX614" fmla="*/ 213507 w 4027200"/>
              <a:gd name="connsiteY614" fmla="*/ 80820 h 196899"/>
              <a:gd name="connsiteX615" fmla="*/ 223470 w 4027200"/>
              <a:gd name="connsiteY615" fmla="*/ 63533 h 196899"/>
              <a:gd name="connsiteX616" fmla="*/ 239487 w 4027200"/>
              <a:gd name="connsiteY616" fmla="*/ 51862 h 196899"/>
              <a:gd name="connsiteX617" fmla="*/ 261170 w 4027200"/>
              <a:gd name="connsiteY617" fmla="*/ 47564 h 196899"/>
              <a:gd name="connsiteX618" fmla="*/ 921325 w 4027200"/>
              <a:gd name="connsiteY618" fmla="*/ 24515 h 196899"/>
              <a:gd name="connsiteX619" fmla="*/ 920006 w 4027200"/>
              <a:gd name="connsiteY619" fmla="*/ 30082 h 196899"/>
              <a:gd name="connsiteX620" fmla="*/ 918590 w 4027200"/>
              <a:gd name="connsiteY620" fmla="*/ 34379 h 196899"/>
              <a:gd name="connsiteX621" fmla="*/ 895931 w 4027200"/>
              <a:gd name="connsiteY621" fmla="*/ 96692 h 196899"/>
              <a:gd name="connsiteX622" fmla="*/ 947207 w 4027200"/>
              <a:gd name="connsiteY622" fmla="*/ 96692 h 196899"/>
              <a:gd name="connsiteX623" fmla="*/ 924352 w 4027200"/>
              <a:gd name="connsiteY623" fmla="*/ 34379 h 196899"/>
              <a:gd name="connsiteX624" fmla="*/ 922936 w 4027200"/>
              <a:gd name="connsiteY624" fmla="*/ 30082 h 196899"/>
              <a:gd name="connsiteX625" fmla="*/ 921716 w 4027200"/>
              <a:gd name="connsiteY625" fmla="*/ 24515 h 196899"/>
              <a:gd name="connsiteX626" fmla="*/ 3710838 w 4027200"/>
              <a:gd name="connsiteY626" fmla="*/ 20608 h 196899"/>
              <a:gd name="connsiteX627" fmla="*/ 3710838 w 4027200"/>
              <a:gd name="connsiteY627" fmla="*/ 49908 h 196899"/>
              <a:gd name="connsiteX628" fmla="*/ 3736623 w 4027200"/>
              <a:gd name="connsiteY628" fmla="*/ 49908 h 196899"/>
              <a:gd name="connsiteX629" fmla="*/ 3736623 w 4027200"/>
              <a:gd name="connsiteY629" fmla="*/ 60847 h 196899"/>
              <a:gd name="connsiteX630" fmla="*/ 3710838 w 4027200"/>
              <a:gd name="connsiteY630" fmla="*/ 60847 h 196899"/>
              <a:gd name="connsiteX631" fmla="*/ 3710838 w 4027200"/>
              <a:gd name="connsiteY631" fmla="*/ 122085 h 196899"/>
              <a:gd name="connsiteX632" fmla="*/ 3714159 w 4027200"/>
              <a:gd name="connsiteY632" fmla="*/ 136736 h 196899"/>
              <a:gd name="connsiteX633" fmla="*/ 3725391 w 4027200"/>
              <a:gd name="connsiteY633" fmla="*/ 141228 h 196899"/>
              <a:gd name="connsiteX634" fmla="*/ 3736623 w 4027200"/>
              <a:gd name="connsiteY634" fmla="*/ 137712 h 196899"/>
              <a:gd name="connsiteX635" fmla="*/ 3736623 w 4027200"/>
              <a:gd name="connsiteY635" fmla="*/ 148749 h 196899"/>
              <a:gd name="connsiteX636" fmla="*/ 3722558 w 4027200"/>
              <a:gd name="connsiteY636" fmla="*/ 151972 h 196899"/>
              <a:gd name="connsiteX637" fmla="*/ 3698337 w 4027200"/>
              <a:gd name="connsiteY637" fmla="*/ 124039 h 196899"/>
              <a:gd name="connsiteX638" fmla="*/ 3698337 w 4027200"/>
              <a:gd name="connsiteY638" fmla="*/ 60847 h 196899"/>
              <a:gd name="connsiteX639" fmla="*/ 3680756 w 4027200"/>
              <a:gd name="connsiteY639" fmla="*/ 60847 h 196899"/>
              <a:gd name="connsiteX640" fmla="*/ 3680756 w 4027200"/>
              <a:gd name="connsiteY640" fmla="*/ 49908 h 196899"/>
              <a:gd name="connsiteX641" fmla="*/ 3698337 w 4027200"/>
              <a:gd name="connsiteY641" fmla="*/ 49908 h 196899"/>
              <a:gd name="connsiteX642" fmla="*/ 3698337 w 4027200"/>
              <a:gd name="connsiteY642" fmla="*/ 24710 h 196899"/>
              <a:gd name="connsiteX643" fmla="*/ 3091713 w 4027200"/>
              <a:gd name="connsiteY643" fmla="*/ 20608 h 196899"/>
              <a:gd name="connsiteX644" fmla="*/ 3091713 w 4027200"/>
              <a:gd name="connsiteY644" fmla="*/ 49908 h 196899"/>
              <a:gd name="connsiteX645" fmla="*/ 3117498 w 4027200"/>
              <a:gd name="connsiteY645" fmla="*/ 49908 h 196899"/>
              <a:gd name="connsiteX646" fmla="*/ 3117498 w 4027200"/>
              <a:gd name="connsiteY646" fmla="*/ 60847 h 196899"/>
              <a:gd name="connsiteX647" fmla="*/ 3091713 w 4027200"/>
              <a:gd name="connsiteY647" fmla="*/ 60847 h 196899"/>
              <a:gd name="connsiteX648" fmla="*/ 3091713 w 4027200"/>
              <a:gd name="connsiteY648" fmla="*/ 122085 h 196899"/>
              <a:gd name="connsiteX649" fmla="*/ 3095034 w 4027200"/>
              <a:gd name="connsiteY649" fmla="*/ 136736 h 196899"/>
              <a:gd name="connsiteX650" fmla="*/ 3106266 w 4027200"/>
              <a:gd name="connsiteY650" fmla="*/ 141228 h 196899"/>
              <a:gd name="connsiteX651" fmla="*/ 3117498 w 4027200"/>
              <a:gd name="connsiteY651" fmla="*/ 137712 h 196899"/>
              <a:gd name="connsiteX652" fmla="*/ 3117498 w 4027200"/>
              <a:gd name="connsiteY652" fmla="*/ 148749 h 196899"/>
              <a:gd name="connsiteX653" fmla="*/ 3103433 w 4027200"/>
              <a:gd name="connsiteY653" fmla="*/ 151972 h 196899"/>
              <a:gd name="connsiteX654" fmla="*/ 3079212 w 4027200"/>
              <a:gd name="connsiteY654" fmla="*/ 124039 h 196899"/>
              <a:gd name="connsiteX655" fmla="*/ 3079212 w 4027200"/>
              <a:gd name="connsiteY655" fmla="*/ 60847 h 196899"/>
              <a:gd name="connsiteX656" fmla="*/ 3061631 w 4027200"/>
              <a:gd name="connsiteY656" fmla="*/ 60847 h 196899"/>
              <a:gd name="connsiteX657" fmla="*/ 3061631 w 4027200"/>
              <a:gd name="connsiteY657" fmla="*/ 49908 h 196899"/>
              <a:gd name="connsiteX658" fmla="*/ 3079212 w 4027200"/>
              <a:gd name="connsiteY658" fmla="*/ 49908 h 196899"/>
              <a:gd name="connsiteX659" fmla="*/ 3079212 w 4027200"/>
              <a:gd name="connsiteY659" fmla="*/ 24710 h 196899"/>
              <a:gd name="connsiteX660" fmla="*/ 2043963 w 4027200"/>
              <a:gd name="connsiteY660" fmla="*/ 20608 h 196899"/>
              <a:gd name="connsiteX661" fmla="*/ 2043963 w 4027200"/>
              <a:gd name="connsiteY661" fmla="*/ 49908 h 196899"/>
              <a:gd name="connsiteX662" fmla="*/ 2069748 w 4027200"/>
              <a:gd name="connsiteY662" fmla="*/ 49908 h 196899"/>
              <a:gd name="connsiteX663" fmla="*/ 2069748 w 4027200"/>
              <a:gd name="connsiteY663" fmla="*/ 60847 h 196899"/>
              <a:gd name="connsiteX664" fmla="*/ 2043963 w 4027200"/>
              <a:gd name="connsiteY664" fmla="*/ 60847 h 196899"/>
              <a:gd name="connsiteX665" fmla="*/ 2043963 w 4027200"/>
              <a:gd name="connsiteY665" fmla="*/ 122085 h 196899"/>
              <a:gd name="connsiteX666" fmla="*/ 2047284 w 4027200"/>
              <a:gd name="connsiteY666" fmla="*/ 136736 h 196899"/>
              <a:gd name="connsiteX667" fmla="*/ 2058516 w 4027200"/>
              <a:gd name="connsiteY667" fmla="*/ 141228 h 196899"/>
              <a:gd name="connsiteX668" fmla="*/ 2069748 w 4027200"/>
              <a:gd name="connsiteY668" fmla="*/ 137712 h 196899"/>
              <a:gd name="connsiteX669" fmla="*/ 2069748 w 4027200"/>
              <a:gd name="connsiteY669" fmla="*/ 148749 h 196899"/>
              <a:gd name="connsiteX670" fmla="*/ 2055683 w 4027200"/>
              <a:gd name="connsiteY670" fmla="*/ 151972 h 196899"/>
              <a:gd name="connsiteX671" fmla="*/ 2031462 w 4027200"/>
              <a:gd name="connsiteY671" fmla="*/ 124039 h 196899"/>
              <a:gd name="connsiteX672" fmla="*/ 2031462 w 4027200"/>
              <a:gd name="connsiteY672" fmla="*/ 60847 h 196899"/>
              <a:gd name="connsiteX673" fmla="*/ 2013881 w 4027200"/>
              <a:gd name="connsiteY673" fmla="*/ 60847 h 196899"/>
              <a:gd name="connsiteX674" fmla="*/ 2013881 w 4027200"/>
              <a:gd name="connsiteY674" fmla="*/ 49908 h 196899"/>
              <a:gd name="connsiteX675" fmla="*/ 2031462 w 4027200"/>
              <a:gd name="connsiteY675" fmla="*/ 49908 h 196899"/>
              <a:gd name="connsiteX676" fmla="*/ 2031462 w 4027200"/>
              <a:gd name="connsiteY676" fmla="*/ 24710 h 196899"/>
              <a:gd name="connsiteX677" fmla="*/ 767613 w 4027200"/>
              <a:gd name="connsiteY677" fmla="*/ 20608 h 196899"/>
              <a:gd name="connsiteX678" fmla="*/ 767613 w 4027200"/>
              <a:gd name="connsiteY678" fmla="*/ 49908 h 196899"/>
              <a:gd name="connsiteX679" fmla="*/ 793398 w 4027200"/>
              <a:gd name="connsiteY679" fmla="*/ 49908 h 196899"/>
              <a:gd name="connsiteX680" fmla="*/ 793398 w 4027200"/>
              <a:gd name="connsiteY680" fmla="*/ 60847 h 196899"/>
              <a:gd name="connsiteX681" fmla="*/ 767613 w 4027200"/>
              <a:gd name="connsiteY681" fmla="*/ 60847 h 196899"/>
              <a:gd name="connsiteX682" fmla="*/ 767613 w 4027200"/>
              <a:gd name="connsiteY682" fmla="*/ 122085 h 196899"/>
              <a:gd name="connsiteX683" fmla="*/ 770934 w 4027200"/>
              <a:gd name="connsiteY683" fmla="*/ 136736 h 196899"/>
              <a:gd name="connsiteX684" fmla="*/ 782166 w 4027200"/>
              <a:gd name="connsiteY684" fmla="*/ 141228 h 196899"/>
              <a:gd name="connsiteX685" fmla="*/ 793398 w 4027200"/>
              <a:gd name="connsiteY685" fmla="*/ 137712 h 196899"/>
              <a:gd name="connsiteX686" fmla="*/ 793398 w 4027200"/>
              <a:gd name="connsiteY686" fmla="*/ 148749 h 196899"/>
              <a:gd name="connsiteX687" fmla="*/ 779333 w 4027200"/>
              <a:gd name="connsiteY687" fmla="*/ 151972 h 196899"/>
              <a:gd name="connsiteX688" fmla="*/ 755112 w 4027200"/>
              <a:gd name="connsiteY688" fmla="*/ 124039 h 196899"/>
              <a:gd name="connsiteX689" fmla="*/ 755112 w 4027200"/>
              <a:gd name="connsiteY689" fmla="*/ 60847 h 196899"/>
              <a:gd name="connsiteX690" fmla="*/ 737531 w 4027200"/>
              <a:gd name="connsiteY690" fmla="*/ 60847 h 196899"/>
              <a:gd name="connsiteX691" fmla="*/ 737531 w 4027200"/>
              <a:gd name="connsiteY691" fmla="*/ 49908 h 196899"/>
              <a:gd name="connsiteX692" fmla="*/ 755112 w 4027200"/>
              <a:gd name="connsiteY692" fmla="*/ 49908 h 196899"/>
              <a:gd name="connsiteX693" fmla="*/ 755112 w 4027200"/>
              <a:gd name="connsiteY693" fmla="*/ 24710 h 196899"/>
              <a:gd name="connsiteX694" fmla="*/ 3409950 w 4027200"/>
              <a:gd name="connsiteY694" fmla="*/ 9864 h 196899"/>
              <a:gd name="connsiteX695" fmla="*/ 3478220 w 4027200"/>
              <a:gd name="connsiteY695" fmla="*/ 9864 h 196899"/>
              <a:gd name="connsiteX696" fmla="*/ 3478220 w 4027200"/>
              <a:gd name="connsiteY696" fmla="*/ 21780 h 196899"/>
              <a:gd name="connsiteX697" fmla="*/ 3422939 w 4027200"/>
              <a:gd name="connsiteY697" fmla="*/ 21780 h 196899"/>
              <a:gd name="connsiteX698" fmla="*/ 3422939 w 4027200"/>
              <a:gd name="connsiteY698" fmla="*/ 74521 h 196899"/>
              <a:gd name="connsiteX699" fmla="*/ 3474118 w 4027200"/>
              <a:gd name="connsiteY699" fmla="*/ 74521 h 196899"/>
              <a:gd name="connsiteX700" fmla="*/ 3474118 w 4027200"/>
              <a:gd name="connsiteY700" fmla="*/ 86339 h 196899"/>
              <a:gd name="connsiteX701" fmla="*/ 3422939 w 4027200"/>
              <a:gd name="connsiteY701" fmla="*/ 86339 h 196899"/>
              <a:gd name="connsiteX702" fmla="*/ 3422939 w 4027200"/>
              <a:gd name="connsiteY702" fmla="*/ 149921 h 196899"/>
              <a:gd name="connsiteX703" fmla="*/ 3409950 w 4027200"/>
              <a:gd name="connsiteY703" fmla="*/ 149921 h 196899"/>
              <a:gd name="connsiteX704" fmla="*/ 1586917 w 4027200"/>
              <a:gd name="connsiteY704" fmla="*/ 9864 h 196899"/>
              <a:gd name="connsiteX705" fmla="*/ 1680678 w 4027200"/>
              <a:gd name="connsiteY705" fmla="*/ 9864 h 196899"/>
              <a:gd name="connsiteX706" fmla="*/ 1680678 w 4027200"/>
              <a:gd name="connsiteY706" fmla="*/ 21780 h 196899"/>
              <a:gd name="connsiteX707" fmla="*/ 1640244 w 4027200"/>
              <a:gd name="connsiteY707" fmla="*/ 21780 h 196899"/>
              <a:gd name="connsiteX708" fmla="*/ 1640244 w 4027200"/>
              <a:gd name="connsiteY708" fmla="*/ 149921 h 196899"/>
              <a:gd name="connsiteX709" fmla="*/ 1627254 w 4027200"/>
              <a:gd name="connsiteY709" fmla="*/ 149921 h 196899"/>
              <a:gd name="connsiteX710" fmla="*/ 1627254 w 4027200"/>
              <a:gd name="connsiteY710" fmla="*/ 21780 h 196899"/>
              <a:gd name="connsiteX711" fmla="*/ 1586917 w 4027200"/>
              <a:gd name="connsiteY711" fmla="*/ 21780 h 196899"/>
              <a:gd name="connsiteX712" fmla="*/ 1438274 w 4027200"/>
              <a:gd name="connsiteY712" fmla="*/ 9864 h 196899"/>
              <a:gd name="connsiteX713" fmla="*/ 1451264 w 4027200"/>
              <a:gd name="connsiteY713" fmla="*/ 9864 h 196899"/>
              <a:gd name="connsiteX714" fmla="*/ 1451264 w 4027200"/>
              <a:gd name="connsiteY714" fmla="*/ 149921 h 196899"/>
              <a:gd name="connsiteX715" fmla="*/ 1438274 w 4027200"/>
              <a:gd name="connsiteY715" fmla="*/ 149921 h 196899"/>
              <a:gd name="connsiteX716" fmla="*/ 915367 w 4027200"/>
              <a:gd name="connsiteY716" fmla="*/ 9864 h 196899"/>
              <a:gd name="connsiteX717" fmla="*/ 928455 w 4027200"/>
              <a:gd name="connsiteY717" fmla="*/ 9864 h 196899"/>
              <a:gd name="connsiteX718" fmla="*/ 981488 w 4027200"/>
              <a:gd name="connsiteY718" fmla="*/ 149921 h 196899"/>
              <a:gd name="connsiteX719" fmla="*/ 967033 w 4027200"/>
              <a:gd name="connsiteY719" fmla="*/ 149921 h 196899"/>
              <a:gd name="connsiteX720" fmla="*/ 951602 w 4027200"/>
              <a:gd name="connsiteY720" fmla="*/ 108509 h 196899"/>
              <a:gd name="connsiteX721" fmla="*/ 891536 w 4027200"/>
              <a:gd name="connsiteY721" fmla="*/ 108509 h 196899"/>
              <a:gd name="connsiteX722" fmla="*/ 876495 w 4027200"/>
              <a:gd name="connsiteY722" fmla="*/ 149921 h 196899"/>
              <a:gd name="connsiteX723" fmla="*/ 862040 w 4027200"/>
              <a:gd name="connsiteY723" fmla="*/ 149921 h 196899"/>
              <a:gd name="connsiteX724" fmla="*/ 0 w 4027200"/>
              <a:gd name="connsiteY724" fmla="*/ 9864 h 196899"/>
              <a:gd name="connsiteX725" fmla="*/ 15333 w 4027200"/>
              <a:gd name="connsiteY725" fmla="*/ 9864 h 196899"/>
              <a:gd name="connsiteX726" fmla="*/ 62898 w 4027200"/>
              <a:gd name="connsiteY726" fmla="*/ 115151 h 196899"/>
              <a:gd name="connsiteX727" fmla="*/ 65779 w 4027200"/>
              <a:gd name="connsiteY727" fmla="*/ 121939 h 196899"/>
              <a:gd name="connsiteX728" fmla="*/ 68367 w 4027200"/>
              <a:gd name="connsiteY728" fmla="*/ 129313 h 196899"/>
              <a:gd name="connsiteX729" fmla="*/ 68953 w 4027200"/>
              <a:gd name="connsiteY729" fmla="*/ 129313 h 196899"/>
              <a:gd name="connsiteX730" fmla="*/ 71444 w 4027200"/>
              <a:gd name="connsiteY730" fmla="*/ 122183 h 196899"/>
              <a:gd name="connsiteX731" fmla="*/ 74228 w 4027200"/>
              <a:gd name="connsiteY731" fmla="*/ 115249 h 196899"/>
              <a:gd name="connsiteX732" fmla="*/ 122183 w 4027200"/>
              <a:gd name="connsiteY732" fmla="*/ 9864 h 196899"/>
              <a:gd name="connsiteX733" fmla="*/ 136735 w 4027200"/>
              <a:gd name="connsiteY733" fmla="*/ 9864 h 196899"/>
              <a:gd name="connsiteX734" fmla="*/ 136735 w 4027200"/>
              <a:gd name="connsiteY734" fmla="*/ 149921 h 196899"/>
              <a:gd name="connsiteX735" fmla="*/ 123941 w 4027200"/>
              <a:gd name="connsiteY735" fmla="*/ 149921 h 196899"/>
              <a:gd name="connsiteX736" fmla="*/ 123941 w 4027200"/>
              <a:gd name="connsiteY736" fmla="*/ 53229 h 196899"/>
              <a:gd name="connsiteX737" fmla="*/ 125113 w 4027200"/>
              <a:gd name="connsiteY737" fmla="*/ 29300 h 196899"/>
              <a:gd name="connsiteX738" fmla="*/ 124722 w 4027200"/>
              <a:gd name="connsiteY738" fmla="*/ 29300 h 196899"/>
              <a:gd name="connsiteX739" fmla="*/ 122232 w 4027200"/>
              <a:gd name="connsiteY739" fmla="*/ 36918 h 196899"/>
              <a:gd name="connsiteX740" fmla="*/ 120132 w 4027200"/>
              <a:gd name="connsiteY740" fmla="*/ 42193 h 196899"/>
              <a:gd name="connsiteX741" fmla="*/ 71298 w 4027200"/>
              <a:gd name="connsiteY741" fmla="*/ 149921 h 196899"/>
              <a:gd name="connsiteX742" fmla="*/ 65730 w 4027200"/>
              <a:gd name="connsiteY742" fmla="*/ 149921 h 196899"/>
              <a:gd name="connsiteX743" fmla="*/ 16798 w 4027200"/>
              <a:gd name="connsiteY743" fmla="*/ 42876 h 196899"/>
              <a:gd name="connsiteX744" fmla="*/ 12403 w 4027200"/>
              <a:gd name="connsiteY744" fmla="*/ 29105 h 196899"/>
              <a:gd name="connsiteX745" fmla="*/ 12013 w 4027200"/>
              <a:gd name="connsiteY745" fmla="*/ 29105 h 196899"/>
              <a:gd name="connsiteX746" fmla="*/ 12550 w 4027200"/>
              <a:gd name="connsiteY746" fmla="*/ 39360 h 196899"/>
              <a:gd name="connsiteX747" fmla="*/ 12696 w 4027200"/>
              <a:gd name="connsiteY747" fmla="*/ 52155 h 196899"/>
              <a:gd name="connsiteX748" fmla="*/ 12696 w 4027200"/>
              <a:gd name="connsiteY748" fmla="*/ 149921 h 196899"/>
              <a:gd name="connsiteX749" fmla="*/ 0 w 4027200"/>
              <a:gd name="connsiteY749" fmla="*/ 149921 h 196899"/>
              <a:gd name="connsiteX750" fmla="*/ 2472039 w 4027200"/>
              <a:gd name="connsiteY750" fmla="*/ 7520 h 196899"/>
              <a:gd name="connsiteX751" fmla="*/ 2503977 w 4027200"/>
              <a:gd name="connsiteY751" fmla="*/ 12990 h 196899"/>
              <a:gd name="connsiteX752" fmla="*/ 2503977 w 4027200"/>
              <a:gd name="connsiteY752" fmla="*/ 26859 h 196899"/>
              <a:gd name="connsiteX753" fmla="*/ 2471844 w 4027200"/>
              <a:gd name="connsiteY753" fmla="*/ 19338 h 196899"/>
              <a:gd name="connsiteX754" fmla="*/ 2447720 w 4027200"/>
              <a:gd name="connsiteY754" fmla="*/ 24026 h 196899"/>
              <a:gd name="connsiteX755" fmla="*/ 2429944 w 4027200"/>
              <a:gd name="connsiteY755" fmla="*/ 37065 h 196899"/>
              <a:gd name="connsiteX756" fmla="*/ 2418908 w 4027200"/>
              <a:gd name="connsiteY756" fmla="*/ 56794 h 196899"/>
              <a:gd name="connsiteX757" fmla="*/ 2415099 w 4027200"/>
              <a:gd name="connsiteY757" fmla="*/ 81651 h 196899"/>
              <a:gd name="connsiteX758" fmla="*/ 2418517 w 4027200"/>
              <a:gd name="connsiteY758" fmla="*/ 104456 h 196899"/>
              <a:gd name="connsiteX759" fmla="*/ 2428626 w 4027200"/>
              <a:gd name="connsiteY759" fmla="*/ 123160 h 196899"/>
              <a:gd name="connsiteX760" fmla="*/ 2445278 w 4027200"/>
              <a:gd name="connsiteY760" fmla="*/ 135857 h 196899"/>
              <a:gd name="connsiteX761" fmla="*/ 2468426 w 4027200"/>
              <a:gd name="connsiteY761" fmla="*/ 140545 h 196899"/>
              <a:gd name="connsiteX762" fmla="*/ 2503977 w 4027200"/>
              <a:gd name="connsiteY762" fmla="*/ 132048 h 196899"/>
              <a:gd name="connsiteX763" fmla="*/ 2503977 w 4027200"/>
              <a:gd name="connsiteY763" fmla="*/ 144744 h 196899"/>
              <a:gd name="connsiteX764" fmla="*/ 2466961 w 4027200"/>
              <a:gd name="connsiteY764" fmla="*/ 152363 h 196899"/>
              <a:gd name="connsiteX765" fmla="*/ 2440004 w 4027200"/>
              <a:gd name="connsiteY765" fmla="*/ 147137 h 196899"/>
              <a:gd name="connsiteX766" fmla="*/ 2419347 w 4027200"/>
              <a:gd name="connsiteY766" fmla="*/ 132634 h 196899"/>
              <a:gd name="connsiteX767" fmla="*/ 2406162 w 4027200"/>
              <a:gd name="connsiteY767" fmla="*/ 110560 h 196899"/>
              <a:gd name="connsiteX768" fmla="*/ 2401523 w 4027200"/>
              <a:gd name="connsiteY768" fmla="*/ 82627 h 196899"/>
              <a:gd name="connsiteX769" fmla="*/ 2406455 w 4027200"/>
              <a:gd name="connsiteY769" fmla="*/ 52985 h 196899"/>
              <a:gd name="connsiteX770" fmla="*/ 2420568 w 4027200"/>
              <a:gd name="connsiteY770" fmla="*/ 29154 h 196899"/>
              <a:gd name="connsiteX771" fmla="*/ 2442788 w 4027200"/>
              <a:gd name="connsiteY771" fmla="*/ 13283 h 196899"/>
              <a:gd name="connsiteX772" fmla="*/ 2472039 w 4027200"/>
              <a:gd name="connsiteY772" fmla="*/ 7520 h 196899"/>
              <a:gd name="connsiteX773" fmla="*/ 1802559 w 4027200"/>
              <a:gd name="connsiteY773" fmla="*/ 7520 h 196899"/>
              <a:gd name="connsiteX774" fmla="*/ 1830199 w 4027200"/>
              <a:gd name="connsiteY774" fmla="*/ 12111 h 196899"/>
              <a:gd name="connsiteX775" fmla="*/ 1830199 w 4027200"/>
              <a:gd name="connsiteY775" fmla="*/ 26468 h 196899"/>
              <a:gd name="connsiteX776" fmla="*/ 1801094 w 4027200"/>
              <a:gd name="connsiteY776" fmla="*/ 19338 h 196899"/>
              <a:gd name="connsiteX777" fmla="*/ 1789325 w 4027200"/>
              <a:gd name="connsiteY777" fmla="*/ 20852 h 196899"/>
              <a:gd name="connsiteX778" fmla="*/ 1779656 w 4027200"/>
              <a:gd name="connsiteY778" fmla="*/ 25296 h 196899"/>
              <a:gd name="connsiteX779" fmla="*/ 1773112 w 4027200"/>
              <a:gd name="connsiteY779" fmla="*/ 32572 h 196899"/>
              <a:gd name="connsiteX780" fmla="*/ 1770719 w 4027200"/>
              <a:gd name="connsiteY780" fmla="*/ 42681 h 196899"/>
              <a:gd name="connsiteX781" fmla="*/ 1772331 w 4027200"/>
              <a:gd name="connsiteY781" fmla="*/ 52106 h 196899"/>
              <a:gd name="connsiteX782" fmla="*/ 1777507 w 4027200"/>
              <a:gd name="connsiteY782" fmla="*/ 59578 h 196899"/>
              <a:gd name="connsiteX783" fmla="*/ 1786883 w 4027200"/>
              <a:gd name="connsiteY783" fmla="*/ 66561 h 196899"/>
              <a:gd name="connsiteX784" fmla="*/ 1801094 w 4027200"/>
              <a:gd name="connsiteY784" fmla="*/ 74521 h 196899"/>
              <a:gd name="connsiteX785" fmla="*/ 1816428 w 4027200"/>
              <a:gd name="connsiteY785" fmla="*/ 83653 h 196899"/>
              <a:gd name="connsiteX786" fmla="*/ 1827318 w 4027200"/>
              <a:gd name="connsiteY786" fmla="*/ 92931 h 196899"/>
              <a:gd name="connsiteX787" fmla="*/ 1833813 w 4027200"/>
              <a:gd name="connsiteY787" fmla="*/ 103187 h 196899"/>
              <a:gd name="connsiteX788" fmla="*/ 1835962 w 4027200"/>
              <a:gd name="connsiteY788" fmla="*/ 115249 h 196899"/>
              <a:gd name="connsiteX789" fmla="*/ 1832543 w 4027200"/>
              <a:gd name="connsiteY789" fmla="*/ 131413 h 196899"/>
              <a:gd name="connsiteX790" fmla="*/ 1822972 w 4027200"/>
              <a:gd name="connsiteY790" fmla="*/ 142986 h 196899"/>
              <a:gd name="connsiteX791" fmla="*/ 1808322 w 4027200"/>
              <a:gd name="connsiteY791" fmla="*/ 149921 h 196899"/>
              <a:gd name="connsiteX792" fmla="*/ 1789667 w 4027200"/>
              <a:gd name="connsiteY792" fmla="*/ 152265 h 196899"/>
              <a:gd name="connsiteX793" fmla="*/ 1781756 w 4027200"/>
              <a:gd name="connsiteY793" fmla="*/ 151728 h 196899"/>
              <a:gd name="connsiteX794" fmla="*/ 1772477 w 4027200"/>
              <a:gd name="connsiteY794" fmla="*/ 150165 h 196899"/>
              <a:gd name="connsiteX795" fmla="*/ 1763541 w 4027200"/>
              <a:gd name="connsiteY795" fmla="*/ 147723 h 196899"/>
              <a:gd name="connsiteX796" fmla="*/ 1756655 w 4027200"/>
              <a:gd name="connsiteY796" fmla="*/ 144647 h 196899"/>
              <a:gd name="connsiteX797" fmla="*/ 1756655 w 4027200"/>
              <a:gd name="connsiteY797" fmla="*/ 129410 h 196899"/>
              <a:gd name="connsiteX798" fmla="*/ 1764420 w 4027200"/>
              <a:gd name="connsiteY798" fmla="*/ 134147 h 196899"/>
              <a:gd name="connsiteX799" fmla="*/ 1773112 w 4027200"/>
              <a:gd name="connsiteY799" fmla="*/ 137663 h 196899"/>
              <a:gd name="connsiteX800" fmla="*/ 1782049 w 4027200"/>
              <a:gd name="connsiteY800" fmla="*/ 139812 h 196899"/>
              <a:gd name="connsiteX801" fmla="*/ 1790644 w 4027200"/>
              <a:gd name="connsiteY801" fmla="*/ 140545 h 196899"/>
              <a:gd name="connsiteX802" fmla="*/ 1814475 w 4027200"/>
              <a:gd name="connsiteY802" fmla="*/ 134392 h 196899"/>
              <a:gd name="connsiteX803" fmla="*/ 1822386 w 4027200"/>
              <a:gd name="connsiteY803" fmla="*/ 116714 h 196899"/>
              <a:gd name="connsiteX804" fmla="*/ 1820530 w 4027200"/>
              <a:gd name="connsiteY804" fmla="*/ 106996 h 196899"/>
              <a:gd name="connsiteX805" fmla="*/ 1814768 w 4027200"/>
              <a:gd name="connsiteY805" fmla="*/ 99231 h 196899"/>
              <a:gd name="connsiteX806" fmla="*/ 1804903 w 4027200"/>
              <a:gd name="connsiteY806" fmla="*/ 92052 h 196899"/>
              <a:gd name="connsiteX807" fmla="*/ 1790839 w 4027200"/>
              <a:gd name="connsiteY807" fmla="*/ 83995 h 196899"/>
              <a:gd name="connsiteX808" fmla="*/ 1775456 w 4027200"/>
              <a:gd name="connsiteY808" fmla="*/ 74765 h 196899"/>
              <a:gd name="connsiteX809" fmla="*/ 1765006 w 4027200"/>
              <a:gd name="connsiteY809" fmla="*/ 65877 h 196899"/>
              <a:gd name="connsiteX810" fmla="*/ 1759048 w 4027200"/>
              <a:gd name="connsiteY810" fmla="*/ 56061 h 196899"/>
              <a:gd name="connsiteX811" fmla="*/ 1757143 w 4027200"/>
              <a:gd name="connsiteY811" fmla="*/ 44048 h 196899"/>
              <a:gd name="connsiteX812" fmla="*/ 1760757 w 4027200"/>
              <a:gd name="connsiteY812" fmla="*/ 28812 h 196899"/>
              <a:gd name="connsiteX813" fmla="*/ 1770524 w 4027200"/>
              <a:gd name="connsiteY813" fmla="*/ 17336 h 196899"/>
              <a:gd name="connsiteX814" fmla="*/ 1784930 w 4027200"/>
              <a:gd name="connsiteY814" fmla="*/ 10060 h 196899"/>
              <a:gd name="connsiteX815" fmla="*/ 1802559 w 4027200"/>
              <a:gd name="connsiteY815" fmla="*/ 7520 h 196899"/>
              <a:gd name="connsiteX816" fmla="*/ 1985302 w 4027200"/>
              <a:gd name="connsiteY816" fmla="*/ 6837 h 196899"/>
              <a:gd name="connsiteX817" fmla="*/ 1988818 w 4027200"/>
              <a:gd name="connsiteY817" fmla="*/ 7471 h 196899"/>
              <a:gd name="connsiteX818" fmla="*/ 1991699 w 4027200"/>
              <a:gd name="connsiteY818" fmla="*/ 9278 h 196899"/>
              <a:gd name="connsiteX819" fmla="*/ 1993652 w 4027200"/>
              <a:gd name="connsiteY819" fmla="*/ 12062 h 196899"/>
              <a:gd name="connsiteX820" fmla="*/ 1994385 w 4027200"/>
              <a:gd name="connsiteY820" fmla="*/ 15627 h 196899"/>
              <a:gd name="connsiteX821" fmla="*/ 1993701 w 4027200"/>
              <a:gd name="connsiteY821" fmla="*/ 19143 h 196899"/>
              <a:gd name="connsiteX822" fmla="*/ 1991748 w 4027200"/>
              <a:gd name="connsiteY822" fmla="*/ 22024 h 196899"/>
              <a:gd name="connsiteX823" fmla="*/ 1988866 w 4027200"/>
              <a:gd name="connsiteY823" fmla="*/ 23929 h 196899"/>
              <a:gd name="connsiteX824" fmla="*/ 1985302 w 4027200"/>
              <a:gd name="connsiteY824" fmla="*/ 24612 h 196899"/>
              <a:gd name="connsiteX825" fmla="*/ 1979051 w 4027200"/>
              <a:gd name="connsiteY825" fmla="*/ 22073 h 196899"/>
              <a:gd name="connsiteX826" fmla="*/ 1976414 w 4027200"/>
              <a:gd name="connsiteY826" fmla="*/ 15627 h 196899"/>
              <a:gd name="connsiteX827" fmla="*/ 1979051 w 4027200"/>
              <a:gd name="connsiteY827" fmla="*/ 9327 h 196899"/>
              <a:gd name="connsiteX828" fmla="*/ 1985302 w 4027200"/>
              <a:gd name="connsiteY828" fmla="*/ 6837 h 196899"/>
              <a:gd name="connsiteX829" fmla="*/ 175552 w 4027200"/>
              <a:gd name="connsiteY829" fmla="*/ 6837 h 196899"/>
              <a:gd name="connsiteX830" fmla="*/ 179068 w 4027200"/>
              <a:gd name="connsiteY830" fmla="*/ 7471 h 196899"/>
              <a:gd name="connsiteX831" fmla="*/ 181949 w 4027200"/>
              <a:gd name="connsiteY831" fmla="*/ 9278 h 196899"/>
              <a:gd name="connsiteX832" fmla="*/ 183902 w 4027200"/>
              <a:gd name="connsiteY832" fmla="*/ 12062 h 196899"/>
              <a:gd name="connsiteX833" fmla="*/ 184635 w 4027200"/>
              <a:gd name="connsiteY833" fmla="*/ 15627 h 196899"/>
              <a:gd name="connsiteX834" fmla="*/ 183951 w 4027200"/>
              <a:gd name="connsiteY834" fmla="*/ 19143 h 196899"/>
              <a:gd name="connsiteX835" fmla="*/ 181998 w 4027200"/>
              <a:gd name="connsiteY835" fmla="*/ 22024 h 196899"/>
              <a:gd name="connsiteX836" fmla="*/ 179117 w 4027200"/>
              <a:gd name="connsiteY836" fmla="*/ 23929 h 196899"/>
              <a:gd name="connsiteX837" fmla="*/ 175552 w 4027200"/>
              <a:gd name="connsiteY837" fmla="*/ 24612 h 196899"/>
              <a:gd name="connsiteX838" fmla="*/ 169301 w 4027200"/>
              <a:gd name="connsiteY838" fmla="*/ 22073 h 196899"/>
              <a:gd name="connsiteX839" fmla="*/ 166664 w 4027200"/>
              <a:gd name="connsiteY839" fmla="*/ 15627 h 196899"/>
              <a:gd name="connsiteX840" fmla="*/ 169301 w 4027200"/>
              <a:gd name="connsiteY840" fmla="*/ 9327 h 196899"/>
              <a:gd name="connsiteX841" fmla="*/ 175552 w 4027200"/>
              <a:gd name="connsiteY841" fmla="*/ 6837 h 196899"/>
              <a:gd name="connsiteX842" fmla="*/ 3316099 w 4027200"/>
              <a:gd name="connsiteY842" fmla="*/ 1855 h 196899"/>
              <a:gd name="connsiteX843" fmla="*/ 3328601 w 4027200"/>
              <a:gd name="connsiteY843" fmla="*/ 1855 h 196899"/>
              <a:gd name="connsiteX844" fmla="*/ 3328601 w 4027200"/>
              <a:gd name="connsiteY844" fmla="*/ 149921 h 196899"/>
              <a:gd name="connsiteX845" fmla="*/ 3316099 w 4027200"/>
              <a:gd name="connsiteY845" fmla="*/ 149921 h 196899"/>
              <a:gd name="connsiteX846" fmla="*/ 3316099 w 4027200"/>
              <a:gd name="connsiteY846" fmla="*/ 132341 h 196899"/>
              <a:gd name="connsiteX847" fmla="*/ 3315709 w 4027200"/>
              <a:gd name="connsiteY847" fmla="*/ 132341 h 196899"/>
              <a:gd name="connsiteX848" fmla="*/ 3301498 w 4027200"/>
              <a:gd name="connsiteY848" fmla="*/ 147040 h 196899"/>
              <a:gd name="connsiteX849" fmla="*/ 3280548 w 4027200"/>
              <a:gd name="connsiteY849" fmla="*/ 152265 h 196899"/>
              <a:gd name="connsiteX850" fmla="*/ 3263505 w 4027200"/>
              <a:gd name="connsiteY850" fmla="*/ 148798 h 196899"/>
              <a:gd name="connsiteX851" fmla="*/ 3250369 w 4027200"/>
              <a:gd name="connsiteY851" fmla="*/ 138787 h 196899"/>
              <a:gd name="connsiteX852" fmla="*/ 3241920 w 4027200"/>
              <a:gd name="connsiteY852" fmla="*/ 122964 h 196899"/>
              <a:gd name="connsiteX853" fmla="*/ 3238941 w 4027200"/>
              <a:gd name="connsiteY853" fmla="*/ 101966 h 196899"/>
              <a:gd name="connsiteX854" fmla="*/ 3242213 w 4027200"/>
              <a:gd name="connsiteY854" fmla="*/ 79844 h 196899"/>
              <a:gd name="connsiteX855" fmla="*/ 3251492 w 4027200"/>
              <a:gd name="connsiteY855" fmla="*/ 62654 h 196899"/>
              <a:gd name="connsiteX856" fmla="*/ 3265947 w 4027200"/>
              <a:gd name="connsiteY856" fmla="*/ 51520 h 196899"/>
              <a:gd name="connsiteX857" fmla="*/ 3284748 w 4027200"/>
              <a:gd name="connsiteY857" fmla="*/ 47564 h 196899"/>
              <a:gd name="connsiteX858" fmla="*/ 3315709 w 4027200"/>
              <a:gd name="connsiteY858" fmla="*/ 64852 h 196899"/>
              <a:gd name="connsiteX859" fmla="*/ 3316099 w 4027200"/>
              <a:gd name="connsiteY859" fmla="*/ 64852 h 196899"/>
              <a:gd name="connsiteX860" fmla="*/ 728727 w 4027200"/>
              <a:gd name="connsiteY860" fmla="*/ 0 h 196899"/>
              <a:gd name="connsiteX861" fmla="*/ 739861 w 4027200"/>
              <a:gd name="connsiteY861" fmla="*/ 1855 h 196899"/>
              <a:gd name="connsiteX862" fmla="*/ 739861 w 4027200"/>
              <a:gd name="connsiteY862" fmla="*/ 13673 h 196899"/>
              <a:gd name="connsiteX863" fmla="*/ 729020 w 4027200"/>
              <a:gd name="connsiteY863" fmla="*/ 10939 h 196899"/>
              <a:gd name="connsiteX864" fmla="*/ 711440 w 4027200"/>
              <a:gd name="connsiteY864" fmla="*/ 33891 h 196899"/>
              <a:gd name="connsiteX865" fmla="*/ 711440 w 4027200"/>
              <a:gd name="connsiteY865" fmla="*/ 49908 h 196899"/>
              <a:gd name="connsiteX866" fmla="*/ 736345 w 4027200"/>
              <a:gd name="connsiteY866" fmla="*/ 49908 h 196899"/>
              <a:gd name="connsiteX867" fmla="*/ 736345 w 4027200"/>
              <a:gd name="connsiteY867" fmla="*/ 60847 h 196899"/>
              <a:gd name="connsiteX868" fmla="*/ 711440 w 4027200"/>
              <a:gd name="connsiteY868" fmla="*/ 60847 h 196899"/>
              <a:gd name="connsiteX869" fmla="*/ 711440 w 4027200"/>
              <a:gd name="connsiteY869" fmla="*/ 149921 h 196899"/>
              <a:gd name="connsiteX870" fmla="*/ 698938 w 4027200"/>
              <a:gd name="connsiteY870" fmla="*/ 149921 h 196899"/>
              <a:gd name="connsiteX871" fmla="*/ 698938 w 4027200"/>
              <a:gd name="connsiteY871" fmla="*/ 60847 h 196899"/>
              <a:gd name="connsiteX872" fmla="*/ 681456 w 4027200"/>
              <a:gd name="connsiteY872" fmla="*/ 60847 h 196899"/>
              <a:gd name="connsiteX873" fmla="*/ 681456 w 4027200"/>
              <a:gd name="connsiteY873" fmla="*/ 49908 h 196899"/>
              <a:gd name="connsiteX874" fmla="*/ 698938 w 4027200"/>
              <a:gd name="connsiteY874" fmla="*/ 49908 h 196899"/>
              <a:gd name="connsiteX875" fmla="*/ 698938 w 4027200"/>
              <a:gd name="connsiteY875" fmla="*/ 33109 h 196899"/>
              <a:gd name="connsiteX876" fmla="*/ 700843 w 4027200"/>
              <a:gd name="connsiteY876" fmla="*/ 19485 h 196899"/>
              <a:gd name="connsiteX877" fmla="*/ 706459 w 4027200"/>
              <a:gd name="connsiteY877" fmla="*/ 9034 h 196899"/>
              <a:gd name="connsiteX878" fmla="*/ 715786 w 4027200"/>
              <a:gd name="connsiteY878" fmla="*/ 2344 h 196899"/>
              <a:gd name="connsiteX879" fmla="*/ 728727 w 4027200"/>
              <a:gd name="connsiteY879" fmla="*/ 0 h 19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Lst>
            <a:rect l="l" t="t" r="r" b="b"/>
            <a:pathLst>
              <a:path w="4027200" h="196899">
                <a:moveTo>
                  <a:pt x="3551248" y="97766"/>
                </a:moveTo>
                <a:lnTo>
                  <a:pt x="3525463" y="101380"/>
                </a:lnTo>
                <a:cubicBezTo>
                  <a:pt x="3520970" y="102031"/>
                  <a:pt x="3517129" y="102845"/>
                  <a:pt x="3513938" y="103821"/>
                </a:cubicBezTo>
                <a:cubicBezTo>
                  <a:pt x="3510748" y="104798"/>
                  <a:pt x="3508111" y="106117"/>
                  <a:pt x="3506027" y="107777"/>
                </a:cubicBezTo>
                <a:cubicBezTo>
                  <a:pt x="3503944" y="109437"/>
                  <a:pt x="3502413" y="111488"/>
                  <a:pt x="3501437" y="113930"/>
                </a:cubicBezTo>
                <a:cubicBezTo>
                  <a:pt x="3500460" y="116372"/>
                  <a:pt x="3499972" y="119383"/>
                  <a:pt x="3499972" y="122964"/>
                </a:cubicBezTo>
                <a:cubicBezTo>
                  <a:pt x="3499972" y="125634"/>
                  <a:pt x="3500444" y="128108"/>
                  <a:pt x="3501388" y="130387"/>
                </a:cubicBezTo>
                <a:cubicBezTo>
                  <a:pt x="3502332" y="132666"/>
                  <a:pt x="3503700" y="134636"/>
                  <a:pt x="3505490" y="136296"/>
                </a:cubicBezTo>
                <a:cubicBezTo>
                  <a:pt x="3507281" y="137956"/>
                  <a:pt x="3509462" y="139242"/>
                  <a:pt x="3512034" y="140154"/>
                </a:cubicBezTo>
                <a:cubicBezTo>
                  <a:pt x="3514606" y="141066"/>
                  <a:pt x="3517520" y="141521"/>
                  <a:pt x="3520775" y="141521"/>
                </a:cubicBezTo>
                <a:cubicBezTo>
                  <a:pt x="3525203" y="141521"/>
                  <a:pt x="3529272" y="140675"/>
                  <a:pt x="3532984" y="138982"/>
                </a:cubicBezTo>
                <a:cubicBezTo>
                  <a:pt x="3536695" y="137289"/>
                  <a:pt x="3539902" y="134945"/>
                  <a:pt x="3542604" y="131950"/>
                </a:cubicBezTo>
                <a:cubicBezTo>
                  <a:pt x="3545306" y="128955"/>
                  <a:pt x="3547423" y="125374"/>
                  <a:pt x="3548952" y="121206"/>
                </a:cubicBezTo>
                <a:cubicBezTo>
                  <a:pt x="3550483" y="117039"/>
                  <a:pt x="3551248" y="112514"/>
                  <a:pt x="3551248" y="107630"/>
                </a:cubicBezTo>
                <a:close/>
                <a:moveTo>
                  <a:pt x="2229733" y="87413"/>
                </a:moveTo>
                <a:lnTo>
                  <a:pt x="2329746" y="87413"/>
                </a:lnTo>
                <a:lnTo>
                  <a:pt x="2329746" y="98157"/>
                </a:lnTo>
                <a:lnTo>
                  <a:pt x="2229733" y="98157"/>
                </a:lnTo>
                <a:close/>
                <a:moveTo>
                  <a:pt x="3802223" y="58406"/>
                </a:moveTo>
                <a:cubicBezTo>
                  <a:pt x="3796754" y="58406"/>
                  <a:pt x="3791805" y="59350"/>
                  <a:pt x="3787378" y="61238"/>
                </a:cubicBezTo>
                <a:cubicBezTo>
                  <a:pt x="3782950" y="63126"/>
                  <a:pt x="3779157" y="65877"/>
                  <a:pt x="3775999" y="69491"/>
                </a:cubicBezTo>
                <a:cubicBezTo>
                  <a:pt x="3772841" y="73105"/>
                  <a:pt x="3770416" y="77532"/>
                  <a:pt x="3768723" y="82774"/>
                </a:cubicBezTo>
                <a:cubicBezTo>
                  <a:pt x="3767030" y="88015"/>
                  <a:pt x="3766184" y="93957"/>
                  <a:pt x="3766184" y="100598"/>
                </a:cubicBezTo>
                <a:cubicBezTo>
                  <a:pt x="3766184" y="106849"/>
                  <a:pt x="3767030" y="112481"/>
                  <a:pt x="3768723" y="117495"/>
                </a:cubicBezTo>
                <a:cubicBezTo>
                  <a:pt x="3770416" y="122509"/>
                  <a:pt x="3772809" y="126806"/>
                  <a:pt x="3775902" y="130387"/>
                </a:cubicBezTo>
                <a:cubicBezTo>
                  <a:pt x="3778994" y="133968"/>
                  <a:pt x="3782755" y="136719"/>
                  <a:pt x="3787182" y="138640"/>
                </a:cubicBezTo>
                <a:cubicBezTo>
                  <a:pt x="3791610" y="140561"/>
                  <a:pt x="3796559" y="141521"/>
                  <a:pt x="3802028" y="141521"/>
                </a:cubicBezTo>
                <a:cubicBezTo>
                  <a:pt x="3807628" y="141521"/>
                  <a:pt x="3812576" y="140594"/>
                  <a:pt x="3816874" y="138738"/>
                </a:cubicBezTo>
                <a:cubicBezTo>
                  <a:pt x="3821171" y="136882"/>
                  <a:pt x="3824817" y="134180"/>
                  <a:pt x="3827812" y="130631"/>
                </a:cubicBezTo>
                <a:cubicBezTo>
                  <a:pt x="3830808" y="127083"/>
                  <a:pt x="3833070" y="122736"/>
                  <a:pt x="3834600" y="117593"/>
                </a:cubicBezTo>
                <a:cubicBezTo>
                  <a:pt x="3836131" y="112449"/>
                  <a:pt x="3836896" y="106589"/>
                  <a:pt x="3836896" y="100012"/>
                </a:cubicBezTo>
                <a:cubicBezTo>
                  <a:pt x="3836896" y="86534"/>
                  <a:pt x="3833900" y="76230"/>
                  <a:pt x="3827910" y="69100"/>
                </a:cubicBezTo>
                <a:cubicBezTo>
                  <a:pt x="3821920" y="61970"/>
                  <a:pt x="3813358" y="58406"/>
                  <a:pt x="3802223" y="58406"/>
                </a:cubicBezTo>
                <a:close/>
                <a:moveTo>
                  <a:pt x="3285627" y="58406"/>
                </a:moveTo>
                <a:cubicBezTo>
                  <a:pt x="3280678" y="58406"/>
                  <a:pt x="3276121" y="59382"/>
                  <a:pt x="3271953" y="61336"/>
                </a:cubicBezTo>
                <a:cubicBezTo>
                  <a:pt x="3267786" y="63289"/>
                  <a:pt x="3264221" y="66105"/>
                  <a:pt x="3261259" y="69784"/>
                </a:cubicBezTo>
                <a:cubicBezTo>
                  <a:pt x="3258296" y="73463"/>
                  <a:pt x="3255985" y="77939"/>
                  <a:pt x="3254324" y="83213"/>
                </a:cubicBezTo>
                <a:cubicBezTo>
                  <a:pt x="3252664" y="88487"/>
                  <a:pt x="3251834" y="94478"/>
                  <a:pt x="3251834" y="101184"/>
                </a:cubicBezTo>
                <a:cubicBezTo>
                  <a:pt x="3251834" y="107500"/>
                  <a:pt x="3252582" y="113165"/>
                  <a:pt x="3254080" y="118179"/>
                </a:cubicBezTo>
                <a:cubicBezTo>
                  <a:pt x="3255578" y="123192"/>
                  <a:pt x="3257710" y="127425"/>
                  <a:pt x="3260477" y="130876"/>
                </a:cubicBezTo>
                <a:cubicBezTo>
                  <a:pt x="3263245" y="134326"/>
                  <a:pt x="3266549" y="136964"/>
                  <a:pt x="3270391" y="138787"/>
                </a:cubicBezTo>
                <a:cubicBezTo>
                  <a:pt x="3274232" y="140610"/>
                  <a:pt x="3278497" y="141521"/>
                  <a:pt x="3283185" y="141521"/>
                </a:cubicBezTo>
                <a:cubicBezTo>
                  <a:pt x="3288264" y="141521"/>
                  <a:pt x="3292838" y="140610"/>
                  <a:pt x="3296908" y="138787"/>
                </a:cubicBezTo>
                <a:cubicBezTo>
                  <a:pt x="3300977" y="136964"/>
                  <a:pt x="3304428" y="134457"/>
                  <a:pt x="3307260" y="131266"/>
                </a:cubicBezTo>
                <a:cubicBezTo>
                  <a:pt x="3310093" y="128076"/>
                  <a:pt x="3312274" y="124332"/>
                  <a:pt x="3313804" y="120034"/>
                </a:cubicBezTo>
                <a:cubicBezTo>
                  <a:pt x="3315334" y="115737"/>
                  <a:pt x="3316099" y="111146"/>
                  <a:pt x="3316099" y="106263"/>
                </a:cubicBezTo>
                <a:lnTo>
                  <a:pt x="3316099" y="89562"/>
                </a:lnTo>
                <a:cubicBezTo>
                  <a:pt x="3316099" y="85199"/>
                  <a:pt x="3315351" y="81130"/>
                  <a:pt x="3313853" y="77353"/>
                </a:cubicBezTo>
                <a:cubicBezTo>
                  <a:pt x="3312356" y="73577"/>
                  <a:pt x="3310272" y="70289"/>
                  <a:pt x="3307602" y="67489"/>
                </a:cubicBezTo>
                <a:cubicBezTo>
                  <a:pt x="3304933" y="64689"/>
                  <a:pt x="3301726" y="62475"/>
                  <a:pt x="3297982" y="60847"/>
                </a:cubicBezTo>
                <a:cubicBezTo>
                  <a:pt x="3294238" y="59219"/>
                  <a:pt x="3290120" y="58406"/>
                  <a:pt x="3285627" y="58406"/>
                </a:cubicBezTo>
                <a:close/>
                <a:moveTo>
                  <a:pt x="3179289" y="58406"/>
                </a:moveTo>
                <a:cubicBezTo>
                  <a:pt x="3175057" y="58406"/>
                  <a:pt x="3171134" y="59154"/>
                  <a:pt x="3167520" y="60652"/>
                </a:cubicBezTo>
                <a:cubicBezTo>
                  <a:pt x="3163906" y="62149"/>
                  <a:pt x="3160732" y="64314"/>
                  <a:pt x="3157998" y="67147"/>
                </a:cubicBezTo>
                <a:cubicBezTo>
                  <a:pt x="3155263" y="69979"/>
                  <a:pt x="3153000" y="73430"/>
                  <a:pt x="3151210" y="77500"/>
                </a:cubicBezTo>
                <a:cubicBezTo>
                  <a:pt x="3149419" y="81569"/>
                  <a:pt x="3148166" y="86143"/>
                  <a:pt x="3147449" y="91222"/>
                </a:cubicBezTo>
                <a:lnTo>
                  <a:pt x="3206539" y="91222"/>
                </a:lnTo>
                <a:cubicBezTo>
                  <a:pt x="3206343" y="80804"/>
                  <a:pt x="3203869" y="72730"/>
                  <a:pt x="3199116" y="67000"/>
                </a:cubicBezTo>
                <a:cubicBezTo>
                  <a:pt x="3194363" y="61270"/>
                  <a:pt x="3187754" y="58406"/>
                  <a:pt x="3179289" y="58406"/>
                </a:cubicBezTo>
                <a:close/>
                <a:moveTo>
                  <a:pt x="2912589" y="58406"/>
                </a:moveTo>
                <a:cubicBezTo>
                  <a:pt x="2908357" y="58406"/>
                  <a:pt x="2904434" y="59154"/>
                  <a:pt x="2900820" y="60652"/>
                </a:cubicBezTo>
                <a:cubicBezTo>
                  <a:pt x="2897206" y="62149"/>
                  <a:pt x="2894032" y="64314"/>
                  <a:pt x="2891298" y="67147"/>
                </a:cubicBezTo>
                <a:cubicBezTo>
                  <a:pt x="2888563" y="69979"/>
                  <a:pt x="2886300" y="73430"/>
                  <a:pt x="2884510" y="77500"/>
                </a:cubicBezTo>
                <a:cubicBezTo>
                  <a:pt x="2882719" y="81569"/>
                  <a:pt x="2881466" y="86143"/>
                  <a:pt x="2880749" y="91222"/>
                </a:cubicBezTo>
                <a:lnTo>
                  <a:pt x="2939839" y="91222"/>
                </a:lnTo>
                <a:cubicBezTo>
                  <a:pt x="2939643" y="80804"/>
                  <a:pt x="2937169" y="72730"/>
                  <a:pt x="2932416" y="67000"/>
                </a:cubicBezTo>
                <a:cubicBezTo>
                  <a:pt x="2927663" y="61270"/>
                  <a:pt x="2921054" y="58406"/>
                  <a:pt x="2912589" y="58406"/>
                </a:cubicBezTo>
                <a:close/>
                <a:moveTo>
                  <a:pt x="2573498" y="58406"/>
                </a:moveTo>
                <a:cubicBezTo>
                  <a:pt x="2568029" y="58406"/>
                  <a:pt x="2563080" y="59350"/>
                  <a:pt x="2558653" y="61238"/>
                </a:cubicBezTo>
                <a:cubicBezTo>
                  <a:pt x="2554225" y="63126"/>
                  <a:pt x="2550432" y="65877"/>
                  <a:pt x="2547274" y="69491"/>
                </a:cubicBezTo>
                <a:cubicBezTo>
                  <a:pt x="2544116" y="73105"/>
                  <a:pt x="2541691" y="77532"/>
                  <a:pt x="2539998" y="82774"/>
                </a:cubicBezTo>
                <a:cubicBezTo>
                  <a:pt x="2538305" y="88015"/>
                  <a:pt x="2537459" y="93957"/>
                  <a:pt x="2537459" y="100598"/>
                </a:cubicBezTo>
                <a:cubicBezTo>
                  <a:pt x="2537459" y="106849"/>
                  <a:pt x="2538305" y="112481"/>
                  <a:pt x="2539998" y="117495"/>
                </a:cubicBezTo>
                <a:cubicBezTo>
                  <a:pt x="2541691" y="122509"/>
                  <a:pt x="2544084" y="126806"/>
                  <a:pt x="2547177" y="130387"/>
                </a:cubicBezTo>
                <a:cubicBezTo>
                  <a:pt x="2550269" y="133968"/>
                  <a:pt x="2554030" y="136719"/>
                  <a:pt x="2558457" y="138640"/>
                </a:cubicBezTo>
                <a:cubicBezTo>
                  <a:pt x="2562885" y="140561"/>
                  <a:pt x="2567834" y="141521"/>
                  <a:pt x="2573303" y="141521"/>
                </a:cubicBezTo>
                <a:cubicBezTo>
                  <a:pt x="2578903" y="141521"/>
                  <a:pt x="2583851" y="140594"/>
                  <a:pt x="2588149" y="138738"/>
                </a:cubicBezTo>
                <a:cubicBezTo>
                  <a:pt x="2592446" y="136882"/>
                  <a:pt x="2596092" y="134180"/>
                  <a:pt x="2599087" y="130631"/>
                </a:cubicBezTo>
                <a:cubicBezTo>
                  <a:pt x="2602083" y="127083"/>
                  <a:pt x="2604345" y="122736"/>
                  <a:pt x="2605875" y="117593"/>
                </a:cubicBezTo>
                <a:cubicBezTo>
                  <a:pt x="2607406" y="112449"/>
                  <a:pt x="2608171" y="106589"/>
                  <a:pt x="2608171" y="100012"/>
                </a:cubicBezTo>
                <a:cubicBezTo>
                  <a:pt x="2608171" y="86534"/>
                  <a:pt x="2605175" y="76230"/>
                  <a:pt x="2599185" y="69100"/>
                </a:cubicBezTo>
                <a:cubicBezTo>
                  <a:pt x="2593195" y="61970"/>
                  <a:pt x="2584633" y="58406"/>
                  <a:pt x="2573498" y="58406"/>
                </a:cubicBezTo>
                <a:close/>
                <a:moveTo>
                  <a:pt x="2131539" y="58406"/>
                </a:moveTo>
                <a:cubicBezTo>
                  <a:pt x="2127307" y="58406"/>
                  <a:pt x="2123384" y="59154"/>
                  <a:pt x="2119770" y="60652"/>
                </a:cubicBezTo>
                <a:cubicBezTo>
                  <a:pt x="2116156" y="62149"/>
                  <a:pt x="2112982" y="64314"/>
                  <a:pt x="2110247" y="67147"/>
                </a:cubicBezTo>
                <a:cubicBezTo>
                  <a:pt x="2107513" y="69979"/>
                  <a:pt x="2105250" y="73430"/>
                  <a:pt x="2103459" y="77500"/>
                </a:cubicBezTo>
                <a:cubicBezTo>
                  <a:pt x="2101669" y="81569"/>
                  <a:pt x="2100416" y="86143"/>
                  <a:pt x="2099699" y="91222"/>
                </a:cubicBezTo>
                <a:lnTo>
                  <a:pt x="2158789" y="91222"/>
                </a:lnTo>
                <a:cubicBezTo>
                  <a:pt x="2158593" y="80804"/>
                  <a:pt x="2156119" y="72730"/>
                  <a:pt x="2151366" y="67000"/>
                </a:cubicBezTo>
                <a:cubicBezTo>
                  <a:pt x="2146613" y="61270"/>
                  <a:pt x="2140004" y="58406"/>
                  <a:pt x="2131539" y="58406"/>
                </a:cubicBezTo>
                <a:close/>
                <a:moveTo>
                  <a:pt x="1525748" y="58406"/>
                </a:moveTo>
                <a:cubicBezTo>
                  <a:pt x="1520279" y="58406"/>
                  <a:pt x="1515330" y="59350"/>
                  <a:pt x="1510903" y="61238"/>
                </a:cubicBezTo>
                <a:cubicBezTo>
                  <a:pt x="1506475" y="63126"/>
                  <a:pt x="1502682" y="65877"/>
                  <a:pt x="1499524" y="69491"/>
                </a:cubicBezTo>
                <a:cubicBezTo>
                  <a:pt x="1496366" y="73105"/>
                  <a:pt x="1493941" y="77532"/>
                  <a:pt x="1492248" y="82774"/>
                </a:cubicBezTo>
                <a:cubicBezTo>
                  <a:pt x="1490555" y="88015"/>
                  <a:pt x="1489709" y="93957"/>
                  <a:pt x="1489709" y="100598"/>
                </a:cubicBezTo>
                <a:cubicBezTo>
                  <a:pt x="1489709" y="106849"/>
                  <a:pt x="1490555" y="112481"/>
                  <a:pt x="1492248" y="117495"/>
                </a:cubicBezTo>
                <a:cubicBezTo>
                  <a:pt x="1493941" y="122509"/>
                  <a:pt x="1496334" y="126806"/>
                  <a:pt x="1499427" y="130387"/>
                </a:cubicBezTo>
                <a:cubicBezTo>
                  <a:pt x="1502519" y="133968"/>
                  <a:pt x="1506280" y="136719"/>
                  <a:pt x="1510707" y="138640"/>
                </a:cubicBezTo>
                <a:cubicBezTo>
                  <a:pt x="1515135" y="140561"/>
                  <a:pt x="1520083" y="141521"/>
                  <a:pt x="1525553" y="141521"/>
                </a:cubicBezTo>
                <a:cubicBezTo>
                  <a:pt x="1531153" y="141521"/>
                  <a:pt x="1536101" y="140594"/>
                  <a:pt x="1540398" y="138738"/>
                </a:cubicBezTo>
                <a:cubicBezTo>
                  <a:pt x="1544696" y="136882"/>
                  <a:pt x="1548342" y="134180"/>
                  <a:pt x="1551337" y="130631"/>
                </a:cubicBezTo>
                <a:cubicBezTo>
                  <a:pt x="1554333" y="127083"/>
                  <a:pt x="1556595" y="122736"/>
                  <a:pt x="1558125" y="117593"/>
                </a:cubicBezTo>
                <a:cubicBezTo>
                  <a:pt x="1559655" y="112449"/>
                  <a:pt x="1560421" y="106589"/>
                  <a:pt x="1560421" y="100012"/>
                </a:cubicBezTo>
                <a:cubicBezTo>
                  <a:pt x="1560421" y="86534"/>
                  <a:pt x="1557425" y="76230"/>
                  <a:pt x="1551435" y="69100"/>
                </a:cubicBezTo>
                <a:cubicBezTo>
                  <a:pt x="1545445" y="61970"/>
                  <a:pt x="1536882" y="58406"/>
                  <a:pt x="1525748" y="58406"/>
                </a:cubicBezTo>
                <a:close/>
                <a:moveTo>
                  <a:pt x="1312389" y="58406"/>
                </a:moveTo>
                <a:cubicBezTo>
                  <a:pt x="1308157" y="58406"/>
                  <a:pt x="1304234" y="59154"/>
                  <a:pt x="1300620" y="60652"/>
                </a:cubicBezTo>
                <a:cubicBezTo>
                  <a:pt x="1297006" y="62149"/>
                  <a:pt x="1293832" y="64314"/>
                  <a:pt x="1291097" y="67147"/>
                </a:cubicBezTo>
                <a:cubicBezTo>
                  <a:pt x="1288363" y="69979"/>
                  <a:pt x="1286100" y="73430"/>
                  <a:pt x="1284309" y="77500"/>
                </a:cubicBezTo>
                <a:cubicBezTo>
                  <a:pt x="1282519" y="81569"/>
                  <a:pt x="1281265" y="86143"/>
                  <a:pt x="1280549" y="91222"/>
                </a:cubicBezTo>
                <a:lnTo>
                  <a:pt x="1339639" y="91222"/>
                </a:lnTo>
                <a:cubicBezTo>
                  <a:pt x="1339443" y="80804"/>
                  <a:pt x="1336969" y="72730"/>
                  <a:pt x="1332216" y="67000"/>
                </a:cubicBezTo>
                <a:cubicBezTo>
                  <a:pt x="1327463" y="61270"/>
                  <a:pt x="1320854" y="58406"/>
                  <a:pt x="1312389" y="58406"/>
                </a:cubicBezTo>
                <a:close/>
                <a:moveTo>
                  <a:pt x="620873" y="58406"/>
                </a:moveTo>
                <a:cubicBezTo>
                  <a:pt x="615404" y="58406"/>
                  <a:pt x="610455" y="59350"/>
                  <a:pt x="606028" y="61238"/>
                </a:cubicBezTo>
                <a:cubicBezTo>
                  <a:pt x="601600" y="63126"/>
                  <a:pt x="597807" y="65877"/>
                  <a:pt x="594649" y="69491"/>
                </a:cubicBezTo>
                <a:cubicBezTo>
                  <a:pt x="591491" y="73105"/>
                  <a:pt x="589066" y="77532"/>
                  <a:pt x="587373" y="82774"/>
                </a:cubicBezTo>
                <a:cubicBezTo>
                  <a:pt x="585680" y="88015"/>
                  <a:pt x="584834" y="93957"/>
                  <a:pt x="584834" y="100598"/>
                </a:cubicBezTo>
                <a:cubicBezTo>
                  <a:pt x="584834" y="106849"/>
                  <a:pt x="585680" y="112481"/>
                  <a:pt x="587373" y="117495"/>
                </a:cubicBezTo>
                <a:cubicBezTo>
                  <a:pt x="589066" y="122509"/>
                  <a:pt x="591459" y="126806"/>
                  <a:pt x="594552" y="130387"/>
                </a:cubicBezTo>
                <a:cubicBezTo>
                  <a:pt x="597644" y="133968"/>
                  <a:pt x="601405" y="136719"/>
                  <a:pt x="605832" y="138640"/>
                </a:cubicBezTo>
                <a:cubicBezTo>
                  <a:pt x="610260" y="140561"/>
                  <a:pt x="615209" y="141521"/>
                  <a:pt x="620678" y="141521"/>
                </a:cubicBezTo>
                <a:cubicBezTo>
                  <a:pt x="626278" y="141521"/>
                  <a:pt x="631226" y="140594"/>
                  <a:pt x="635524" y="138738"/>
                </a:cubicBezTo>
                <a:cubicBezTo>
                  <a:pt x="639821" y="136882"/>
                  <a:pt x="643467" y="134180"/>
                  <a:pt x="646462" y="130631"/>
                </a:cubicBezTo>
                <a:cubicBezTo>
                  <a:pt x="649458" y="127083"/>
                  <a:pt x="651720" y="122736"/>
                  <a:pt x="653250" y="117593"/>
                </a:cubicBezTo>
                <a:cubicBezTo>
                  <a:pt x="654781" y="112449"/>
                  <a:pt x="655546" y="106589"/>
                  <a:pt x="655546" y="100012"/>
                </a:cubicBezTo>
                <a:cubicBezTo>
                  <a:pt x="655546" y="86534"/>
                  <a:pt x="652550" y="76230"/>
                  <a:pt x="646560" y="69100"/>
                </a:cubicBezTo>
                <a:cubicBezTo>
                  <a:pt x="640570" y="61970"/>
                  <a:pt x="632007" y="58406"/>
                  <a:pt x="620873" y="58406"/>
                </a:cubicBezTo>
                <a:close/>
                <a:moveTo>
                  <a:pt x="420848" y="58406"/>
                </a:moveTo>
                <a:cubicBezTo>
                  <a:pt x="415379" y="58406"/>
                  <a:pt x="410430" y="59350"/>
                  <a:pt x="406003" y="61238"/>
                </a:cubicBezTo>
                <a:cubicBezTo>
                  <a:pt x="401575" y="63126"/>
                  <a:pt x="397782" y="65877"/>
                  <a:pt x="394624" y="69491"/>
                </a:cubicBezTo>
                <a:cubicBezTo>
                  <a:pt x="391466" y="73105"/>
                  <a:pt x="389041" y="77532"/>
                  <a:pt x="387348" y="82774"/>
                </a:cubicBezTo>
                <a:cubicBezTo>
                  <a:pt x="385655" y="88015"/>
                  <a:pt x="384809" y="93957"/>
                  <a:pt x="384809" y="100598"/>
                </a:cubicBezTo>
                <a:cubicBezTo>
                  <a:pt x="384809" y="106849"/>
                  <a:pt x="385655" y="112481"/>
                  <a:pt x="387348" y="117495"/>
                </a:cubicBezTo>
                <a:cubicBezTo>
                  <a:pt x="389041" y="122509"/>
                  <a:pt x="391434" y="126806"/>
                  <a:pt x="394527" y="130387"/>
                </a:cubicBezTo>
                <a:cubicBezTo>
                  <a:pt x="397619" y="133968"/>
                  <a:pt x="401380" y="136719"/>
                  <a:pt x="405807" y="138640"/>
                </a:cubicBezTo>
                <a:cubicBezTo>
                  <a:pt x="410235" y="140561"/>
                  <a:pt x="415183" y="141521"/>
                  <a:pt x="420653" y="141521"/>
                </a:cubicBezTo>
                <a:cubicBezTo>
                  <a:pt x="426253" y="141521"/>
                  <a:pt x="431201" y="140594"/>
                  <a:pt x="435498" y="138738"/>
                </a:cubicBezTo>
                <a:cubicBezTo>
                  <a:pt x="439796" y="136882"/>
                  <a:pt x="443442" y="134180"/>
                  <a:pt x="446437" y="130631"/>
                </a:cubicBezTo>
                <a:cubicBezTo>
                  <a:pt x="449433" y="127083"/>
                  <a:pt x="451695" y="122736"/>
                  <a:pt x="453225" y="117593"/>
                </a:cubicBezTo>
                <a:cubicBezTo>
                  <a:pt x="454756" y="112449"/>
                  <a:pt x="455521" y="106589"/>
                  <a:pt x="455521" y="100012"/>
                </a:cubicBezTo>
                <a:cubicBezTo>
                  <a:pt x="455521" y="86534"/>
                  <a:pt x="452525" y="76230"/>
                  <a:pt x="446535" y="69100"/>
                </a:cubicBezTo>
                <a:cubicBezTo>
                  <a:pt x="440545" y="61970"/>
                  <a:pt x="431982" y="58406"/>
                  <a:pt x="420848" y="58406"/>
                </a:cubicBezTo>
                <a:close/>
                <a:moveTo>
                  <a:pt x="3936369" y="49908"/>
                </a:moveTo>
                <a:lnTo>
                  <a:pt x="3950238" y="49908"/>
                </a:lnTo>
                <a:lnTo>
                  <a:pt x="3978854" y="129117"/>
                </a:lnTo>
                <a:cubicBezTo>
                  <a:pt x="3979245" y="130159"/>
                  <a:pt x="3979619" y="131348"/>
                  <a:pt x="3979978" y="132682"/>
                </a:cubicBezTo>
                <a:cubicBezTo>
                  <a:pt x="3980336" y="134017"/>
                  <a:pt x="3980678" y="135336"/>
                  <a:pt x="3981003" y="136638"/>
                </a:cubicBezTo>
                <a:lnTo>
                  <a:pt x="3981491" y="136638"/>
                </a:lnTo>
                <a:cubicBezTo>
                  <a:pt x="3981817" y="135531"/>
                  <a:pt x="3982126" y="134408"/>
                  <a:pt x="3982419" y="133268"/>
                </a:cubicBezTo>
                <a:cubicBezTo>
                  <a:pt x="3982712" y="132129"/>
                  <a:pt x="3983119" y="130876"/>
                  <a:pt x="3983640" y="129508"/>
                </a:cubicBezTo>
                <a:lnTo>
                  <a:pt x="4014015" y="49908"/>
                </a:lnTo>
                <a:lnTo>
                  <a:pt x="4027200" y="49908"/>
                </a:lnTo>
                <a:lnTo>
                  <a:pt x="3979831" y="168087"/>
                </a:lnTo>
                <a:cubicBezTo>
                  <a:pt x="3975924" y="177854"/>
                  <a:pt x="3971432" y="185098"/>
                  <a:pt x="3966353" y="189818"/>
                </a:cubicBezTo>
                <a:cubicBezTo>
                  <a:pt x="3961274" y="194539"/>
                  <a:pt x="3955121" y="196899"/>
                  <a:pt x="3947893" y="196899"/>
                </a:cubicBezTo>
                <a:cubicBezTo>
                  <a:pt x="3944312" y="196899"/>
                  <a:pt x="3941285" y="196476"/>
                  <a:pt x="3938810" y="195630"/>
                </a:cubicBezTo>
                <a:lnTo>
                  <a:pt x="3938810" y="183909"/>
                </a:lnTo>
                <a:cubicBezTo>
                  <a:pt x="3940243" y="184430"/>
                  <a:pt x="3941692" y="184821"/>
                  <a:pt x="3943157" y="185082"/>
                </a:cubicBezTo>
                <a:cubicBezTo>
                  <a:pt x="3944622" y="185342"/>
                  <a:pt x="3946103" y="185472"/>
                  <a:pt x="3947600" y="185472"/>
                </a:cubicBezTo>
                <a:cubicBezTo>
                  <a:pt x="3951703" y="185472"/>
                  <a:pt x="3955267" y="184186"/>
                  <a:pt x="3958295" y="181614"/>
                </a:cubicBezTo>
                <a:cubicBezTo>
                  <a:pt x="3961323" y="179042"/>
                  <a:pt x="3963944" y="175152"/>
                  <a:pt x="3966157" y="169943"/>
                </a:cubicBezTo>
                <a:lnTo>
                  <a:pt x="3974850" y="149433"/>
                </a:lnTo>
                <a:close/>
                <a:moveTo>
                  <a:pt x="1979148" y="49908"/>
                </a:moveTo>
                <a:lnTo>
                  <a:pt x="1991650" y="49908"/>
                </a:lnTo>
                <a:lnTo>
                  <a:pt x="1991650" y="149921"/>
                </a:lnTo>
                <a:lnTo>
                  <a:pt x="1979148" y="149921"/>
                </a:lnTo>
                <a:close/>
                <a:moveTo>
                  <a:pt x="1862700" y="49908"/>
                </a:moveTo>
                <a:lnTo>
                  <a:pt x="1875201" y="49908"/>
                </a:lnTo>
                <a:lnTo>
                  <a:pt x="1875201" y="106361"/>
                </a:lnTo>
                <a:cubicBezTo>
                  <a:pt x="1875201" y="118341"/>
                  <a:pt x="1877334" y="127197"/>
                  <a:pt x="1881599" y="132927"/>
                </a:cubicBezTo>
                <a:cubicBezTo>
                  <a:pt x="1885863" y="138656"/>
                  <a:pt x="1892391" y="141521"/>
                  <a:pt x="1901181" y="141521"/>
                </a:cubicBezTo>
                <a:cubicBezTo>
                  <a:pt x="1905478" y="141521"/>
                  <a:pt x="1909401" y="140691"/>
                  <a:pt x="1912950" y="139031"/>
                </a:cubicBezTo>
                <a:cubicBezTo>
                  <a:pt x="1916499" y="137370"/>
                  <a:pt x="1919559" y="135026"/>
                  <a:pt x="1922131" y="131999"/>
                </a:cubicBezTo>
                <a:cubicBezTo>
                  <a:pt x="1924703" y="128971"/>
                  <a:pt x="1926705" y="125341"/>
                  <a:pt x="1928138" y="121109"/>
                </a:cubicBezTo>
                <a:cubicBezTo>
                  <a:pt x="1929570" y="116876"/>
                  <a:pt x="1930286" y="112188"/>
                  <a:pt x="1930286" y="107044"/>
                </a:cubicBezTo>
                <a:lnTo>
                  <a:pt x="1930286" y="49908"/>
                </a:lnTo>
                <a:lnTo>
                  <a:pt x="1942788" y="49908"/>
                </a:lnTo>
                <a:lnTo>
                  <a:pt x="1942788" y="149921"/>
                </a:lnTo>
                <a:lnTo>
                  <a:pt x="1930286" y="149921"/>
                </a:lnTo>
                <a:lnTo>
                  <a:pt x="1930286" y="132927"/>
                </a:lnTo>
                <a:lnTo>
                  <a:pt x="1929896" y="132927"/>
                </a:lnTo>
                <a:cubicBezTo>
                  <a:pt x="1923124" y="145819"/>
                  <a:pt x="1912608" y="152265"/>
                  <a:pt x="1898349" y="152265"/>
                </a:cubicBezTo>
                <a:cubicBezTo>
                  <a:pt x="1874583" y="152265"/>
                  <a:pt x="1862700" y="137745"/>
                  <a:pt x="1862700" y="108705"/>
                </a:cubicBezTo>
                <a:close/>
                <a:moveTo>
                  <a:pt x="1091175" y="49908"/>
                </a:moveTo>
                <a:lnTo>
                  <a:pt x="1103676" y="49908"/>
                </a:lnTo>
                <a:lnTo>
                  <a:pt x="1103676" y="106361"/>
                </a:lnTo>
                <a:cubicBezTo>
                  <a:pt x="1103676" y="118341"/>
                  <a:pt x="1105809" y="127197"/>
                  <a:pt x="1110074" y="132927"/>
                </a:cubicBezTo>
                <a:cubicBezTo>
                  <a:pt x="1114338" y="138656"/>
                  <a:pt x="1120866" y="141521"/>
                  <a:pt x="1129656" y="141521"/>
                </a:cubicBezTo>
                <a:cubicBezTo>
                  <a:pt x="1133954" y="141521"/>
                  <a:pt x="1137877" y="140691"/>
                  <a:pt x="1141425" y="139031"/>
                </a:cubicBezTo>
                <a:cubicBezTo>
                  <a:pt x="1144974" y="137370"/>
                  <a:pt x="1148034" y="135026"/>
                  <a:pt x="1150606" y="131999"/>
                </a:cubicBezTo>
                <a:cubicBezTo>
                  <a:pt x="1153178" y="128971"/>
                  <a:pt x="1155180" y="125341"/>
                  <a:pt x="1156613" y="121109"/>
                </a:cubicBezTo>
                <a:cubicBezTo>
                  <a:pt x="1158045" y="116876"/>
                  <a:pt x="1158761" y="112188"/>
                  <a:pt x="1158761" y="107044"/>
                </a:cubicBezTo>
                <a:lnTo>
                  <a:pt x="1158761" y="49908"/>
                </a:lnTo>
                <a:lnTo>
                  <a:pt x="1171263" y="49908"/>
                </a:lnTo>
                <a:lnTo>
                  <a:pt x="1171263" y="149921"/>
                </a:lnTo>
                <a:lnTo>
                  <a:pt x="1158761" y="149921"/>
                </a:lnTo>
                <a:lnTo>
                  <a:pt x="1158761" y="132927"/>
                </a:lnTo>
                <a:lnTo>
                  <a:pt x="1158371" y="132927"/>
                </a:lnTo>
                <a:cubicBezTo>
                  <a:pt x="1151599" y="145819"/>
                  <a:pt x="1141083" y="152265"/>
                  <a:pt x="1126824" y="152265"/>
                </a:cubicBezTo>
                <a:cubicBezTo>
                  <a:pt x="1103058" y="152265"/>
                  <a:pt x="1091175" y="137745"/>
                  <a:pt x="1091175" y="108705"/>
                </a:cubicBezTo>
                <a:close/>
                <a:moveTo>
                  <a:pt x="991530" y="49908"/>
                </a:moveTo>
                <a:lnTo>
                  <a:pt x="1068493" y="49908"/>
                </a:lnTo>
                <a:lnTo>
                  <a:pt x="1068493" y="53424"/>
                </a:lnTo>
                <a:lnTo>
                  <a:pt x="1005399" y="138982"/>
                </a:lnTo>
                <a:lnTo>
                  <a:pt x="1067027" y="138982"/>
                </a:lnTo>
                <a:lnTo>
                  <a:pt x="1067027" y="149921"/>
                </a:lnTo>
                <a:lnTo>
                  <a:pt x="986353" y="149921"/>
                </a:lnTo>
                <a:lnTo>
                  <a:pt x="986353" y="145721"/>
                </a:lnTo>
                <a:lnTo>
                  <a:pt x="1049154" y="60847"/>
                </a:lnTo>
                <a:lnTo>
                  <a:pt x="991530" y="60847"/>
                </a:lnTo>
                <a:close/>
                <a:moveTo>
                  <a:pt x="169399" y="49908"/>
                </a:moveTo>
                <a:lnTo>
                  <a:pt x="181900" y="49908"/>
                </a:lnTo>
                <a:lnTo>
                  <a:pt x="181900" y="149921"/>
                </a:lnTo>
                <a:lnTo>
                  <a:pt x="169399" y="149921"/>
                </a:lnTo>
                <a:close/>
                <a:moveTo>
                  <a:pt x="3914472" y="48053"/>
                </a:moveTo>
                <a:cubicBezTo>
                  <a:pt x="3916491" y="48053"/>
                  <a:pt x="3918298" y="48183"/>
                  <a:pt x="3919893" y="48443"/>
                </a:cubicBezTo>
                <a:cubicBezTo>
                  <a:pt x="3921488" y="48704"/>
                  <a:pt x="3922937" y="49094"/>
                  <a:pt x="3924239" y="49615"/>
                </a:cubicBezTo>
                <a:lnTo>
                  <a:pt x="3924239" y="62703"/>
                </a:lnTo>
                <a:cubicBezTo>
                  <a:pt x="3921309" y="60554"/>
                  <a:pt x="3917533" y="59480"/>
                  <a:pt x="3912910" y="59480"/>
                </a:cubicBezTo>
                <a:cubicBezTo>
                  <a:pt x="3909589" y="59480"/>
                  <a:pt x="3906659" y="60115"/>
                  <a:pt x="3904119" y="61384"/>
                </a:cubicBezTo>
                <a:cubicBezTo>
                  <a:pt x="3901580" y="62654"/>
                  <a:pt x="3899350" y="64363"/>
                  <a:pt x="3897429" y="66512"/>
                </a:cubicBezTo>
                <a:cubicBezTo>
                  <a:pt x="3895508" y="68661"/>
                  <a:pt x="3893881" y="71151"/>
                  <a:pt x="3892546" y="73984"/>
                </a:cubicBezTo>
                <a:cubicBezTo>
                  <a:pt x="3891211" y="76816"/>
                  <a:pt x="3890137" y="79762"/>
                  <a:pt x="3889323" y="82823"/>
                </a:cubicBezTo>
                <a:cubicBezTo>
                  <a:pt x="3888509" y="85883"/>
                  <a:pt x="3887923" y="88976"/>
                  <a:pt x="3887565" y="92101"/>
                </a:cubicBezTo>
                <a:cubicBezTo>
                  <a:pt x="3887206" y="95227"/>
                  <a:pt x="3887027" y="98189"/>
                  <a:pt x="3887027" y="100989"/>
                </a:cubicBezTo>
                <a:lnTo>
                  <a:pt x="3887027" y="149921"/>
                </a:lnTo>
                <a:lnTo>
                  <a:pt x="3874624" y="149921"/>
                </a:lnTo>
                <a:lnTo>
                  <a:pt x="3874624" y="49908"/>
                </a:lnTo>
                <a:lnTo>
                  <a:pt x="3887027" y="49908"/>
                </a:lnTo>
                <a:lnTo>
                  <a:pt x="3887027" y="71298"/>
                </a:lnTo>
                <a:lnTo>
                  <a:pt x="3887418" y="71298"/>
                </a:lnTo>
                <a:cubicBezTo>
                  <a:pt x="3888590" y="67651"/>
                  <a:pt x="3890071" y="64380"/>
                  <a:pt x="3891862" y="61482"/>
                </a:cubicBezTo>
                <a:cubicBezTo>
                  <a:pt x="3893653" y="58585"/>
                  <a:pt x="3895720" y="56143"/>
                  <a:pt x="3898064" y="54157"/>
                </a:cubicBezTo>
                <a:cubicBezTo>
                  <a:pt x="3900408" y="52171"/>
                  <a:pt x="3902964" y="50657"/>
                  <a:pt x="3905731" y="49615"/>
                </a:cubicBezTo>
                <a:cubicBezTo>
                  <a:pt x="3908498" y="48574"/>
                  <a:pt x="3911412" y="48053"/>
                  <a:pt x="3914472" y="48053"/>
                </a:cubicBezTo>
                <a:close/>
                <a:moveTo>
                  <a:pt x="1247472" y="48053"/>
                </a:moveTo>
                <a:cubicBezTo>
                  <a:pt x="1249491" y="48053"/>
                  <a:pt x="1251298" y="48183"/>
                  <a:pt x="1252893" y="48443"/>
                </a:cubicBezTo>
                <a:cubicBezTo>
                  <a:pt x="1254488" y="48704"/>
                  <a:pt x="1255937" y="49094"/>
                  <a:pt x="1257239" y="49615"/>
                </a:cubicBezTo>
                <a:lnTo>
                  <a:pt x="1257239" y="62703"/>
                </a:lnTo>
                <a:cubicBezTo>
                  <a:pt x="1254309" y="60554"/>
                  <a:pt x="1250532" y="59480"/>
                  <a:pt x="1245909" y="59480"/>
                </a:cubicBezTo>
                <a:cubicBezTo>
                  <a:pt x="1242589" y="59480"/>
                  <a:pt x="1239659" y="60115"/>
                  <a:pt x="1237119" y="61384"/>
                </a:cubicBezTo>
                <a:cubicBezTo>
                  <a:pt x="1234580" y="62654"/>
                  <a:pt x="1232350" y="64363"/>
                  <a:pt x="1230429" y="66512"/>
                </a:cubicBezTo>
                <a:cubicBezTo>
                  <a:pt x="1228508" y="68661"/>
                  <a:pt x="1226880" y="71151"/>
                  <a:pt x="1225545" y="73984"/>
                </a:cubicBezTo>
                <a:cubicBezTo>
                  <a:pt x="1224211" y="76816"/>
                  <a:pt x="1223136" y="79762"/>
                  <a:pt x="1222323" y="82823"/>
                </a:cubicBezTo>
                <a:cubicBezTo>
                  <a:pt x="1221509" y="85883"/>
                  <a:pt x="1220923" y="88976"/>
                  <a:pt x="1220565" y="92101"/>
                </a:cubicBezTo>
                <a:cubicBezTo>
                  <a:pt x="1220206" y="95227"/>
                  <a:pt x="1220027" y="98189"/>
                  <a:pt x="1220027" y="100989"/>
                </a:cubicBezTo>
                <a:lnTo>
                  <a:pt x="1220027" y="149921"/>
                </a:lnTo>
                <a:lnTo>
                  <a:pt x="1207623" y="149921"/>
                </a:lnTo>
                <a:lnTo>
                  <a:pt x="1207623" y="49908"/>
                </a:lnTo>
                <a:lnTo>
                  <a:pt x="1220027" y="49908"/>
                </a:lnTo>
                <a:lnTo>
                  <a:pt x="1220027" y="71298"/>
                </a:lnTo>
                <a:lnTo>
                  <a:pt x="1220418" y="71298"/>
                </a:lnTo>
                <a:cubicBezTo>
                  <a:pt x="1221590" y="67651"/>
                  <a:pt x="1223071" y="64380"/>
                  <a:pt x="1224862" y="61482"/>
                </a:cubicBezTo>
                <a:cubicBezTo>
                  <a:pt x="1226652" y="58585"/>
                  <a:pt x="1228720" y="56143"/>
                  <a:pt x="1231064" y="54157"/>
                </a:cubicBezTo>
                <a:cubicBezTo>
                  <a:pt x="1233408" y="52171"/>
                  <a:pt x="1235964" y="50657"/>
                  <a:pt x="1238731" y="49615"/>
                </a:cubicBezTo>
                <a:cubicBezTo>
                  <a:pt x="1241498" y="48574"/>
                  <a:pt x="1244412" y="48053"/>
                  <a:pt x="1247472" y="48053"/>
                </a:cubicBezTo>
                <a:close/>
                <a:moveTo>
                  <a:pt x="352122" y="48053"/>
                </a:moveTo>
                <a:cubicBezTo>
                  <a:pt x="354141" y="48053"/>
                  <a:pt x="355948" y="48183"/>
                  <a:pt x="357543" y="48443"/>
                </a:cubicBezTo>
                <a:cubicBezTo>
                  <a:pt x="359138" y="48704"/>
                  <a:pt x="360587" y="49094"/>
                  <a:pt x="361889" y="49615"/>
                </a:cubicBezTo>
                <a:lnTo>
                  <a:pt x="361889" y="62703"/>
                </a:lnTo>
                <a:cubicBezTo>
                  <a:pt x="358959" y="60554"/>
                  <a:pt x="355183" y="59480"/>
                  <a:pt x="350560" y="59480"/>
                </a:cubicBezTo>
                <a:cubicBezTo>
                  <a:pt x="347239" y="59480"/>
                  <a:pt x="344309" y="60115"/>
                  <a:pt x="341769" y="61384"/>
                </a:cubicBezTo>
                <a:cubicBezTo>
                  <a:pt x="339230" y="62654"/>
                  <a:pt x="337000" y="64363"/>
                  <a:pt x="335079" y="66512"/>
                </a:cubicBezTo>
                <a:cubicBezTo>
                  <a:pt x="333158" y="68661"/>
                  <a:pt x="331531" y="71151"/>
                  <a:pt x="330196" y="73984"/>
                </a:cubicBezTo>
                <a:cubicBezTo>
                  <a:pt x="328861" y="76816"/>
                  <a:pt x="327787" y="79762"/>
                  <a:pt x="326973" y="82823"/>
                </a:cubicBezTo>
                <a:cubicBezTo>
                  <a:pt x="326159" y="85883"/>
                  <a:pt x="325573" y="88976"/>
                  <a:pt x="325215" y="92101"/>
                </a:cubicBezTo>
                <a:cubicBezTo>
                  <a:pt x="324856" y="95227"/>
                  <a:pt x="324677" y="98189"/>
                  <a:pt x="324677" y="100989"/>
                </a:cubicBezTo>
                <a:lnTo>
                  <a:pt x="324677" y="149921"/>
                </a:lnTo>
                <a:lnTo>
                  <a:pt x="312274" y="149921"/>
                </a:lnTo>
                <a:lnTo>
                  <a:pt x="312274" y="49908"/>
                </a:lnTo>
                <a:lnTo>
                  <a:pt x="324677" y="49908"/>
                </a:lnTo>
                <a:lnTo>
                  <a:pt x="324677" y="71298"/>
                </a:lnTo>
                <a:lnTo>
                  <a:pt x="325068" y="71298"/>
                </a:lnTo>
                <a:cubicBezTo>
                  <a:pt x="326240" y="67651"/>
                  <a:pt x="327721" y="64380"/>
                  <a:pt x="329512" y="61482"/>
                </a:cubicBezTo>
                <a:cubicBezTo>
                  <a:pt x="331303" y="58585"/>
                  <a:pt x="333370" y="56143"/>
                  <a:pt x="335714" y="54157"/>
                </a:cubicBezTo>
                <a:cubicBezTo>
                  <a:pt x="338058" y="52171"/>
                  <a:pt x="340614" y="50657"/>
                  <a:pt x="343381" y="49615"/>
                </a:cubicBezTo>
                <a:cubicBezTo>
                  <a:pt x="346148" y="48574"/>
                  <a:pt x="349062" y="48053"/>
                  <a:pt x="352122" y="48053"/>
                </a:cubicBezTo>
                <a:close/>
                <a:moveTo>
                  <a:pt x="3803005" y="47564"/>
                </a:moveTo>
                <a:cubicBezTo>
                  <a:pt x="3810232" y="47564"/>
                  <a:pt x="3816743" y="48753"/>
                  <a:pt x="3822538" y="51129"/>
                </a:cubicBezTo>
                <a:cubicBezTo>
                  <a:pt x="3828333" y="53506"/>
                  <a:pt x="3833249" y="56941"/>
                  <a:pt x="3837286" y="61433"/>
                </a:cubicBezTo>
                <a:cubicBezTo>
                  <a:pt x="3841323" y="65926"/>
                  <a:pt x="3844416" y="71395"/>
                  <a:pt x="3846565" y="77842"/>
                </a:cubicBezTo>
                <a:cubicBezTo>
                  <a:pt x="3848713" y="84288"/>
                  <a:pt x="3849788" y="91613"/>
                  <a:pt x="3849788" y="99817"/>
                </a:cubicBezTo>
                <a:cubicBezTo>
                  <a:pt x="3849788" y="107630"/>
                  <a:pt x="3848665" y="114744"/>
                  <a:pt x="3846418" y="121158"/>
                </a:cubicBezTo>
                <a:cubicBezTo>
                  <a:pt x="3844172" y="127571"/>
                  <a:pt x="3840965" y="133089"/>
                  <a:pt x="3836798" y="137712"/>
                </a:cubicBezTo>
                <a:cubicBezTo>
                  <a:pt x="3832631" y="142335"/>
                  <a:pt x="3827552" y="145916"/>
                  <a:pt x="3821562" y="148456"/>
                </a:cubicBezTo>
                <a:cubicBezTo>
                  <a:pt x="3815571" y="150995"/>
                  <a:pt x="3808800" y="152265"/>
                  <a:pt x="3801247" y="152265"/>
                </a:cubicBezTo>
                <a:cubicBezTo>
                  <a:pt x="3793824" y="152265"/>
                  <a:pt x="3787166" y="151028"/>
                  <a:pt x="3781273" y="148554"/>
                </a:cubicBezTo>
                <a:cubicBezTo>
                  <a:pt x="3775381" y="146079"/>
                  <a:pt x="3770351" y="142579"/>
                  <a:pt x="3766184" y="138054"/>
                </a:cubicBezTo>
                <a:cubicBezTo>
                  <a:pt x="3762016" y="133529"/>
                  <a:pt x="3758826" y="128108"/>
                  <a:pt x="3756612" y="121792"/>
                </a:cubicBezTo>
                <a:cubicBezTo>
                  <a:pt x="3754398" y="115476"/>
                  <a:pt x="3753291" y="108477"/>
                  <a:pt x="3753291" y="100794"/>
                </a:cubicBezTo>
                <a:cubicBezTo>
                  <a:pt x="3753291" y="92459"/>
                  <a:pt x="3754463" y="85004"/>
                  <a:pt x="3756807" y="78428"/>
                </a:cubicBezTo>
                <a:cubicBezTo>
                  <a:pt x="3759152" y="71851"/>
                  <a:pt x="3762489" y="66268"/>
                  <a:pt x="3766818" y="61677"/>
                </a:cubicBezTo>
                <a:cubicBezTo>
                  <a:pt x="3771148" y="57087"/>
                  <a:pt x="3776374" y="53587"/>
                  <a:pt x="3782494" y="51178"/>
                </a:cubicBezTo>
                <a:cubicBezTo>
                  <a:pt x="3788615" y="48769"/>
                  <a:pt x="3795452" y="47564"/>
                  <a:pt x="3803005" y="47564"/>
                </a:cubicBezTo>
                <a:close/>
                <a:moveTo>
                  <a:pt x="3642545" y="47564"/>
                </a:moveTo>
                <a:cubicBezTo>
                  <a:pt x="3650814" y="47564"/>
                  <a:pt x="3658367" y="49160"/>
                  <a:pt x="3665204" y="52350"/>
                </a:cubicBezTo>
                <a:lnTo>
                  <a:pt x="3665204" y="65633"/>
                </a:lnTo>
                <a:cubicBezTo>
                  <a:pt x="3657911" y="60815"/>
                  <a:pt x="3650033" y="58406"/>
                  <a:pt x="3641568" y="58406"/>
                </a:cubicBezTo>
                <a:cubicBezTo>
                  <a:pt x="3635643" y="58406"/>
                  <a:pt x="3630369" y="59529"/>
                  <a:pt x="3625746" y="61775"/>
                </a:cubicBezTo>
                <a:cubicBezTo>
                  <a:pt x="3621123" y="64021"/>
                  <a:pt x="3617232" y="67082"/>
                  <a:pt x="3614074" y="70956"/>
                </a:cubicBezTo>
                <a:cubicBezTo>
                  <a:pt x="3610916" y="74830"/>
                  <a:pt x="3608507" y="79355"/>
                  <a:pt x="3606847" y="84532"/>
                </a:cubicBezTo>
                <a:cubicBezTo>
                  <a:pt x="3605186" y="89708"/>
                  <a:pt x="3604356" y="95194"/>
                  <a:pt x="3604356" y="100989"/>
                </a:cubicBezTo>
                <a:cubicBezTo>
                  <a:pt x="3604356" y="106328"/>
                  <a:pt x="3605056" y="111439"/>
                  <a:pt x="3606456" y="116323"/>
                </a:cubicBezTo>
                <a:cubicBezTo>
                  <a:pt x="3607856" y="121206"/>
                  <a:pt x="3610005" y="125520"/>
                  <a:pt x="3612902" y="129264"/>
                </a:cubicBezTo>
                <a:cubicBezTo>
                  <a:pt x="3615800" y="133008"/>
                  <a:pt x="3619462" y="135987"/>
                  <a:pt x="3623890" y="138201"/>
                </a:cubicBezTo>
                <a:cubicBezTo>
                  <a:pt x="3628318" y="140414"/>
                  <a:pt x="3633527" y="141521"/>
                  <a:pt x="3639517" y="141521"/>
                </a:cubicBezTo>
                <a:cubicBezTo>
                  <a:pt x="3648893" y="141521"/>
                  <a:pt x="3657358" y="138722"/>
                  <a:pt x="3664911" y="133122"/>
                </a:cubicBezTo>
                <a:lnTo>
                  <a:pt x="3664911" y="145428"/>
                </a:lnTo>
                <a:cubicBezTo>
                  <a:pt x="3657488" y="149921"/>
                  <a:pt x="3648502" y="152232"/>
                  <a:pt x="3637954" y="152363"/>
                </a:cubicBezTo>
                <a:cubicBezTo>
                  <a:pt x="3630792" y="152428"/>
                  <a:pt x="3624346" y="151191"/>
                  <a:pt x="3618616" y="148651"/>
                </a:cubicBezTo>
                <a:cubicBezTo>
                  <a:pt x="3612886" y="146112"/>
                  <a:pt x="3608003" y="142579"/>
                  <a:pt x="3603966" y="138054"/>
                </a:cubicBezTo>
                <a:cubicBezTo>
                  <a:pt x="3599929" y="133529"/>
                  <a:pt x="3596836" y="128190"/>
                  <a:pt x="3594687" y="122037"/>
                </a:cubicBezTo>
                <a:cubicBezTo>
                  <a:pt x="3592538" y="115883"/>
                  <a:pt x="3591464" y="109193"/>
                  <a:pt x="3591464" y="101966"/>
                </a:cubicBezTo>
                <a:cubicBezTo>
                  <a:pt x="3591464" y="94478"/>
                  <a:pt x="3592604" y="87429"/>
                  <a:pt x="3594882" y="80820"/>
                </a:cubicBezTo>
                <a:cubicBezTo>
                  <a:pt x="3597161" y="74212"/>
                  <a:pt x="3600482" y="68449"/>
                  <a:pt x="3604845" y="63533"/>
                </a:cubicBezTo>
                <a:cubicBezTo>
                  <a:pt x="3609207" y="58617"/>
                  <a:pt x="3614546" y="54727"/>
                  <a:pt x="3620862" y="51862"/>
                </a:cubicBezTo>
                <a:cubicBezTo>
                  <a:pt x="3627178" y="48997"/>
                  <a:pt x="3634406" y="47564"/>
                  <a:pt x="3642545" y="47564"/>
                </a:cubicBezTo>
                <a:close/>
                <a:moveTo>
                  <a:pt x="3529956" y="47564"/>
                </a:moveTo>
                <a:cubicBezTo>
                  <a:pt x="3541090" y="47564"/>
                  <a:pt x="3549506" y="50690"/>
                  <a:pt x="3555203" y="56941"/>
                </a:cubicBezTo>
                <a:cubicBezTo>
                  <a:pt x="3560901" y="63191"/>
                  <a:pt x="3563749" y="72502"/>
                  <a:pt x="3563749" y="84874"/>
                </a:cubicBezTo>
                <a:lnTo>
                  <a:pt x="3563749" y="149921"/>
                </a:lnTo>
                <a:lnTo>
                  <a:pt x="3551248" y="149921"/>
                </a:lnTo>
                <a:lnTo>
                  <a:pt x="3551248" y="132145"/>
                </a:lnTo>
                <a:lnTo>
                  <a:pt x="3550857" y="132145"/>
                </a:lnTo>
                <a:cubicBezTo>
                  <a:pt x="3547602" y="138526"/>
                  <a:pt x="3543158" y="143475"/>
                  <a:pt x="3537525" y="146991"/>
                </a:cubicBezTo>
                <a:cubicBezTo>
                  <a:pt x="3531893" y="150507"/>
                  <a:pt x="3525529" y="152265"/>
                  <a:pt x="3518431" y="152265"/>
                </a:cubicBezTo>
                <a:cubicBezTo>
                  <a:pt x="3513613" y="152265"/>
                  <a:pt x="3509267" y="151581"/>
                  <a:pt x="3505392" y="150214"/>
                </a:cubicBezTo>
                <a:cubicBezTo>
                  <a:pt x="3501518" y="148847"/>
                  <a:pt x="3498230" y="146909"/>
                  <a:pt x="3495528" y="144403"/>
                </a:cubicBezTo>
                <a:cubicBezTo>
                  <a:pt x="3492826" y="141896"/>
                  <a:pt x="3490742" y="138884"/>
                  <a:pt x="3489277" y="135368"/>
                </a:cubicBezTo>
                <a:cubicBezTo>
                  <a:pt x="3487812" y="131852"/>
                  <a:pt x="3487079" y="127978"/>
                  <a:pt x="3487079" y="123746"/>
                </a:cubicBezTo>
                <a:cubicBezTo>
                  <a:pt x="3487079" y="114695"/>
                  <a:pt x="3489880" y="107484"/>
                  <a:pt x="3495479" y="102112"/>
                </a:cubicBezTo>
                <a:cubicBezTo>
                  <a:pt x="3501079" y="96740"/>
                  <a:pt x="3509543" y="93241"/>
                  <a:pt x="3520873" y="91613"/>
                </a:cubicBezTo>
                <a:lnTo>
                  <a:pt x="3551248" y="87218"/>
                </a:lnTo>
                <a:cubicBezTo>
                  <a:pt x="3551248" y="68010"/>
                  <a:pt x="3543793" y="58406"/>
                  <a:pt x="3528882" y="58406"/>
                </a:cubicBezTo>
                <a:cubicBezTo>
                  <a:pt x="3517227" y="58406"/>
                  <a:pt x="3506418" y="62670"/>
                  <a:pt x="3496456" y="71200"/>
                </a:cubicBezTo>
                <a:lnTo>
                  <a:pt x="3496456" y="57527"/>
                </a:lnTo>
                <a:cubicBezTo>
                  <a:pt x="3498540" y="56029"/>
                  <a:pt x="3500900" y="54678"/>
                  <a:pt x="3503537" y="53473"/>
                </a:cubicBezTo>
                <a:cubicBezTo>
                  <a:pt x="3506174" y="52269"/>
                  <a:pt x="3508957" y="51227"/>
                  <a:pt x="3511887" y="50348"/>
                </a:cubicBezTo>
                <a:cubicBezTo>
                  <a:pt x="3514817" y="49469"/>
                  <a:pt x="3517829" y="48785"/>
                  <a:pt x="3520922" y="48297"/>
                </a:cubicBezTo>
                <a:cubicBezTo>
                  <a:pt x="3524015" y="47809"/>
                  <a:pt x="3527026" y="47564"/>
                  <a:pt x="3529956" y="47564"/>
                </a:cubicBezTo>
                <a:close/>
                <a:moveTo>
                  <a:pt x="3179582" y="47564"/>
                </a:moveTo>
                <a:cubicBezTo>
                  <a:pt x="3186028" y="47564"/>
                  <a:pt x="3191726" y="48688"/>
                  <a:pt x="3196674" y="50934"/>
                </a:cubicBezTo>
                <a:cubicBezTo>
                  <a:pt x="3201623" y="53180"/>
                  <a:pt x="3205774" y="56387"/>
                  <a:pt x="3209127" y="60554"/>
                </a:cubicBezTo>
                <a:cubicBezTo>
                  <a:pt x="3212480" y="64721"/>
                  <a:pt x="3215036" y="69800"/>
                  <a:pt x="3216794" y="75791"/>
                </a:cubicBezTo>
                <a:cubicBezTo>
                  <a:pt x="3218552" y="81781"/>
                  <a:pt x="3219431" y="88487"/>
                  <a:pt x="3219431" y="95910"/>
                </a:cubicBezTo>
                <a:lnTo>
                  <a:pt x="3219431" y="102161"/>
                </a:lnTo>
                <a:lnTo>
                  <a:pt x="3147156" y="102161"/>
                </a:lnTo>
                <a:cubicBezTo>
                  <a:pt x="3147221" y="108282"/>
                  <a:pt x="3148035" y="113784"/>
                  <a:pt x="3149598" y="118667"/>
                </a:cubicBezTo>
                <a:cubicBezTo>
                  <a:pt x="3151161" y="123550"/>
                  <a:pt x="3153407" y="127685"/>
                  <a:pt x="3156337" y="131071"/>
                </a:cubicBezTo>
                <a:cubicBezTo>
                  <a:pt x="3159267" y="134457"/>
                  <a:pt x="3162832" y="137045"/>
                  <a:pt x="3167032" y="138835"/>
                </a:cubicBezTo>
                <a:cubicBezTo>
                  <a:pt x="3171232" y="140626"/>
                  <a:pt x="3175969" y="141521"/>
                  <a:pt x="3181243" y="141521"/>
                </a:cubicBezTo>
                <a:cubicBezTo>
                  <a:pt x="3192507" y="141521"/>
                  <a:pt x="3203153" y="137582"/>
                  <a:pt x="3213180" y="129703"/>
                </a:cubicBezTo>
                <a:lnTo>
                  <a:pt x="3213180" y="142010"/>
                </a:lnTo>
                <a:cubicBezTo>
                  <a:pt x="3203609" y="148847"/>
                  <a:pt x="3192019" y="152265"/>
                  <a:pt x="3178410" y="152265"/>
                </a:cubicBezTo>
                <a:cubicBezTo>
                  <a:pt x="3171704" y="152265"/>
                  <a:pt x="3165616" y="151093"/>
                  <a:pt x="3160146" y="148749"/>
                </a:cubicBezTo>
                <a:cubicBezTo>
                  <a:pt x="3154677" y="146405"/>
                  <a:pt x="3150021" y="143003"/>
                  <a:pt x="3146180" y="138542"/>
                </a:cubicBezTo>
                <a:cubicBezTo>
                  <a:pt x="3142338" y="134082"/>
                  <a:pt x="3139375" y="128597"/>
                  <a:pt x="3137292" y="122085"/>
                </a:cubicBezTo>
                <a:cubicBezTo>
                  <a:pt x="3135208" y="115574"/>
                  <a:pt x="3134166" y="108151"/>
                  <a:pt x="3134166" y="99817"/>
                </a:cubicBezTo>
                <a:cubicBezTo>
                  <a:pt x="3134166" y="92329"/>
                  <a:pt x="3135306" y="85395"/>
                  <a:pt x="3137585" y="79014"/>
                </a:cubicBezTo>
                <a:cubicBezTo>
                  <a:pt x="3139864" y="72633"/>
                  <a:pt x="3143022" y="67114"/>
                  <a:pt x="3147059" y="62459"/>
                </a:cubicBezTo>
                <a:cubicBezTo>
                  <a:pt x="3151096" y="57803"/>
                  <a:pt x="3155881" y="54157"/>
                  <a:pt x="3161416" y="51520"/>
                </a:cubicBezTo>
                <a:cubicBezTo>
                  <a:pt x="3166950" y="48883"/>
                  <a:pt x="3173006" y="47564"/>
                  <a:pt x="3179582" y="47564"/>
                </a:cubicBezTo>
                <a:close/>
                <a:moveTo>
                  <a:pt x="3023420" y="47564"/>
                </a:moveTo>
                <a:cubicBezTo>
                  <a:pt x="3031689" y="47564"/>
                  <a:pt x="3039242" y="49160"/>
                  <a:pt x="3046079" y="52350"/>
                </a:cubicBezTo>
                <a:lnTo>
                  <a:pt x="3046079" y="65633"/>
                </a:lnTo>
                <a:cubicBezTo>
                  <a:pt x="3038786" y="60815"/>
                  <a:pt x="3030908" y="58406"/>
                  <a:pt x="3022443" y="58406"/>
                </a:cubicBezTo>
                <a:cubicBezTo>
                  <a:pt x="3016518" y="58406"/>
                  <a:pt x="3011244" y="59529"/>
                  <a:pt x="3006621" y="61775"/>
                </a:cubicBezTo>
                <a:cubicBezTo>
                  <a:pt x="3001998" y="64021"/>
                  <a:pt x="2998107" y="67082"/>
                  <a:pt x="2994949" y="70956"/>
                </a:cubicBezTo>
                <a:cubicBezTo>
                  <a:pt x="2991791" y="74830"/>
                  <a:pt x="2989382" y="79355"/>
                  <a:pt x="2987722" y="84532"/>
                </a:cubicBezTo>
                <a:cubicBezTo>
                  <a:pt x="2986061" y="89708"/>
                  <a:pt x="2985231" y="95194"/>
                  <a:pt x="2985231" y="100989"/>
                </a:cubicBezTo>
                <a:cubicBezTo>
                  <a:pt x="2985231" y="106328"/>
                  <a:pt x="2985931" y="111439"/>
                  <a:pt x="2987331" y="116323"/>
                </a:cubicBezTo>
                <a:cubicBezTo>
                  <a:pt x="2988731" y="121206"/>
                  <a:pt x="2990880" y="125520"/>
                  <a:pt x="2993777" y="129264"/>
                </a:cubicBezTo>
                <a:cubicBezTo>
                  <a:pt x="2996675" y="133008"/>
                  <a:pt x="3000337" y="135987"/>
                  <a:pt x="3004765" y="138201"/>
                </a:cubicBezTo>
                <a:cubicBezTo>
                  <a:pt x="3009193" y="140414"/>
                  <a:pt x="3014402" y="141521"/>
                  <a:pt x="3020392" y="141521"/>
                </a:cubicBezTo>
                <a:cubicBezTo>
                  <a:pt x="3029768" y="141521"/>
                  <a:pt x="3038233" y="138722"/>
                  <a:pt x="3045786" y="133122"/>
                </a:cubicBezTo>
                <a:lnTo>
                  <a:pt x="3045786" y="145428"/>
                </a:lnTo>
                <a:cubicBezTo>
                  <a:pt x="3038363" y="149921"/>
                  <a:pt x="3029377" y="152232"/>
                  <a:pt x="3018829" y="152363"/>
                </a:cubicBezTo>
                <a:cubicBezTo>
                  <a:pt x="3011667" y="152428"/>
                  <a:pt x="3005221" y="151191"/>
                  <a:pt x="2999491" y="148651"/>
                </a:cubicBezTo>
                <a:cubicBezTo>
                  <a:pt x="2993761" y="146112"/>
                  <a:pt x="2988878" y="142579"/>
                  <a:pt x="2984841" y="138054"/>
                </a:cubicBezTo>
                <a:cubicBezTo>
                  <a:pt x="2980804" y="133529"/>
                  <a:pt x="2977711" y="128190"/>
                  <a:pt x="2975562" y="122037"/>
                </a:cubicBezTo>
                <a:cubicBezTo>
                  <a:pt x="2973413" y="115883"/>
                  <a:pt x="2972339" y="109193"/>
                  <a:pt x="2972339" y="101966"/>
                </a:cubicBezTo>
                <a:cubicBezTo>
                  <a:pt x="2972339" y="94478"/>
                  <a:pt x="2973479" y="87429"/>
                  <a:pt x="2975757" y="80820"/>
                </a:cubicBezTo>
                <a:cubicBezTo>
                  <a:pt x="2978036" y="74212"/>
                  <a:pt x="2981357" y="68449"/>
                  <a:pt x="2985720" y="63533"/>
                </a:cubicBezTo>
                <a:cubicBezTo>
                  <a:pt x="2990082" y="58617"/>
                  <a:pt x="2995421" y="54727"/>
                  <a:pt x="3001737" y="51862"/>
                </a:cubicBezTo>
                <a:cubicBezTo>
                  <a:pt x="3008053" y="48997"/>
                  <a:pt x="3015281" y="47564"/>
                  <a:pt x="3023420" y="47564"/>
                </a:cubicBezTo>
                <a:close/>
                <a:moveTo>
                  <a:pt x="2912882" y="47564"/>
                </a:moveTo>
                <a:cubicBezTo>
                  <a:pt x="2919328" y="47564"/>
                  <a:pt x="2925026" y="48688"/>
                  <a:pt x="2929974" y="50934"/>
                </a:cubicBezTo>
                <a:cubicBezTo>
                  <a:pt x="2934923" y="53180"/>
                  <a:pt x="2939074" y="56387"/>
                  <a:pt x="2942427" y="60554"/>
                </a:cubicBezTo>
                <a:cubicBezTo>
                  <a:pt x="2945780" y="64721"/>
                  <a:pt x="2948336" y="69800"/>
                  <a:pt x="2950094" y="75791"/>
                </a:cubicBezTo>
                <a:cubicBezTo>
                  <a:pt x="2951852" y="81781"/>
                  <a:pt x="2952731" y="88487"/>
                  <a:pt x="2952731" y="95910"/>
                </a:cubicBezTo>
                <a:lnTo>
                  <a:pt x="2952731" y="102161"/>
                </a:lnTo>
                <a:lnTo>
                  <a:pt x="2880456" y="102161"/>
                </a:lnTo>
                <a:cubicBezTo>
                  <a:pt x="2880521" y="108282"/>
                  <a:pt x="2881335" y="113784"/>
                  <a:pt x="2882898" y="118667"/>
                </a:cubicBezTo>
                <a:cubicBezTo>
                  <a:pt x="2884461" y="123550"/>
                  <a:pt x="2886707" y="127685"/>
                  <a:pt x="2889637" y="131071"/>
                </a:cubicBezTo>
                <a:cubicBezTo>
                  <a:pt x="2892567" y="134457"/>
                  <a:pt x="2896132" y="137045"/>
                  <a:pt x="2900332" y="138835"/>
                </a:cubicBezTo>
                <a:cubicBezTo>
                  <a:pt x="2904532" y="140626"/>
                  <a:pt x="2909269" y="141521"/>
                  <a:pt x="2914543" y="141521"/>
                </a:cubicBezTo>
                <a:cubicBezTo>
                  <a:pt x="2925807" y="141521"/>
                  <a:pt x="2936453" y="137582"/>
                  <a:pt x="2946480" y="129703"/>
                </a:cubicBezTo>
                <a:lnTo>
                  <a:pt x="2946480" y="142010"/>
                </a:lnTo>
                <a:cubicBezTo>
                  <a:pt x="2936909" y="148847"/>
                  <a:pt x="2925319" y="152265"/>
                  <a:pt x="2911710" y="152265"/>
                </a:cubicBezTo>
                <a:cubicBezTo>
                  <a:pt x="2905004" y="152265"/>
                  <a:pt x="2898916" y="151093"/>
                  <a:pt x="2893446" y="148749"/>
                </a:cubicBezTo>
                <a:cubicBezTo>
                  <a:pt x="2887977" y="146405"/>
                  <a:pt x="2883321" y="143003"/>
                  <a:pt x="2879480" y="138542"/>
                </a:cubicBezTo>
                <a:cubicBezTo>
                  <a:pt x="2875638" y="134082"/>
                  <a:pt x="2872675" y="128597"/>
                  <a:pt x="2870592" y="122085"/>
                </a:cubicBezTo>
                <a:cubicBezTo>
                  <a:pt x="2868508" y="115574"/>
                  <a:pt x="2867466" y="108151"/>
                  <a:pt x="2867466" y="99817"/>
                </a:cubicBezTo>
                <a:cubicBezTo>
                  <a:pt x="2867466" y="92329"/>
                  <a:pt x="2868606" y="85395"/>
                  <a:pt x="2870885" y="79014"/>
                </a:cubicBezTo>
                <a:cubicBezTo>
                  <a:pt x="2873164" y="72633"/>
                  <a:pt x="2876322" y="67114"/>
                  <a:pt x="2880359" y="62459"/>
                </a:cubicBezTo>
                <a:cubicBezTo>
                  <a:pt x="2884396" y="57803"/>
                  <a:pt x="2889181" y="54157"/>
                  <a:pt x="2894716" y="51520"/>
                </a:cubicBezTo>
                <a:cubicBezTo>
                  <a:pt x="2900250" y="48883"/>
                  <a:pt x="2906306" y="47564"/>
                  <a:pt x="2912882" y="47564"/>
                </a:cubicBezTo>
                <a:close/>
                <a:moveTo>
                  <a:pt x="2806591" y="47564"/>
                </a:moveTo>
                <a:cubicBezTo>
                  <a:pt x="2817530" y="47564"/>
                  <a:pt x="2825864" y="51113"/>
                  <a:pt x="2831594" y="58210"/>
                </a:cubicBezTo>
                <a:cubicBezTo>
                  <a:pt x="2837324" y="65307"/>
                  <a:pt x="2840189" y="75563"/>
                  <a:pt x="2840189" y="88976"/>
                </a:cubicBezTo>
                <a:lnTo>
                  <a:pt x="2840189" y="149921"/>
                </a:lnTo>
                <a:lnTo>
                  <a:pt x="2827687" y="149921"/>
                </a:lnTo>
                <a:lnTo>
                  <a:pt x="2827687" y="92296"/>
                </a:lnTo>
                <a:cubicBezTo>
                  <a:pt x="2827687" y="69703"/>
                  <a:pt x="2819483" y="58406"/>
                  <a:pt x="2803075" y="58406"/>
                </a:cubicBezTo>
                <a:cubicBezTo>
                  <a:pt x="2798712" y="58406"/>
                  <a:pt x="2794676" y="59268"/>
                  <a:pt x="2790964" y="60994"/>
                </a:cubicBezTo>
                <a:cubicBezTo>
                  <a:pt x="2787253" y="62719"/>
                  <a:pt x="2784046" y="65112"/>
                  <a:pt x="2781344" y="68172"/>
                </a:cubicBezTo>
                <a:cubicBezTo>
                  <a:pt x="2778642" y="71233"/>
                  <a:pt x="2776525" y="74863"/>
                  <a:pt x="2774995" y="79062"/>
                </a:cubicBezTo>
                <a:cubicBezTo>
                  <a:pt x="2773465" y="83262"/>
                  <a:pt x="2772700" y="87804"/>
                  <a:pt x="2772700" y="92687"/>
                </a:cubicBezTo>
                <a:lnTo>
                  <a:pt x="2772700" y="149921"/>
                </a:lnTo>
                <a:lnTo>
                  <a:pt x="2760199" y="149921"/>
                </a:lnTo>
                <a:lnTo>
                  <a:pt x="2760199" y="49908"/>
                </a:lnTo>
                <a:lnTo>
                  <a:pt x="2772700" y="49908"/>
                </a:lnTo>
                <a:lnTo>
                  <a:pt x="2772700" y="67293"/>
                </a:lnTo>
                <a:lnTo>
                  <a:pt x="2773091" y="67293"/>
                </a:lnTo>
                <a:cubicBezTo>
                  <a:pt x="2780514" y="54141"/>
                  <a:pt x="2791680" y="47564"/>
                  <a:pt x="2806591" y="47564"/>
                </a:cubicBezTo>
                <a:close/>
                <a:moveTo>
                  <a:pt x="2692291" y="47564"/>
                </a:moveTo>
                <a:cubicBezTo>
                  <a:pt x="2703230" y="47564"/>
                  <a:pt x="2711564" y="51113"/>
                  <a:pt x="2717294" y="58210"/>
                </a:cubicBezTo>
                <a:cubicBezTo>
                  <a:pt x="2723024" y="65307"/>
                  <a:pt x="2725889" y="75563"/>
                  <a:pt x="2725889" y="88976"/>
                </a:cubicBezTo>
                <a:lnTo>
                  <a:pt x="2725889" y="149921"/>
                </a:lnTo>
                <a:lnTo>
                  <a:pt x="2713387" y="149921"/>
                </a:lnTo>
                <a:lnTo>
                  <a:pt x="2713387" y="92296"/>
                </a:lnTo>
                <a:cubicBezTo>
                  <a:pt x="2713387" y="69703"/>
                  <a:pt x="2705183" y="58406"/>
                  <a:pt x="2688775" y="58406"/>
                </a:cubicBezTo>
                <a:cubicBezTo>
                  <a:pt x="2684412" y="58406"/>
                  <a:pt x="2680376" y="59268"/>
                  <a:pt x="2676664" y="60994"/>
                </a:cubicBezTo>
                <a:cubicBezTo>
                  <a:pt x="2672953" y="62719"/>
                  <a:pt x="2669746" y="65112"/>
                  <a:pt x="2667044" y="68172"/>
                </a:cubicBezTo>
                <a:cubicBezTo>
                  <a:pt x="2664342" y="71233"/>
                  <a:pt x="2662225" y="74863"/>
                  <a:pt x="2660695" y="79062"/>
                </a:cubicBezTo>
                <a:cubicBezTo>
                  <a:pt x="2659165" y="83262"/>
                  <a:pt x="2658400" y="87804"/>
                  <a:pt x="2658400" y="92687"/>
                </a:cubicBezTo>
                <a:lnTo>
                  <a:pt x="2658400" y="149921"/>
                </a:lnTo>
                <a:lnTo>
                  <a:pt x="2645899" y="149921"/>
                </a:lnTo>
                <a:lnTo>
                  <a:pt x="2645899" y="49908"/>
                </a:lnTo>
                <a:lnTo>
                  <a:pt x="2658400" y="49908"/>
                </a:lnTo>
                <a:lnTo>
                  <a:pt x="2658400" y="67293"/>
                </a:lnTo>
                <a:lnTo>
                  <a:pt x="2658791" y="67293"/>
                </a:lnTo>
                <a:cubicBezTo>
                  <a:pt x="2666214" y="54141"/>
                  <a:pt x="2677380" y="47564"/>
                  <a:pt x="2692291" y="47564"/>
                </a:cubicBezTo>
                <a:close/>
                <a:moveTo>
                  <a:pt x="2574280" y="47564"/>
                </a:moveTo>
                <a:cubicBezTo>
                  <a:pt x="2581507" y="47564"/>
                  <a:pt x="2588018" y="48753"/>
                  <a:pt x="2593813" y="51129"/>
                </a:cubicBezTo>
                <a:cubicBezTo>
                  <a:pt x="2599608" y="53506"/>
                  <a:pt x="2604524" y="56941"/>
                  <a:pt x="2608561" y="61433"/>
                </a:cubicBezTo>
                <a:cubicBezTo>
                  <a:pt x="2612598" y="65926"/>
                  <a:pt x="2615691" y="71395"/>
                  <a:pt x="2617840" y="77842"/>
                </a:cubicBezTo>
                <a:cubicBezTo>
                  <a:pt x="2619988" y="84288"/>
                  <a:pt x="2621063" y="91613"/>
                  <a:pt x="2621063" y="99817"/>
                </a:cubicBezTo>
                <a:cubicBezTo>
                  <a:pt x="2621063" y="107630"/>
                  <a:pt x="2619940" y="114744"/>
                  <a:pt x="2617693" y="121158"/>
                </a:cubicBezTo>
                <a:cubicBezTo>
                  <a:pt x="2615447" y="127571"/>
                  <a:pt x="2612240" y="133089"/>
                  <a:pt x="2608073" y="137712"/>
                </a:cubicBezTo>
                <a:cubicBezTo>
                  <a:pt x="2603906" y="142335"/>
                  <a:pt x="2598827" y="145916"/>
                  <a:pt x="2592837" y="148456"/>
                </a:cubicBezTo>
                <a:cubicBezTo>
                  <a:pt x="2586846" y="150995"/>
                  <a:pt x="2580075" y="152265"/>
                  <a:pt x="2572522" y="152265"/>
                </a:cubicBezTo>
                <a:cubicBezTo>
                  <a:pt x="2565099" y="152265"/>
                  <a:pt x="2558441" y="151028"/>
                  <a:pt x="2552548" y="148554"/>
                </a:cubicBezTo>
                <a:cubicBezTo>
                  <a:pt x="2546656" y="146079"/>
                  <a:pt x="2541626" y="142579"/>
                  <a:pt x="2537459" y="138054"/>
                </a:cubicBezTo>
                <a:cubicBezTo>
                  <a:pt x="2533291" y="133529"/>
                  <a:pt x="2530101" y="128108"/>
                  <a:pt x="2527887" y="121792"/>
                </a:cubicBezTo>
                <a:cubicBezTo>
                  <a:pt x="2525673" y="115476"/>
                  <a:pt x="2524566" y="108477"/>
                  <a:pt x="2524566" y="100794"/>
                </a:cubicBezTo>
                <a:cubicBezTo>
                  <a:pt x="2524566" y="92459"/>
                  <a:pt x="2525738" y="85004"/>
                  <a:pt x="2528082" y="78428"/>
                </a:cubicBezTo>
                <a:cubicBezTo>
                  <a:pt x="2530427" y="71851"/>
                  <a:pt x="2533764" y="66268"/>
                  <a:pt x="2538093" y="61677"/>
                </a:cubicBezTo>
                <a:cubicBezTo>
                  <a:pt x="2542423" y="57087"/>
                  <a:pt x="2547649" y="53587"/>
                  <a:pt x="2553769" y="51178"/>
                </a:cubicBezTo>
                <a:cubicBezTo>
                  <a:pt x="2559890" y="48769"/>
                  <a:pt x="2566727" y="47564"/>
                  <a:pt x="2574280" y="47564"/>
                </a:cubicBezTo>
                <a:close/>
                <a:moveTo>
                  <a:pt x="2131832" y="47564"/>
                </a:moveTo>
                <a:cubicBezTo>
                  <a:pt x="2138278" y="47564"/>
                  <a:pt x="2143976" y="48688"/>
                  <a:pt x="2148924" y="50934"/>
                </a:cubicBezTo>
                <a:cubicBezTo>
                  <a:pt x="2153873" y="53180"/>
                  <a:pt x="2158024" y="56387"/>
                  <a:pt x="2161377" y="60554"/>
                </a:cubicBezTo>
                <a:cubicBezTo>
                  <a:pt x="2164730" y="64721"/>
                  <a:pt x="2167286" y="69800"/>
                  <a:pt x="2169044" y="75791"/>
                </a:cubicBezTo>
                <a:cubicBezTo>
                  <a:pt x="2170802" y="81781"/>
                  <a:pt x="2171681" y="88487"/>
                  <a:pt x="2171681" y="95910"/>
                </a:cubicBezTo>
                <a:lnTo>
                  <a:pt x="2171681" y="102161"/>
                </a:lnTo>
                <a:lnTo>
                  <a:pt x="2099406" y="102161"/>
                </a:lnTo>
                <a:cubicBezTo>
                  <a:pt x="2099471" y="108282"/>
                  <a:pt x="2100285" y="113784"/>
                  <a:pt x="2101848" y="118667"/>
                </a:cubicBezTo>
                <a:cubicBezTo>
                  <a:pt x="2103411" y="123550"/>
                  <a:pt x="2105657" y="127685"/>
                  <a:pt x="2108587" y="131071"/>
                </a:cubicBezTo>
                <a:cubicBezTo>
                  <a:pt x="2111517" y="134457"/>
                  <a:pt x="2115082" y="137045"/>
                  <a:pt x="2119282" y="138835"/>
                </a:cubicBezTo>
                <a:cubicBezTo>
                  <a:pt x="2123481" y="140626"/>
                  <a:pt x="2128218" y="141521"/>
                  <a:pt x="2133492" y="141521"/>
                </a:cubicBezTo>
                <a:cubicBezTo>
                  <a:pt x="2144757" y="141521"/>
                  <a:pt x="2155403" y="137582"/>
                  <a:pt x="2165430" y="129703"/>
                </a:cubicBezTo>
                <a:lnTo>
                  <a:pt x="2165430" y="142010"/>
                </a:lnTo>
                <a:cubicBezTo>
                  <a:pt x="2155859" y="148847"/>
                  <a:pt x="2144269" y="152265"/>
                  <a:pt x="2130660" y="152265"/>
                </a:cubicBezTo>
                <a:cubicBezTo>
                  <a:pt x="2123954" y="152265"/>
                  <a:pt x="2117866" y="151093"/>
                  <a:pt x="2112396" y="148749"/>
                </a:cubicBezTo>
                <a:cubicBezTo>
                  <a:pt x="2106927" y="146405"/>
                  <a:pt x="2102271" y="143003"/>
                  <a:pt x="2098429" y="138542"/>
                </a:cubicBezTo>
                <a:cubicBezTo>
                  <a:pt x="2094588" y="134082"/>
                  <a:pt x="2091625" y="128597"/>
                  <a:pt x="2089542" y="122085"/>
                </a:cubicBezTo>
                <a:cubicBezTo>
                  <a:pt x="2087458" y="115574"/>
                  <a:pt x="2086416" y="108151"/>
                  <a:pt x="2086416" y="99817"/>
                </a:cubicBezTo>
                <a:cubicBezTo>
                  <a:pt x="2086416" y="92329"/>
                  <a:pt x="2087556" y="85395"/>
                  <a:pt x="2089835" y="79014"/>
                </a:cubicBezTo>
                <a:cubicBezTo>
                  <a:pt x="2092114" y="72633"/>
                  <a:pt x="2095272" y="67114"/>
                  <a:pt x="2099308" y="62459"/>
                </a:cubicBezTo>
                <a:cubicBezTo>
                  <a:pt x="2103346" y="57803"/>
                  <a:pt x="2108131" y="54157"/>
                  <a:pt x="2113666" y="51520"/>
                </a:cubicBezTo>
                <a:cubicBezTo>
                  <a:pt x="2119200" y="48883"/>
                  <a:pt x="2125256" y="47564"/>
                  <a:pt x="2131832" y="47564"/>
                </a:cubicBezTo>
                <a:close/>
                <a:moveTo>
                  <a:pt x="1526529" y="47564"/>
                </a:moveTo>
                <a:cubicBezTo>
                  <a:pt x="1533757" y="47564"/>
                  <a:pt x="1540268" y="48753"/>
                  <a:pt x="1546063" y="51129"/>
                </a:cubicBezTo>
                <a:cubicBezTo>
                  <a:pt x="1551858" y="53506"/>
                  <a:pt x="1556774" y="56941"/>
                  <a:pt x="1560811" y="61433"/>
                </a:cubicBezTo>
                <a:cubicBezTo>
                  <a:pt x="1564848" y="65926"/>
                  <a:pt x="1567941" y="71395"/>
                  <a:pt x="1570090" y="77842"/>
                </a:cubicBezTo>
                <a:cubicBezTo>
                  <a:pt x="1572238" y="84288"/>
                  <a:pt x="1573313" y="91613"/>
                  <a:pt x="1573313" y="99817"/>
                </a:cubicBezTo>
                <a:cubicBezTo>
                  <a:pt x="1573313" y="107630"/>
                  <a:pt x="1572190" y="114744"/>
                  <a:pt x="1569943" y="121158"/>
                </a:cubicBezTo>
                <a:cubicBezTo>
                  <a:pt x="1567697" y="127571"/>
                  <a:pt x="1564490" y="133089"/>
                  <a:pt x="1560323" y="137712"/>
                </a:cubicBezTo>
                <a:cubicBezTo>
                  <a:pt x="1556156" y="142335"/>
                  <a:pt x="1551077" y="145916"/>
                  <a:pt x="1545086" y="148456"/>
                </a:cubicBezTo>
                <a:cubicBezTo>
                  <a:pt x="1539096" y="150995"/>
                  <a:pt x="1532325" y="152265"/>
                  <a:pt x="1524772" y="152265"/>
                </a:cubicBezTo>
                <a:cubicBezTo>
                  <a:pt x="1517349" y="152265"/>
                  <a:pt x="1510691" y="151028"/>
                  <a:pt x="1504798" y="148554"/>
                </a:cubicBezTo>
                <a:cubicBezTo>
                  <a:pt x="1498906" y="146079"/>
                  <a:pt x="1493876" y="142579"/>
                  <a:pt x="1489709" y="138054"/>
                </a:cubicBezTo>
                <a:cubicBezTo>
                  <a:pt x="1485541" y="133529"/>
                  <a:pt x="1482351" y="128108"/>
                  <a:pt x="1480137" y="121792"/>
                </a:cubicBezTo>
                <a:cubicBezTo>
                  <a:pt x="1477923" y="115476"/>
                  <a:pt x="1476816" y="108477"/>
                  <a:pt x="1476816" y="100794"/>
                </a:cubicBezTo>
                <a:cubicBezTo>
                  <a:pt x="1476816" y="92459"/>
                  <a:pt x="1477988" y="85004"/>
                  <a:pt x="1480332" y="78428"/>
                </a:cubicBezTo>
                <a:cubicBezTo>
                  <a:pt x="1482676" y="71851"/>
                  <a:pt x="1486013" y="66268"/>
                  <a:pt x="1490343" y="61677"/>
                </a:cubicBezTo>
                <a:cubicBezTo>
                  <a:pt x="1494673" y="57087"/>
                  <a:pt x="1499899" y="53587"/>
                  <a:pt x="1506019" y="51178"/>
                </a:cubicBezTo>
                <a:cubicBezTo>
                  <a:pt x="1512140" y="48769"/>
                  <a:pt x="1518977" y="47564"/>
                  <a:pt x="1526529" y="47564"/>
                </a:cubicBezTo>
                <a:close/>
                <a:moveTo>
                  <a:pt x="1312682" y="47564"/>
                </a:moveTo>
                <a:cubicBezTo>
                  <a:pt x="1319128" y="47564"/>
                  <a:pt x="1324826" y="48688"/>
                  <a:pt x="1329774" y="50934"/>
                </a:cubicBezTo>
                <a:cubicBezTo>
                  <a:pt x="1334723" y="53180"/>
                  <a:pt x="1338874" y="56387"/>
                  <a:pt x="1342227" y="60554"/>
                </a:cubicBezTo>
                <a:cubicBezTo>
                  <a:pt x="1345580" y="64721"/>
                  <a:pt x="1348136" y="69800"/>
                  <a:pt x="1349894" y="75791"/>
                </a:cubicBezTo>
                <a:cubicBezTo>
                  <a:pt x="1351652" y="81781"/>
                  <a:pt x="1352531" y="88487"/>
                  <a:pt x="1352531" y="95910"/>
                </a:cubicBezTo>
                <a:lnTo>
                  <a:pt x="1352531" y="102161"/>
                </a:lnTo>
                <a:lnTo>
                  <a:pt x="1280256" y="102161"/>
                </a:lnTo>
                <a:cubicBezTo>
                  <a:pt x="1280321" y="108282"/>
                  <a:pt x="1281135" y="113784"/>
                  <a:pt x="1282698" y="118667"/>
                </a:cubicBezTo>
                <a:cubicBezTo>
                  <a:pt x="1284261" y="123550"/>
                  <a:pt x="1286507" y="127685"/>
                  <a:pt x="1289437" y="131071"/>
                </a:cubicBezTo>
                <a:cubicBezTo>
                  <a:pt x="1292367" y="134457"/>
                  <a:pt x="1295932" y="137045"/>
                  <a:pt x="1300132" y="138835"/>
                </a:cubicBezTo>
                <a:cubicBezTo>
                  <a:pt x="1304331" y="140626"/>
                  <a:pt x="1309068" y="141521"/>
                  <a:pt x="1314343" y="141521"/>
                </a:cubicBezTo>
                <a:cubicBezTo>
                  <a:pt x="1325607" y="141521"/>
                  <a:pt x="1336253" y="137582"/>
                  <a:pt x="1346280" y="129703"/>
                </a:cubicBezTo>
                <a:lnTo>
                  <a:pt x="1346280" y="142010"/>
                </a:lnTo>
                <a:cubicBezTo>
                  <a:pt x="1336708" y="148847"/>
                  <a:pt x="1325119" y="152265"/>
                  <a:pt x="1311510" y="152265"/>
                </a:cubicBezTo>
                <a:cubicBezTo>
                  <a:pt x="1304804" y="152265"/>
                  <a:pt x="1298716" y="151093"/>
                  <a:pt x="1293246" y="148749"/>
                </a:cubicBezTo>
                <a:cubicBezTo>
                  <a:pt x="1287777" y="146405"/>
                  <a:pt x="1283121" y="143003"/>
                  <a:pt x="1279279" y="138542"/>
                </a:cubicBezTo>
                <a:cubicBezTo>
                  <a:pt x="1275438" y="134082"/>
                  <a:pt x="1272475" y="128597"/>
                  <a:pt x="1270392" y="122085"/>
                </a:cubicBezTo>
                <a:cubicBezTo>
                  <a:pt x="1268308" y="115574"/>
                  <a:pt x="1267266" y="108151"/>
                  <a:pt x="1267266" y="99817"/>
                </a:cubicBezTo>
                <a:cubicBezTo>
                  <a:pt x="1267266" y="92329"/>
                  <a:pt x="1268406" y="85395"/>
                  <a:pt x="1270685" y="79014"/>
                </a:cubicBezTo>
                <a:cubicBezTo>
                  <a:pt x="1272964" y="72633"/>
                  <a:pt x="1276122" y="67114"/>
                  <a:pt x="1280159" y="62459"/>
                </a:cubicBezTo>
                <a:cubicBezTo>
                  <a:pt x="1284196" y="57803"/>
                  <a:pt x="1288981" y="54157"/>
                  <a:pt x="1294516" y="51520"/>
                </a:cubicBezTo>
                <a:cubicBezTo>
                  <a:pt x="1300050" y="48883"/>
                  <a:pt x="1306106" y="47564"/>
                  <a:pt x="1312682" y="47564"/>
                </a:cubicBezTo>
                <a:close/>
                <a:moveTo>
                  <a:pt x="621655" y="47564"/>
                </a:moveTo>
                <a:cubicBezTo>
                  <a:pt x="628882" y="47564"/>
                  <a:pt x="635393" y="48753"/>
                  <a:pt x="641188" y="51129"/>
                </a:cubicBezTo>
                <a:cubicBezTo>
                  <a:pt x="646983" y="53506"/>
                  <a:pt x="651899" y="56941"/>
                  <a:pt x="655936" y="61433"/>
                </a:cubicBezTo>
                <a:cubicBezTo>
                  <a:pt x="659973" y="65926"/>
                  <a:pt x="663066" y="71395"/>
                  <a:pt x="665215" y="77842"/>
                </a:cubicBezTo>
                <a:cubicBezTo>
                  <a:pt x="667363" y="84288"/>
                  <a:pt x="668438" y="91613"/>
                  <a:pt x="668438" y="99817"/>
                </a:cubicBezTo>
                <a:cubicBezTo>
                  <a:pt x="668438" y="107630"/>
                  <a:pt x="667315" y="114744"/>
                  <a:pt x="665068" y="121158"/>
                </a:cubicBezTo>
                <a:cubicBezTo>
                  <a:pt x="662822" y="127571"/>
                  <a:pt x="659615" y="133089"/>
                  <a:pt x="655448" y="137712"/>
                </a:cubicBezTo>
                <a:cubicBezTo>
                  <a:pt x="651281" y="142335"/>
                  <a:pt x="646202" y="145916"/>
                  <a:pt x="640212" y="148456"/>
                </a:cubicBezTo>
                <a:cubicBezTo>
                  <a:pt x="634221" y="150995"/>
                  <a:pt x="627450" y="152265"/>
                  <a:pt x="619897" y="152265"/>
                </a:cubicBezTo>
                <a:cubicBezTo>
                  <a:pt x="612474" y="152265"/>
                  <a:pt x="605816" y="151028"/>
                  <a:pt x="599923" y="148554"/>
                </a:cubicBezTo>
                <a:cubicBezTo>
                  <a:pt x="594031" y="146079"/>
                  <a:pt x="589001" y="142579"/>
                  <a:pt x="584834" y="138054"/>
                </a:cubicBezTo>
                <a:cubicBezTo>
                  <a:pt x="580666" y="133529"/>
                  <a:pt x="577476" y="128108"/>
                  <a:pt x="575262" y="121792"/>
                </a:cubicBezTo>
                <a:cubicBezTo>
                  <a:pt x="573048" y="115476"/>
                  <a:pt x="571941" y="108477"/>
                  <a:pt x="571941" y="100794"/>
                </a:cubicBezTo>
                <a:cubicBezTo>
                  <a:pt x="571941" y="92459"/>
                  <a:pt x="573113" y="85004"/>
                  <a:pt x="575457" y="78428"/>
                </a:cubicBezTo>
                <a:cubicBezTo>
                  <a:pt x="577801" y="71851"/>
                  <a:pt x="581139" y="66268"/>
                  <a:pt x="585468" y="61677"/>
                </a:cubicBezTo>
                <a:cubicBezTo>
                  <a:pt x="589798" y="57087"/>
                  <a:pt x="595024" y="53587"/>
                  <a:pt x="601144" y="51178"/>
                </a:cubicBezTo>
                <a:cubicBezTo>
                  <a:pt x="607265" y="48769"/>
                  <a:pt x="614102" y="47564"/>
                  <a:pt x="621655" y="47564"/>
                </a:cubicBezTo>
                <a:close/>
                <a:moveTo>
                  <a:pt x="523233" y="47564"/>
                </a:moveTo>
                <a:cubicBezTo>
                  <a:pt x="531893" y="47564"/>
                  <a:pt x="539446" y="49192"/>
                  <a:pt x="545892" y="52448"/>
                </a:cubicBezTo>
                <a:lnTo>
                  <a:pt x="545892" y="65633"/>
                </a:lnTo>
                <a:cubicBezTo>
                  <a:pt x="538404" y="60815"/>
                  <a:pt x="530330" y="58406"/>
                  <a:pt x="521670" y="58406"/>
                </a:cubicBezTo>
                <a:cubicBezTo>
                  <a:pt x="518545" y="58406"/>
                  <a:pt x="515696" y="58796"/>
                  <a:pt x="513124" y="59578"/>
                </a:cubicBezTo>
                <a:cubicBezTo>
                  <a:pt x="510552" y="60359"/>
                  <a:pt x="508355" y="61466"/>
                  <a:pt x="506531" y="62898"/>
                </a:cubicBezTo>
                <a:cubicBezTo>
                  <a:pt x="504708" y="64331"/>
                  <a:pt x="503292" y="66040"/>
                  <a:pt x="502283" y="68026"/>
                </a:cubicBezTo>
                <a:cubicBezTo>
                  <a:pt x="501274" y="70012"/>
                  <a:pt x="500769" y="72209"/>
                  <a:pt x="500769" y="74618"/>
                </a:cubicBezTo>
                <a:cubicBezTo>
                  <a:pt x="500769" y="77093"/>
                  <a:pt x="501160" y="79258"/>
                  <a:pt x="501941" y="81113"/>
                </a:cubicBezTo>
                <a:cubicBezTo>
                  <a:pt x="502722" y="82969"/>
                  <a:pt x="503943" y="84646"/>
                  <a:pt x="505604" y="86143"/>
                </a:cubicBezTo>
                <a:cubicBezTo>
                  <a:pt x="507264" y="87641"/>
                  <a:pt x="509413" y="89073"/>
                  <a:pt x="512050" y="90441"/>
                </a:cubicBezTo>
                <a:cubicBezTo>
                  <a:pt x="514687" y="91808"/>
                  <a:pt x="517894" y="93273"/>
                  <a:pt x="521670" y="94836"/>
                </a:cubicBezTo>
                <a:cubicBezTo>
                  <a:pt x="526488" y="96789"/>
                  <a:pt x="530656" y="98726"/>
                  <a:pt x="534172" y="100647"/>
                </a:cubicBezTo>
                <a:cubicBezTo>
                  <a:pt x="537688" y="102568"/>
                  <a:pt x="540585" y="104652"/>
                  <a:pt x="542864" y="106898"/>
                </a:cubicBezTo>
                <a:cubicBezTo>
                  <a:pt x="545143" y="109144"/>
                  <a:pt x="546836" y="111651"/>
                  <a:pt x="547943" y="114418"/>
                </a:cubicBezTo>
                <a:cubicBezTo>
                  <a:pt x="549050" y="117186"/>
                  <a:pt x="549603" y="120392"/>
                  <a:pt x="549603" y="124039"/>
                </a:cubicBezTo>
                <a:cubicBezTo>
                  <a:pt x="549603" y="128531"/>
                  <a:pt x="548675" y="132536"/>
                  <a:pt x="546820" y="136052"/>
                </a:cubicBezTo>
                <a:cubicBezTo>
                  <a:pt x="544964" y="139568"/>
                  <a:pt x="542392" y="142531"/>
                  <a:pt x="539104" y="144940"/>
                </a:cubicBezTo>
                <a:cubicBezTo>
                  <a:pt x="535816" y="147349"/>
                  <a:pt x="531958" y="149172"/>
                  <a:pt x="527530" y="150409"/>
                </a:cubicBezTo>
                <a:cubicBezTo>
                  <a:pt x="523102" y="151646"/>
                  <a:pt x="518284" y="152265"/>
                  <a:pt x="513075" y="152265"/>
                </a:cubicBezTo>
                <a:cubicBezTo>
                  <a:pt x="502983" y="152265"/>
                  <a:pt x="494486" y="150149"/>
                  <a:pt x="487584" y="145916"/>
                </a:cubicBezTo>
                <a:lnTo>
                  <a:pt x="487584" y="131950"/>
                </a:lnTo>
                <a:cubicBezTo>
                  <a:pt x="489472" y="133447"/>
                  <a:pt x="491523" y="134782"/>
                  <a:pt x="493737" y="135954"/>
                </a:cubicBezTo>
                <a:cubicBezTo>
                  <a:pt x="495951" y="137126"/>
                  <a:pt x="498230" y="138136"/>
                  <a:pt x="500574" y="138982"/>
                </a:cubicBezTo>
                <a:cubicBezTo>
                  <a:pt x="502918" y="139828"/>
                  <a:pt x="505278" y="140463"/>
                  <a:pt x="507655" y="140887"/>
                </a:cubicBezTo>
                <a:cubicBezTo>
                  <a:pt x="510031" y="141310"/>
                  <a:pt x="512294" y="141521"/>
                  <a:pt x="514443" y="141521"/>
                </a:cubicBezTo>
                <a:cubicBezTo>
                  <a:pt x="529288" y="141521"/>
                  <a:pt x="536711" y="135954"/>
                  <a:pt x="536711" y="124820"/>
                </a:cubicBezTo>
                <a:cubicBezTo>
                  <a:pt x="536711" y="122281"/>
                  <a:pt x="536190" y="120083"/>
                  <a:pt x="535148" y="118227"/>
                </a:cubicBezTo>
                <a:cubicBezTo>
                  <a:pt x="534106" y="116372"/>
                  <a:pt x="532609" y="114679"/>
                  <a:pt x="530656" y="113149"/>
                </a:cubicBezTo>
                <a:cubicBezTo>
                  <a:pt x="528702" y="111619"/>
                  <a:pt x="526358" y="110202"/>
                  <a:pt x="523623" y="108900"/>
                </a:cubicBezTo>
                <a:cubicBezTo>
                  <a:pt x="520889" y="107598"/>
                  <a:pt x="517796" y="106231"/>
                  <a:pt x="514345" y="104798"/>
                </a:cubicBezTo>
                <a:cubicBezTo>
                  <a:pt x="509722" y="102910"/>
                  <a:pt x="505750" y="100989"/>
                  <a:pt x="502429" y="99036"/>
                </a:cubicBezTo>
                <a:cubicBezTo>
                  <a:pt x="499109" y="97082"/>
                  <a:pt x="496374" y="94950"/>
                  <a:pt x="494225" y="92638"/>
                </a:cubicBezTo>
                <a:cubicBezTo>
                  <a:pt x="492076" y="90327"/>
                  <a:pt x="490481" y="87787"/>
                  <a:pt x="489439" y="85020"/>
                </a:cubicBezTo>
                <a:cubicBezTo>
                  <a:pt x="488398" y="82253"/>
                  <a:pt x="487877" y="79111"/>
                  <a:pt x="487877" y="75595"/>
                </a:cubicBezTo>
                <a:cubicBezTo>
                  <a:pt x="487877" y="71168"/>
                  <a:pt x="488837" y="67228"/>
                  <a:pt x="490758" y="63777"/>
                </a:cubicBezTo>
                <a:cubicBezTo>
                  <a:pt x="492679" y="60326"/>
                  <a:pt x="495267" y="57396"/>
                  <a:pt x="498523" y="54987"/>
                </a:cubicBezTo>
                <a:cubicBezTo>
                  <a:pt x="501778" y="52578"/>
                  <a:pt x="505538" y="50739"/>
                  <a:pt x="509803" y="49469"/>
                </a:cubicBezTo>
                <a:cubicBezTo>
                  <a:pt x="514068" y="48199"/>
                  <a:pt x="518545" y="47564"/>
                  <a:pt x="523233" y="47564"/>
                </a:cubicBezTo>
                <a:close/>
                <a:moveTo>
                  <a:pt x="421630" y="47564"/>
                </a:moveTo>
                <a:cubicBezTo>
                  <a:pt x="428857" y="47564"/>
                  <a:pt x="435368" y="48753"/>
                  <a:pt x="441163" y="51129"/>
                </a:cubicBezTo>
                <a:cubicBezTo>
                  <a:pt x="446958" y="53506"/>
                  <a:pt x="451874" y="56941"/>
                  <a:pt x="455911" y="61433"/>
                </a:cubicBezTo>
                <a:cubicBezTo>
                  <a:pt x="459948" y="65926"/>
                  <a:pt x="463041" y="71395"/>
                  <a:pt x="465190" y="77842"/>
                </a:cubicBezTo>
                <a:cubicBezTo>
                  <a:pt x="467338" y="84288"/>
                  <a:pt x="468413" y="91613"/>
                  <a:pt x="468413" y="99817"/>
                </a:cubicBezTo>
                <a:cubicBezTo>
                  <a:pt x="468413" y="107630"/>
                  <a:pt x="467290" y="114744"/>
                  <a:pt x="465043" y="121158"/>
                </a:cubicBezTo>
                <a:cubicBezTo>
                  <a:pt x="462797" y="127571"/>
                  <a:pt x="459590" y="133089"/>
                  <a:pt x="455423" y="137712"/>
                </a:cubicBezTo>
                <a:cubicBezTo>
                  <a:pt x="451256" y="142335"/>
                  <a:pt x="446177" y="145916"/>
                  <a:pt x="440187" y="148456"/>
                </a:cubicBezTo>
                <a:cubicBezTo>
                  <a:pt x="434196" y="150995"/>
                  <a:pt x="427425" y="152265"/>
                  <a:pt x="419872" y="152265"/>
                </a:cubicBezTo>
                <a:cubicBezTo>
                  <a:pt x="412449" y="152265"/>
                  <a:pt x="405791" y="151028"/>
                  <a:pt x="399898" y="148554"/>
                </a:cubicBezTo>
                <a:cubicBezTo>
                  <a:pt x="394006" y="146079"/>
                  <a:pt x="388976" y="142579"/>
                  <a:pt x="384809" y="138054"/>
                </a:cubicBezTo>
                <a:cubicBezTo>
                  <a:pt x="380641" y="133529"/>
                  <a:pt x="377451" y="128108"/>
                  <a:pt x="375237" y="121792"/>
                </a:cubicBezTo>
                <a:cubicBezTo>
                  <a:pt x="373023" y="115476"/>
                  <a:pt x="371916" y="108477"/>
                  <a:pt x="371916" y="100794"/>
                </a:cubicBezTo>
                <a:cubicBezTo>
                  <a:pt x="371916" y="92459"/>
                  <a:pt x="373088" y="85004"/>
                  <a:pt x="375432" y="78428"/>
                </a:cubicBezTo>
                <a:cubicBezTo>
                  <a:pt x="377776" y="71851"/>
                  <a:pt x="381113" y="66268"/>
                  <a:pt x="385443" y="61677"/>
                </a:cubicBezTo>
                <a:cubicBezTo>
                  <a:pt x="389773" y="57087"/>
                  <a:pt x="394999" y="53587"/>
                  <a:pt x="401119" y="51178"/>
                </a:cubicBezTo>
                <a:cubicBezTo>
                  <a:pt x="407240" y="48769"/>
                  <a:pt x="414077" y="47564"/>
                  <a:pt x="421630" y="47564"/>
                </a:cubicBezTo>
                <a:close/>
                <a:moveTo>
                  <a:pt x="261170" y="47564"/>
                </a:moveTo>
                <a:cubicBezTo>
                  <a:pt x="269439" y="47564"/>
                  <a:pt x="276992" y="49160"/>
                  <a:pt x="283829" y="52350"/>
                </a:cubicBezTo>
                <a:lnTo>
                  <a:pt x="283829" y="65633"/>
                </a:lnTo>
                <a:cubicBezTo>
                  <a:pt x="276536" y="60815"/>
                  <a:pt x="268658" y="58406"/>
                  <a:pt x="260193" y="58406"/>
                </a:cubicBezTo>
                <a:cubicBezTo>
                  <a:pt x="254268" y="58406"/>
                  <a:pt x="248994" y="59529"/>
                  <a:pt x="244371" y="61775"/>
                </a:cubicBezTo>
                <a:cubicBezTo>
                  <a:pt x="239748" y="64021"/>
                  <a:pt x="235857" y="67082"/>
                  <a:pt x="232699" y="70956"/>
                </a:cubicBezTo>
                <a:cubicBezTo>
                  <a:pt x="229541" y="74830"/>
                  <a:pt x="227132" y="79355"/>
                  <a:pt x="225472" y="84532"/>
                </a:cubicBezTo>
                <a:cubicBezTo>
                  <a:pt x="223811" y="89708"/>
                  <a:pt x="222981" y="95194"/>
                  <a:pt x="222981" y="100989"/>
                </a:cubicBezTo>
                <a:cubicBezTo>
                  <a:pt x="222981" y="106328"/>
                  <a:pt x="223681" y="111439"/>
                  <a:pt x="225081" y="116323"/>
                </a:cubicBezTo>
                <a:cubicBezTo>
                  <a:pt x="226481" y="121206"/>
                  <a:pt x="228630" y="125520"/>
                  <a:pt x="231527" y="129264"/>
                </a:cubicBezTo>
                <a:cubicBezTo>
                  <a:pt x="234425" y="133008"/>
                  <a:pt x="238087" y="135987"/>
                  <a:pt x="242515" y="138201"/>
                </a:cubicBezTo>
                <a:cubicBezTo>
                  <a:pt x="246943" y="140414"/>
                  <a:pt x="252152" y="141521"/>
                  <a:pt x="258142" y="141521"/>
                </a:cubicBezTo>
                <a:cubicBezTo>
                  <a:pt x="267518" y="141521"/>
                  <a:pt x="275983" y="138722"/>
                  <a:pt x="283536" y="133122"/>
                </a:cubicBezTo>
                <a:lnTo>
                  <a:pt x="283536" y="145428"/>
                </a:lnTo>
                <a:cubicBezTo>
                  <a:pt x="276113" y="149921"/>
                  <a:pt x="267127" y="152232"/>
                  <a:pt x="256579" y="152363"/>
                </a:cubicBezTo>
                <a:cubicBezTo>
                  <a:pt x="249417" y="152428"/>
                  <a:pt x="242971" y="151191"/>
                  <a:pt x="237241" y="148651"/>
                </a:cubicBezTo>
                <a:cubicBezTo>
                  <a:pt x="231511" y="146112"/>
                  <a:pt x="226628" y="142579"/>
                  <a:pt x="222591" y="138054"/>
                </a:cubicBezTo>
                <a:cubicBezTo>
                  <a:pt x="218554" y="133529"/>
                  <a:pt x="215461" y="128190"/>
                  <a:pt x="213312" y="122037"/>
                </a:cubicBezTo>
                <a:cubicBezTo>
                  <a:pt x="211163" y="115883"/>
                  <a:pt x="210089" y="109193"/>
                  <a:pt x="210089" y="101966"/>
                </a:cubicBezTo>
                <a:cubicBezTo>
                  <a:pt x="210089" y="94478"/>
                  <a:pt x="211229" y="87429"/>
                  <a:pt x="213507" y="80820"/>
                </a:cubicBezTo>
                <a:cubicBezTo>
                  <a:pt x="215786" y="74212"/>
                  <a:pt x="219107" y="68449"/>
                  <a:pt x="223470" y="63533"/>
                </a:cubicBezTo>
                <a:cubicBezTo>
                  <a:pt x="227832" y="58617"/>
                  <a:pt x="233171" y="54727"/>
                  <a:pt x="239487" y="51862"/>
                </a:cubicBezTo>
                <a:cubicBezTo>
                  <a:pt x="245803" y="48997"/>
                  <a:pt x="253031" y="47564"/>
                  <a:pt x="261170" y="47564"/>
                </a:cubicBezTo>
                <a:close/>
                <a:moveTo>
                  <a:pt x="921325" y="24515"/>
                </a:moveTo>
                <a:cubicBezTo>
                  <a:pt x="920934" y="26598"/>
                  <a:pt x="920494" y="28454"/>
                  <a:pt x="920006" y="30082"/>
                </a:cubicBezTo>
                <a:cubicBezTo>
                  <a:pt x="919518" y="31709"/>
                  <a:pt x="919046" y="33142"/>
                  <a:pt x="918590" y="34379"/>
                </a:cubicBezTo>
                <a:lnTo>
                  <a:pt x="895931" y="96692"/>
                </a:lnTo>
                <a:lnTo>
                  <a:pt x="947207" y="96692"/>
                </a:lnTo>
                <a:lnTo>
                  <a:pt x="924352" y="34379"/>
                </a:lnTo>
                <a:cubicBezTo>
                  <a:pt x="923897" y="33142"/>
                  <a:pt x="923425" y="31709"/>
                  <a:pt x="922936" y="30082"/>
                </a:cubicBezTo>
                <a:cubicBezTo>
                  <a:pt x="922448" y="28454"/>
                  <a:pt x="922041" y="26598"/>
                  <a:pt x="921716" y="24515"/>
                </a:cubicBezTo>
                <a:close/>
                <a:moveTo>
                  <a:pt x="3710838" y="20608"/>
                </a:moveTo>
                <a:lnTo>
                  <a:pt x="3710838" y="49908"/>
                </a:lnTo>
                <a:lnTo>
                  <a:pt x="3736623" y="49908"/>
                </a:lnTo>
                <a:lnTo>
                  <a:pt x="3736623" y="60847"/>
                </a:lnTo>
                <a:lnTo>
                  <a:pt x="3710838" y="60847"/>
                </a:lnTo>
                <a:lnTo>
                  <a:pt x="3710838" y="122085"/>
                </a:lnTo>
                <a:cubicBezTo>
                  <a:pt x="3710838" y="128857"/>
                  <a:pt x="3711945" y="133740"/>
                  <a:pt x="3714159" y="136736"/>
                </a:cubicBezTo>
                <a:cubicBezTo>
                  <a:pt x="3716373" y="139731"/>
                  <a:pt x="3720117" y="141228"/>
                  <a:pt x="3725391" y="141228"/>
                </a:cubicBezTo>
                <a:cubicBezTo>
                  <a:pt x="3729298" y="141228"/>
                  <a:pt x="3733041" y="140056"/>
                  <a:pt x="3736623" y="137712"/>
                </a:cubicBezTo>
                <a:lnTo>
                  <a:pt x="3736623" y="148749"/>
                </a:lnTo>
                <a:cubicBezTo>
                  <a:pt x="3732325" y="150898"/>
                  <a:pt x="3727637" y="151972"/>
                  <a:pt x="3722558" y="151972"/>
                </a:cubicBezTo>
                <a:cubicBezTo>
                  <a:pt x="3706411" y="151972"/>
                  <a:pt x="3698337" y="142661"/>
                  <a:pt x="3698337" y="124039"/>
                </a:cubicBezTo>
                <a:lnTo>
                  <a:pt x="3698337" y="60847"/>
                </a:lnTo>
                <a:lnTo>
                  <a:pt x="3680756" y="60847"/>
                </a:lnTo>
                <a:lnTo>
                  <a:pt x="3680756" y="49908"/>
                </a:lnTo>
                <a:lnTo>
                  <a:pt x="3698337" y="49908"/>
                </a:lnTo>
                <a:lnTo>
                  <a:pt x="3698337" y="24710"/>
                </a:lnTo>
                <a:close/>
                <a:moveTo>
                  <a:pt x="3091713" y="20608"/>
                </a:moveTo>
                <a:lnTo>
                  <a:pt x="3091713" y="49908"/>
                </a:lnTo>
                <a:lnTo>
                  <a:pt x="3117498" y="49908"/>
                </a:lnTo>
                <a:lnTo>
                  <a:pt x="3117498" y="60847"/>
                </a:lnTo>
                <a:lnTo>
                  <a:pt x="3091713" y="60847"/>
                </a:lnTo>
                <a:lnTo>
                  <a:pt x="3091713" y="122085"/>
                </a:lnTo>
                <a:cubicBezTo>
                  <a:pt x="3091713" y="128857"/>
                  <a:pt x="3092820" y="133740"/>
                  <a:pt x="3095034" y="136736"/>
                </a:cubicBezTo>
                <a:cubicBezTo>
                  <a:pt x="3097248" y="139731"/>
                  <a:pt x="3100992" y="141228"/>
                  <a:pt x="3106266" y="141228"/>
                </a:cubicBezTo>
                <a:cubicBezTo>
                  <a:pt x="3110173" y="141228"/>
                  <a:pt x="3113916" y="140056"/>
                  <a:pt x="3117498" y="137712"/>
                </a:cubicBezTo>
                <a:lnTo>
                  <a:pt x="3117498" y="148749"/>
                </a:lnTo>
                <a:cubicBezTo>
                  <a:pt x="3113200" y="150898"/>
                  <a:pt x="3108512" y="151972"/>
                  <a:pt x="3103433" y="151972"/>
                </a:cubicBezTo>
                <a:cubicBezTo>
                  <a:pt x="3087286" y="151972"/>
                  <a:pt x="3079212" y="142661"/>
                  <a:pt x="3079212" y="124039"/>
                </a:cubicBezTo>
                <a:lnTo>
                  <a:pt x="3079212" y="60847"/>
                </a:lnTo>
                <a:lnTo>
                  <a:pt x="3061631" y="60847"/>
                </a:lnTo>
                <a:lnTo>
                  <a:pt x="3061631" y="49908"/>
                </a:lnTo>
                <a:lnTo>
                  <a:pt x="3079212" y="49908"/>
                </a:lnTo>
                <a:lnTo>
                  <a:pt x="3079212" y="24710"/>
                </a:lnTo>
                <a:close/>
                <a:moveTo>
                  <a:pt x="2043963" y="20608"/>
                </a:moveTo>
                <a:lnTo>
                  <a:pt x="2043963" y="49908"/>
                </a:lnTo>
                <a:lnTo>
                  <a:pt x="2069748" y="49908"/>
                </a:lnTo>
                <a:lnTo>
                  <a:pt x="2069748" y="60847"/>
                </a:lnTo>
                <a:lnTo>
                  <a:pt x="2043963" y="60847"/>
                </a:lnTo>
                <a:lnTo>
                  <a:pt x="2043963" y="122085"/>
                </a:lnTo>
                <a:cubicBezTo>
                  <a:pt x="2043963" y="128857"/>
                  <a:pt x="2045070" y="133740"/>
                  <a:pt x="2047284" y="136736"/>
                </a:cubicBezTo>
                <a:cubicBezTo>
                  <a:pt x="2049498" y="139731"/>
                  <a:pt x="2053242" y="141228"/>
                  <a:pt x="2058516" y="141228"/>
                </a:cubicBezTo>
                <a:cubicBezTo>
                  <a:pt x="2062423" y="141228"/>
                  <a:pt x="2066166" y="140056"/>
                  <a:pt x="2069748" y="137712"/>
                </a:cubicBezTo>
                <a:lnTo>
                  <a:pt x="2069748" y="148749"/>
                </a:lnTo>
                <a:cubicBezTo>
                  <a:pt x="2065450" y="150898"/>
                  <a:pt x="2060762" y="151972"/>
                  <a:pt x="2055683" y="151972"/>
                </a:cubicBezTo>
                <a:cubicBezTo>
                  <a:pt x="2039535" y="151972"/>
                  <a:pt x="2031462" y="142661"/>
                  <a:pt x="2031462" y="124039"/>
                </a:cubicBezTo>
                <a:lnTo>
                  <a:pt x="2031462" y="60847"/>
                </a:lnTo>
                <a:lnTo>
                  <a:pt x="2013881" y="60847"/>
                </a:lnTo>
                <a:lnTo>
                  <a:pt x="2013881" y="49908"/>
                </a:lnTo>
                <a:lnTo>
                  <a:pt x="2031462" y="49908"/>
                </a:lnTo>
                <a:lnTo>
                  <a:pt x="2031462" y="24710"/>
                </a:lnTo>
                <a:close/>
                <a:moveTo>
                  <a:pt x="767613" y="20608"/>
                </a:moveTo>
                <a:lnTo>
                  <a:pt x="767613" y="49908"/>
                </a:lnTo>
                <a:lnTo>
                  <a:pt x="793398" y="49908"/>
                </a:lnTo>
                <a:lnTo>
                  <a:pt x="793398" y="60847"/>
                </a:lnTo>
                <a:lnTo>
                  <a:pt x="767613" y="60847"/>
                </a:lnTo>
                <a:lnTo>
                  <a:pt x="767613" y="122085"/>
                </a:lnTo>
                <a:cubicBezTo>
                  <a:pt x="767613" y="128857"/>
                  <a:pt x="768720" y="133740"/>
                  <a:pt x="770934" y="136736"/>
                </a:cubicBezTo>
                <a:cubicBezTo>
                  <a:pt x="773148" y="139731"/>
                  <a:pt x="776892" y="141228"/>
                  <a:pt x="782166" y="141228"/>
                </a:cubicBezTo>
                <a:cubicBezTo>
                  <a:pt x="786072" y="141228"/>
                  <a:pt x="789816" y="140056"/>
                  <a:pt x="793398" y="137712"/>
                </a:cubicBezTo>
                <a:lnTo>
                  <a:pt x="793398" y="148749"/>
                </a:lnTo>
                <a:cubicBezTo>
                  <a:pt x="789100" y="150898"/>
                  <a:pt x="784412" y="151972"/>
                  <a:pt x="779333" y="151972"/>
                </a:cubicBezTo>
                <a:cubicBezTo>
                  <a:pt x="763186" y="151972"/>
                  <a:pt x="755112" y="142661"/>
                  <a:pt x="755112" y="124039"/>
                </a:cubicBezTo>
                <a:lnTo>
                  <a:pt x="755112" y="60847"/>
                </a:lnTo>
                <a:lnTo>
                  <a:pt x="737531" y="60847"/>
                </a:lnTo>
                <a:lnTo>
                  <a:pt x="737531" y="49908"/>
                </a:lnTo>
                <a:lnTo>
                  <a:pt x="755112" y="49908"/>
                </a:lnTo>
                <a:lnTo>
                  <a:pt x="755112" y="24710"/>
                </a:lnTo>
                <a:close/>
                <a:moveTo>
                  <a:pt x="3409950" y="9864"/>
                </a:moveTo>
                <a:lnTo>
                  <a:pt x="3478220" y="9864"/>
                </a:lnTo>
                <a:lnTo>
                  <a:pt x="3478220" y="21780"/>
                </a:lnTo>
                <a:lnTo>
                  <a:pt x="3422939" y="21780"/>
                </a:lnTo>
                <a:lnTo>
                  <a:pt x="3422939" y="74521"/>
                </a:lnTo>
                <a:lnTo>
                  <a:pt x="3474118" y="74521"/>
                </a:lnTo>
                <a:lnTo>
                  <a:pt x="3474118" y="86339"/>
                </a:lnTo>
                <a:lnTo>
                  <a:pt x="3422939" y="86339"/>
                </a:lnTo>
                <a:lnTo>
                  <a:pt x="3422939" y="149921"/>
                </a:lnTo>
                <a:lnTo>
                  <a:pt x="3409950" y="149921"/>
                </a:lnTo>
                <a:close/>
                <a:moveTo>
                  <a:pt x="1586917" y="9864"/>
                </a:moveTo>
                <a:lnTo>
                  <a:pt x="1680678" y="9864"/>
                </a:lnTo>
                <a:lnTo>
                  <a:pt x="1680678" y="21780"/>
                </a:lnTo>
                <a:lnTo>
                  <a:pt x="1640244" y="21780"/>
                </a:lnTo>
                <a:lnTo>
                  <a:pt x="1640244" y="149921"/>
                </a:lnTo>
                <a:lnTo>
                  <a:pt x="1627254" y="149921"/>
                </a:lnTo>
                <a:lnTo>
                  <a:pt x="1627254" y="21780"/>
                </a:lnTo>
                <a:lnTo>
                  <a:pt x="1586917" y="21780"/>
                </a:lnTo>
                <a:close/>
                <a:moveTo>
                  <a:pt x="1438274" y="9864"/>
                </a:moveTo>
                <a:lnTo>
                  <a:pt x="1451264" y="9864"/>
                </a:lnTo>
                <a:lnTo>
                  <a:pt x="1451264" y="149921"/>
                </a:lnTo>
                <a:lnTo>
                  <a:pt x="1438274" y="149921"/>
                </a:lnTo>
                <a:close/>
                <a:moveTo>
                  <a:pt x="915367" y="9864"/>
                </a:moveTo>
                <a:lnTo>
                  <a:pt x="928455" y="9864"/>
                </a:lnTo>
                <a:lnTo>
                  <a:pt x="981488" y="149921"/>
                </a:lnTo>
                <a:lnTo>
                  <a:pt x="967033" y="149921"/>
                </a:lnTo>
                <a:lnTo>
                  <a:pt x="951602" y="108509"/>
                </a:lnTo>
                <a:lnTo>
                  <a:pt x="891536" y="108509"/>
                </a:lnTo>
                <a:lnTo>
                  <a:pt x="876495" y="149921"/>
                </a:lnTo>
                <a:lnTo>
                  <a:pt x="862040" y="149921"/>
                </a:lnTo>
                <a:close/>
                <a:moveTo>
                  <a:pt x="0" y="9864"/>
                </a:moveTo>
                <a:lnTo>
                  <a:pt x="15333" y="9864"/>
                </a:lnTo>
                <a:lnTo>
                  <a:pt x="62898" y="115151"/>
                </a:lnTo>
                <a:cubicBezTo>
                  <a:pt x="63875" y="117365"/>
                  <a:pt x="64835" y="119627"/>
                  <a:pt x="65779" y="121939"/>
                </a:cubicBezTo>
                <a:cubicBezTo>
                  <a:pt x="66723" y="124250"/>
                  <a:pt x="67586" y="126708"/>
                  <a:pt x="68367" y="129313"/>
                </a:cubicBezTo>
                <a:lnTo>
                  <a:pt x="68953" y="129313"/>
                </a:lnTo>
                <a:cubicBezTo>
                  <a:pt x="69865" y="126708"/>
                  <a:pt x="70695" y="124332"/>
                  <a:pt x="71444" y="122183"/>
                </a:cubicBezTo>
                <a:cubicBezTo>
                  <a:pt x="72193" y="120034"/>
                  <a:pt x="73121" y="117723"/>
                  <a:pt x="74228" y="115249"/>
                </a:cubicBezTo>
                <a:lnTo>
                  <a:pt x="122183" y="9864"/>
                </a:lnTo>
                <a:lnTo>
                  <a:pt x="136735" y="9864"/>
                </a:lnTo>
                <a:lnTo>
                  <a:pt x="136735" y="149921"/>
                </a:lnTo>
                <a:lnTo>
                  <a:pt x="123941" y="149921"/>
                </a:lnTo>
                <a:lnTo>
                  <a:pt x="123941" y="53229"/>
                </a:lnTo>
                <a:cubicBezTo>
                  <a:pt x="123941" y="48281"/>
                  <a:pt x="124331" y="40304"/>
                  <a:pt x="125113" y="29300"/>
                </a:cubicBezTo>
                <a:lnTo>
                  <a:pt x="124722" y="29300"/>
                </a:lnTo>
                <a:cubicBezTo>
                  <a:pt x="123811" y="32230"/>
                  <a:pt x="122980" y="34770"/>
                  <a:pt x="122232" y="36918"/>
                </a:cubicBezTo>
                <a:cubicBezTo>
                  <a:pt x="121483" y="39067"/>
                  <a:pt x="120783" y="40825"/>
                  <a:pt x="120132" y="42193"/>
                </a:cubicBezTo>
                <a:lnTo>
                  <a:pt x="71298" y="149921"/>
                </a:lnTo>
                <a:lnTo>
                  <a:pt x="65730" y="149921"/>
                </a:lnTo>
                <a:lnTo>
                  <a:pt x="16798" y="42876"/>
                </a:lnTo>
                <a:cubicBezTo>
                  <a:pt x="15366" y="39621"/>
                  <a:pt x="13901" y="35030"/>
                  <a:pt x="12403" y="29105"/>
                </a:cubicBezTo>
                <a:lnTo>
                  <a:pt x="12013" y="29105"/>
                </a:lnTo>
                <a:cubicBezTo>
                  <a:pt x="12273" y="32100"/>
                  <a:pt x="12452" y="35519"/>
                  <a:pt x="12550" y="39360"/>
                </a:cubicBezTo>
                <a:cubicBezTo>
                  <a:pt x="12648" y="43202"/>
                  <a:pt x="12696" y="47467"/>
                  <a:pt x="12696" y="52155"/>
                </a:cubicBezTo>
                <a:lnTo>
                  <a:pt x="12696" y="149921"/>
                </a:lnTo>
                <a:lnTo>
                  <a:pt x="0" y="149921"/>
                </a:lnTo>
                <a:close/>
                <a:moveTo>
                  <a:pt x="2472039" y="7520"/>
                </a:moveTo>
                <a:cubicBezTo>
                  <a:pt x="2483955" y="7520"/>
                  <a:pt x="2494601" y="9343"/>
                  <a:pt x="2503977" y="12990"/>
                </a:cubicBezTo>
                <a:lnTo>
                  <a:pt x="2503977" y="26859"/>
                </a:lnTo>
                <a:cubicBezTo>
                  <a:pt x="2493950" y="21845"/>
                  <a:pt x="2483239" y="19338"/>
                  <a:pt x="2471844" y="19338"/>
                </a:cubicBezTo>
                <a:cubicBezTo>
                  <a:pt x="2462793" y="19338"/>
                  <a:pt x="2454752" y="20901"/>
                  <a:pt x="2447720" y="24026"/>
                </a:cubicBezTo>
                <a:cubicBezTo>
                  <a:pt x="2440688" y="27152"/>
                  <a:pt x="2434763" y="31498"/>
                  <a:pt x="2429944" y="37065"/>
                </a:cubicBezTo>
                <a:cubicBezTo>
                  <a:pt x="2425126" y="42632"/>
                  <a:pt x="2421447" y="49208"/>
                  <a:pt x="2418908" y="56794"/>
                </a:cubicBezTo>
                <a:cubicBezTo>
                  <a:pt x="2416368" y="64380"/>
                  <a:pt x="2415099" y="72665"/>
                  <a:pt x="2415099" y="81651"/>
                </a:cubicBezTo>
                <a:cubicBezTo>
                  <a:pt x="2415099" y="89725"/>
                  <a:pt x="2416238" y="97326"/>
                  <a:pt x="2418517" y="104456"/>
                </a:cubicBezTo>
                <a:cubicBezTo>
                  <a:pt x="2420796" y="111586"/>
                  <a:pt x="2424166" y="117820"/>
                  <a:pt x="2428626" y="123160"/>
                </a:cubicBezTo>
                <a:cubicBezTo>
                  <a:pt x="2433086" y="128499"/>
                  <a:pt x="2438637" y="132731"/>
                  <a:pt x="2445278" y="135857"/>
                </a:cubicBezTo>
                <a:cubicBezTo>
                  <a:pt x="2451920" y="138982"/>
                  <a:pt x="2459635" y="140545"/>
                  <a:pt x="2468426" y="140545"/>
                </a:cubicBezTo>
                <a:cubicBezTo>
                  <a:pt x="2481904" y="140545"/>
                  <a:pt x="2493754" y="137712"/>
                  <a:pt x="2503977" y="132048"/>
                </a:cubicBezTo>
                <a:lnTo>
                  <a:pt x="2503977" y="144744"/>
                </a:lnTo>
                <a:cubicBezTo>
                  <a:pt x="2493168" y="149823"/>
                  <a:pt x="2480830" y="152363"/>
                  <a:pt x="2466961" y="152363"/>
                </a:cubicBezTo>
                <a:cubicBezTo>
                  <a:pt x="2457064" y="152363"/>
                  <a:pt x="2448078" y="150621"/>
                  <a:pt x="2440004" y="147137"/>
                </a:cubicBezTo>
                <a:cubicBezTo>
                  <a:pt x="2431930" y="143654"/>
                  <a:pt x="2425045" y="138819"/>
                  <a:pt x="2419347" y="132634"/>
                </a:cubicBezTo>
                <a:cubicBezTo>
                  <a:pt x="2413650" y="126448"/>
                  <a:pt x="2409255" y="119090"/>
                  <a:pt x="2406162" y="110560"/>
                </a:cubicBezTo>
                <a:cubicBezTo>
                  <a:pt x="2403069" y="102031"/>
                  <a:pt x="2401523" y="92720"/>
                  <a:pt x="2401523" y="82627"/>
                </a:cubicBezTo>
                <a:cubicBezTo>
                  <a:pt x="2401523" y="72014"/>
                  <a:pt x="2403167" y="62133"/>
                  <a:pt x="2406455" y="52985"/>
                </a:cubicBezTo>
                <a:cubicBezTo>
                  <a:pt x="2409743" y="43837"/>
                  <a:pt x="2414448" y="35893"/>
                  <a:pt x="2420568" y="29154"/>
                </a:cubicBezTo>
                <a:cubicBezTo>
                  <a:pt x="2426689" y="22415"/>
                  <a:pt x="2434095" y="17124"/>
                  <a:pt x="2442788" y="13283"/>
                </a:cubicBezTo>
                <a:cubicBezTo>
                  <a:pt x="2451480" y="9441"/>
                  <a:pt x="2461231" y="7520"/>
                  <a:pt x="2472039" y="7520"/>
                </a:cubicBezTo>
                <a:close/>
                <a:moveTo>
                  <a:pt x="1802559" y="7520"/>
                </a:moveTo>
                <a:cubicBezTo>
                  <a:pt x="1813563" y="7520"/>
                  <a:pt x="1822777" y="9050"/>
                  <a:pt x="1830199" y="12111"/>
                </a:cubicBezTo>
                <a:lnTo>
                  <a:pt x="1830199" y="26468"/>
                </a:lnTo>
                <a:cubicBezTo>
                  <a:pt x="1821930" y="21715"/>
                  <a:pt x="1812228" y="19338"/>
                  <a:pt x="1801094" y="19338"/>
                </a:cubicBezTo>
                <a:cubicBezTo>
                  <a:pt x="1796927" y="19338"/>
                  <a:pt x="1793004" y="19843"/>
                  <a:pt x="1789325" y="20852"/>
                </a:cubicBezTo>
                <a:cubicBezTo>
                  <a:pt x="1785646" y="21861"/>
                  <a:pt x="1782423" y="23343"/>
                  <a:pt x="1779656" y="25296"/>
                </a:cubicBezTo>
                <a:cubicBezTo>
                  <a:pt x="1776889" y="27249"/>
                  <a:pt x="1774707" y="29675"/>
                  <a:pt x="1773112" y="32572"/>
                </a:cubicBezTo>
                <a:cubicBezTo>
                  <a:pt x="1771517" y="35470"/>
                  <a:pt x="1770719" y="38839"/>
                  <a:pt x="1770719" y="42681"/>
                </a:cubicBezTo>
                <a:cubicBezTo>
                  <a:pt x="1770719" y="46327"/>
                  <a:pt x="1771256" y="49469"/>
                  <a:pt x="1772331" y="52106"/>
                </a:cubicBezTo>
                <a:cubicBezTo>
                  <a:pt x="1773405" y="54743"/>
                  <a:pt x="1775131" y="57234"/>
                  <a:pt x="1777507" y="59578"/>
                </a:cubicBezTo>
                <a:cubicBezTo>
                  <a:pt x="1779884" y="61922"/>
                  <a:pt x="1783009" y="64249"/>
                  <a:pt x="1786883" y="66561"/>
                </a:cubicBezTo>
                <a:cubicBezTo>
                  <a:pt x="1790758" y="68872"/>
                  <a:pt x="1795495" y="71526"/>
                  <a:pt x="1801094" y="74521"/>
                </a:cubicBezTo>
                <a:cubicBezTo>
                  <a:pt x="1806954" y="77646"/>
                  <a:pt x="1812066" y="80690"/>
                  <a:pt x="1816428" y="83653"/>
                </a:cubicBezTo>
                <a:cubicBezTo>
                  <a:pt x="1820791" y="86615"/>
                  <a:pt x="1824421" y="89708"/>
                  <a:pt x="1827318" y="92931"/>
                </a:cubicBezTo>
                <a:cubicBezTo>
                  <a:pt x="1830216" y="96154"/>
                  <a:pt x="1832381" y="99573"/>
                  <a:pt x="1833813" y="103187"/>
                </a:cubicBezTo>
                <a:cubicBezTo>
                  <a:pt x="1835246" y="106800"/>
                  <a:pt x="1835962" y="110821"/>
                  <a:pt x="1835962" y="115249"/>
                </a:cubicBezTo>
                <a:cubicBezTo>
                  <a:pt x="1835962" y="121369"/>
                  <a:pt x="1834822" y="126757"/>
                  <a:pt x="1832543" y="131413"/>
                </a:cubicBezTo>
                <a:cubicBezTo>
                  <a:pt x="1830265" y="136068"/>
                  <a:pt x="1827074" y="139926"/>
                  <a:pt x="1822972" y="142986"/>
                </a:cubicBezTo>
                <a:cubicBezTo>
                  <a:pt x="1818870" y="146047"/>
                  <a:pt x="1813986" y="148358"/>
                  <a:pt x="1808322" y="149921"/>
                </a:cubicBezTo>
                <a:cubicBezTo>
                  <a:pt x="1802657" y="151484"/>
                  <a:pt x="1796439" y="152265"/>
                  <a:pt x="1789667" y="152265"/>
                </a:cubicBezTo>
                <a:cubicBezTo>
                  <a:pt x="1787453" y="152265"/>
                  <a:pt x="1784816" y="152086"/>
                  <a:pt x="1781756" y="151728"/>
                </a:cubicBezTo>
                <a:cubicBezTo>
                  <a:pt x="1778696" y="151370"/>
                  <a:pt x="1775603" y="150849"/>
                  <a:pt x="1772477" y="150165"/>
                </a:cubicBezTo>
                <a:cubicBezTo>
                  <a:pt x="1769352" y="149481"/>
                  <a:pt x="1766373" y="148667"/>
                  <a:pt x="1763541" y="147723"/>
                </a:cubicBezTo>
                <a:cubicBezTo>
                  <a:pt x="1760708" y="146779"/>
                  <a:pt x="1758413" y="145754"/>
                  <a:pt x="1756655" y="144647"/>
                </a:cubicBezTo>
                <a:lnTo>
                  <a:pt x="1756655" y="129410"/>
                </a:lnTo>
                <a:cubicBezTo>
                  <a:pt x="1758999" y="131169"/>
                  <a:pt x="1761587" y="132747"/>
                  <a:pt x="1764420" y="134147"/>
                </a:cubicBezTo>
                <a:cubicBezTo>
                  <a:pt x="1767252" y="135547"/>
                  <a:pt x="1770150" y="136719"/>
                  <a:pt x="1773112" y="137663"/>
                </a:cubicBezTo>
                <a:cubicBezTo>
                  <a:pt x="1776075" y="138608"/>
                  <a:pt x="1779054" y="139324"/>
                  <a:pt x="1782049" y="139812"/>
                </a:cubicBezTo>
                <a:cubicBezTo>
                  <a:pt x="1785044" y="140301"/>
                  <a:pt x="1787909" y="140545"/>
                  <a:pt x="1790644" y="140545"/>
                </a:cubicBezTo>
                <a:cubicBezTo>
                  <a:pt x="1801257" y="140545"/>
                  <a:pt x="1809201" y="138494"/>
                  <a:pt x="1814475" y="134392"/>
                </a:cubicBezTo>
                <a:cubicBezTo>
                  <a:pt x="1819749" y="130290"/>
                  <a:pt x="1822386" y="124397"/>
                  <a:pt x="1822386" y="116714"/>
                </a:cubicBezTo>
                <a:cubicBezTo>
                  <a:pt x="1822386" y="113002"/>
                  <a:pt x="1821768" y="109763"/>
                  <a:pt x="1820530" y="106996"/>
                </a:cubicBezTo>
                <a:cubicBezTo>
                  <a:pt x="1819293" y="104228"/>
                  <a:pt x="1817372" y="101640"/>
                  <a:pt x="1814768" y="99231"/>
                </a:cubicBezTo>
                <a:cubicBezTo>
                  <a:pt x="1812163" y="96822"/>
                  <a:pt x="1808875" y="94429"/>
                  <a:pt x="1804903" y="92052"/>
                </a:cubicBezTo>
                <a:cubicBezTo>
                  <a:pt x="1800931" y="89676"/>
                  <a:pt x="1796243" y="86990"/>
                  <a:pt x="1790839" y="83995"/>
                </a:cubicBezTo>
                <a:cubicBezTo>
                  <a:pt x="1784849" y="80739"/>
                  <a:pt x="1779721" y="77662"/>
                  <a:pt x="1775456" y="74765"/>
                </a:cubicBezTo>
                <a:cubicBezTo>
                  <a:pt x="1771191" y="71867"/>
                  <a:pt x="1767708" y="68905"/>
                  <a:pt x="1765006" y="65877"/>
                </a:cubicBezTo>
                <a:cubicBezTo>
                  <a:pt x="1762304" y="62849"/>
                  <a:pt x="1760318" y="59578"/>
                  <a:pt x="1759048" y="56061"/>
                </a:cubicBezTo>
                <a:cubicBezTo>
                  <a:pt x="1757778" y="52545"/>
                  <a:pt x="1757143" y="48541"/>
                  <a:pt x="1757143" y="44048"/>
                </a:cubicBezTo>
                <a:cubicBezTo>
                  <a:pt x="1757143" y="38383"/>
                  <a:pt x="1758348" y="33305"/>
                  <a:pt x="1760757" y="28812"/>
                </a:cubicBezTo>
                <a:cubicBezTo>
                  <a:pt x="1763166" y="24319"/>
                  <a:pt x="1766422" y="20494"/>
                  <a:pt x="1770524" y="17336"/>
                </a:cubicBezTo>
                <a:cubicBezTo>
                  <a:pt x="1774626" y="14178"/>
                  <a:pt x="1779428" y="11753"/>
                  <a:pt x="1784930" y="10060"/>
                </a:cubicBezTo>
                <a:cubicBezTo>
                  <a:pt x="1790432" y="8367"/>
                  <a:pt x="1796308" y="7520"/>
                  <a:pt x="1802559" y="7520"/>
                </a:cubicBezTo>
                <a:close/>
                <a:moveTo>
                  <a:pt x="1985302" y="6837"/>
                </a:moveTo>
                <a:cubicBezTo>
                  <a:pt x="1986539" y="6837"/>
                  <a:pt x="1987711" y="7048"/>
                  <a:pt x="1988818" y="7471"/>
                </a:cubicBezTo>
                <a:cubicBezTo>
                  <a:pt x="1989924" y="7895"/>
                  <a:pt x="1990885" y="8497"/>
                  <a:pt x="1991699" y="9278"/>
                </a:cubicBezTo>
                <a:cubicBezTo>
                  <a:pt x="1992513" y="10060"/>
                  <a:pt x="1993164" y="10987"/>
                  <a:pt x="1993652" y="12062"/>
                </a:cubicBezTo>
                <a:cubicBezTo>
                  <a:pt x="1994140" y="13136"/>
                  <a:pt x="1994385" y="14324"/>
                  <a:pt x="1994385" y="15627"/>
                </a:cubicBezTo>
                <a:cubicBezTo>
                  <a:pt x="1994385" y="16864"/>
                  <a:pt x="1994157" y="18036"/>
                  <a:pt x="1993701" y="19143"/>
                </a:cubicBezTo>
                <a:cubicBezTo>
                  <a:pt x="1993245" y="20250"/>
                  <a:pt x="1992594" y="21210"/>
                  <a:pt x="1991748" y="22024"/>
                </a:cubicBezTo>
                <a:cubicBezTo>
                  <a:pt x="1990901" y="22838"/>
                  <a:pt x="1989941" y="23473"/>
                  <a:pt x="1988866" y="23929"/>
                </a:cubicBezTo>
                <a:cubicBezTo>
                  <a:pt x="1987792" y="24384"/>
                  <a:pt x="1986604" y="24612"/>
                  <a:pt x="1985302" y="24612"/>
                </a:cubicBezTo>
                <a:cubicBezTo>
                  <a:pt x="1982892" y="24612"/>
                  <a:pt x="1980809" y="23766"/>
                  <a:pt x="1979051" y="22073"/>
                </a:cubicBezTo>
                <a:cubicBezTo>
                  <a:pt x="1977293" y="20380"/>
                  <a:pt x="1976414" y="18231"/>
                  <a:pt x="1976414" y="15627"/>
                </a:cubicBezTo>
                <a:cubicBezTo>
                  <a:pt x="1976414" y="13087"/>
                  <a:pt x="1977293" y="10987"/>
                  <a:pt x="1979051" y="9327"/>
                </a:cubicBezTo>
                <a:cubicBezTo>
                  <a:pt x="1980809" y="7667"/>
                  <a:pt x="1982892" y="6837"/>
                  <a:pt x="1985302" y="6837"/>
                </a:cubicBezTo>
                <a:close/>
                <a:moveTo>
                  <a:pt x="175552" y="6837"/>
                </a:moveTo>
                <a:cubicBezTo>
                  <a:pt x="176789" y="6837"/>
                  <a:pt x="177961" y="7048"/>
                  <a:pt x="179068" y="7471"/>
                </a:cubicBezTo>
                <a:cubicBezTo>
                  <a:pt x="180175" y="7895"/>
                  <a:pt x="181135" y="8497"/>
                  <a:pt x="181949" y="9278"/>
                </a:cubicBezTo>
                <a:cubicBezTo>
                  <a:pt x="182763" y="10060"/>
                  <a:pt x="183414" y="10987"/>
                  <a:pt x="183902" y="12062"/>
                </a:cubicBezTo>
                <a:cubicBezTo>
                  <a:pt x="184391" y="13136"/>
                  <a:pt x="184635" y="14324"/>
                  <a:pt x="184635" y="15627"/>
                </a:cubicBezTo>
                <a:cubicBezTo>
                  <a:pt x="184635" y="16864"/>
                  <a:pt x="184407" y="18036"/>
                  <a:pt x="183951" y="19143"/>
                </a:cubicBezTo>
                <a:cubicBezTo>
                  <a:pt x="183495" y="20250"/>
                  <a:pt x="182844" y="21210"/>
                  <a:pt x="181998" y="22024"/>
                </a:cubicBezTo>
                <a:cubicBezTo>
                  <a:pt x="181151" y="22838"/>
                  <a:pt x="180191" y="23473"/>
                  <a:pt x="179117" y="23929"/>
                </a:cubicBezTo>
                <a:cubicBezTo>
                  <a:pt x="178042" y="24384"/>
                  <a:pt x="176854" y="24612"/>
                  <a:pt x="175552" y="24612"/>
                </a:cubicBezTo>
                <a:cubicBezTo>
                  <a:pt x="173142" y="24612"/>
                  <a:pt x="171059" y="23766"/>
                  <a:pt x="169301" y="22073"/>
                </a:cubicBezTo>
                <a:cubicBezTo>
                  <a:pt x="167543" y="20380"/>
                  <a:pt x="166664" y="18231"/>
                  <a:pt x="166664" y="15627"/>
                </a:cubicBezTo>
                <a:cubicBezTo>
                  <a:pt x="166664" y="13087"/>
                  <a:pt x="167543" y="10987"/>
                  <a:pt x="169301" y="9327"/>
                </a:cubicBezTo>
                <a:cubicBezTo>
                  <a:pt x="171059" y="7667"/>
                  <a:pt x="173142" y="6837"/>
                  <a:pt x="175552" y="6837"/>
                </a:cubicBezTo>
                <a:close/>
                <a:moveTo>
                  <a:pt x="3316099" y="1855"/>
                </a:moveTo>
                <a:lnTo>
                  <a:pt x="3328601" y="1855"/>
                </a:lnTo>
                <a:lnTo>
                  <a:pt x="3328601" y="149921"/>
                </a:lnTo>
                <a:lnTo>
                  <a:pt x="3316099" y="149921"/>
                </a:lnTo>
                <a:lnTo>
                  <a:pt x="3316099" y="132341"/>
                </a:lnTo>
                <a:lnTo>
                  <a:pt x="3315709" y="132341"/>
                </a:lnTo>
                <a:cubicBezTo>
                  <a:pt x="3312388" y="138656"/>
                  <a:pt x="3307651" y="143556"/>
                  <a:pt x="3301498" y="147040"/>
                </a:cubicBezTo>
                <a:cubicBezTo>
                  <a:pt x="3295345" y="150523"/>
                  <a:pt x="3288362" y="152265"/>
                  <a:pt x="3280548" y="152265"/>
                </a:cubicBezTo>
                <a:cubicBezTo>
                  <a:pt x="3274297" y="152265"/>
                  <a:pt x="3268616" y="151109"/>
                  <a:pt x="3263505" y="148798"/>
                </a:cubicBezTo>
                <a:cubicBezTo>
                  <a:pt x="3258394" y="146486"/>
                  <a:pt x="3254015" y="143149"/>
                  <a:pt x="3250369" y="138787"/>
                </a:cubicBezTo>
                <a:cubicBezTo>
                  <a:pt x="3246722" y="134424"/>
                  <a:pt x="3243906" y="129150"/>
                  <a:pt x="3241920" y="122964"/>
                </a:cubicBezTo>
                <a:cubicBezTo>
                  <a:pt x="3239934" y="116779"/>
                  <a:pt x="3238941" y="109779"/>
                  <a:pt x="3238941" y="101966"/>
                </a:cubicBezTo>
                <a:cubicBezTo>
                  <a:pt x="3238941" y="93892"/>
                  <a:pt x="3240032" y="86518"/>
                  <a:pt x="3242213" y="79844"/>
                </a:cubicBezTo>
                <a:cubicBezTo>
                  <a:pt x="3244395" y="73170"/>
                  <a:pt x="3247487" y="67440"/>
                  <a:pt x="3251492" y="62654"/>
                </a:cubicBezTo>
                <a:cubicBezTo>
                  <a:pt x="3255496" y="57868"/>
                  <a:pt x="3260315" y="54157"/>
                  <a:pt x="3265947" y="51520"/>
                </a:cubicBezTo>
                <a:cubicBezTo>
                  <a:pt x="3271579" y="48883"/>
                  <a:pt x="3277846" y="47564"/>
                  <a:pt x="3284748" y="47564"/>
                </a:cubicBezTo>
                <a:cubicBezTo>
                  <a:pt x="3299138" y="47564"/>
                  <a:pt x="3309458" y="53327"/>
                  <a:pt x="3315709" y="64852"/>
                </a:cubicBezTo>
                <a:lnTo>
                  <a:pt x="3316099" y="64852"/>
                </a:lnTo>
                <a:close/>
                <a:moveTo>
                  <a:pt x="728727" y="0"/>
                </a:moveTo>
                <a:cubicBezTo>
                  <a:pt x="733415" y="0"/>
                  <a:pt x="737127" y="618"/>
                  <a:pt x="739861" y="1855"/>
                </a:cubicBezTo>
                <a:lnTo>
                  <a:pt x="739861" y="13673"/>
                </a:lnTo>
                <a:cubicBezTo>
                  <a:pt x="737061" y="11850"/>
                  <a:pt x="733448" y="10939"/>
                  <a:pt x="729020" y="10939"/>
                </a:cubicBezTo>
                <a:cubicBezTo>
                  <a:pt x="717300" y="10939"/>
                  <a:pt x="711440" y="18589"/>
                  <a:pt x="711440" y="33891"/>
                </a:cubicBezTo>
                <a:lnTo>
                  <a:pt x="711440" y="49908"/>
                </a:lnTo>
                <a:lnTo>
                  <a:pt x="736345" y="49908"/>
                </a:lnTo>
                <a:lnTo>
                  <a:pt x="736345" y="60847"/>
                </a:lnTo>
                <a:lnTo>
                  <a:pt x="711440" y="60847"/>
                </a:lnTo>
                <a:lnTo>
                  <a:pt x="711440" y="149921"/>
                </a:lnTo>
                <a:lnTo>
                  <a:pt x="698938" y="149921"/>
                </a:lnTo>
                <a:lnTo>
                  <a:pt x="698938" y="60847"/>
                </a:lnTo>
                <a:lnTo>
                  <a:pt x="681456" y="60847"/>
                </a:lnTo>
                <a:lnTo>
                  <a:pt x="681456" y="49908"/>
                </a:lnTo>
                <a:lnTo>
                  <a:pt x="698938" y="49908"/>
                </a:lnTo>
                <a:lnTo>
                  <a:pt x="698938" y="33109"/>
                </a:lnTo>
                <a:cubicBezTo>
                  <a:pt x="698938" y="28096"/>
                  <a:pt x="699573" y="23554"/>
                  <a:pt x="700843" y="19485"/>
                </a:cubicBezTo>
                <a:cubicBezTo>
                  <a:pt x="702112" y="15415"/>
                  <a:pt x="703984" y="11932"/>
                  <a:pt x="706459" y="9034"/>
                </a:cubicBezTo>
                <a:cubicBezTo>
                  <a:pt x="708933" y="6137"/>
                  <a:pt x="712042" y="3907"/>
                  <a:pt x="715786" y="2344"/>
                </a:cubicBezTo>
                <a:cubicBezTo>
                  <a:pt x="719530" y="781"/>
                  <a:pt x="723844" y="0"/>
                  <a:pt x="728727" y="0"/>
                </a:cubicBezTo>
                <a:close/>
              </a:path>
            </a:pathLst>
          </a:custGeom>
          <a:solidFill>
            <a:schemeClr val="bg1"/>
          </a:solidFill>
          <a:ln>
            <a:noFill/>
          </a:ln>
          <a:effectLst/>
        </p:spPr>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1087802">
              <a:lnSpc>
                <a:spcPct val="90000"/>
              </a:lnSpc>
              <a:spcAft>
                <a:spcPts val="588"/>
              </a:spcAft>
              <a:defRPr/>
            </a:pPr>
            <a:endParaRPr lang="en-US" sz="2745" dirty="0">
              <a:solidFill>
                <a:schemeClr val="bg1"/>
              </a:solidFill>
              <a:latin typeface="Arial"/>
            </a:endParaRPr>
          </a:p>
        </p:txBody>
      </p:sp>
      <p:grpSp>
        <p:nvGrpSpPr>
          <p:cNvPr id="1856" name="Group 1855">
            <a:extLst>
              <a:ext uri="{FF2B5EF4-FFF2-40B4-BE49-F238E27FC236}">
                <a16:creationId xmlns:a16="http://schemas.microsoft.com/office/drawing/2014/main" id="{2897EAAB-6A9B-4137-B8D4-A1187498C3EC}"/>
              </a:ext>
            </a:extLst>
          </p:cNvPr>
          <p:cNvGrpSpPr/>
          <p:nvPr/>
        </p:nvGrpSpPr>
        <p:grpSpPr>
          <a:xfrm>
            <a:off x="5331324" y="2340188"/>
            <a:ext cx="139252" cy="2749813"/>
            <a:chOff x="6491203" y="1553552"/>
            <a:chExt cx="138370" cy="2732393"/>
          </a:xfrm>
        </p:grpSpPr>
        <p:sp>
          <p:nvSpPr>
            <p:cNvPr id="1857" name="Freeform 12">
              <a:extLst>
                <a:ext uri="{FF2B5EF4-FFF2-40B4-BE49-F238E27FC236}">
                  <a16:creationId xmlns:a16="http://schemas.microsoft.com/office/drawing/2014/main" id="{57440280-1FEF-4DC5-932D-7FEB4AAEA366}"/>
                </a:ext>
              </a:extLst>
            </p:cNvPr>
            <p:cNvSpPr>
              <a:spLocks/>
            </p:cNvSpPr>
            <p:nvPr/>
          </p:nvSpPr>
          <p:spPr bwMode="auto">
            <a:xfrm>
              <a:off x="6491203" y="1553552"/>
              <a:ext cx="138370" cy="2732393"/>
            </a:xfrm>
            <a:custGeom>
              <a:avLst/>
              <a:gdLst>
                <a:gd name="T0" fmla="*/ 0 w 42"/>
                <a:gd name="T1" fmla="*/ 0 h 932"/>
                <a:gd name="T2" fmla="*/ 42 w 42"/>
                <a:gd name="T3" fmla="*/ 0 h 932"/>
                <a:gd name="T4" fmla="*/ 42 w 42"/>
                <a:gd name="T5" fmla="*/ 932 h 932"/>
                <a:gd name="T6" fmla="*/ 0 w 42"/>
                <a:gd name="T7" fmla="*/ 932 h 932"/>
                <a:gd name="T8" fmla="*/ 0 w 42"/>
                <a:gd name="T9" fmla="*/ 0 h 932"/>
                <a:gd name="T10" fmla="*/ 0 w 42"/>
                <a:gd name="T11" fmla="*/ 0 h 932"/>
              </a:gdLst>
              <a:ahLst/>
              <a:cxnLst>
                <a:cxn ang="0">
                  <a:pos x="T0" y="T1"/>
                </a:cxn>
                <a:cxn ang="0">
                  <a:pos x="T2" y="T3"/>
                </a:cxn>
                <a:cxn ang="0">
                  <a:pos x="T4" y="T5"/>
                </a:cxn>
                <a:cxn ang="0">
                  <a:pos x="T6" y="T7"/>
                </a:cxn>
                <a:cxn ang="0">
                  <a:pos x="T8" y="T9"/>
                </a:cxn>
                <a:cxn ang="0">
                  <a:pos x="T10" y="T11"/>
                </a:cxn>
              </a:cxnLst>
              <a:rect l="0" t="0" r="r" b="b"/>
              <a:pathLst>
                <a:path w="42" h="932">
                  <a:moveTo>
                    <a:pt x="0" y="0"/>
                  </a:moveTo>
                  <a:lnTo>
                    <a:pt x="42" y="0"/>
                  </a:lnTo>
                  <a:lnTo>
                    <a:pt x="42" y="932"/>
                  </a:lnTo>
                  <a:lnTo>
                    <a:pt x="0" y="932"/>
                  </a:lnTo>
                  <a:lnTo>
                    <a:pt x="0" y="0"/>
                  </a:lnTo>
                  <a:lnTo>
                    <a:pt x="0" y="0"/>
                  </a:lnTo>
                  <a:close/>
                </a:path>
              </a:pathLst>
            </a:custGeom>
            <a:solidFill>
              <a:srgbClr val="BFBFBF"/>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58" name="Freeform 13">
              <a:extLst>
                <a:ext uri="{FF2B5EF4-FFF2-40B4-BE49-F238E27FC236}">
                  <a16:creationId xmlns:a16="http://schemas.microsoft.com/office/drawing/2014/main" id="{0A9EDA14-0D7B-4F49-8EB3-7BABB4B8E104}"/>
                </a:ext>
              </a:extLst>
            </p:cNvPr>
            <p:cNvSpPr>
              <a:spLocks/>
            </p:cNvSpPr>
            <p:nvPr/>
          </p:nvSpPr>
          <p:spPr bwMode="auto">
            <a:xfrm>
              <a:off x="6496461" y="1689832"/>
              <a:ext cx="133112" cy="155297"/>
            </a:xfrm>
            <a:custGeom>
              <a:avLst/>
              <a:gdLst>
                <a:gd name="T0" fmla="*/ 0 w 42"/>
                <a:gd name="T1" fmla="*/ 0 h 49"/>
                <a:gd name="T2" fmla="*/ 42 w 42"/>
                <a:gd name="T3" fmla="*/ 0 h 49"/>
                <a:gd name="T4" fmla="*/ 42 w 42"/>
                <a:gd name="T5" fmla="*/ 49 h 49"/>
                <a:gd name="T6" fmla="*/ 0 w 42"/>
                <a:gd name="T7" fmla="*/ 49 h 49"/>
                <a:gd name="T8" fmla="*/ 0 w 42"/>
                <a:gd name="T9" fmla="*/ 0 h 49"/>
                <a:gd name="T10" fmla="*/ 0 w 42"/>
                <a:gd name="T11" fmla="*/ 0 h 49"/>
              </a:gdLst>
              <a:ahLst/>
              <a:cxnLst>
                <a:cxn ang="0">
                  <a:pos x="T0" y="T1"/>
                </a:cxn>
                <a:cxn ang="0">
                  <a:pos x="T2" y="T3"/>
                </a:cxn>
                <a:cxn ang="0">
                  <a:pos x="T4" y="T5"/>
                </a:cxn>
                <a:cxn ang="0">
                  <a:pos x="T6" y="T7"/>
                </a:cxn>
                <a:cxn ang="0">
                  <a:pos x="T8" y="T9"/>
                </a:cxn>
                <a:cxn ang="0">
                  <a:pos x="T10" y="T11"/>
                </a:cxn>
              </a:cxnLst>
              <a:rect l="0" t="0" r="r" b="b"/>
              <a:pathLst>
                <a:path w="42" h="49">
                  <a:moveTo>
                    <a:pt x="0" y="0"/>
                  </a:moveTo>
                  <a:lnTo>
                    <a:pt x="42" y="0"/>
                  </a:lnTo>
                  <a:lnTo>
                    <a:pt x="42" y="49"/>
                  </a:lnTo>
                  <a:lnTo>
                    <a:pt x="0" y="49"/>
                  </a:lnTo>
                  <a:lnTo>
                    <a:pt x="0" y="0"/>
                  </a:lnTo>
                  <a:lnTo>
                    <a:pt x="0" y="0"/>
                  </a:lnTo>
                  <a:close/>
                </a:path>
              </a:pathLst>
            </a:custGeom>
            <a:solidFill>
              <a:schemeClr val="bg1">
                <a:lumMod val="50000"/>
              </a:schemeClr>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nvGrpSpPr>
            <p:cNvPr id="1859" name="Group 1858">
              <a:extLst>
                <a:ext uri="{FF2B5EF4-FFF2-40B4-BE49-F238E27FC236}">
                  <a16:creationId xmlns:a16="http://schemas.microsoft.com/office/drawing/2014/main" id="{D0312160-631D-45F9-B29E-5D5B54AB954E}"/>
                </a:ext>
              </a:extLst>
            </p:cNvPr>
            <p:cNvGrpSpPr>
              <a:grpSpLocks noChangeAspect="1"/>
            </p:cNvGrpSpPr>
            <p:nvPr/>
          </p:nvGrpSpPr>
          <p:grpSpPr>
            <a:xfrm>
              <a:off x="6522359" y="1733071"/>
              <a:ext cx="81317" cy="64313"/>
              <a:chOff x="2657476" y="2463800"/>
              <a:chExt cx="698499" cy="552451"/>
            </a:xfrm>
            <a:solidFill>
              <a:schemeClr val="bg1"/>
            </a:solidFill>
          </p:grpSpPr>
          <p:sp>
            <p:nvSpPr>
              <p:cNvPr id="1869" name="Freeform 5">
                <a:extLst>
                  <a:ext uri="{FF2B5EF4-FFF2-40B4-BE49-F238E27FC236}">
                    <a16:creationId xmlns:a16="http://schemas.microsoft.com/office/drawing/2014/main" id="{19F4E70F-8E6C-4FA9-9596-608E2C8CDE8D}"/>
                  </a:ext>
                </a:extLst>
              </p:cNvPr>
              <p:cNvSpPr>
                <a:spLocks/>
              </p:cNvSpPr>
              <p:nvPr/>
            </p:nvSpPr>
            <p:spPr bwMode="auto">
              <a:xfrm>
                <a:off x="2657476" y="2463800"/>
                <a:ext cx="698499" cy="285750"/>
              </a:xfrm>
              <a:custGeom>
                <a:avLst/>
                <a:gdLst>
                  <a:gd name="T0" fmla="*/ 955 w 1916"/>
                  <a:gd name="T1" fmla="*/ 1 h 786"/>
                  <a:gd name="T2" fmla="*/ 943 w 1916"/>
                  <a:gd name="T3" fmla="*/ 4 h 786"/>
                  <a:gd name="T4" fmla="*/ 13 w 1916"/>
                  <a:gd name="T5" fmla="*/ 739 h 786"/>
                  <a:gd name="T6" fmla="*/ 8 w 1916"/>
                  <a:gd name="T7" fmla="*/ 774 h 786"/>
                  <a:gd name="T8" fmla="*/ 43 w 1916"/>
                  <a:gd name="T9" fmla="*/ 778 h 786"/>
                  <a:gd name="T10" fmla="*/ 958 w 1916"/>
                  <a:gd name="T11" fmla="*/ 56 h 786"/>
                  <a:gd name="T12" fmla="*/ 1873 w 1916"/>
                  <a:gd name="T13" fmla="*/ 778 h 786"/>
                  <a:gd name="T14" fmla="*/ 1908 w 1916"/>
                  <a:gd name="T15" fmla="*/ 774 h 786"/>
                  <a:gd name="T16" fmla="*/ 1904 w 1916"/>
                  <a:gd name="T17" fmla="*/ 739 h 786"/>
                  <a:gd name="T18" fmla="*/ 973 w 1916"/>
                  <a:gd name="T19" fmla="*/ 4 h 786"/>
                  <a:gd name="T20" fmla="*/ 955 w 1916"/>
                  <a:gd name="T21" fmla="*/ 1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6" h="786">
                    <a:moveTo>
                      <a:pt x="955" y="1"/>
                    </a:moveTo>
                    <a:cubicBezTo>
                      <a:pt x="950" y="1"/>
                      <a:pt x="945" y="3"/>
                      <a:pt x="943" y="4"/>
                    </a:cubicBezTo>
                    <a:cubicBezTo>
                      <a:pt x="13" y="739"/>
                      <a:pt x="13" y="739"/>
                      <a:pt x="13" y="739"/>
                    </a:cubicBezTo>
                    <a:cubicBezTo>
                      <a:pt x="3" y="746"/>
                      <a:pt x="0" y="764"/>
                      <a:pt x="8" y="774"/>
                    </a:cubicBezTo>
                    <a:cubicBezTo>
                      <a:pt x="16" y="784"/>
                      <a:pt x="33" y="786"/>
                      <a:pt x="43" y="778"/>
                    </a:cubicBezTo>
                    <a:cubicBezTo>
                      <a:pt x="958" y="56"/>
                      <a:pt x="958" y="56"/>
                      <a:pt x="958" y="56"/>
                    </a:cubicBezTo>
                    <a:cubicBezTo>
                      <a:pt x="1873" y="778"/>
                      <a:pt x="1873" y="778"/>
                      <a:pt x="1873" y="778"/>
                    </a:cubicBezTo>
                    <a:cubicBezTo>
                      <a:pt x="1883" y="786"/>
                      <a:pt x="1900" y="784"/>
                      <a:pt x="1908" y="774"/>
                    </a:cubicBezTo>
                    <a:cubicBezTo>
                      <a:pt x="1916" y="764"/>
                      <a:pt x="1914" y="745"/>
                      <a:pt x="1904" y="739"/>
                    </a:cubicBezTo>
                    <a:cubicBezTo>
                      <a:pt x="973" y="4"/>
                      <a:pt x="973" y="4"/>
                      <a:pt x="973" y="4"/>
                    </a:cubicBezTo>
                    <a:cubicBezTo>
                      <a:pt x="967" y="1"/>
                      <a:pt x="961" y="0"/>
                      <a:pt x="95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70" name="Freeform 6">
                <a:extLst>
                  <a:ext uri="{FF2B5EF4-FFF2-40B4-BE49-F238E27FC236}">
                    <a16:creationId xmlns:a16="http://schemas.microsoft.com/office/drawing/2014/main" id="{044B23DA-7573-4F90-9AA4-784A4ADA8D16}"/>
                  </a:ext>
                </a:extLst>
              </p:cNvPr>
              <p:cNvSpPr>
                <a:spLocks/>
              </p:cNvSpPr>
              <p:nvPr/>
            </p:nvSpPr>
            <p:spPr bwMode="auto">
              <a:xfrm>
                <a:off x="2757488" y="2687638"/>
                <a:ext cx="500062" cy="328613"/>
              </a:xfrm>
              <a:custGeom>
                <a:avLst/>
                <a:gdLst>
                  <a:gd name="T0" fmla="*/ 49 w 1371"/>
                  <a:gd name="T1" fmla="*/ 0 h 904"/>
                  <a:gd name="T2" fmla="*/ 0 w 1371"/>
                  <a:gd name="T3" fmla="*/ 38 h 904"/>
                  <a:gd name="T4" fmla="*/ 0 w 1371"/>
                  <a:gd name="T5" fmla="*/ 879 h 904"/>
                  <a:gd name="T6" fmla="*/ 24 w 1371"/>
                  <a:gd name="T7" fmla="*/ 904 h 904"/>
                  <a:gd name="T8" fmla="*/ 489 w 1371"/>
                  <a:gd name="T9" fmla="*/ 904 h 904"/>
                  <a:gd name="T10" fmla="*/ 514 w 1371"/>
                  <a:gd name="T11" fmla="*/ 879 h 904"/>
                  <a:gd name="T12" fmla="*/ 514 w 1371"/>
                  <a:gd name="T13" fmla="*/ 414 h 904"/>
                  <a:gd name="T14" fmla="*/ 857 w 1371"/>
                  <a:gd name="T15" fmla="*/ 414 h 904"/>
                  <a:gd name="T16" fmla="*/ 857 w 1371"/>
                  <a:gd name="T17" fmla="*/ 879 h 904"/>
                  <a:gd name="T18" fmla="*/ 881 w 1371"/>
                  <a:gd name="T19" fmla="*/ 904 h 904"/>
                  <a:gd name="T20" fmla="*/ 1346 w 1371"/>
                  <a:gd name="T21" fmla="*/ 904 h 904"/>
                  <a:gd name="T22" fmla="*/ 1371 w 1371"/>
                  <a:gd name="T23" fmla="*/ 879 h 904"/>
                  <a:gd name="T24" fmla="*/ 1371 w 1371"/>
                  <a:gd name="T25" fmla="*/ 38 h 904"/>
                  <a:gd name="T26" fmla="*/ 1322 w 1371"/>
                  <a:gd name="T27" fmla="*/ 0 h 904"/>
                  <a:gd name="T28" fmla="*/ 1322 w 1371"/>
                  <a:gd name="T29" fmla="*/ 855 h 904"/>
                  <a:gd name="T30" fmla="*/ 905 w 1371"/>
                  <a:gd name="T31" fmla="*/ 855 h 904"/>
                  <a:gd name="T32" fmla="*/ 905 w 1371"/>
                  <a:gd name="T33" fmla="*/ 390 h 904"/>
                  <a:gd name="T34" fmla="*/ 881 w 1371"/>
                  <a:gd name="T35" fmla="*/ 365 h 904"/>
                  <a:gd name="T36" fmla="*/ 489 w 1371"/>
                  <a:gd name="T37" fmla="*/ 365 h 904"/>
                  <a:gd name="T38" fmla="*/ 465 w 1371"/>
                  <a:gd name="T39" fmla="*/ 390 h 904"/>
                  <a:gd name="T40" fmla="*/ 465 w 1371"/>
                  <a:gd name="T41" fmla="*/ 855 h 904"/>
                  <a:gd name="T42" fmla="*/ 49 w 1371"/>
                  <a:gd name="T43" fmla="*/ 855 h 904"/>
                  <a:gd name="T44" fmla="*/ 49 w 1371"/>
                  <a:gd name="T45" fmla="*/ 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1" h="904">
                    <a:moveTo>
                      <a:pt x="49" y="0"/>
                    </a:moveTo>
                    <a:cubicBezTo>
                      <a:pt x="0" y="38"/>
                      <a:pt x="0" y="38"/>
                      <a:pt x="0" y="38"/>
                    </a:cubicBezTo>
                    <a:cubicBezTo>
                      <a:pt x="0" y="879"/>
                      <a:pt x="0" y="879"/>
                      <a:pt x="0" y="879"/>
                    </a:cubicBezTo>
                    <a:cubicBezTo>
                      <a:pt x="0" y="893"/>
                      <a:pt x="11" y="904"/>
                      <a:pt x="24" y="904"/>
                    </a:cubicBezTo>
                    <a:cubicBezTo>
                      <a:pt x="489" y="904"/>
                      <a:pt x="489" y="904"/>
                      <a:pt x="489" y="904"/>
                    </a:cubicBezTo>
                    <a:cubicBezTo>
                      <a:pt x="503" y="904"/>
                      <a:pt x="514" y="893"/>
                      <a:pt x="514" y="879"/>
                    </a:cubicBezTo>
                    <a:cubicBezTo>
                      <a:pt x="514" y="414"/>
                      <a:pt x="514" y="414"/>
                      <a:pt x="514" y="414"/>
                    </a:cubicBezTo>
                    <a:cubicBezTo>
                      <a:pt x="857" y="414"/>
                      <a:pt x="857" y="414"/>
                      <a:pt x="857" y="414"/>
                    </a:cubicBezTo>
                    <a:cubicBezTo>
                      <a:pt x="857" y="879"/>
                      <a:pt x="857" y="879"/>
                      <a:pt x="857" y="879"/>
                    </a:cubicBezTo>
                    <a:cubicBezTo>
                      <a:pt x="857" y="893"/>
                      <a:pt x="867" y="904"/>
                      <a:pt x="881" y="904"/>
                    </a:cubicBezTo>
                    <a:cubicBezTo>
                      <a:pt x="1346" y="904"/>
                      <a:pt x="1346" y="904"/>
                      <a:pt x="1346" y="904"/>
                    </a:cubicBezTo>
                    <a:cubicBezTo>
                      <a:pt x="1360" y="904"/>
                      <a:pt x="1371" y="893"/>
                      <a:pt x="1371" y="879"/>
                    </a:cubicBezTo>
                    <a:cubicBezTo>
                      <a:pt x="1371" y="38"/>
                      <a:pt x="1371" y="38"/>
                      <a:pt x="1371" y="38"/>
                    </a:cubicBezTo>
                    <a:cubicBezTo>
                      <a:pt x="1322" y="0"/>
                      <a:pt x="1322" y="0"/>
                      <a:pt x="1322" y="0"/>
                    </a:cubicBezTo>
                    <a:cubicBezTo>
                      <a:pt x="1322" y="855"/>
                      <a:pt x="1322" y="855"/>
                      <a:pt x="1322" y="855"/>
                    </a:cubicBezTo>
                    <a:cubicBezTo>
                      <a:pt x="905" y="855"/>
                      <a:pt x="905" y="855"/>
                      <a:pt x="905" y="855"/>
                    </a:cubicBezTo>
                    <a:cubicBezTo>
                      <a:pt x="905" y="390"/>
                      <a:pt x="905" y="390"/>
                      <a:pt x="905" y="390"/>
                    </a:cubicBezTo>
                    <a:cubicBezTo>
                      <a:pt x="905" y="376"/>
                      <a:pt x="895" y="365"/>
                      <a:pt x="881" y="365"/>
                    </a:cubicBezTo>
                    <a:cubicBezTo>
                      <a:pt x="489" y="365"/>
                      <a:pt x="489" y="365"/>
                      <a:pt x="489" y="365"/>
                    </a:cubicBezTo>
                    <a:cubicBezTo>
                      <a:pt x="476" y="365"/>
                      <a:pt x="465" y="376"/>
                      <a:pt x="465" y="390"/>
                    </a:cubicBezTo>
                    <a:cubicBezTo>
                      <a:pt x="465" y="855"/>
                      <a:pt x="465" y="855"/>
                      <a:pt x="465" y="855"/>
                    </a:cubicBezTo>
                    <a:cubicBezTo>
                      <a:pt x="49" y="855"/>
                      <a:pt x="49" y="855"/>
                      <a:pt x="49" y="855"/>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nvGrpSpPr>
            <p:cNvPr id="1860" name="Group 1859">
              <a:extLst>
                <a:ext uri="{FF2B5EF4-FFF2-40B4-BE49-F238E27FC236}">
                  <a16:creationId xmlns:a16="http://schemas.microsoft.com/office/drawing/2014/main" id="{7EC8EF2F-53FA-4B1F-98F7-147B7669C756}"/>
                </a:ext>
              </a:extLst>
            </p:cNvPr>
            <p:cNvGrpSpPr/>
            <p:nvPr/>
          </p:nvGrpSpPr>
          <p:grpSpPr>
            <a:xfrm flipH="1">
              <a:off x="6522772" y="1882409"/>
              <a:ext cx="80489" cy="80389"/>
              <a:chOff x="2266950" y="2881313"/>
              <a:chExt cx="209550" cy="209289"/>
            </a:xfrm>
            <a:solidFill>
              <a:schemeClr val="bg1"/>
            </a:solidFill>
          </p:grpSpPr>
          <p:sp>
            <p:nvSpPr>
              <p:cNvPr id="1867" name="Freeform: Shape 1866">
                <a:extLst>
                  <a:ext uri="{FF2B5EF4-FFF2-40B4-BE49-F238E27FC236}">
                    <a16:creationId xmlns:a16="http://schemas.microsoft.com/office/drawing/2014/main" id="{90999FCE-B61E-4BD9-A633-F1494C74921B}"/>
                  </a:ext>
                </a:extLst>
              </p:cNvPr>
              <p:cNvSpPr>
                <a:spLocks/>
              </p:cNvSpPr>
              <p:nvPr/>
            </p:nvSpPr>
            <p:spPr bwMode="auto">
              <a:xfrm>
                <a:off x="2266950" y="2967014"/>
                <a:ext cx="209550" cy="123588"/>
              </a:xfrm>
              <a:custGeom>
                <a:avLst/>
                <a:gdLst>
                  <a:gd name="connsiteX0" fmla="*/ 623888 w 1273175"/>
                  <a:gd name="connsiteY0" fmla="*/ 46037 h 750887"/>
                  <a:gd name="connsiteX1" fmla="*/ 311151 w 1273175"/>
                  <a:gd name="connsiteY1" fmla="*/ 252412 h 750887"/>
                  <a:gd name="connsiteX2" fmla="*/ 311151 w 1273175"/>
                  <a:gd name="connsiteY2" fmla="*/ 47625 h 750887"/>
                  <a:gd name="connsiteX3" fmla="*/ 23813 w 1273175"/>
                  <a:gd name="connsiteY3" fmla="*/ 234950 h 750887"/>
                  <a:gd name="connsiteX4" fmla="*/ 23813 w 1273175"/>
                  <a:gd name="connsiteY4" fmla="*/ 725487 h 750887"/>
                  <a:gd name="connsiteX5" fmla="*/ 1249363 w 1273175"/>
                  <a:gd name="connsiteY5" fmla="*/ 725487 h 750887"/>
                  <a:gd name="connsiteX6" fmla="*/ 1249363 w 1273175"/>
                  <a:gd name="connsiteY6" fmla="*/ 46037 h 750887"/>
                  <a:gd name="connsiteX7" fmla="*/ 1109663 w 1273175"/>
                  <a:gd name="connsiteY7" fmla="*/ 138112 h 750887"/>
                  <a:gd name="connsiteX8" fmla="*/ 936626 w 1273175"/>
                  <a:gd name="connsiteY8" fmla="*/ 252412 h 750887"/>
                  <a:gd name="connsiteX9" fmla="*/ 936626 w 1273175"/>
                  <a:gd name="connsiteY9" fmla="*/ 46037 h 750887"/>
                  <a:gd name="connsiteX10" fmla="*/ 819151 w 1273175"/>
                  <a:gd name="connsiteY10" fmla="*/ 123825 h 750887"/>
                  <a:gd name="connsiteX11" fmla="*/ 623888 w 1273175"/>
                  <a:gd name="connsiteY11" fmla="*/ 252412 h 750887"/>
                  <a:gd name="connsiteX12" fmla="*/ 649288 w 1273175"/>
                  <a:gd name="connsiteY12" fmla="*/ 0 h 750887"/>
                  <a:gd name="connsiteX13" fmla="*/ 649288 w 1273175"/>
                  <a:gd name="connsiteY13" fmla="*/ 204787 h 750887"/>
                  <a:gd name="connsiteX14" fmla="*/ 777875 w 1273175"/>
                  <a:gd name="connsiteY14" fmla="*/ 119063 h 750887"/>
                  <a:gd name="connsiteX15" fmla="*/ 960438 w 1273175"/>
                  <a:gd name="connsiteY15" fmla="*/ 0 h 750887"/>
                  <a:gd name="connsiteX16" fmla="*/ 960438 w 1273175"/>
                  <a:gd name="connsiteY16" fmla="*/ 204787 h 750887"/>
                  <a:gd name="connsiteX17" fmla="*/ 1052513 w 1273175"/>
                  <a:gd name="connsiteY17" fmla="*/ 144463 h 750887"/>
                  <a:gd name="connsiteX18" fmla="*/ 1273175 w 1273175"/>
                  <a:gd name="connsiteY18" fmla="*/ 0 h 750887"/>
                  <a:gd name="connsiteX19" fmla="*/ 1273175 w 1273175"/>
                  <a:gd name="connsiteY19" fmla="*/ 750887 h 750887"/>
                  <a:gd name="connsiteX20" fmla="*/ 0 w 1273175"/>
                  <a:gd name="connsiteY20" fmla="*/ 750887 h 750887"/>
                  <a:gd name="connsiteX21" fmla="*/ 0 w 1273175"/>
                  <a:gd name="connsiteY21" fmla="*/ 223837 h 750887"/>
                  <a:gd name="connsiteX22" fmla="*/ 336550 w 1273175"/>
                  <a:gd name="connsiteY22" fmla="*/ 1588 h 750887"/>
                  <a:gd name="connsiteX23" fmla="*/ 336550 w 1273175"/>
                  <a:gd name="connsiteY23" fmla="*/ 207962 h 750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3175" h="750887">
                    <a:moveTo>
                      <a:pt x="623888" y="46037"/>
                    </a:moveTo>
                    <a:lnTo>
                      <a:pt x="311151" y="252412"/>
                    </a:lnTo>
                    <a:lnTo>
                      <a:pt x="311151" y="47625"/>
                    </a:lnTo>
                    <a:lnTo>
                      <a:pt x="23813" y="234950"/>
                    </a:lnTo>
                    <a:lnTo>
                      <a:pt x="23813" y="725487"/>
                    </a:lnTo>
                    <a:lnTo>
                      <a:pt x="1249363" y="725487"/>
                    </a:lnTo>
                    <a:lnTo>
                      <a:pt x="1249363" y="46037"/>
                    </a:lnTo>
                    <a:lnTo>
                      <a:pt x="1109663" y="138112"/>
                    </a:lnTo>
                    <a:lnTo>
                      <a:pt x="936626" y="252412"/>
                    </a:lnTo>
                    <a:lnTo>
                      <a:pt x="936626" y="46037"/>
                    </a:lnTo>
                    <a:lnTo>
                      <a:pt x="819151" y="123825"/>
                    </a:lnTo>
                    <a:lnTo>
                      <a:pt x="623888" y="252412"/>
                    </a:lnTo>
                    <a:close/>
                    <a:moveTo>
                      <a:pt x="649288" y="0"/>
                    </a:moveTo>
                    <a:lnTo>
                      <a:pt x="649288" y="204787"/>
                    </a:lnTo>
                    <a:lnTo>
                      <a:pt x="777875" y="119063"/>
                    </a:lnTo>
                    <a:lnTo>
                      <a:pt x="960438" y="0"/>
                    </a:lnTo>
                    <a:lnTo>
                      <a:pt x="960438" y="204787"/>
                    </a:lnTo>
                    <a:lnTo>
                      <a:pt x="1052513" y="144463"/>
                    </a:lnTo>
                    <a:lnTo>
                      <a:pt x="1273175" y="0"/>
                    </a:lnTo>
                    <a:lnTo>
                      <a:pt x="1273175" y="750887"/>
                    </a:lnTo>
                    <a:lnTo>
                      <a:pt x="0" y="750887"/>
                    </a:lnTo>
                    <a:lnTo>
                      <a:pt x="0" y="223837"/>
                    </a:lnTo>
                    <a:lnTo>
                      <a:pt x="336550" y="1588"/>
                    </a:lnTo>
                    <a:lnTo>
                      <a:pt x="336550" y="2079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noAutofit/>
              </a:bodyPr>
              <a:lstStyle/>
              <a:p>
                <a:pPr defTabSz="1087802">
                  <a:defRPr/>
                </a:pPr>
                <a:endParaRPr lang="en-US" sz="2059" dirty="0">
                  <a:solidFill>
                    <a:srgbClr val="505050"/>
                  </a:solidFill>
                  <a:latin typeface="Arial"/>
                </a:endParaRPr>
              </a:p>
            </p:txBody>
          </p:sp>
          <p:sp>
            <p:nvSpPr>
              <p:cNvPr id="1868" name="Freeform 12">
                <a:extLst>
                  <a:ext uri="{FF2B5EF4-FFF2-40B4-BE49-F238E27FC236}">
                    <a16:creationId xmlns:a16="http://schemas.microsoft.com/office/drawing/2014/main" id="{D31BEB82-D311-4B71-AFF0-0D656078DBFA}"/>
                  </a:ext>
                </a:extLst>
              </p:cNvPr>
              <p:cNvSpPr>
                <a:spLocks/>
              </p:cNvSpPr>
              <p:nvPr/>
            </p:nvSpPr>
            <p:spPr bwMode="auto">
              <a:xfrm>
                <a:off x="2397070" y="2881313"/>
                <a:ext cx="50167" cy="104253"/>
              </a:xfrm>
              <a:custGeom>
                <a:avLst/>
                <a:gdLst>
                  <a:gd name="T0" fmla="*/ 191 w 192"/>
                  <a:gd name="T1" fmla="*/ 391 h 399"/>
                  <a:gd name="T2" fmla="*/ 190 w 192"/>
                  <a:gd name="T3" fmla="*/ 380 h 399"/>
                  <a:gd name="T4" fmla="*/ 151 w 192"/>
                  <a:gd name="T5" fmla="*/ 0 h 399"/>
                  <a:gd name="T6" fmla="*/ 40 w 192"/>
                  <a:gd name="T7" fmla="*/ 0 h 399"/>
                  <a:gd name="T8" fmla="*/ 1 w 192"/>
                  <a:gd name="T9" fmla="*/ 375 h 399"/>
                  <a:gd name="T10" fmla="*/ 0 w 192"/>
                  <a:gd name="T11" fmla="*/ 385 h 399"/>
                  <a:gd name="T12" fmla="*/ 2 w 192"/>
                  <a:gd name="T13" fmla="*/ 385 h 399"/>
                  <a:gd name="T14" fmla="*/ 16 w 192"/>
                  <a:gd name="T15" fmla="*/ 387 h 399"/>
                  <a:gd name="T16" fmla="*/ 17 w 192"/>
                  <a:gd name="T17" fmla="*/ 376 h 399"/>
                  <a:gd name="T18" fmla="*/ 18 w 192"/>
                  <a:gd name="T19" fmla="*/ 364 h 399"/>
                  <a:gd name="T20" fmla="*/ 53 w 192"/>
                  <a:gd name="T21" fmla="*/ 16 h 399"/>
                  <a:gd name="T22" fmla="*/ 137 w 192"/>
                  <a:gd name="T23" fmla="*/ 16 h 399"/>
                  <a:gd name="T24" fmla="*/ 176 w 192"/>
                  <a:gd name="T25" fmla="*/ 390 h 399"/>
                  <a:gd name="T26" fmla="*/ 176 w 192"/>
                  <a:gd name="T27" fmla="*/ 399 h 399"/>
                  <a:gd name="T28" fmla="*/ 179 w 192"/>
                  <a:gd name="T29" fmla="*/ 399 h 399"/>
                  <a:gd name="T30" fmla="*/ 192 w 192"/>
                  <a:gd name="T31" fmla="*/ 397 h 399"/>
                  <a:gd name="T32" fmla="*/ 191 w 192"/>
                  <a:gd name="T33" fmla="*/ 391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399">
                    <a:moveTo>
                      <a:pt x="191" y="391"/>
                    </a:moveTo>
                    <a:lnTo>
                      <a:pt x="190" y="380"/>
                    </a:lnTo>
                    <a:lnTo>
                      <a:pt x="151" y="0"/>
                    </a:lnTo>
                    <a:lnTo>
                      <a:pt x="40" y="0"/>
                    </a:lnTo>
                    <a:lnTo>
                      <a:pt x="1" y="375"/>
                    </a:lnTo>
                    <a:lnTo>
                      <a:pt x="0" y="385"/>
                    </a:lnTo>
                    <a:lnTo>
                      <a:pt x="2" y="385"/>
                    </a:lnTo>
                    <a:lnTo>
                      <a:pt x="16" y="387"/>
                    </a:lnTo>
                    <a:lnTo>
                      <a:pt x="17" y="376"/>
                    </a:lnTo>
                    <a:lnTo>
                      <a:pt x="18" y="364"/>
                    </a:lnTo>
                    <a:lnTo>
                      <a:pt x="53" y="16"/>
                    </a:lnTo>
                    <a:lnTo>
                      <a:pt x="137" y="16"/>
                    </a:lnTo>
                    <a:lnTo>
                      <a:pt x="176" y="390"/>
                    </a:lnTo>
                    <a:lnTo>
                      <a:pt x="176" y="399"/>
                    </a:lnTo>
                    <a:lnTo>
                      <a:pt x="179" y="399"/>
                    </a:lnTo>
                    <a:lnTo>
                      <a:pt x="192" y="397"/>
                    </a:lnTo>
                    <a:lnTo>
                      <a:pt x="191"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nvGrpSpPr>
            <p:cNvPr id="1861" name="Group 1860">
              <a:extLst>
                <a:ext uri="{FF2B5EF4-FFF2-40B4-BE49-F238E27FC236}">
                  <a16:creationId xmlns:a16="http://schemas.microsoft.com/office/drawing/2014/main" id="{AF62B4F9-37AB-4B5B-809D-EC5056CDE1AF}"/>
                </a:ext>
              </a:extLst>
            </p:cNvPr>
            <p:cNvGrpSpPr/>
            <p:nvPr/>
          </p:nvGrpSpPr>
          <p:grpSpPr>
            <a:xfrm>
              <a:off x="6537896" y="1601879"/>
              <a:ext cx="50244" cy="25125"/>
              <a:chOff x="3640932" y="1826419"/>
              <a:chExt cx="28575" cy="14289"/>
            </a:xfrm>
          </p:grpSpPr>
          <p:cxnSp>
            <p:nvCxnSpPr>
              <p:cNvPr id="1863" name="Straight Connector 1862">
                <a:extLst>
                  <a:ext uri="{FF2B5EF4-FFF2-40B4-BE49-F238E27FC236}">
                    <a16:creationId xmlns:a16="http://schemas.microsoft.com/office/drawing/2014/main" id="{EF8B9640-DA98-46C7-A2D3-53BFDDBE8E9C}"/>
                  </a:ext>
                </a:extLst>
              </p:cNvPr>
              <p:cNvCxnSpPr/>
              <p:nvPr/>
            </p:nvCxnSpPr>
            <p:spPr>
              <a:xfrm>
                <a:off x="3640932" y="1826419"/>
                <a:ext cx="28575" cy="0"/>
              </a:xfrm>
              <a:prstGeom prst="line">
                <a:avLst/>
              </a:prstGeom>
              <a:ln w="3175"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65" name="Straight Connector 1864">
                <a:extLst>
                  <a:ext uri="{FF2B5EF4-FFF2-40B4-BE49-F238E27FC236}">
                    <a16:creationId xmlns:a16="http://schemas.microsoft.com/office/drawing/2014/main" id="{3BE2780B-9B07-456B-A6A5-11A3712CF00A}"/>
                  </a:ext>
                </a:extLst>
              </p:cNvPr>
              <p:cNvCxnSpPr/>
              <p:nvPr/>
            </p:nvCxnSpPr>
            <p:spPr>
              <a:xfrm>
                <a:off x="3640932" y="1833563"/>
                <a:ext cx="28575" cy="0"/>
              </a:xfrm>
              <a:prstGeom prst="line">
                <a:avLst/>
              </a:prstGeom>
              <a:ln w="3175"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66" name="Straight Connector 1865">
                <a:extLst>
                  <a:ext uri="{FF2B5EF4-FFF2-40B4-BE49-F238E27FC236}">
                    <a16:creationId xmlns:a16="http://schemas.microsoft.com/office/drawing/2014/main" id="{E9B88793-7B09-4C4F-B647-5FECD50F19CB}"/>
                  </a:ext>
                </a:extLst>
              </p:cNvPr>
              <p:cNvCxnSpPr/>
              <p:nvPr/>
            </p:nvCxnSpPr>
            <p:spPr>
              <a:xfrm>
                <a:off x="3640932" y="1840708"/>
                <a:ext cx="28575" cy="0"/>
              </a:xfrm>
              <a:prstGeom prst="line">
                <a:avLst/>
              </a:prstGeom>
              <a:ln w="3175"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871" name="TextBox 1870">
            <a:extLst>
              <a:ext uri="{FF2B5EF4-FFF2-40B4-BE49-F238E27FC236}">
                <a16:creationId xmlns:a16="http://schemas.microsoft.com/office/drawing/2014/main" id="{35EF0141-C786-450C-9452-70EFA8BC020C}"/>
              </a:ext>
            </a:extLst>
          </p:cNvPr>
          <p:cNvSpPr txBox="1">
            <a:spLocks noChangeAspect="1"/>
          </p:cNvSpPr>
          <p:nvPr/>
        </p:nvSpPr>
        <p:spPr>
          <a:xfrm>
            <a:off x="10942050" y="2202570"/>
            <a:ext cx="497737" cy="64723"/>
          </a:xfrm>
          <a:custGeom>
            <a:avLst/>
            <a:gdLst>
              <a:gd name="connsiteX0" fmla="*/ 796608 w 1046537"/>
              <a:gd name="connsiteY0" fmla="*/ 86776 h 136085"/>
              <a:gd name="connsiteX1" fmla="*/ 773279 w 1046537"/>
              <a:gd name="connsiteY1" fmla="*/ 90046 h 136085"/>
              <a:gd name="connsiteX2" fmla="*/ 762852 w 1046537"/>
              <a:gd name="connsiteY2" fmla="*/ 92255 h 136085"/>
              <a:gd name="connsiteX3" fmla="*/ 755694 w 1046537"/>
              <a:gd name="connsiteY3" fmla="*/ 95834 h 136085"/>
              <a:gd name="connsiteX4" fmla="*/ 751541 w 1046537"/>
              <a:gd name="connsiteY4" fmla="*/ 101401 h 136085"/>
              <a:gd name="connsiteX5" fmla="*/ 750215 w 1046537"/>
              <a:gd name="connsiteY5" fmla="*/ 109575 h 136085"/>
              <a:gd name="connsiteX6" fmla="*/ 751496 w 1046537"/>
              <a:gd name="connsiteY6" fmla="*/ 116291 h 136085"/>
              <a:gd name="connsiteX7" fmla="*/ 755208 w 1046537"/>
              <a:gd name="connsiteY7" fmla="*/ 121637 h 136085"/>
              <a:gd name="connsiteX8" fmla="*/ 761128 w 1046537"/>
              <a:gd name="connsiteY8" fmla="*/ 125127 h 136085"/>
              <a:gd name="connsiteX9" fmla="*/ 769037 w 1046537"/>
              <a:gd name="connsiteY9" fmla="*/ 126365 h 136085"/>
              <a:gd name="connsiteX10" fmla="*/ 780083 w 1046537"/>
              <a:gd name="connsiteY10" fmla="*/ 124067 h 136085"/>
              <a:gd name="connsiteX11" fmla="*/ 788787 w 1046537"/>
              <a:gd name="connsiteY11" fmla="*/ 117705 h 136085"/>
              <a:gd name="connsiteX12" fmla="*/ 794531 w 1046537"/>
              <a:gd name="connsiteY12" fmla="*/ 107984 h 136085"/>
              <a:gd name="connsiteX13" fmla="*/ 796608 w 1046537"/>
              <a:gd name="connsiteY13" fmla="*/ 95701 h 136085"/>
              <a:gd name="connsiteX14" fmla="*/ 934781 w 1046537"/>
              <a:gd name="connsiteY14" fmla="*/ 51164 h 136085"/>
              <a:gd name="connsiteX15" fmla="*/ 921349 w 1046537"/>
              <a:gd name="connsiteY15" fmla="*/ 53727 h 136085"/>
              <a:gd name="connsiteX16" fmla="*/ 911054 w 1046537"/>
              <a:gd name="connsiteY16" fmla="*/ 61194 h 136085"/>
              <a:gd name="connsiteX17" fmla="*/ 904471 w 1046537"/>
              <a:gd name="connsiteY17" fmla="*/ 73212 h 136085"/>
              <a:gd name="connsiteX18" fmla="*/ 902173 w 1046537"/>
              <a:gd name="connsiteY18" fmla="*/ 89339 h 136085"/>
              <a:gd name="connsiteX19" fmla="*/ 904471 w 1046537"/>
              <a:gd name="connsiteY19" fmla="*/ 104626 h 136085"/>
              <a:gd name="connsiteX20" fmla="*/ 910966 w 1046537"/>
              <a:gd name="connsiteY20" fmla="*/ 116291 h 136085"/>
              <a:gd name="connsiteX21" fmla="*/ 921172 w 1046537"/>
              <a:gd name="connsiteY21" fmla="*/ 123758 h 136085"/>
              <a:gd name="connsiteX22" fmla="*/ 934604 w 1046537"/>
              <a:gd name="connsiteY22" fmla="*/ 126365 h 136085"/>
              <a:gd name="connsiteX23" fmla="*/ 948036 w 1046537"/>
              <a:gd name="connsiteY23" fmla="*/ 123846 h 136085"/>
              <a:gd name="connsiteX24" fmla="*/ 957933 w 1046537"/>
              <a:gd name="connsiteY24" fmla="*/ 116512 h 136085"/>
              <a:gd name="connsiteX25" fmla="*/ 964074 w 1046537"/>
              <a:gd name="connsiteY25" fmla="*/ 104715 h 136085"/>
              <a:gd name="connsiteX26" fmla="*/ 966151 w 1046537"/>
              <a:gd name="connsiteY26" fmla="*/ 88809 h 136085"/>
              <a:gd name="connsiteX27" fmla="*/ 958021 w 1046537"/>
              <a:gd name="connsiteY27" fmla="*/ 60841 h 136085"/>
              <a:gd name="connsiteX28" fmla="*/ 934781 w 1046537"/>
              <a:gd name="connsiteY28" fmla="*/ 51164 h 136085"/>
              <a:gd name="connsiteX29" fmla="*/ 161223 w 1046537"/>
              <a:gd name="connsiteY29" fmla="*/ 51164 h 136085"/>
              <a:gd name="connsiteX30" fmla="*/ 148852 w 1046537"/>
              <a:gd name="connsiteY30" fmla="*/ 53815 h 136085"/>
              <a:gd name="connsiteX31" fmla="*/ 139176 w 1046537"/>
              <a:gd name="connsiteY31" fmla="*/ 61459 h 136085"/>
              <a:gd name="connsiteX32" fmla="*/ 132902 w 1046537"/>
              <a:gd name="connsiteY32" fmla="*/ 73610 h 136085"/>
              <a:gd name="connsiteX33" fmla="*/ 130648 w 1046537"/>
              <a:gd name="connsiteY33" fmla="*/ 89869 h 136085"/>
              <a:gd name="connsiteX34" fmla="*/ 132681 w 1046537"/>
              <a:gd name="connsiteY34" fmla="*/ 105245 h 136085"/>
              <a:gd name="connsiteX35" fmla="*/ 138469 w 1046537"/>
              <a:gd name="connsiteY35" fmla="*/ 116733 h 136085"/>
              <a:gd name="connsiteX36" fmla="*/ 147438 w 1046537"/>
              <a:gd name="connsiteY36" fmla="*/ 123890 h 136085"/>
              <a:gd name="connsiteX37" fmla="*/ 159014 w 1046537"/>
              <a:gd name="connsiteY37" fmla="*/ 126365 h 136085"/>
              <a:gd name="connsiteX38" fmla="*/ 171430 w 1046537"/>
              <a:gd name="connsiteY38" fmla="*/ 123890 h 136085"/>
              <a:gd name="connsiteX39" fmla="*/ 180796 w 1046537"/>
              <a:gd name="connsiteY39" fmla="*/ 117086 h 136085"/>
              <a:gd name="connsiteX40" fmla="*/ 186717 w 1046537"/>
              <a:gd name="connsiteY40" fmla="*/ 106924 h 136085"/>
              <a:gd name="connsiteX41" fmla="*/ 188794 w 1046537"/>
              <a:gd name="connsiteY41" fmla="*/ 94464 h 136085"/>
              <a:gd name="connsiteX42" fmla="*/ 188794 w 1046537"/>
              <a:gd name="connsiteY42" fmla="*/ 79353 h 136085"/>
              <a:gd name="connsiteX43" fmla="*/ 186761 w 1046537"/>
              <a:gd name="connsiteY43" fmla="*/ 68308 h 136085"/>
              <a:gd name="connsiteX44" fmla="*/ 181106 w 1046537"/>
              <a:gd name="connsiteY44" fmla="*/ 59383 h 136085"/>
              <a:gd name="connsiteX45" fmla="*/ 172402 w 1046537"/>
              <a:gd name="connsiteY45" fmla="*/ 53374 h 136085"/>
              <a:gd name="connsiteX46" fmla="*/ 161223 w 1046537"/>
              <a:gd name="connsiteY46" fmla="*/ 51164 h 136085"/>
              <a:gd name="connsiteX47" fmla="*/ 515871 w 1046537"/>
              <a:gd name="connsiteY47" fmla="*/ 43477 h 136085"/>
              <a:gd name="connsiteX48" fmla="*/ 527182 w 1046537"/>
              <a:gd name="connsiteY48" fmla="*/ 43477 h 136085"/>
              <a:gd name="connsiteX49" fmla="*/ 527182 w 1046537"/>
              <a:gd name="connsiteY49" fmla="*/ 133964 h 136085"/>
              <a:gd name="connsiteX50" fmla="*/ 515871 w 1046537"/>
              <a:gd name="connsiteY50" fmla="*/ 133964 h 136085"/>
              <a:gd name="connsiteX51" fmla="*/ 382521 w 1046537"/>
              <a:gd name="connsiteY51" fmla="*/ 43477 h 136085"/>
              <a:gd name="connsiteX52" fmla="*/ 393832 w 1046537"/>
              <a:gd name="connsiteY52" fmla="*/ 43477 h 136085"/>
              <a:gd name="connsiteX53" fmla="*/ 393832 w 1046537"/>
              <a:gd name="connsiteY53" fmla="*/ 133964 h 136085"/>
              <a:gd name="connsiteX54" fmla="*/ 382521 w 1046537"/>
              <a:gd name="connsiteY54" fmla="*/ 133964 h 136085"/>
              <a:gd name="connsiteX55" fmla="*/ 1037700 w 1046537"/>
              <a:gd name="connsiteY55" fmla="*/ 41798 h 136085"/>
              <a:gd name="connsiteX56" fmla="*/ 1042604 w 1046537"/>
              <a:gd name="connsiteY56" fmla="*/ 42151 h 136085"/>
              <a:gd name="connsiteX57" fmla="*/ 1046537 w 1046537"/>
              <a:gd name="connsiteY57" fmla="*/ 43211 h 136085"/>
              <a:gd name="connsiteX58" fmla="*/ 1046537 w 1046537"/>
              <a:gd name="connsiteY58" fmla="*/ 55053 h 136085"/>
              <a:gd name="connsiteX59" fmla="*/ 1036286 w 1046537"/>
              <a:gd name="connsiteY59" fmla="*/ 52137 h 136085"/>
              <a:gd name="connsiteX60" fmla="*/ 1028333 w 1046537"/>
              <a:gd name="connsiteY60" fmla="*/ 53860 h 136085"/>
              <a:gd name="connsiteX61" fmla="*/ 1022280 w 1046537"/>
              <a:gd name="connsiteY61" fmla="*/ 58499 h 136085"/>
              <a:gd name="connsiteX62" fmla="*/ 1017862 w 1046537"/>
              <a:gd name="connsiteY62" fmla="*/ 65259 h 136085"/>
              <a:gd name="connsiteX63" fmla="*/ 1014945 w 1046537"/>
              <a:gd name="connsiteY63" fmla="*/ 73256 h 136085"/>
              <a:gd name="connsiteX64" fmla="*/ 1013355 w 1046537"/>
              <a:gd name="connsiteY64" fmla="*/ 81651 h 136085"/>
              <a:gd name="connsiteX65" fmla="*/ 1012869 w 1046537"/>
              <a:gd name="connsiteY65" fmla="*/ 89692 h 136085"/>
              <a:gd name="connsiteX66" fmla="*/ 1012869 w 1046537"/>
              <a:gd name="connsiteY66" fmla="*/ 133964 h 136085"/>
              <a:gd name="connsiteX67" fmla="*/ 1001646 w 1046537"/>
              <a:gd name="connsiteY67" fmla="*/ 133964 h 136085"/>
              <a:gd name="connsiteX68" fmla="*/ 1001646 w 1046537"/>
              <a:gd name="connsiteY68" fmla="*/ 43477 h 136085"/>
              <a:gd name="connsiteX69" fmla="*/ 1012869 w 1046537"/>
              <a:gd name="connsiteY69" fmla="*/ 43477 h 136085"/>
              <a:gd name="connsiteX70" fmla="*/ 1012869 w 1046537"/>
              <a:gd name="connsiteY70" fmla="*/ 62829 h 136085"/>
              <a:gd name="connsiteX71" fmla="*/ 1013222 w 1046537"/>
              <a:gd name="connsiteY71" fmla="*/ 62829 h 136085"/>
              <a:gd name="connsiteX72" fmla="*/ 1017243 w 1046537"/>
              <a:gd name="connsiteY72" fmla="*/ 53948 h 136085"/>
              <a:gd name="connsiteX73" fmla="*/ 1022854 w 1046537"/>
              <a:gd name="connsiteY73" fmla="*/ 47321 h 136085"/>
              <a:gd name="connsiteX74" fmla="*/ 1029791 w 1046537"/>
              <a:gd name="connsiteY74" fmla="*/ 43211 h 136085"/>
              <a:gd name="connsiteX75" fmla="*/ 1037700 w 1046537"/>
              <a:gd name="connsiteY75" fmla="*/ 41798 h 136085"/>
              <a:gd name="connsiteX76" fmla="*/ 723375 w 1046537"/>
              <a:gd name="connsiteY76" fmla="*/ 41798 h 136085"/>
              <a:gd name="connsiteX77" fmla="*/ 728279 w 1046537"/>
              <a:gd name="connsiteY77" fmla="*/ 42151 h 136085"/>
              <a:gd name="connsiteX78" fmla="*/ 732212 w 1046537"/>
              <a:gd name="connsiteY78" fmla="*/ 43211 h 136085"/>
              <a:gd name="connsiteX79" fmla="*/ 732212 w 1046537"/>
              <a:gd name="connsiteY79" fmla="*/ 55053 h 136085"/>
              <a:gd name="connsiteX80" fmla="*/ 721961 w 1046537"/>
              <a:gd name="connsiteY80" fmla="*/ 52137 h 136085"/>
              <a:gd name="connsiteX81" fmla="*/ 714008 w 1046537"/>
              <a:gd name="connsiteY81" fmla="*/ 53860 h 136085"/>
              <a:gd name="connsiteX82" fmla="*/ 707955 w 1046537"/>
              <a:gd name="connsiteY82" fmla="*/ 58499 h 136085"/>
              <a:gd name="connsiteX83" fmla="*/ 703537 w 1046537"/>
              <a:gd name="connsiteY83" fmla="*/ 65259 h 136085"/>
              <a:gd name="connsiteX84" fmla="*/ 700620 w 1046537"/>
              <a:gd name="connsiteY84" fmla="*/ 73256 h 136085"/>
              <a:gd name="connsiteX85" fmla="*/ 699030 w 1046537"/>
              <a:gd name="connsiteY85" fmla="*/ 81651 h 136085"/>
              <a:gd name="connsiteX86" fmla="*/ 698544 w 1046537"/>
              <a:gd name="connsiteY86" fmla="*/ 89692 h 136085"/>
              <a:gd name="connsiteX87" fmla="*/ 698544 w 1046537"/>
              <a:gd name="connsiteY87" fmla="*/ 133964 h 136085"/>
              <a:gd name="connsiteX88" fmla="*/ 687321 w 1046537"/>
              <a:gd name="connsiteY88" fmla="*/ 133964 h 136085"/>
              <a:gd name="connsiteX89" fmla="*/ 687321 w 1046537"/>
              <a:gd name="connsiteY89" fmla="*/ 43477 h 136085"/>
              <a:gd name="connsiteX90" fmla="*/ 698544 w 1046537"/>
              <a:gd name="connsiteY90" fmla="*/ 43477 h 136085"/>
              <a:gd name="connsiteX91" fmla="*/ 698544 w 1046537"/>
              <a:gd name="connsiteY91" fmla="*/ 62829 h 136085"/>
              <a:gd name="connsiteX92" fmla="*/ 698897 w 1046537"/>
              <a:gd name="connsiteY92" fmla="*/ 62829 h 136085"/>
              <a:gd name="connsiteX93" fmla="*/ 702918 w 1046537"/>
              <a:gd name="connsiteY93" fmla="*/ 53948 h 136085"/>
              <a:gd name="connsiteX94" fmla="*/ 708529 w 1046537"/>
              <a:gd name="connsiteY94" fmla="*/ 47321 h 136085"/>
              <a:gd name="connsiteX95" fmla="*/ 715466 w 1046537"/>
              <a:gd name="connsiteY95" fmla="*/ 43211 h 136085"/>
              <a:gd name="connsiteX96" fmla="*/ 723375 w 1046537"/>
              <a:gd name="connsiteY96" fmla="*/ 41798 h 136085"/>
              <a:gd name="connsiteX97" fmla="*/ 935488 w 1046537"/>
              <a:gd name="connsiteY97" fmla="*/ 41356 h 136085"/>
              <a:gd name="connsiteX98" fmla="*/ 953161 w 1046537"/>
              <a:gd name="connsiteY98" fmla="*/ 44581 h 136085"/>
              <a:gd name="connsiteX99" fmla="*/ 966504 w 1046537"/>
              <a:gd name="connsiteY99" fmla="*/ 53904 h 136085"/>
              <a:gd name="connsiteX100" fmla="*/ 974899 w 1046537"/>
              <a:gd name="connsiteY100" fmla="*/ 68749 h 136085"/>
              <a:gd name="connsiteX101" fmla="*/ 977815 w 1046537"/>
              <a:gd name="connsiteY101" fmla="*/ 88632 h 136085"/>
              <a:gd name="connsiteX102" fmla="*/ 974767 w 1046537"/>
              <a:gd name="connsiteY102" fmla="*/ 107940 h 136085"/>
              <a:gd name="connsiteX103" fmla="*/ 966062 w 1046537"/>
              <a:gd name="connsiteY103" fmla="*/ 122918 h 136085"/>
              <a:gd name="connsiteX104" fmla="*/ 952277 w 1046537"/>
              <a:gd name="connsiteY104" fmla="*/ 132639 h 136085"/>
              <a:gd name="connsiteX105" fmla="*/ 933897 w 1046537"/>
              <a:gd name="connsiteY105" fmla="*/ 136085 h 136085"/>
              <a:gd name="connsiteX106" fmla="*/ 915826 w 1046537"/>
              <a:gd name="connsiteY106" fmla="*/ 132727 h 136085"/>
              <a:gd name="connsiteX107" fmla="*/ 902173 w 1046537"/>
              <a:gd name="connsiteY107" fmla="*/ 123228 h 136085"/>
              <a:gd name="connsiteX108" fmla="*/ 893513 w 1046537"/>
              <a:gd name="connsiteY108" fmla="*/ 108514 h 136085"/>
              <a:gd name="connsiteX109" fmla="*/ 890509 w 1046537"/>
              <a:gd name="connsiteY109" fmla="*/ 89516 h 136085"/>
              <a:gd name="connsiteX110" fmla="*/ 893690 w 1046537"/>
              <a:gd name="connsiteY110" fmla="*/ 69280 h 136085"/>
              <a:gd name="connsiteX111" fmla="*/ 902748 w 1046537"/>
              <a:gd name="connsiteY111" fmla="*/ 54125 h 136085"/>
              <a:gd name="connsiteX112" fmla="*/ 916931 w 1046537"/>
              <a:gd name="connsiteY112" fmla="*/ 44625 h 136085"/>
              <a:gd name="connsiteX113" fmla="*/ 935488 w 1046537"/>
              <a:gd name="connsiteY113" fmla="*/ 41356 h 136085"/>
              <a:gd name="connsiteX114" fmla="*/ 777344 w 1046537"/>
              <a:gd name="connsiteY114" fmla="*/ 41356 h 136085"/>
              <a:gd name="connsiteX115" fmla="*/ 800186 w 1046537"/>
              <a:gd name="connsiteY115" fmla="*/ 49839 h 136085"/>
              <a:gd name="connsiteX116" fmla="*/ 807919 w 1046537"/>
              <a:gd name="connsiteY116" fmla="*/ 75112 h 136085"/>
              <a:gd name="connsiteX117" fmla="*/ 807919 w 1046537"/>
              <a:gd name="connsiteY117" fmla="*/ 133964 h 136085"/>
              <a:gd name="connsiteX118" fmla="*/ 796608 w 1046537"/>
              <a:gd name="connsiteY118" fmla="*/ 133964 h 136085"/>
              <a:gd name="connsiteX119" fmla="*/ 796608 w 1046537"/>
              <a:gd name="connsiteY119" fmla="*/ 117881 h 136085"/>
              <a:gd name="connsiteX120" fmla="*/ 796254 w 1046537"/>
              <a:gd name="connsiteY120" fmla="*/ 117881 h 136085"/>
              <a:gd name="connsiteX121" fmla="*/ 784192 w 1046537"/>
              <a:gd name="connsiteY121" fmla="*/ 131313 h 136085"/>
              <a:gd name="connsiteX122" fmla="*/ 766916 w 1046537"/>
              <a:gd name="connsiteY122" fmla="*/ 136085 h 136085"/>
              <a:gd name="connsiteX123" fmla="*/ 755119 w 1046537"/>
              <a:gd name="connsiteY123" fmla="*/ 134229 h 136085"/>
              <a:gd name="connsiteX124" fmla="*/ 746194 w 1046537"/>
              <a:gd name="connsiteY124" fmla="*/ 128971 h 136085"/>
              <a:gd name="connsiteX125" fmla="*/ 740539 w 1046537"/>
              <a:gd name="connsiteY125" fmla="*/ 120797 h 136085"/>
              <a:gd name="connsiteX126" fmla="*/ 738551 w 1046537"/>
              <a:gd name="connsiteY126" fmla="*/ 110282 h 136085"/>
              <a:gd name="connsiteX127" fmla="*/ 746150 w 1046537"/>
              <a:gd name="connsiteY127" fmla="*/ 90709 h 136085"/>
              <a:gd name="connsiteX128" fmla="*/ 769126 w 1046537"/>
              <a:gd name="connsiteY128" fmla="*/ 81209 h 136085"/>
              <a:gd name="connsiteX129" fmla="*/ 796608 w 1046537"/>
              <a:gd name="connsiteY129" fmla="*/ 77233 h 136085"/>
              <a:gd name="connsiteX130" fmla="*/ 776372 w 1046537"/>
              <a:gd name="connsiteY130" fmla="*/ 51164 h 136085"/>
              <a:gd name="connsiteX131" fmla="*/ 747034 w 1046537"/>
              <a:gd name="connsiteY131" fmla="*/ 62741 h 136085"/>
              <a:gd name="connsiteX132" fmla="*/ 747034 w 1046537"/>
              <a:gd name="connsiteY132" fmla="*/ 50369 h 136085"/>
              <a:gd name="connsiteX133" fmla="*/ 753440 w 1046537"/>
              <a:gd name="connsiteY133" fmla="*/ 46702 h 136085"/>
              <a:gd name="connsiteX134" fmla="*/ 760996 w 1046537"/>
              <a:gd name="connsiteY134" fmla="*/ 43874 h 136085"/>
              <a:gd name="connsiteX135" fmla="*/ 769170 w 1046537"/>
              <a:gd name="connsiteY135" fmla="*/ 42019 h 136085"/>
              <a:gd name="connsiteX136" fmla="*/ 777344 w 1046537"/>
              <a:gd name="connsiteY136" fmla="*/ 41356 h 136085"/>
              <a:gd name="connsiteX137" fmla="*/ 581100 w 1046537"/>
              <a:gd name="connsiteY137" fmla="*/ 41356 h 136085"/>
              <a:gd name="connsiteX138" fmla="*/ 601601 w 1046537"/>
              <a:gd name="connsiteY138" fmla="*/ 45774 h 136085"/>
              <a:gd name="connsiteX139" fmla="*/ 601601 w 1046537"/>
              <a:gd name="connsiteY139" fmla="*/ 57704 h 136085"/>
              <a:gd name="connsiteX140" fmla="*/ 579686 w 1046537"/>
              <a:gd name="connsiteY140" fmla="*/ 51164 h 136085"/>
              <a:gd name="connsiteX141" fmla="*/ 571954 w 1046537"/>
              <a:gd name="connsiteY141" fmla="*/ 52225 h 136085"/>
              <a:gd name="connsiteX142" fmla="*/ 565989 w 1046537"/>
              <a:gd name="connsiteY142" fmla="*/ 55229 h 136085"/>
              <a:gd name="connsiteX143" fmla="*/ 562145 w 1046537"/>
              <a:gd name="connsiteY143" fmla="*/ 59869 h 136085"/>
              <a:gd name="connsiteX144" fmla="*/ 560775 w 1046537"/>
              <a:gd name="connsiteY144" fmla="*/ 65833 h 136085"/>
              <a:gd name="connsiteX145" fmla="*/ 561836 w 1046537"/>
              <a:gd name="connsiteY145" fmla="*/ 71710 h 136085"/>
              <a:gd name="connsiteX146" fmla="*/ 565150 w 1046537"/>
              <a:gd name="connsiteY146" fmla="*/ 76261 h 136085"/>
              <a:gd name="connsiteX147" fmla="*/ 570982 w 1046537"/>
              <a:gd name="connsiteY147" fmla="*/ 80149 h 136085"/>
              <a:gd name="connsiteX148" fmla="*/ 579686 w 1046537"/>
              <a:gd name="connsiteY148" fmla="*/ 84125 h 136085"/>
              <a:gd name="connsiteX149" fmla="*/ 590997 w 1046537"/>
              <a:gd name="connsiteY149" fmla="*/ 89383 h 136085"/>
              <a:gd name="connsiteX150" fmla="*/ 598862 w 1046537"/>
              <a:gd name="connsiteY150" fmla="*/ 95039 h 136085"/>
              <a:gd name="connsiteX151" fmla="*/ 603457 w 1046537"/>
              <a:gd name="connsiteY151" fmla="*/ 101843 h 136085"/>
              <a:gd name="connsiteX152" fmla="*/ 604959 w 1046537"/>
              <a:gd name="connsiteY152" fmla="*/ 110547 h 136085"/>
              <a:gd name="connsiteX153" fmla="*/ 602440 w 1046537"/>
              <a:gd name="connsiteY153" fmla="*/ 121416 h 136085"/>
              <a:gd name="connsiteX154" fmla="*/ 595459 w 1046537"/>
              <a:gd name="connsiteY154" fmla="*/ 129457 h 136085"/>
              <a:gd name="connsiteX155" fmla="*/ 584988 w 1046537"/>
              <a:gd name="connsiteY155" fmla="*/ 134406 h 136085"/>
              <a:gd name="connsiteX156" fmla="*/ 571910 w 1046537"/>
              <a:gd name="connsiteY156" fmla="*/ 136085 h 136085"/>
              <a:gd name="connsiteX157" fmla="*/ 548846 w 1046537"/>
              <a:gd name="connsiteY157" fmla="*/ 130341 h 136085"/>
              <a:gd name="connsiteX158" fmla="*/ 548846 w 1046537"/>
              <a:gd name="connsiteY158" fmla="*/ 117705 h 136085"/>
              <a:gd name="connsiteX159" fmla="*/ 554413 w 1046537"/>
              <a:gd name="connsiteY159" fmla="*/ 121328 h 136085"/>
              <a:gd name="connsiteX160" fmla="*/ 560599 w 1046537"/>
              <a:gd name="connsiteY160" fmla="*/ 124067 h 136085"/>
              <a:gd name="connsiteX161" fmla="*/ 567005 w 1046537"/>
              <a:gd name="connsiteY161" fmla="*/ 125790 h 136085"/>
              <a:gd name="connsiteX162" fmla="*/ 573147 w 1046537"/>
              <a:gd name="connsiteY162" fmla="*/ 126365 h 136085"/>
              <a:gd name="connsiteX163" fmla="*/ 593294 w 1046537"/>
              <a:gd name="connsiteY163" fmla="*/ 111254 h 136085"/>
              <a:gd name="connsiteX164" fmla="*/ 591881 w 1046537"/>
              <a:gd name="connsiteY164" fmla="*/ 105289 h 136085"/>
              <a:gd name="connsiteX165" fmla="*/ 587816 w 1046537"/>
              <a:gd name="connsiteY165" fmla="*/ 100694 h 136085"/>
              <a:gd name="connsiteX166" fmla="*/ 581453 w 1046537"/>
              <a:gd name="connsiteY166" fmla="*/ 96850 h 136085"/>
              <a:gd name="connsiteX167" fmla="*/ 573058 w 1046537"/>
              <a:gd name="connsiteY167" fmla="*/ 93139 h 136085"/>
              <a:gd name="connsiteX168" fmla="*/ 562278 w 1046537"/>
              <a:gd name="connsiteY168" fmla="*/ 87925 h 136085"/>
              <a:gd name="connsiteX169" fmla="*/ 554855 w 1046537"/>
              <a:gd name="connsiteY169" fmla="*/ 82137 h 136085"/>
              <a:gd name="connsiteX170" fmla="*/ 550525 w 1046537"/>
              <a:gd name="connsiteY170" fmla="*/ 75244 h 136085"/>
              <a:gd name="connsiteX171" fmla="*/ 549111 w 1046537"/>
              <a:gd name="connsiteY171" fmla="*/ 66717 h 136085"/>
              <a:gd name="connsiteX172" fmla="*/ 551718 w 1046537"/>
              <a:gd name="connsiteY172" fmla="*/ 56025 h 136085"/>
              <a:gd name="connsiteX173" fmla="*/ 558743 w 1046537"/>
              <a:gd name="connsiteY173" fmla="*/ 48072 h 136085"/>
              <a:gd name="connsiteX174" fmla="*/ 568949 w 1046537"/>
              <a:gd name="connsiteY174" fmla="*/ 43079 h 136085"/>
              <a:gd name="connsiteX175" fmla="*/ 581100 w 1046537"/>
              <a:gd name="connsiteY175" fmla="*/ 41356 h 136085"/>
              <a:gd name="connsiteX176" fmla="*/ 462595 w 1046537"/>
              <a:gd name="connsiteY176" fmla="*/ 41356 h 136085"/>
              <a:gd name="connsiteX177" fmla="*/ 485217 w 1046537"/>
              <a:gd name="connsiteY177" fmla="*/ 50988 h 136085"/>
              <a:gd name="connsiteX178" fmla="*/ 492994 w 1046537"/>
              <a:gd name="connsiteY178" fmla="*/ 78823 h 136085"/>
              <a:gd name="connsiteX179" fmla="*/ 492994 w 1046537"/>
              <a:gd name="connsiteY179" fmla="*/ 133964 h 136085"/>
              <a:gd name="connsiteX180" fmla="*/ 481683 w 1046537"/>
              <a:gd name="connsiteY180" fmla="*/ 133964 h 136085"/>
              <a:gd name="connsiteX181" fmla="*/ 481683 w 1046537"/>
              <a:gd name="connsiteY181" fmla="*/ 81828 h 136085"/>
              <a:gd name="connsiteX182" fmla="*/ 459414 w 1046537"/>
              <a:gd name="connsiteY182" fmla="*/ 51164 h 136085"/>
              <a:gd name="connsiteX183" fmla="*/ 448457 w 1046537"/>
              <a:gd name="connsiteY183" fmla="*/ 53506 h 136085"/>
              <a:gd name="connsiteX184" fmla="*/ 439753 w 1046537"/>
              <a:gd name="connsiteY184" fmla="*/ 60001 h 136085"/>
              <a:gd name="connsiteX185" fmla="*/ 434009 w 1046537"/>
              <a:gd name="connsiteY185" fmla="*/ 69854 h 136085"/>
              <a:gd name="connsiteX186" fmla="*/ 431932 w 1046537"/>
              <a:gd name="connsiteY186" fmla="*/ 82181 h 136085"/>
              <a:gd name="connsiteX187" fmla="*/ 431932 w 1046537"/>
              <a:gd name="connsiteY187" fmla="*/ 133964 h 136085"/>
              <a:gd name="connsiteX188" fmla="*/ 420621 w 1046537"/>
              <a:gd name="connsiteY188" fmla="*/ 133964 h 136085"/>
              <a:gd name="connsiteX189" fmla="*/ 420621 w 1046537"/>
              <a:gd name="connsiteY189" fmla="*/ 43477 h 136085"/>
              <a:gd name="connsiteX190" fmla="*/ 431932 w 1046537"/>
              <a:gd name="connsiteY190" fmla="*/ 43477 h 136085"/>
              <a:gd name="connsiteX191" fmla="*/ 431932 w 1046537"/>
              <a:gd name="connsiteY191" fmla="*/ 59206 h 136085"/>
              <a:gd name="connsiteX192" fmla="*/ 432286 w 1046537"/>
              <a:gd name="connsiteY192" fmla="*/ 59206 h 136085"/>
              <a:gd name="connsiteX193" fmla="*/ 462595 w 1046537"/>
              <a:gd name="connsiteY193" fmla="*/ 41356 h 136085"/>
              <a:gd name="connsiteX194" fmla="*/ 269621 w 1046537"/>
              <a:gd name="connsiteY194" fmla="*/ 41356 h 136085"/>
              <a:gd name="connsiteX195" fmla="*/ 278635 w 1046537"/>
              <a:gd name="connsiteY195" fmla="*/ 42814 h 136085"/>
              <a:gd name="connsiteX196" fmla="*/ 286234 w 1046537"/>
              <a:gd name="connsiteY196" fmla="*/ 46879 h 136085"/>
              <a:gd name="connsiteX197" fmla="*/ 292022 w 1046537"/>
              <a:gd name="connsiteY197" fmla="*/ 53109 h 136085"/>
              <a:gd name="connsiteX198" fmla="*/ 295689 w 1046537"/>
              <a:gd name="connsiteY198" fmla="*/ 61062 h 136085"/>
              <a:gd name="connsiteX199" fmla="*/ 308105 w 1046537"/>
              <a:gd name="connsiteY199" fmla="*/ 46393 h 136085"/>
              <a:gd name="connsiteX200" fmla="*/ 325381 w 1046537"/>
              <a:gd name="connsiteY200" fmla="*/ 41356 h 136085"/>
              <a:gd name="connsiteX201" fmla="*/ 355160 w 1046537"/>
              <a:gd name="connsiteY201" fmla="*/ 78116 h 136085"/>
              <a:gd name="connsiteX202" fmla="*/ 355160 w 1046537"/>
              <a:gd name="connsiteY202" fmla="*/ 133964 h 136085"/>
              <a:gd name="connsiteX203" fmla="*/ 343849 w 1046537"/>
              <a:gd name="connsiteY203" fmla="*/ 133964 h 136085"/>
              <a:gd name="connsiteX204" fmla="*/ 343849 w 1046537"/>
              <a:gd name="connsiteY204" fmla="*/ 80767 h 136085"/>
              <a:gd name="connsiteX205" fmla="*/ 342612 w 1046537"/>
              <a:gd name="connsiteY205" fmla="*/ 67026 h 136085"/>
              <a:gd name="connsiteX206" fmla="*/ 338768 w 1046537"/>
              <a:gd name="connsiteY206" fmla="*/ 57880 h 136085"/>
              <a:gd name="connsiteX207" fmla="*/ 332141 w 1046537"/>
              <a:gd name="connsiteY207" fmla="*/ 52755 h 136085"/>
              <a:gd name="connsiteX208" fmla="*/ 322553 w 1046537"/>
              <a:gd name="connsiteY208" fmla="*/ 51164 h 136085"/>
              <a:gd name="connsiteX209" fmla="*/ 313186 w 1046537"/>
              <a:gd name="connsiteY209" fmla="*/ 53506 h 136085"/>
              <a:gd name="connsiteX210" fmla="*/ 305454 w 1046537"/>
              <a:gd name="connsiteY210" fmla="*/ 59957 h 136085"/>
              <a:gd name="connsiteX211" fmla="*/ 300240 w 1046537"/>
              <a:gd name="connsiteY211" fmla="*/ 69633 h 136085"/>
              <a:gd name="connsiteX212" fmla="*/ 298340 w 1046537"/>
              <a:gd name="connsiteY212" fmla="*/ 81651 h 136085"/>
              <a:gd name="connsiteX213" fmla="*/ 298340 w 1046537"/>
              <a:gd name="connsiteY213" fmla="*/ 133964 h 136085"/>
              <a:gd name="connsiteX214" fmla="*/ 287029 w 1046537"/>
              <a:gd name="connsiteY214" fmla="*/ 133964 h 136085"/>
              <a:gd name="connsiteX215" fmla="*/ 287029 w 1046537"/>
              <a:gd name="connsiteY215" fmla="*/ 79619 h 136085"/>
              <a:gd name="connsiteX216" fmla="*/ 265203 w 1046537"/>
              <a:gd name="connsiteY216" fmla="*/ 51164 h 136085"/>
              <a:gd name="connsiteX217" fmla="*/ 255836 w 1046537"/>
              <a:gd name="connsiteY217" fmla="*/ 53418 h 136085"/>
              <a:gd name="connsiteX218" fmla="*/ 248281 w 1046537"/>
              <a:gd name="connsiteY218" fmla="*/ 59736 h 136085"/>
              <a:gd name="connsiteX219" fmla="*/ 243244 w 1046537"/>
              <a:gd name="connsiteY219" fmla="*/ 69501 h 136085"/>
              <a:gd name="connsiteX220" fmla="*/ 241432 w 1046537"/>
              <a:gd name="connsiteY220" fmla="*/ 82093 h 136085"/>
              <a:gd name="connsiteX221" fmla="*/ 241432 w 1046537"/>
              <a:gd name="connsiteY221" fmla="*/ 133964 h 136085"/>
              <a:gd name="connsiteX222" fmla="*/ 230121 w 1046537"/>
              <a:gd name="connsiteY222" fmla="*/ 133964 h 136085"/>
              <a:gd name="connsiteX223" fmla="*/ 230121 w 1046537"/>
              <a:gd name="connsiteY223" fmla="*/ 43477 h 136085"/>
              <a:gd name="connsiteX224" fmla="*/ 241432 w 1046537"/>
              <a:gd name="connsiteY224" fmla="*/ 43477 h 136085"/>
              <a:gd name="connsiteX225" fmla="*/ 241432 w 1046537"/>
              <a:gd name="connsiteY225" fmla="*/ 58145 h 136085"/>
              <a:gd name="connsiteX226" fmla="*/ 241786 w 1046537"/>
              <a:gd name="connsiteY226" fmla="*/ 58145 h 136085"/>
              <a:gd name="connsiteX227" fmla="*/ 269621 w 1046537"/>
              <a:gd name="connsiteY227" fmla="*/ 41356 h 136085"/>
              <a:gd name="connsiteX228" fmla="*/ 53639 w 1046537"/>
              <a:gd name="connsiteY228" fmla="*/ 20501 h 136085"/>
              <a:gd name="connsiteX229" fmla="*/ 52446 w 1046537"/>
              <a:gd name="connsiteY229" fmla="*/ 25538 h 136085"/>
              <a:gd name="connsiteX230" fmla="*/ 51165 w 1046537"/>
              <a:gd name="connsiteY230" fmla="*/ 29426 h 136085"/>
              <a:gd name="connsiteX231" fmla="*/ 30664 w 1046537"/>
              <a:gd name="connsiteY231" fmla="*/ 85804 h 136085"/>
              <a:gd name="connsiteX232" fmla="*/ 77056 w 1046537"/>
              <a:gd name="connsiteY232" fmla="*/ 85804 h 136085"/>
              <a:gd name="connsiteX233" fmla="*/ 56378 w 1046537"/>
              <a:gd name="connsiteY233" fmla="*/ 29426 h 136085"/>
              <a:gd name="connsiteX234" fmla="*/ 55097 w 1046537"/>
              <a:gd name="connsiteY234" fmla="*/ 25538 h 136085"/>
              <a:gd name="connsiteX235" fmla="*/ 53992 w 1046537"/>
              <a:gd name="connsiteY235" fmla="*/ 20501 h 136085"/>
              <a:gd name="connsiteX236" fmla="*/ 855274 w 1046537"/>
              <a:gd name="connsiteY236" fmla="*/ 16967 h 136085"/>
              <a:gd name="connsiteX237" fmla="*/ 855274 w 1046537"/>
              <a:gd name="connsiteY237" fmla="*/ 43477 h 136085"/>
              <a:gd name="connsiteX238" fmla="*/ 878603 w 1046537"/>
              <a:gd name="connsiteY238" fmla="*/ 43477 h 136085"/>
              <a:gd name="connsiteX239" fmla="*/ 878603 w 1046537"/>
              <a:gd name="connsiteY239" fmla="*/ 53374 h 136085"/>
              <a:gd name="connsiteX240" fmla="*/ 855274 w 1046537"/>
              <a:gd name="connsiteY240" fmla="*/ 53374 h 136085"/>
              <a:gd name="connsiteX241" fmla="*/ 855274 w 1046537"/>
              <a:gd name="connsiteY241" fmla="*/ 108780 h 136085"/>
              <a:gd name="connsiteX242" fmla="*/ 858278 w 1046537"/>
              <a:gd name="connsiteY242" fmla="*/ 122035 h 136085"/>
              <a:gd name="connsiteX243" fmla="*/ 868440 w 1046537"/>
              <a:gd name="connsiteY243" fmla="*/ 126099 h 136085"/>
              <a:gd name="connsiteX244" fmla="*/ 878603 w 1046537"/>
              <a:gd name="connsiteY244" fmla="*/ 122918 h 136085"/>
              <a:gd name="connsiteX245" fmla="*/ 878603 w 1046537"/>
              <a:gd name="connsiteY245" fmla="*/ 132904 h 136085"/>
              <a:gd name="connsiteX246" fmla="*/ 865878 w 1046537"/>
              <a:gd name="connsiteY246" fmla="*/ 135820 h 136085"/>
              <a:gd name="connsiteX247" fmla="*/ 843963 w 1046537"/>
              <a:gd name="connsiteY247" fmla="*/ 110547 h 136085"/>
              <a:gd name="connsiteX248" fmla="*/ 843963 w 1046537"/>
              <a:gd name="connsiteY248" fmla="*/ 53374 h 136085"/>
              <a:gd name="connsiteX249" fmla="*/ 828057 w 1046537"/>
              <a:gd name="connsiteY249" fmla="*/ 53374 h 136085"/>
              <a:gd name="connsiteX250" fmla="*/ 828057 w 1046537"/>
              <a:gd name="connsiteY250" fmla="*/ 43477 h 136085"/>
              <a:gd name="connsiteX251" fmla="*/ 843963 w 1046537"/>
              <a:gd name="connsiteY251" fmla="*/ 43477 h 136085"/>
              <a:gd name="connsiteX252" fmla="*/ 843963 w 1046537"/>
              <a:gd name="connsiteY252" fmla="*/ 20678 h 136085"/>
              <a:gd name="connsiteX253" fmla="*/ 645724 w 1046537"/>
              <a:gd name="connsiteY253" fmla="*/ 16967 h 136085"/>
              <a:gd name="connsiteX254" fmla="*/ 645724 w 1046537"/>
              <a:gd name="connsiteY254" fmla="*/ 43477 h 136085"/>
              <a:gd name="connsiteX255" fmla="*/ 669053 w 1046537"/>
              <a:gd name="connsiteY255" fmla="*/ 43477 h 136085"/>
              <a:gd name="connsiteX256" fmla="*/ 669053 w 1046537"/>
              <a:gd name="connsiteY256" fmla="*/ 53374 h 136085"/>
              <a:gd name="connsiteX257" fmla="*/ 645724 w 1046537"/>
              <a:gd name="connsiteY257" fmla="*/ 53374 h 136085"/>
              <a:gd name="connsiteX258" fmla="*/ 645724 w 1046537"/>
              <a:gd name="connsiteY258" fmla="*/ 108780 h 136085"/>
              <a:gd name="connsiteX259" fmla="*/ 648728 w 1046537"/>
              <a:gd name="connsiteY259" fmla="*/ 122035 h 136085"/>
              <a:gd name="connsiteX260" fmla="*/ 658890 w 1046537"/>
              <a:gd name="connsiteY260" fmla="*/ 126099 h 136085"/>
              <a:gd name="connsiteX261" fmla="*/ 669053 w 1046537"/>
              <a:gd name="connsiteY261" fmla="*/ 122918 h 136085"/>
              <a:gd name="connsiteX262" fmla="*/ 669053 w 1046537"/>
              <a:gd name="connsiteY262" fmla="*/ 132904 h 136085"/>
              <a:gd name="connsiteX263" fmla="*/ 656328 w 1046537"/>
              <a:gd name="connsiteY263" fmla="*/ 135820 h 136085"/>
              <a:gd name="connsiteX264" fmla="*/ 634413 w 1046537"/>
              <a:gd name="connsiteY264" fmla="*/ 110547 h 136085"/>
              <a:gd name="connsiteX265" fmla="*/ 634413 w 1046537"/>
              <a:gd name="connsiteY265" fmla="*/ 53374 h 136085"/>
              <a:gd name="connsiteX266" fmla="*/ 618507 w 1046537"/>
              <a:gd name="connsiteY266" fmla="*/ 53374 h 136085"/>
              <a:gd name="connsiteX267" fmla="*/ 618507 w 1046537"/>
              <a:gd name="connsiteY267" fmla="*/ 43477 h 136085"/>
              <a:gd name="connsiteX268" fmla="*/ 634413 w 1046537"/>
              <a:gd name="connsiteY268" fmla="*/ 43477 h 136085"/>
              <a:gd name="connsiteX269" fmla="*/ 634413 w 1046537"/>
              <a:gd name="connsiteY269" fmla="*/ 20678 h 136085"/>
              <a:gd name="connsiteX270" fmla="*/ 48249 w 1046537"/>
              <a:gd name="connsiteY270" fmla="*/ 7246 h 136085"/>
              <a:gd name="connsiteX271" fmla="*/ 60090 w 1046537"/>
              <a:gd name="connsiteY271" fmla="*/ 7246 h 136085"/>
              <a:gd name="connsiteX272" fmla="*/ 108073 w 1046537"/>
              <a:gd name="connsiteY272" fmla="*/ 133964 h 136085"/>
              <a:gd name="connsiteX273" fmla="*/ 94995 w 1046537"/>
              <a:gd name="connsiteY273" fmla="*/ 133964 h 136085"/>
              <a:gd name="connsiteX274" fmla="*/ 81033 w 1046537"/>
              <a:gd name="connsiteY274" fmla="*/ 96497 h 136085"/>
              <a:gd name="connsiteX275" fmla="*/ 26687 w 1046537"/>
              <a:gd name="connsiteY275" fmla="*/ 96497 h 136085"/>
              <a:gd name="connsiteX276" fmla="*/ 13079 w 1046537"/>
              <a:gd name="connsiteY276" fmla="*/ 133964 h 136085"/>
              <a:gd name="connsiteX277" fmla="*/ 0 w 1046537"/>
              <a:gd name="connsiteY277" fmla="*/ 133964 h 136085"/>
              <a:gd name="connsiteX278" fmla="*/ 521438 w 1046537"/>
              <a:gd name="connsiteY278" fmla="*/ 4507 h 136085"/>
              <a:gd name="connsiteX279" fmla="*/ 524620 w 1046537"/>
              <a:gd name="connsiteY279" fmla="*/ 5081 h 136085"/>
              <a:gd name="connsiteX280" fmla="*/ 527226 w 1046537"/>
              <a:gd name="connsiteY280" fmla="*/ 6716 h 136085"/>
              <a:gd name="connsiteX281" fmla="*/ 528994 w 1046537"/>
              <a:gd name="connsiteY281" fmla="*/ 9234 h 136085"/>
              <a:gd name="connsiteX282" fmla="*/ 529656 w 1046537"/>
              <a:gd name="connsiteY282" fmla="*/ 12460 h 136085"/>
              <a:gd name="connsiteX283" fmla="*/ 529038 w 1046537"/>
              <a:gd name="connsiteY283" fmla="*/ 15641 h 136085"/>
              <a:gd name="connsiteX284" fmla="*/ 527271 w 1046537"/>
              <a:gd name="connsiteY284" fmla="*/ 18248 h 136085"/>
              <a:gd name="connsiteX285" fmla="*/ 524664 w 1046537"/>
              <a:gd name="connsiteY285" fmla="*/ 19971 h 136085"/>
              <a:gd name="connsiteX286" fmla="*/ 521438 w 1046537"/>
              <a:gd name="connsiteY286" fmla="*/ 20590 h 136085"/>
              <a:gd name="connsiteX287" fmla="*/ 515783 w 1046537"/>
              <a:gd name="connsiteY287" fmla="*/ 18292 h 136085"/>
              <a:gd name="connsiteX288" fmla="*/ 513397 w 1046537"/>
              <a:gd name="connsiteY288" fmla="*/ 12460 h 136085"/>
              <a:gd name="connsiteX289" fmla="*/ 515783 w 1046537"/>
              <a:gd name="connsiteY289" fmla="*/ 6760 h 136085"/>
              <a:gd name="connsiteX290" fmla="*/ 521438 w 1046537"/>
              <a:gd name="connsiteY290" fmla="*/ 4507 h 136085"/>
              <a:gd name="connsiteX291" fmla="*/ 388088 w 1046537"/>
              <a:gd name="connsiteY291" fmla="*/ 4507 h 136085"/>
              <a:gd name="connsiteX292" fmla="*/ 391270 w 1046537"/>
              <a:gd name="connsiteY292" fmla="*/ 5081 h 136085"/>
              <a:gd name="connsiteX293" fmla="*/ 393876 w 1046537"/>
              <a:gd name="connsiteY293" fmla="*/ 6716 h 136085"/>
              <a:gd name="connsiteX294" fmla="*/ 395644 w 1046537"/>
              <a:gd name="connsiteY294" fmla="*/ 9234 h 136085"/>
              <a:gd name="connsiteX295" fmla="*/ 396306 w 1046537"/>
              <a:gd name="connsiteY295" fmla="*/ 12460 h 136085"/>
              <a:gd name="connsiteX296" fmla="*/ 395688 w 1046537"/>
              <a:gd name="connsiteY296" fmla="*/ 15641 h 136085"/>
              <a:gd name="connsiteX297" fmla="*/ 393921 w 1046537"/>
              <a:gd name="connsiteY297" fmla="*/ 18248 h 136085"/>
              <a:gd name="connsiteX298" fmla="*/ 391314 w 1046537"/>
              <a:gd name="connsiteY298" fmla="*/ 19971 h 136085"/>
              <a:gd name="connsiteX299" fmla="*/ 388088 w 1046537"/>
              <a:gd name="connsiteY299" fmla="*/ 20590 h 136085"/>
              <a:gd name="connsiteX300" fmla="*/ 382433 w 1046537"/>
              <a:gd name="connsiteY300" fmla="*/ 18292 h 136085"/>
              <a:gd name="connsiteX301" fmla="*/ 380047 w 1046537"/>
              <a:gd name="connsiteY301" fmla="*/ 12460 h 136085"/>
              <a:gd name="connsiteX302" fmla="*/ 382433 w 1046537"/>
              <a:gd name="connsiteY302" fmla="*/ 6760 h 136085"/>
              <a:gd name="connsiteX303" fmla="*/ 388088 w 1046537"/>
              <a:gd name="connsiteY303" fmla="*/ 4507 h 136085"/>
              <a:gd name="connsiteX304" fmla="*/ 188794 w 1046537"/>
              <a:gd name="connsiteY304" fmla="*/ 0 h 136085"/>
              <a:gd name="connsiteX305" fmla="*/ 200105 w 1046537"/>
              <a:gd name="connsiteY305" fmla="*/ 0 h 136085"/>
              <a:gd name="connsiteX306" fmla="*/ 200105 w 1046537"/>
              <a:gd name="connsiteY306" fmla="*/ 133964 h 136085"/>
              <a:gd name="connsiteX307" fmla="*/ 188794 w 1046537"/>
              <a:gd name="connsiteY307" fmla="*/ 133964 h 136085"/>
              <a:gd name="connsiteX308" fmla="*/ 188794 w 1046537"/>
              <a:gd name="connsiteY308" fmla="*/ 118058 h 136085"/>
              <a:gd name="connsiteX309" fmla="*/ 188440 w 1046537"/>
              <a:gd name="connsiteY309" fmla="*/ 118058 h 136085"/>
              <a:gd name="connsiteX310" fmla="*/ 175583 w 1046537"/>
              <a:gd name="connsiteY310" fmla="*/ 131357 h 136085"/>
              <a:gd name="connsiteX311" fmla="*/ 156628 w 1046537"/>
              <a:gd name="connsiteY311" fmla="*/ 136085 h 136085"/>
              <a:gd name="connsiteX312" fmla="*/ 141208 w 1046537"/>
              <a:gd name="connsiteY312" fmla="*/ 132948 h 136085"/>
              <a:gd name="connsiteX313" fmla="*/ 129323 w 1046537"/>
              <a:gd name="connsiteY313" fmla="*/ 123890 h 136085"/>
              <a:gd name="connsiteX314" fmla="*/ 121679 w 1046537"/>
              <a:gd name="connsiteY314" fmla="*/ 109575 h 136085"/>
              <a:gd name="connsiteX315" fmla="*/ 118984 w 1046537"/>
              <a:gd name="connsiteY315" fmla="*/ 90576 h 136085"/>
              <a:gd name="connsiteX316" fmla="*/ 121944 w 1046537"/>
              <a:gd name="connsiteY316" fmla="*/ 70561 h 136085"/>
              <a:gd name="connsiteX317" fmla="*/ 130339 w 1046537"/>
              <a:gd name="connsiteY317" fmla="*/ 55008 h 136085"/>
              <a:gd name="connsiteX318" fmla="*/ 143417 w 1046537"/>
              <a:gd name="connsiteY318" fmla="*/ 44935 h 136085"/>
              <a:gd name="connsiteX319" fmla="*/ 160428 w 1046537"/>
              <a:gd name="connsiteY319" fmla="*/ 41356 h 136085"/>
              <a:gd name="connsiteX320" fmla="*/ 188440 w 1046537"/>
              <a:gd name="connsiteY320" fmla="*/ 56997 h 136085"/>
              <a:gd name="connsiteX321" fmla="*/ 188794 w 1046537"/>
              <a:gd name="connsiteY321" fmla="*/ 56997 h 13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1046537" h="136085">
                <a:moveTo>
                  <a:pt x="796608" y="86776"/>
                </a:moveTo>
                <a:lnTo>
                  <a:pt x="773279" y="90046"/>
                </a:lnTo>
                <a:cubicBezTo>
                  <a:pt x="769214" y="90635"/>
                  <a:pt x="765738" y="91371"/>
                  <a:pt x="762852" y="92255"/>
                </a:cubicBezTo>
                <a:cubicBezTo>
                  <a:pt x="759965" y="93139"/>
                  <a:pt x="757579" y="94332"/>
                  <a:pt x="755694" y="95834"/>
                </a:cubicBezTo>
                <a:cubicBezTo>
                  <a:pt x="753809" y="97336"/>
                  <a:pt x="752424" y="99192"/>
                  <a:pt x="751541" y="101401"/>
                </a:cubicBezTo>
                <a:cubicBezTo>
                  <a:pt x="750657" y="103610"/>
                  <a:pt x="750215" y="106335"/>
                  <a:pt x="750215" y="109575"/>
                </a:cubicBezTo>
                <a:cubicBezTo>
                  <a:pt x="750215" y="111990"/>
                  <a:pt x="750642" y="114229"/>
                  <a:pt x="751496" y="116291"/>
                </a:cubicBezTo>
                <a:cubicBezTo>
                  <a:pt x="752351" y="118353"/>
                  <a:pt x="753588" y="120135"/>
                  <a:pt x="755208" y="121637"/>
                </a:cubicBezTo>
                <a:cubicBezTo>
                  <a:pt x="756828" y="123139"/>
                  <a:pt x="758801" y="124303"/>
                  <a:pt x="761128" y="125127"/>
                </a:cubicBezTo>
                <a:cubicBezTo>
                  <a:pt x="763455" y="125952"/>
                  <a:pt x="766092" y="126365"/>
                  <a:pt x="769037" y="126365"/>
                </a:cubicBezTo>
                <a:cubicBezTo>
                  <a:pt x="773043" y="126365"/>
                  <a:pt x="776725" y="125599"/>
                  <a:pt x="780083" y="124067"/>
                </a:cubicBezTo>
                <a:cubicBezTo>
                  <a:pt x="783441" y="122535"/>
                  <a:pt x="786342" y="120415"/>
                  <a:pt x="788787" y="117705"/>
                </a:cubicBezTo>
                <a:cubicBezTo>
                  <a:pt x="791232" y="114995"/>
                  <a:pt x="793147" y="111755"/>
                  <a:pt x="794531" y="107984"/>
                </a:cubicBezTo>
                <a:cubicBezTo>
                  <a:pt x="795915" y="104214"/>
                  <a:pt x="796608" y="100120"/>
                  <a:pt x="796608" y="95701"/>
                </a:cubicBezTo>
                <a:close/>
                <a:moveTo>
                  <a:pt x="934781" y="51164"/>
                </a:moveTo>
                <a:cubicBezTo>
                  <a:pt x="929832" y="51164"/>
                  <a:pt x="925355" y="52019"/>
                  <a:pt x="921349" y="53727"/>
                </a:cubicBezTo>
                <a:cubicBezTo>
                  <a:pt x="917343" y="55436"/>
                  <a:pt x="913911" y="57925"/>
                  <a:pt x="911054" y="61194"/>
                </a:cubicBezTo>
                <a:cubicBezTo>
                  <a:pt x="908197" y="64464"/>
                  <a:pt x="906003" y="68470"/>
                  <a:pt x="904471" y="73212"/>
                </a:cubicBezTo>
                <a:cubicBezTo>
                  <a:pt x="902939" y="77954"/>
                  <a:pt x="902173" y="83330"/>
                  <a:pt x="902173" y="89339"/>
                </a:cubicBezTo>
                <a:cubicBezTo>
                  <a:pt x="902173" y="94994"/>
                  <a:pt x="902939" y="100090"/>
                  <a:pt x="904471" y="104626"/>
                </a:cubicBezTo>
                <a:cubicBezTo>
                  <a:pt x="906003" y="109162"/>
                  <a:pt x="908168" y="113051"/>
                  <a:pt x="910966" y="116291"/>
                </a:cubicBezTo>
                <a:cubicBezTo>
                  <a:pt x="913764" y="119531"/>
                  <a:pt x="917166" y="122020"/>
                  <a:pt x="921172" y="123758"/>
                </a:cubicBezTo>
                <a:cubicBezTo>
                  <a:pt x="925178" y="125496"/>
                  <a:pt x="929655" y="126365"/>
                  <a:pt x="934604" y="126365"/>
                </a:cubicBezTo>
                <a:cubicBezTo>
                  <a:pt x="939670" y="126365"/>
                  <a:pt x="944147" y="125525"/>
                  <a:pt x="948036" y="123846"/>
                </a:cubicBezTo>
                <a:cubicBezTo>
                  <a:pt x="951924" y="122167"/>
                  <a:pt x="955223" y="119722"/>
                  <a:pt x="957933" y="116512"/>
                </a:cubicBezTo>
                <a:cubicBezTo>
                  <a:pt x="960643" y="113301"/>
                  <a:pt x="962690" y="109369"/>
                  <a:pt x="964074" y="104715"/>
                </a:cubicBezTo>
                <a:cubicBezTo>
                  <a:pt x="965459" y="100061"/>
                  <a:pt x="966151" y="94759"/>
                  <a:pt x="966151" y="88809"/>
                </a:cubicBezTo>
                <a:cubicBezTo>
                  <a:pt x="966151" y="76614"/>
                  <a:pt x="963441" y="67291"/>
                  <a:pt x="958021" y="60841"/>
                </a:cubicBezTo>
                <a:cubicBezTo>
                  <a:pt x="952601" y="54390"/>
                  <a:pt x="944854" y="51164"/>
                  <a:pt x="934781" y="51164"/>
                </a:cubicBezTo>
                <a:close/>
                <a:moveTo>
                  <a:pt x="161223" y="51164"/>
                </a:moveTo>
                <a:cubicBezTo>
                  <a:pt x="156746" y="51164"/>
                  <a:pt x="152622" y="52048"/>
                  <a:pt x="148852" y="53815"/>
                </a:cubicBezTo>
                <a:cubicBezTo>
                  <a:pt x="145082" y="55583"/>
                  <a:pt x="141856" y="58131"/>
                  <a:pt x="139176" y="61459"/>
                </a:cubicBezTo>
                <a:cubicBezTo>
                  <a:pt x="136495" y="64788"/>
                  <a:pt x="134404" y="68838"/>
                  <a:pt x="132902" y="73610"/>
                </a:cubicBezTo>
                <a:cubicBezTo>
                  <a:pt x="131399" y="78381"/>
                  <a:pt x="130648" y="83801"/>
                  <a:pt x="130648" y="89869"/>
                </a:cubicBezTo>
                <a:cubicBezTo>
                  <a:pt x="130648" y="95583"/>
                  <a:pt x="131326" y="100709"/>
                  <a:pt x="132681" y="105245"/>
                </a:cubicBezTo>
                <a:cubicBezTo>
                  <a:pt x="134036" y="109781"/>
                  <a:pt x="135965" y="113610"/>
                  <a:pt x="138469" y="116733"/>
                </a:cubicBezTo>
                <a:cubicBezTo>
                  <a:pt x="140972" y="119855"/>
                  <a:pt x="143962" y="122241"/>
                  <a:pt x="147438" y="123890"/>
                </a:cubicBezTo>
                <a:cubicBezTo>
                  <a:pt x="150914" y="125540"/>
                  <a:pt x="154772" y="126365"/>
                  <a:pt x="159014" y="126365"/>
                </a:cubicBezTo>
                <a:cubicBezTo>
                  <a:pt x="163609" y="126365"/>
                  <a:pt x="167748" y="125540"/>
                  <a:pt x="171430" y="123890"/>
                </a:cubicBezTo>
                <a:cubicBezTo>
                  <a:pt x="175111" y="122241"/>
                  <a:pt x="178234" y="119973"/>
                  <a:pt x="180796" y="117086"/>
                </a:cubicBezTo>
                <a:cubicBezTo>
                  <a:pt x="183359" y="114199"/>
                  <a:pt x="185333" y="110812"/>
                  <a:pt x="186717" y="106924"/>
                </a:cubicBezTo>
                <a:cubicBezTo>
                  <a:pt x="188101" y="103036"/>
                  <a:pt x="188794" y="98883"/>
                  <a:pt x="188794" y="94464"/>
                </a:cubicBezTo>
                <a:lnTo>
                  <a:pt x="188794" y="79353"/>
                </a:lnTo>
                <a:cubicBezTo>
                  <a:pt x="188794" y="75406"/>
                  <a:pt x="188116" y="71724"/>
                  <a:pt x="186761" y="68308"/>
                </a:cubicBezTo>
                <a:cubicBezTo>
                  <a:pt x="185406" y="64891"/>
                  <a:pt x="183521" y="61916"/>
                  <a:pt x="181106" y="59383"/>
                </a:cubicBezTo>
                <a:cubicBezTo>
                  <a:pt x="178690" y="56849"/>
                  <a:pt x="175789" y="54846"/>
                  <a:pt x="172402" y="53374"/>
                </a:cubicBezTo>
                <a:cubicBezTo>
                  <a:pt x="169014" y="51901"/>
                  <a:pt x="165288" y="51164"/>
                  <a:pt x="161223" y="51164"/>
                </a:cubicBezTo>
                <a:close/>
                <a:moveTo>
                  <a:pt x="515871" y="43477"/>
                </a:moveTo>
                <a:lnTo>
                  <a:pt x="527182" y="43477"/>
                </a:lnTo>
                <a:lnTo>
                  <a:pt x="527182" y="133964"/>
                </a:lnTo>
                <a:lnTo>
                  <a:pt x="515871" y="133964"/>
                </a:lnTo>
                <a:close/>
                <a:moveTo>
                  <a:pt x="382521" y="43477"/>
                </a:moveTo>
                <a:lnTo>
                  <a:pt x="393832" y="43477"/>
                </a:lnTo>
                <a:lnTo>
                  <a:pt x="393832" y="133964"/>
                </a:lnTo>
                <a:lnTo>
                  <a:pt x="382521" y="133964"/>
                </a:lnTo>
                <a:close/>
                <a:moveTo>
                  <a:pt x="1037700" y="41798"/>
                </a:moveTo>
                <a:cubicBezTo>
                  <a:pt x="1039526" y="41798"/>
                  <a:pt x="1041161" y="41915"/>
                  <a:pt x="1042604" y="42151"/>
                </a:cubicBezTo>
                <a:cubicBezTo>
                  <a:pt x="1044048" y="42387"/>
                  <a:pt x="1045358" y="42740"/>
                  <a:pt x="1046537" y="43211"/>
                </a:cubicBezTo>
                <a:lnTo>
                  <a:pt x="1046537" y="55053"/>
                </a:lnTo>
                <a:cubicBezTo>
                  <a:pt x="1043886" y="53109"/>
                  <a:pt x="1040469" y="52137"/>
                  <a:pt x="1036286" y="52137"/>
                </a:cubicBezTo>
                <a:cubicBezTo>
                  <a:pt x="1033282" y="52137"/>
                  <a:pt x="1030631" y="52711"/>
                  <a:pt x="1028333" y="53860"/>
                </a:cubicBezTo>
                <a:cubicBezTo>
                  <a:pt x="1026035" y="55008"/>
                  <a:pt x="1024018" y="56555"/>
                  <a:pt x="1022280" y="58499"/>
                </a:cubicBezTo>
                <a:cubicBezTo>
                  <a:pt x="1020542" y="60443"/>
                  <a:pt x="1019069" y="62696"/>
                  <a:pt x="1017862" y="65259"/>
                </a:cubicBezTo>
                <a:cubicBezTo>
                  <a:pt x="1016654" y="67822"/>
                  <a:pt x="1015682" y="70487"/>
                  <a:pt x="1014945" y="73256"/>
                </a:cubicBezTo>
                <a:cubicBezTo>
                  <a:pt x="1014209" y="76025"/>
                  <a:pt x="1013679" y="78823"/>
                  <a:pt x="1013355" y="81651"/>
                </a:cubicBezTo>
                <a:cubicBezTo>
                  <a:pt x="1013031" y="84479"/>
                  <a:pt x="1012869" y="87159"/>
                  <a:pt x="1012869" y="89692"/>
                </a:cubicBezTo>
                <a:lnTo>
                  <a:pt x="1012869" y="133964"/>
                </a:lnTo>
                <a:lnTo>
                  <a:pt x="1001646" y="133964"/>
                </a:lnTo>
                <a:lnTo>
                  <a:pt x="1001646" y="43477"/>
                </a:lnTo>
                <a:lnTo>
                  <a:pt x="1012869" y="43477"/>
                </a:lnTo>
                <a:lnTo>
                  <a:pt x="1012869" y="62829"/>
                </a:lnTo>
                <a:lnTo>
                  <a:pt x="1013222" y="62829"/>
                </a:lnTo>
                <a:cubicBezTo>
                  <a:pt x="1014283" y="59530"/>
                  <a:pt x="1015623" y="56570"/>
                  <a:pt x="1017243" y="53948"/>
                </a:cubicBezTo>
                <a:cubicBezTo>
                  <a:pt x="1018863" y="51326"/>
                  <a:pt x="1020733" y="49117"/>
                  <a:pt x="1022854" y="47321"/>
                </a:cubicBezTo>
                <a:cubicBezTo>
                  <a:pt x="1024975" y="45524"/>
                  <a:pt x="1027287" y="44154"/>
                  <a:pt x="1029791" y="43211"/>
                </a:cubicBezTo>
                <a:cubicBezTo>
                  <a:pt x="1032295" y="42269"/>
                  <a:pt x="1034931" y="41798"/>
                  <a:pt x="1037700" y="41798"/>
                </a:cubicBezTo>
                <a:close/>
                <a:moveTo>
                  <a:pt x="723375" y="41798"/>
                </a:moveTo>
                <a:cubicBezTo>
                  <a:pt x="725201" y="41798"/>
                  <a:pt x="726836" y="41915"/>
                  <a:pt x="728279" y="42151"/>
                </a:cubicBezTo>
                <a:cubicBezTo>
                  <a:pt x="729723" y="42387"/>
                  <a:pt x="731033" y="42740"/>
                  <a:pt x="732212" y="43211"/>
                </a:cubicBezTo>
                <a:lnTo>
                  <a:pt x="732212" y="55053"/>
                </a:lnTo>
                <a:cubicBezTo>
                  <a:pt x="729561" y="53109"/>
                  <a:pt x="726144" y="52137"/>
                  <a:pt x="721961" y="52137"/>
                </a:cubicBezTo>
                <a:cubicBezTo>
                  <a:pt x="718957" y="52137"/>
                  <a:pt x="716306" y="52711"/>
                  <a:pt x="714008" y="53860"/>
                </a:cubicBezTo>
                <a:cubicBezTo>
                  <a:pt x="711710" y="55008"/>
                  <a:pt x="709693" y="56555"/>
                  <a:pt x="707955" y="58499"/>
                </a:cubicBezTo>
                <a:cubicBezTo>
                  <a:pt x="706217" y="60443"/>
                  <a:pt x="704744" y="62696"/>
                  <a:pt x="703537" y="65259"/>
                </a:cubicBezTo>
                <a:cubicBezTo>
                  <a:pt x="702329" y="67822"/>
                  <a:pt x="701357" y="70487"/>
                  <a:pt x="700620" y="73256"/>
                </a:cubicBezTo>
                <a:cubicBezTo>
                  <a:pt x="699884" y="76025"/>
                  <a:pt x="699354" y="78823"/>
                  <a:pt x="699030" y="81651"/>
                </a:cubicBezTo>
                <a:cubicBezTo>
                  <a:pt x="698706" y="84479"/>
                  <a:pt x="698544" y="87159"/>
                  <a:pt x="698544" y="89692"/>
                </a:cubicBezTo>
                <a:lnTo>
                  <a:pt x="698544" y="133964"/>
                </a:lnTo>
                <a:lnTo>
                  <a:pt x="687321" y="133964"/>
                </a:lnTo>
                <a:lnTo>
                  <a:pt x="687321" y="43477"/>
                </a:lnTo>
                <a:lnTo>
                  <a:pt x="698544" y="43477"/>
                </a:lnTo>
                <a:lnTo>
                  <a:pt x="698544" y="62829"/>
                </a:lnTo>
                <a:lnTo>
                  <a:pt x="698897" y="62829"/>
                </a:lnTo>
                <a:cubicBezTo>
                  <a:pt x="699958" y="59530"/>
                  <a:pt x="701298" y="56570"/>
                  <a:pt x="702918" y="53948"/>
                </a:cubicBezTo>
                <a:cubicBezTo>
                  <a:pt x="704538" y="51326"/>
                  <a:pt x="706408" y="49117"/>
                  <a:pt x="708529" y="47321"/>
                </a:cubicBezTo>
                <a:cubicBezTo>
                  <a:pt x="710650" y="45524"/>
                  <a:pt x="712962" y="44154"/>
                  <a:pt x="715466" y="43211"/>
                </a:cubicBezTo>
                <a:cubicBezTo>
                  <a:pt x="717970" y="42269"/>
                  <a:pt x="720606" y="41798"/>
                  <a:pt x="723375" y="41798"/>
                </a:cubicBezTo>
                <a:close/>
                <a:moveTo>
                  <a:pt x="935488" y="41356"/>
                </a:moveTo>
                <a:cubicBezTo>
                  <a:pt x="942027" y="41356"/>
                  <a:pt x="947918" y="42431"/>
                  <a:pt x="953161" y="44581"/>
                </a:cubicBezTo>
                <a:cubicBezTo>
                  <a:pt x="958404" y="46731"/>
                  <a:pt x="962852" y="49839"/>
                  <a:pt x="966504" y="53904"/>
                </a:cubicBezTo>
                <a:cubicBezTo>
                  <a:pt x="970157" y="57969"/>
                  <a:pt x="972955" y="62917"/>
                  <a:pt x="974899" y="68749"/>
                </a:cubicBezTo>
                <a:cubicBezTo>
                  <a:pt x="976843" y="74582"/>
                  <a:pt x="977815" y="81209"/>
                  <a:pt x="977815" y="88632"/>
                </a:cubicBezTo>
                <a:cubicBezTo>
                  <a:pt x="977815" y="95701"/>
                  <a:pt x="976799" y="102137"/>
                  <a:pt x="974767" y="107940"/>
                </a:cubicBezTo>
                <a:cubicBezTo>
                  <a:pt x="972734" y="113743"/>
                  <a:pt x="969833" y="118736"/>
                  <a:pt x="966062" y="122918"/>
                </a:cubicBezTo>
                <a:cubicBezTo>
                  <a:pt x="962292" y="127101"/>
                  <a:pt x="957697" y="130341"/>
                  <a:pt x="952277" y="132639"/>
                </a:cubicBezTo>
                <a:cubicBezTo>
                  <a:pt x="946857" y="134936"/>
                  <a:pt x="940731" y="136085"/>
                  <a:pt x="933897" y="136085"/>
                </a:cubicBezTo>
                <a:cubicBezTo>
                  <a:pt x="927181" y="136085"/>
                  <a:pt x="921157" y="134966"/>
                  <a:pt x="915826" y="132727"/>
                </a:cubicBezTo>
                <a:cubicBezTo>
                  <a:pt x="910495" y="130488"/>
                  <a:pt x="905944" y="127322"/>
                  <a:pt x="902173" y="123228"/>
                </a:cubicBezTo>
                <a:cubicBezTo>
                  <a:pt x="898403" y="119133"/>
                  <a:pt x="895516" y="114229"/>
                  <a:pt x="893513" y="108514"/>
                </a:cubicBezTo>
                <a:cubicBezTo>
                  <a:pt x="891510" y="102800"/>
                  <a:pt x="890509" y="96467"/>
                  <a:pt x="890509" y="89516"/>
                </a:cubicBezTo>
                <a:cubicBezTo>
                  <a:pt x="890509" y="81975"/>
                  <a:pt x="891569" y="75230"/>
                  <a:pt x="893690" y="69280"/>
                </a:cubicBezTo>
                <a:cubicBezTo>
                  <a:pt x="895811" y="63330"/>
                  <a:pt x="898830" y="58278"/>
                  <a:pt x="902748" y="54125"/>
                </a:cubicBezTo>
                <a:cubicBezTo>
                  <a:pt x="906665" y="49972"/>
                  <a:pt x="911393" y="46805"/>
                  <a:pt x="916931" y="44625"/>
                </a:cubicBezTo>
                <a:cubicBezTo>
                  <a:pt x="922468" y="42446"/>
                  <a:pt x="928654" y="41356"/>
                  <a:pt x="935488" y="41356"/>
                </a:cubicBezTo>
                <a:close/>
                <a:moveTo>
                  <a:pt x="777344" y="41356"/>
                </a:moveTo>
                <a:cubicBezTo>
                  <a:pt x="787417" y="41356"/>
                  <a:pt x="795032" y="44184"/>
                  <a:pt x="800186" y="49839"/>
                </a:cubicBezTo>
                <a:cubicBezTo>
                  <a:pt x="805341" y="55494"/>
                  <a:pt x="807919" y="63919"/>
                  <a:pt x="807919" y="75112"/>
                </a:cubicBezTo>
                <a:lnTo>
                  <a:pt x="807919" y="133964"/>
                </a:lnTo>
                <a:lnTo>
                  <a:pt x="796608" y="133964"/>
                </a:lnTo>
                <a:lnTo>
                  <a:pt x="796608" y="117881"/>
                </a:lnTo>
                <a:lnTo>
                  <a:pt x="796254" y="117881"/>
                </a:lnTo>
                <a:cubicBezTo>
                  <a:pt x="793309" y="123655"/>
                  <a:pt x="789288" y="128132"/>
                  <a:pt x="784192" y="131313"/>
                </a:cubicBezTo>
                <a:cubicBezTo>
                  <a:pt x="779096" y="134494"/>
                  <a:pt x="773338" y="136085"/>
                  <a:pt x="766916" y="136085"/>
                </a:cubicBezTo>
                <a:cubicBezTo>
                  <a:pt x="762557" y="136085"/>
                  <a:pt x="758625" y="135466"/>
                  <a:pt x="755119" y="134229"/>
                </a:cubicBezTo>
                <a:cubicBezTo>
                  <a:pt x="751614" y="132992"/>
                  <a:pt x="748639" y="131239"/>
                  <a:pt x="746194" y="128971"/>
                </a:cubicBezTo>
                <a:cubicBezTo>
                  <a:pt x="743750" y="126703"/>
                  <a:pt x="741864" y="123979"/>
                  <a:pt x="740539" y="120797"/>
                </a:cubicBezTo>
                <a:cubicBezTo>
                  <a:pt x="739213" y="117616"/>
                  <a:pt x="738551" y="114111"/>
                  <a:pt x="738551" y="110282"/>
                </a:cubicBezTo>
                <a:cubicBezTo>
                  <a:pt x="738551" y="102093"/>
                  <a:pt x="741084" y="95569"/>
                  <a:pt x="746150" y="90709"/>
                </a:cubicBezTo>
                <a:cubicBezTo>
                  <a:pt x="751217" y="85848"/>
                  <a:pt x="758875" y="82682"/>
                  <a:pt x="769126" y="81209"/>
                </a:cubicBezTo>
                <a:lnTo>
                  <a:pt x="796608" y="77233"/>
                </a:lnTo>
                <a:cubicBezTo>
                  <a:pt x="796608" y="59854"/>
                  <a:pt x="789862" y="51164"/>
                  <a:pt x="776372" y="51164"/>
                </a:cubicBezTo>
                <a:cubicBezTo>
                  <a:pt x="765827" y="51164"/>
                  <a:pt x="756047" y="55023"/>
                  <a:pt x="747034" y="62741"/>
                </a:cubicBezTo>
                <a:lnTo>
                  <a:pt x="747034" y="50369"/>
                </a:lnTo>
                <a:cubicBezTo>
                  <a:pt x="748919" y="49014"/>
                  <a:pt x="751055" y="47792"/>
                  <a:pt x="753440" y="46702"/>
                </a:cubicBezTo>
                <a:cubicBezTo>
                  <a:pt x="755826" y="45612"/>
                  <a:pt x="758345" y="44670"/>
                  <a:pt x="760996" y="43874"/>
                </a:cubicBezTo>
                <a:cubicBezTo>
                  <a:pt x="763647" y="43079"/>
                  <a:pt x="766372" y="42460"/>
                  <a:pt x="769170" y="42019"/>
                </a:cubicBezTo>
                <a:cubicBezTo>
                  <a:pt x="771968" y="41577"/>
                  <a:pt x="774693" y="41356"/>
                  <a:pt x="777344" y="41356"/>
                </a:cubicBezTo>
                <a:close/>
                <a:moveTo>
                  <a:pt x="581100" y="41356"/>
                </a:moveTo>
                <a:cubicBezTo>
                  <a:pt x="588935" y="41356"/>
                  <a:pt x="595769" y="42829"/>
                  <a:pt x="601601" y="45774"/>
                </a:cubicBezTo>
                <a:lnTo>
                  <a:pt x="601601" y="57704"/>
                </a:lnTo>
                <a:cubicBezTo>
                  <a:pt x="594826" y="53344"/>
                  <a:pt x="587521" y="51164"/>
                  <a:pt x="579686" y="51164"/>
                </a:cubicBezTo>
                <a:cubicBezTo>
                  <a:pt x="576858" y="51164"/>
                  <a:pt x="574281" y="51518"/>
                  <a:pt x="571954" y="52225"/>
                </a:cubicBezTo>
                <a:cubicBezTo>
                  <a:pt x="569627" y="52932"/>
                  <a:pt x="567639" y="53933"/>
                  <a:pt x="565989" y="55229"/>
                </a:cubicBezTo>
                <a:cubicBezTo>
                  <a:pt x="564340" y="56525"/>
                  <a:pt x="563058" y="58072"/>
                  <a:pt x="562145" y="59869"/>
                </a:cubicBezTo>
                <a:cubicBezTo>
                  <a:pt x="561232" y="61665"/>
                  <a:pt x="560775" y="63654"/>
                  <a:pt x="560775" y="65833"/>
                </a:cubicBezTo>
                <a:cubicBezTo>
                  <a:pt x="560775" y="68072"/>
                  <a:pt x="561129" y="70031"/>
                  <a:pt x="561836" y="71710"/>
                </a:cubicBezTo>
                <a:cubicBezTo>
                  <a:pt x="562543" y="73389"/>
                  <a:pt x="563647" y="74906"/>
                  <a:pt x="565150" y="76261"/>
                </a:cubicBezTo>
                <a:cubicBezTo>
                  <a:pt x="566652" y="77616"/>
                  <a:pt x="568596" y="78912"/>
                  <a:pt x="570982" y="80149"/>
                </a:cubicBezTo>
                <a:cubicBezTo>
                  <a:pt x="573368" y="81386"/>
                  <a:pt x="576269" y="82711"/>
                  <a:pt x="579686" y="84125"/>
                </a:cubicBezTo>
                <a:cubicBezTo>
                  <a:pt x="584045" y="85893"/>
                  <a:pt x="587816" y="87645"/>
                  <a:pt x="590997" y="89383"/>
                </a:cubicBezTo>
                <a:cubicBezTo>
                  <a:pt x="594178" y="91121"/>
                  <a:pt x="596800" y="93006"/>
                  <a:pt x="598862" y="95039"/>
                </a:cubicBezTo>
                <a:cubicBezTo>
                  <a:pt x="600923" y="97071"/>
                  <a:pt x="602455" y="99339"/>
                  <a:pt x="603457" y="101843"/>
                </a:cubicBezTo>
                <a:cubicBezTo>
                  <a:pt x="604458" y="104347"/>
                  <a:pt x="604959" y="107248"/>
                  <a:pt x="604959" y="110547"/>
                </a:cubicBezTo>
                <a:cubicBezTo>
                  <a:pt x="604959" y="114612"/>
                  <a:pt x="604119" y="118235"/>
                  <a:pt x="602440" y="121416"/>
                </a:cubicBezTo>
                <a:cubicBezTo>
                  <a:pt x="600761" y="124597"/>
                  <a:pt x="598434" y="127278"/>
                  <a:pt x="595459" y="129457"/>
                </a:cubicBezTo>
                <a:cubicBezTo>
                  <a:pt x="592484" y="131637"/>
                  <a:pt x="588994" y="133287"/>
                  <a:pt x="584988" y="134406"/>
                </a:cubicBezTo>
                <a:cubicBezTo>
                  <a:pt x="580982" y="135525"/>
                  <a:pt x="576623" y="136085"/>
                  <a:pt x="571910" y="136085"/>
                </a:cubicBezTo>
                <a:cubicBezTo>
                  <a:pt x="562778" y="136085"/>
                  <a:pt x="555091" y="134170"/>
                  <a:pt x="548846" y="130341"/>
                </a:cubicBezTo>
                <a:lnTo>
                  <a:pt x="548846" y="117705"/>
                </a:lnTo>
                <a:cubicBezTo>
                  <a:pt x="550554" y="119060"/>
                  <a:pt x="552410" y="120267"/>
                  <a:pt x="554413" y="121328"/>
                </a:cubicBezTo>
                <a:cubicBezTo>
                  <a:pt x="556416" y="122388"/>
                  <a:pt x="558478" y="123301"/>
                  <a:pt x="560599" y="124067"/>
                </a:cubicBezTo>
                <a:cubicBezTo>
                  <a:pt x="562720" y="124833"/>
                  <a:pt x="564855" y="125407"/>
                  <a:pt x="567005" y="125790"/>
                </a:cubicBezTo>
                <a:cubicBezTo>
                  <a:pt x="569156" y="126173"/>
                  <a:pt x="571203" y="126365"/>
                  <a:pt x="573147" y="126365"/>
                </a:cubicBezTo>
                <a:cubicBezTo>
                  <a:pt x="586579" y="126365"/>
                  <a:pt x="593294" y="121328"/>
                  <a:pt x="593294" y="111254"/>
                </a:cubicBezTo>
                <a:cubicBezTo>
                  <a:pt x="593294" y="108956"/>
                  <a:pt x="592823" y="106968"/>
                  <a:pt x="591881" y="105289"/>
                </a:cubicBezTo>
                <a:cubicBezTo>
                  <a:pt x="590938" y="103610"/>
                  <a:pt x="589583" y="102078"/>
                  <a:pt x="587816" y="100694"/>
                </a:cubicBezTo>
                <a:cubicBezTo>
                  <a:pt x="586048" y="99310"/>
                  <a:pt x="583928" y="98028"/>
                  <a:pt x="581453" y="96850"/>
                </a:cubicBezTo>
                <a:cubicBezTo>
                  <a:pt x="578979" y="95672"/>
                  <a:pt x="576181" y="94435"/>
                  <a:pt x="573058" y="93139"/>
                </a:cubicBezTo>
                <a:cubicBezTo>
                  <a:pt x="568876" y="91430"/>
                  <a:pt x="565282" y="89692"/>
                  <a:pt x="562278" y="87925"/>
                </a:cubicBezTo>
                <a:cubicBezTo>
                  <a:pt x="559273" y="86158"/>
                  <a:pt x="556799" y="84228"/>
                  <a:pt x="554855" y="82137"/>
                </a:cubicBezTo>
                <a:cubicBezTo>
                  <a:pt x="552911" y="80046"/>
                  <a:pt x="551468" y="77748"/>
                  <a:pt x="550525" y="75244"/>
                </a:cubicBezTo>
                <a:cubicBezTo>
                  <a:pt x="549582" y="72741"/>
                  <a:pt x="549111" y="69898"/>
                  <a:pt x="549111" y="66717"/>
                </a:cubicBezTo>
                <a:cubicBezTo>
                  <a:pt x="549111" y="62711"/>
                  <a:pt x="549980" y="59147"/>
                  <a:pt x="551718" y="56025"/>
                </a:cubicBezTo>
                <a:cubicBezTo>
                  <a:pt x="553456" y="52902"/>
                  <a:pt x="555798" y="50251"/>
                  <a:pt x="558743" y="48072"/>
                </a:cubicBezTo>
                <a:cubicBezTo>
                  <a:pt x="561689" y="45892"/>
                  <a:pt x="565091" y="44228"/>
                  <a:pt x="568949" y="43079"/>
                </a:cubicBezTo>
                <a:cubicBezTo>
                  <a:pt x="572808" y="41930"/>
                  <a:pt x="576858" y="41356"/>
                  <a:pt x="581100" y="41356"/>
                </a:cubicBezTo>
                <a:close/>
                <a:moveTo>
                  <a:pt x="462595" y="41356"/>
                </a:moveTo>
                <a:cubicBezTo>
                  <a:pt x="472493" y="41356"/>
                  <a:pt x="480033" y="44566"/>
                  <a:pt x="485217" y="50988"/>
                </a:cubicBezTo>
                <a:cubicBezTo>
                  <a:pt x="490402" y="57409"/>
                  <a:pt x="492994" y="66688"/>
                  <a:pt x="492994" y="78823"/>
                </a:cubicBezTo>
                <a:lnTo>
                  <a:pt x="492994" y="133964"/>
                </a:lnTo>
                <a:lnTo>
                  <a:pt x="481683" y="133964"/>
                </a:lnTo>
                <a:lnTo>
                  <a:pt x="481683" y="81828"/>
                </a:lnTo>
                <a:cubicBezTo>
                  <a:pt x="481683" y="61386"/>
                  <a:pt x="474260" y="51164"/>
                  <a:pt x="459414" y="51164"/>
                </a:cubicBezTo>
                <a:cubicBezTo>
                  <a:pt x="455467" y="51164"/>
                  <a:pt x="451815" y="51945"/>
                  <a:pt x="448457" y="53506"/>
                </a:cubicBezTo>
                <a:cubicBezTo>
                  <a:pt x="445099" y="55067"/>
                  <a:pt x="442198" y="57232"/>
                  <a:pt x="439753" y="60001"/>
                </a:cubicBezTo>
                <a:cubicBezTo>
                  <a:pt x="437308" y="62770"/>
                  <a:pt x="435393" y="66054"/>
                  <a:pt x="434009" y="69854"/>
                </a:cubicBezTo>
                <a:cubicBezTo>
                  <a:pt x="432624" y="73654"/>
                  <a:pt x="431932" y="77763"/>
                  <a:pt x="431932" y="82181"/>
                </a:cubicBezTo>
                <a:lnTo>
                  <a:pt x="431932" y="133964"/>
                </a:lnTo>
                <a:lnTo>
                  <a:pt x="420621" y="133964"/>
                </a:lnTo>
                <a:lnTo>
                  <a:pt x="420621" y="43477"/>
                </a:lnTo>
                <a:lnTo>
                  <a:pt x="431932" y="43477"/>
                </a:lnTo>
                <a:lnTo>
                  <a:pt x="431932" y="59206"/>
                </a:lnTo>
                <a:lnTo>
                  <a:pt x="432286" y="59206"/>
                </a:lnTo>
                <a:cubicBezTo>
                  <a:pt x="439002" y="47306"/>
                  <a:pt x="449105" y="41356"/>
                  <a:pt x="462595" y="41356"/>
                </a:cubicBezTo>
                <a:close/>
                <a:moveTo>
                  <a:pt x="269621" y="41356"/>
                </a:moveTo>
                <a:cubicBezTo>
                  <a:pt x="272802" y="41356"/>
                  <a:pt x="275807" y="41842"/>
                  <a:pt x="278635" y="42814"/>
                </a:cubicBezTo>
                <a:cubicBezTo>
                  <a:pt x="281462" y="43786"/>
                  <a:pt x="283995" y="45141"/>
                  <a:pt x="286234" y="46879"/>
                </a:cubicBezTo>
                <a:cubicBezTo>
                  <a:pt x="288473" y="48617"/>
                  <a:pt x="290402" y="50693"/>
                  <a:pt x="292022" y="53109"/>
                </a:cubicBezTo>
                <a:cubicBezTo>
                  <a:pt x="293642" y="55524"/>
                  <a:pt x="294865" y="58175"/>
                  <a:pt x="295689" y="61062"/>
                </a:cubicBezTo>
                <a:cubicBezTo>
                  <a:pt x="298871" y="54640"/>
                  <a:pt x="303009" y="49751"/>
                  <a:pt x="308105" y="46393"/>
                </a:cubicBezTo>
                <a:cubicBezTo>
                  <a:pt x="313201" y="43035"/>
                  <a:pt x="318959" y="41356"/>
                  <a:pt x="325381" y="41356"/>
                </a:cubicBezTo>
                <a:cubicBezTo>
                  <a:pt x="345234" y="41356"/>
                  <a:pt x="355160" y="53609"/>
                  <a:pt x="355160" y="78116"/>
                </a:cubicBezTo>
                <a:lnTo>
                  <a:pt x="355160" y="133964"/>
                </a:lnTo>
                <a:lnTo>
                  <a:pt x="343849" y="133964"/>
                </a:lnTo>
                <a:lnTo>
                  <a:pt x="343849" y="80767"/>
                </a:lnTo>
                <a:cubicBezTo>
                  <a:pt x="343849" y="75347"/>
                  <a:pt x="343437" y="70767"/>
                  <a:pt x="342612" y="67026"/>
                </a:cubicBezTo>
                <a:cubicBezTo>
                  <a:pt x="341787" y="63285"/>
                  <a:pt x="340506" y="60237"/>
                  <a:pt x="338768" y="57880"/>
                </a:cubicBezTo>
                <a:cubicBezTo>
                  <a:pt x="337030" y="55524"/>
                  <a:pt x="334821" y="53815"/>
                  <a:pt x="332141" y="52755"/>
                </a:cubicBezTo>
                <a:cubicBezTo>
                  <a:pt x="329460" y="51695"/>
                  <a:pt x="326264" y="51164"/>
                  <a:pt x="322553" y="51164"/>
                </a:cubicBezTo>
                <a:cubicBezTo>
                  <a:pt x="319254" y="51164"/>
                  <a:pt x="316132" y="51945"/>
                  <a:pt x="313186" y="53506"/>
                </a:cubicBezTo>
                <a:cubicBezTo>
                  <a:pt x="310240" y="55067"/>
                  <a:pt x="307663" y="57218"/>
                  <a:pt x="305454" y="59957"/>
                </a:cubicBezTo>
                <a:cubicBezTo>
                  <a:pt x="303245" y="62696"/>
                  <a:pt x="301507" y="65922"/>
                  <a:pt x="300240" y="69633"/>
                </a:cubicBezTo>
                <a:cubicBezTo>
                  <a:pt x="298974" y="73345"/>
                  <a:pt x="298340" y="77350"/>
                  <a:pt x="298340" y="81651"/>
                </a:cubicBezTo>
                <a:lnTo>
                  <a:pt x="298340" y="133964"/>
                </a:lnTo>
                <a:lnTo>
                  <a:pt x="287029" y="133964"/>
                </a:lnTo>
                <a:lnTo>
                  <a:pt x="287029" y="79619"/>
                </a:lnTo>
                <a:cubicBezTo>
                  <a:pt x="287029" y="60649"/>
                  <a:pt x="279754" y="51164"/>
                  <a:pt x="265203" y="51164"/>
                </a:cubicBezTo>
                <a:cubicBezTo>
                  <a:pt x="261845" y="51164"/>
                  <a:pt x="258723" y="51916"/>
                  <a:pt x="255836" y="53418"/>
                </a:cubicBezTo>
                <a:cubicBezTo>
                  <a:pt x="252949" y="54920"/>
                  <a:pt x="250431" y="57026"/>
                  <a:pt x="248281" y="59736"/>
                </a:cubicBezTo>
                <a:cubicBezTo>
                  <a:pt x="246130" y="62446"/>
                  <a:pt x="244451" y="65701"/>
                  <a:pt x="243244" y="69501"/>
                </a:cubicBezTo>
                <a:cubicBezTo>
                  <a:pt x="242036" y="73300"/>
                  <a:pt x="241432" y="77498"/>
                  <a:pt x="241432" y="82093"/>
                </a:cubicBezTo>
                <a:lnTo>
                  <a:pt x="241432" y="133964"/>
                </a:lnTo>
                <a:lnTo>
                  <a:pt x="230121" y="133964"/>
                </a:lnTo>
                <a:lnTo>
                  <a:pt x="230121" y="43477"/>
                </a:lnTo>
                <a:lnTo>
                  <a:pt x="241432" y="43477"/>
                </a:lnTo>
                <a:lnTo>
                  <a:pt x="241432" y="58145"/>
                </a:lnTo>
                <a:lnTo>
                  <a:pt x="241786" y="58145"/>
                </a:lnTo>
                <a:cubicBezTo>
                  <a:pt x="248148" y="46952"/>
                  <a:pt x="257427" y="41356"/>
                  <a:pt x="269621" y="41356"/>
                </a:cubicBezTo>
                <a:close/>
                <a:moveTo>
                  <a:pt x="53639" y="20501"/>
                </a:moveTo>
                <a:cubicBezTo>
                  <a:pt x="53286" y="22386"/>
                  <a:pt x="52888" y="24065"/>
                  <a:pt x="52446" y="25538"/>
                </a:cubicBezTo>
                <a:cubicBezTo>
                  <a:pt x="52004" y="27011"/>
                  <a:pt x="51577" y="28307"/>
                  <a:pt x="51165" y="29426"/>
                </a:cubicBezTo>
                <a:lnTo>
                  <a:pt x="30664" y="85804"/>
                </a:lnTo>
                <a:lnTo>
                  <a:pt x="77056" y="85804"/>
                </a:lnTo>
                <a:lnTo>
                  <a:pt x="56378" y="29426"/>
                </a:lnTo>
                <a:cubicBezTo>
                  <a:pt x="55966" y="28307"/>
                  <a:pt x="55539" y="27011"/>
                  <a:pt x="55097" y="25538"/>
                </a:cubicBezTo>
                <a:cubicBezTo>
                  <a:pt x="54655" y="24065"/>
                  <a:pt x="54287" y="22386"/>
                  <a:pt x="53992" y="20501"/>
                </a:cubicBezTo>
                <a:close/>
                <a:moveTo>
                  <a:pt x="855274" y="16967"/>
                </a:moveTo>
                <a:lnTo>
                  <a:pt x="855274" y="43477"/>
                </a:lnTo>
                <a:lnTo>
                  <a:pt x="878603" y="43477"/>
                </a:lnTo>
                <a:lnTo>
                  <a:pt x="878603" y="53374"/>
                </a:lnTo>
                <a:lnTo>
                  <a:pt x="855274" y="53374"/>
                </a:lnTo>
                <a:lnTo>
                  <a:pt x="855274" y="108780"/>
                </a:lnTo>
                <a:cubicBezTo>
                  <a:pt x="855274" y="114906"/>
                  <a:pt x="856275" y="119325"/>
                  <a:pt x="858278" y="122035"/>
                </a:cubicBezTo>
                <a:cubicBezTo>
                  <a:pt x="860281" y="124744"/>
                  <a:pt x="863669" y="126099"/>
                  <a:pt x="868440" y="126099"/>
                </a:cubicBezTo>
                <a:cubicBezTo>
                  <a:pt x="871975" y="126099"/>
                  <a:pt x="875362" y="125039"/>
                  <a:pt x="878603" y="122918"/>
                </a:cubicBezTo>
                <a:lnTo>
                  <a:pt x="878603" y="132904"/>
                </a:lnTo>
                <a:cubicBezTo>
                  <a:pt x="874715" y="134848"/>
                  <a:pt x="870473" y="135820"/>
                  <a:pt x="865878" y="135820"/>
                </a:cubicBezTo>
                <a:cubicBezTo>
                  <a:pt x="851268" y="135820"/>
                  <a:pt x="843963" y="127395"/>
                  <a:pt x="843963" y="110547"/>
                </a:cubicBezTo>
                <a:lnTo>
                  <a:pt x="843963" y="53374"/>
                </a:lnTo>
                <a:lnTo>
                  <a:pt x="828057" y="53374"/>
                </a:lnTo>
                <a:lnTo>
                  <a:pt x="828057" y="43477"/>
                </a:lnTo>
                <a:lnTo>
                  <a:pt x="843963" y="43477"/>
                </a:lnTo>
                <a:lnTo>
                  <a:pt x="843963" y="20678"/>
                </a:lnTo>
                <a:close/>
                <a:moveTo>
                  <a:pt x="645724" y="16967"/>
                </a:moveTo>
                <a:lnTo>
                  <a:pt x="645724" y="43477"/>
                </a:lnTo>
                <a:lnTo>
                  <a:pt x="669053" y="43477"/>
                </a:lnTo>
                <a:lnTo>
                  <a:pt x="669053" y="53374"/>
                </a:lnTo>
                <a:lnTo>
                  <a:pt x="645724" y="53374"/>
                </a:lnTo>
                <a:lnTo>
                  <a:pt x="645724" y="108780"/>
                </a:lnTo>
                <a:cubicBezTo>
                  <a:pt x="645724" y="114906"/>
                  <a:pt x="646725" y="119325"/>
                  <a:pt x="648728" y="122035"/>
                </a:cubicBezTo>
                <a:cubicBezTo>
                  <a:pt x="650731" y="124744"/>
                  <a:pt x="654119" y="126099"/>
                  <a:pt x="658890" y="126099"/>
                </a:cubicBezTo>
                <a:cubicBezTo>
                  <a:pt x="662425" y="126099"/>
                  <a:pt x="665812" y="125039"/>
                  <a:pt x="669053" y="122918"/>
                </a:cubicBezTo>
                <a:lnTo>
                  <a:pt x="669053" y="132904"/>
                </a:lnTo>
                <a:cubicBezTo>
                  <a:pt x="665164" y="134848"/>
                  <a:pt x="660923" y="135820"/>
                  <a:pt x="656328" y="135820"/>
                </a:cubicBezTo>
                <a:cubicBezTo>
                  <a:pt x="641718" y="135820"/>
                  <a:pt x="634413" y="127395"/>
                  <a:pt x="634413" y="110547"/>
                </a:cubicBezTo>
                <a:lnTo>
                  <a:pt x="634413" y="53374"/>
                </a:lnTo>
                <a:lnTo>
                  <a:pt x="618507" y="53374"/>
                </a:lnTo>
                <a:lnTo>
                  <a:pt x="618507" y="43477"/>
                </a:lnTo>
                <a:lnTo>
                  <a:pt x="634413" y="43477"/>
                </a:lnTo>
                <a:lnTo>
                  <a:pt x="634413" y="20678"/>
                </a:lnTo>
                <a:close/>
                <a:moveTo>
                  <a:pt x="48249" y="7246"/>
                </a:moveTo>
                <a:lnTo>
                  <a:pt x="60090" y="7246"/>
                </a:lnTo>
                <a:lnTo>
                  <a:pt x="108073" y="133964"/>
                </a:lnTo>
                <a:lnTo>
                  <a:pt x="94995" y="133964"/>
                </a:lnTo>
                <a:lnTo>
                  <a:pt x="81033" y="96497"/>
                </a:lnTo>
                <a:lnTo>
                  <a:pt x="26687" y="96497"/>
                </a:lnTo>
                <a:lnTo>
                  <a:pt x="13079" y="133964"/>
                </a:lnTo>
                <a:lnTo>
                  <a:pt x="0" y="133964"/>
                </a:lnTo>
                <a:close/>
                <a:moveTo>
                  <a:pt x="521438" y="4507"/>
                </a:moveTo>
                <a:cubicBezTo>
                  <a:pt x="522558" y="4507"/>
                  <a:pt x="523618" y="4698"/>
                  <a:pt x="524620" y="5081"/>
                </a:cubicBezTo>
                <a:cubicBezTo>
                  <a:pt x="525621" y="5464"/>
                  <a:pt x="526490" y="6009"/>
                  <a:pt x="527226" y="6716"/>
                </a:cubicBezTo>
                <a:cubicBezTo>
                  <a:pt x="527963" y="7423"/>
                  <a:pt x="528552" y="8262"/>
                  <a:pt x="528994" y="9234"/>
                </a:cubicBezTo>
                <a:cubicBezTo>
                  <a:pt x="529436" y="10207"/>
                  <a:pt x="529656" y="11282"/>
                  <a:pt x="529656" y="12460"/>
                </a:cubicBezTo>
                <a:cubicBezTo>
                  <a:pt x="529656" y="13579"/>
                  <a:pt x="529450" y="14640"/>
                  <a:pt x="529038" y="15641"/>
                </a:cubicBezTo>
                <a:cubicBezTo>
                  <a:pt x="528625" y="16643"/>
                  <a:pt x="528036" y="17511"/>
                  <a:pt x="527271" y="18248"/>
                </a:cubicBezTo>
                <a:cubicBezTo>
                  <a:pt x="526505" y="18984"/>
                  <a:pt x="525636" y="19559"/>
                  <a:pt x="524664" y="19971"/>
                </a:cubicBezTo>
                <a:cubicBezTo>
                  <a:pt x="523692" y="20383"/>
                  <a:pt x="522617" y="20590"/>
                  <a:pt x="521438" y="20590"/>
                </a:cubicBezTo>
                <a:cubicBezTo>
                  <a:pt x="519259" y="20590"/>
                  <a:pt x="517373" y="19824"/>
                  <a:pt x="515783" y="18292"/>
                </a:cubicBezTo>
                <a:cubicBezTo>
                  <a:pt x="514192" y="16760"/>
                  <a:pt x="513397" y="14816"/>
                  <a:pt x="513397" y="12460"/>
                </a:cubicBezTo>
                <a:cubicBezTo>
                  <a:pt x="513397" y="10162"/>
                  <a:pt x="514192" y="8262"/>
                  <a:pt x="515783" y="6760"/>
                </a:cubicBezTo>
                <a:cubicBezTo>
                  <a:pt x="517373" y="5258"/>
                  <a:pt x="519259" y="4507"/>
                  <a:pt x="521438" y="4507"/>
                </a:cubicBezTo>
                <a:close/>
                <a:moveTo>
                  <a:pt x="388088" y="4507"/>
                </a:moveTo>
                <a:cubicBezTo>
                  <a:pt x="389208" y="4507"/>
                  <a:pt x="390268" y="4698"/>
                  <a:pt x="391270" y="5081"/>
                </a:cubicBezTo>
                <a:cubicBezTo>
                  <a:pt x="392271" y="5464"/>
                  <a:pt x="393140" y="6009"/>
                  <a:pt x="393876" y="6716"/>
                </a:cubicBezTo>
                <a:cubicBezTo>
                  <a:pt x="394613" y="7423"/>
                  <a:pt x="395202" y="8262"/>
                  <a:pt x="395644" y="9234"/>
                </a:cubicBezTo>
                <a:cubicBezTo>
                  <a:pt x="396086" y="10207"/>
                  <a:pt x="396306" y="11282"/>
                  <a:pt x="396306" y="12460"/>
                </a:cubicBezTo>
                <a:cubicBezTo>
                  <a:pt x="396306" y="13579"/>
                  <a:pt x="396100" y="14640"/>
                  <a:pt x="395688" y="15641"/>
                </a:cubicBezTo>
                <a:cubicBezTo>
                  <a:pt x="395276" y="16643"/>
                  <a:pt x="394686" y="17511"/>
                  <a:pt x="393921" y="18248"/>
                </a:cubicBezTo>
                <a:cubicBezTo>
                  <a:pt x="393155" y="18984"/>
                  <a:pt x="392286" y="19559"/>
                  <a:pt x="391314" y="19971"/>
                </a:cubicBezTo>
                <a:cubicBezTo>
                  <a:pt x="390342" y="20383"/>
                  <a:pt x="389267" y="20590"/>
                  <a:pt x="388088" y="20590"/>
                </a:cubicBezTo>
                <a:cubicBezTo>
                  <a:pt x="385909" y="20590"/>
                  <a:pt x="384024" y="19824"/>
                  <a:pt x="382433" y="18292"/>
                </a:cubicBezTo>
                <a:cubicBezTo>
                  <a:pt x="380842" y="16760"/>
                  <a:pt x="380047" y="14816"/>
                  <a:pt x="380047" y="12460"/>
                </a:cubicBezTo>
                <a:cubicBezTo>
                  <a:pt x="380047" y="10162"/>
                  <a:pt x="380842" y="8262"/>
                  <a:pt x="382433" y="6760"/>
                </a:cubicBezTo>
                <a:cubicBezTo>
                  <a:pt x="384024" y="5258"/>
                  <a:pt x="385909" y="4507"/>
                  <a:pt x="388088" y="4507"/>
                </a:cubicBezTo>
                <a:close/>
                <a:moveTo>
                  <a:pt x="188794" y="0"/>
                </a:moveTo>
                <a:lnTo>
                  <a:pt x="200105" y="0"/>
                </a:lnTo>
                <a:lnTo>
                  <a:pt x="200105" y="133964"/>
                </a:lnTo>
                <a:lnTo>
                  <a:pt x="188794" y="133964"/>
                </a:lnTo>
                <a:lnTo>
                  <a:pt x="188794" y="118058"/>
                </a:lnTo>
                <a:lnTo>
                  <a:pt x="188440" y="118058"/>
                </a:lnTo>
                <a:cubicBezTo>
                  <a:pt x="185436" y="123772"/>
                  <a:pt x="181150" y="128206"/>
                  <a:pt x="175583" y="131357"/>
                </a:cubicBezTo>
                <a:cubicBezTo>
                  <a:pt x="170016" y="134509"/>
                  <a:pt x="163697" y="136085"/>
                  <a:pt x="156628" y="136085"/>
                </a:cubicBezTo>
                <a:cubicBezTo>
                  <a:pt x="150973" y="136085"/>
                  <a:pt x="145833" y="135039"/>
                  <a:pt x="141208" y="132948"/>
                </a:cubicBezTo>
                <a:cubicBezTo>
                  <a:pt x="136584" y="130857"/>
                  <a:pt x="132622" y="127837"/>
                  <a:pt x="129323" y="123890"/>
                </a:cubicBezTo>
                <a:cubicBezTo>
                  <a:pt x="126024" y="119943"/>
                  <a:pt x="123476" y="115171"/>
                  <a:pt x="121679" y="109575"/>
                </a:cubicBezTo>
                <a:cubicBezTo>
                  <a:pt x="119882" y="103978"/>
                  <a:pt x="118984" y="97645"/>
                  <a:pt x="118984" y="90576"/>
                </a:cubicBezTo>
                <a:cubicBezTo>
                  <a:pt x="118984" y="83271"/>
                  <a:pt x="119971" y="76599"/>
                  <a:pt x="121944" y="70561"/>
                </a:cubicBezTo>
                <a:cubicBezTo>
                  <a:pt x="123918" y="64523"/>
                  <a:pt x="126716" y="59338"/>
                  <a:pt x="130339" y="55008"/>
                </a:cubicBezTo>
                <a:cubicBezTo>
                  <a:pt x="133962" y="50678"/>
                  <a:pt x="138321" y="47321"/>
                  <a:pt x="143417" y="44935"/>
                </a:cubicBezTo>
                <a:cubicBezTo>
                  <a:pt x="148513" y="42549"/>
                  <a:pt x="154183" y="41356"/>
                  <a:pt x="160428" y="41356"/>
                </a:cubicBezTo>
                <a:cubicBezTo>
                  <a:pt x="173447" y="41356"/>
                  <a:pt x="182785" y="46569"/>
                  <a:pt x="188440" y="56997"/>
                </a:cubicBezTo>
                <a:lnTo>
                  <a:pt x="188794" y="56997"/>
                </a:lnTo>
                <a:close/>
              </a:path>
            </a:pathLst>
          </a:custGeom>
          <a:solidFill>
            <a:schemeClr val="bg1"/>
          </a:solidFill>
          <a:ln>
            <a:noFill/>
          </a:ln>
          <a:effectLst/>
        </p:spPr>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1087802">
              <a:lnSpc>
                <a:spcPct val="90000"/>
              </a:lnSpc>
              <a:spcAft>
                <a:spcPts val="588"/>
              </a:spcAft>
              <a:defRPr/>
            </a:pPr>
            <a:endParaRPr lang="en-US" sz="1372" dirty="0">
              <a:gradFill>
                <a:gsLst>
                  <a:gs pos="2917">
                    <a:srgbClr val="505050"/>
                  </a:gs>
                  <a:gs pos="30000">
                    <a:srgbClr val="505050"/>
                  </a:gs>
                </a:gsLst>
                <a:lin ang="5400000" scaled="0"/>
              </a:gradFill>
              <a:latin typeface="Arial"/>
            </a:endParaRPr>
          </a:p>
        </p:txBody>
      </p:sp>
      <p:sp>
        <p:nvSpPr>
          <p:cNvPr id="1872" name="Freeform 17">
            <a:extLst>
              <a:ext uri="{FF2B5EF4-FFF2-40B4-BE49-F238E27FC236}">
                <a16:creationId xmlns:a16="http://schemas.microsoft.com/office/drawing/2014/main" id="{D4034269-FDD0-4E74-9C2D-E21CEED91884}"/>
              </a:ext>
            </a:extLst>
          </p:cNvPr>
          <p:cNvSpPr>
            <a:spLocks/>
          </p:cNvSpPr>
          <p:nvPr/>
        </p:nvSpPr>
        <p:spPr bwMode="auto">
          <a:xfrm>
            <a:off x="10733529" y="2155194"/>
            <a:ext cx="16181" cy="159475"/>
          </a:xfrm>
          <a:custGeom>
            <a:avLst/>
            <a:gdLst>
              <a:gd name="T0" fmla="*/ 0 w 10"/>
              <a:gd name="T1" fmla="*/ 0 h 50"/>
              <a:gd name="T2" fmla="*/ 10 w 10"/>
              <a:gd name="T3" fmla="*/ 0 h 50"/>
              <a:gd name="T4" fmla="*/ 10 w 10"/>
              <a:gd name="T5" fmla="*/ 50 h 50"/>
              <a:gd name="T6" fmla="*/ 0 w 10"/>
              <a:gd name="T7" fmla="*/ 50 h 50"/>
              <a:gd name="T8" fmla="*/ 0 w 10"/>
              <a:gd name="T9" fmla="*/ 0 h 50"/>
              <a:gd name="T10" fmla="*/ 0 w 10"/>
              <a:gd name="T11" fmla="*/ 0 h 50"/>
            </a:gdLst>
            <a:ahLst/>
            <a:cxnLst>
              <a:cxn ang="0">
                <a:pos x="T0" y="T1"/>
              </a:cxn>
              <a:cxn ang="0">
                <a:pos x="T2" y="T3"/>
              </a:cxn>
              <a:cxn ang="0">
                <a:pos x="T4" y="T5"/>
              </a:cxn>
              <a:cxn ang="0">
                <a:pos x="T6" y="T7"/>
              </a:cxn>
              <a:cxn ang="0">
                <a:pos x="T8" y="T9"/>
              </a:cxn>
              <a:cxn ang="0">
                <a:pos x="T10" y="T11"/>
              </a:cxn>
            </a:cxnLst>
            <a:rect l="0" t="0" r="r" b="b"/>
            <a:pathLst>
              <a:path w="10" h="50">
                <a:moveTo>
                  <a:pt x="0" y="0"/>
                </a:moveTo>
                <a:lnTo>
                  <a:pt x="10" y="0"/>
                </a:lnTo>
                <a:lnTo>
                  <a:pt x="10" y="50"/>
                </a:lnTo>
                <a:lnTo>
                  <a:pt x="0" y="5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73" name="Freeform: Shape 1872">
            <a:extLst>
              <a:ext uri="{FF2B5EF4-FFF2-40B4-BE49-F238E27FC236}">
                <a16:creationId xmlns:a16="http://schemas.microsoft.com/office/drawing/2014/main" id="{280C44FC-1700-4F0D-BE75-51397C89F479}"/>
              </a:ext>
            </a:extLst>
          </p:cNvPr>
          <p:cNvSpPr>
            <a:spLocks/>
          </p:cNvSpPr>
          <p:nvPr/>
        </p:nvSpPr>
        <p:spPr bwMode="auto">
          <a:xfrm>
            <a:off x="5573070" y="2430679"/>
            <a:ext cx="1110924" cy="2578963"/>
          </a:xfrm>
          <a:custGeom>
            <a:avLst/>
            <a:gdLst>
              <a:gd name="connsiteX0" fmla="*/ 0 w 456803"/>
              <a:gd name="connsiteY0" fmla="*/ 0 h 1060448"/>
              <a:gd name="connsiteX1" fmla="*/ 104264 w 456803"/>
              <a:gd name="connsiteY1" fmla="*/ 0 h 1060448"/>
              <a:gd name="connsiteX2" fmla="*/ 106132 w 456803"/>
              <a:gd name="connsiteY2" fmla="*/ 1330 h 1060448"/>
              <a:gd name="connsiteX3" fmla="*/ 110214 w 456803"/>
              <a:gd name="connsiteY3" fmla="*/ 5399 h 1060448"/>
              <a:gd name="connsiteX4" fmla="*/ 111574 w 456803"/>
              <a:gd name="connsiteY4" fmla="*/ 7433 h 1060448"/>
              <a:gd name="connsiteX5" fmla="*/ 115656 w 456803"/>
              <a:gd name="connsiteY5" fmla="*/ 10146 h 1060448"/>
              <a:gd name="connsiteX6" fmla="*/ 118377 w 456803"/>
              <a:gd name="connsiteY6" fmla="*/ 6755 h 1060448"/>
              <a:gd name="connsiteX7" fmla="*/ 130621 w 456803"/>
              <a:gd name="connsiteY7" fmla="*/ 4721 h 1060448"/>
              <a:gd name="connsiteX8" fmla="*/ 131302 w 456803"/>
              <a:gd name="connsiteY8" fmla="*/ 5399 h 1060448"/>
              <a:gd name="connsiteX9" fmla="*/ 137424 w 456803"/>
              <a:gd name="connsiteY9" fmla="*/ 5399 h 1060448"/>
              <a:gd name="connsiteX10" fmla="*/ 145587 w 456803"/>
              <a:gd name="connsiteY10" fmla="*/ 4043 h 1060448"/>
              <a:gd name="connsiteX11" fmla="*/ 153070 w 456803"/>
              <a:gd name="connsiteY11" fmla="*/ 2687 h 1060448"/>
              <a:gd name="connsiteX12" fmla="*/ 127220 w 456803"/>
              <a:gd name="connsiteY12" fmla="*/ 10146 h 1060448"/>
              <a:gd name="connsiteX13" fmla="*/ 127220 w 456803"/>
              <a:gd name="connsiteY13" fmla="*/ 12180 h 1060448"/>
              <a:gd name="connsiteX14" fmla="*/ 135383 w 456803"/>
              <a:gd name="connsiteY14" fmla="*/ 9468 h 1060448"/>
              <a:gd name="connsiteX15" fmla="*/ 141505 w 456803"/>
              <a:gd name="connsiteY15" fmla="*/ 9468 h 1060448"/>
              <a:gd name="connsiteX16" fmla="*/ 146947 w 456803"/>
              <a:gd name="connsiteY16" fmla="*/ 7433 h 1060448"/>
              <a:gd name="connsiteX17" fmla="*/ 153070 w 456803"/>
              <a:gd name="connsiteY17" fmla="*/ 6755 h 1060448"/>
              <a:gd name="connsiteX18" fmla="*/ 155791 w 456803"/>
              <a:gd name="connsiteY18" fmla="*/ 4721 h 1060448"/>
              <a:gd name="connsiteX19" fmla="*/ 161233 w 456803"/>
              <a:gd name="connsiteY19" fmla="*/ 3365 h 1060448"/>
              <a:gd name="connsiteX20" fmla="*/ 163954 w 456803"/>
              <a:gd name="connsiteY20" fmla="*/ 10824 h 1060448"/>
              <a:gd name="connsiteX21" fmla="*/ 172117 w 456803"/>
              <a:gd name="connsiteY21" fmla="*/ 6755 h 1060448"/>
              <a:gd name="connsiteX22" fmla="*/ 172797 w 456803"/>
              <a:gd name="connsiteY22" fmla="*/ 6755 h 1060448"/>
              <a:gd name="connsiteX23" fmla="*/ 173477 w 456803"/>
              <a:gd name="connsiteY23" fmla="*/ 7433 h 1060448"/>
              <a:gd name="connsiteX24" fmla="*/ 169396 w 456803"/>
              <a:gd name="connsiteY24" fmla="*/ 11502 h 1060448"/>
              <a:gd name="connsiteX25" fmla="*/ 178919 w 456803"/>
              <a:gd name="connsiteY25" fmla="*/ 10146 h 1060448"/>
              <a:gd name="connsiteX26" fmla="*/ 187763 w 456803"/>
              <a:gd name="connsiteY26" fmla="*/ 15571 h 1060448"/>
              <a:gd name="connsiteX27" fmla="*/ 193205 w 456803"/>
              <a:gd name="connsiteY27" fmla="*/ 18961 h 1060448"/>
              <a:gd name="connsiteX28" fmla="*/ 200007 w 456803"/>
              <a:gd name="connsiteY28" fmla="*/ 20996 h 1060448"/>
              <a:gd name="connsiteX29" fmla="*/ 195245 w 456803"/>
              <a:gd name="connsiteY29" fmla="*/ 25065 h 1060448"/>
              <a:gd name="connsiteX30" fmla="*/ 202048 w 456803"/>
              <a:gd name="connsiteY30" fmla="*/ 27099 h 1060448"/>
              <a:gd name="connsiteX31" fmla="*/ 216333 w 456803"/>
              <a:gd name="connsiteY31" fmla="*/ 27777 h 1060448"/>
              <a:gd name="connsiteX32" fmla="*/ 217694 w 456803"/>
              <a:gd name="connsiteY32" fmla="*/ 33880 h 1060448"/>
              <a:gd name="connsiteX33" fmla="*/ 219054 w 456803"/>
              <a:gd name="connsiteY33" fmla="*/ 35915 h 1060448"/>
              <a:gd name="connsiteX34" fmla="*/ 225857 w 456803"/>
              <a:gd name="connsiteY34" fmla="*/ 27099 h 1060448"/>
              <a:gd name="connsiteX35" fmla="*/ 235380 w 456803"/>
              <a:gd name="connsiteY35" fmla="*/ 26421 h 1060448"/>
              <a:gd name="connsiteX36" fmla="*/ 225857 w 456803"/>
              <a:gd name="connsiteY36" fmla="*/ 25743 h 1060448"/>
              <a:gd name="connsiteX37" fmla="*/ 227217 w 456803"/>
              <a:gd name="connsiteY37" fmla="*/ 23708 h 1060448"/>
              <a:gd name="connsiteX38" fmla="*/ 240822 w 456803"/>
              <a:gd name="connsiteY38" fmla="*/ 23708 h 1060448"/>
              <a:gd name="connsiteX39" fmla="*/ 241503 w 456803"/>
              <a:gd name="connsiteY39" fmla="*/ 27777 h 1060448"/>
              <a:gd name="connsiteX40" fmla="*/ 246265 w 456803"/>
              <a:gd name="connsiteY40" fmla="*/ 30490 h 1060448"/>
              <a:gd name="connsiteX41" fmla="*/ 264631 w 456803"/>
              <a:gd name="connsiteY41" fmla="*/ 31846 h 1060448"/>
              <a:gd name="connsiteX42" fmla="*/ 271434 w 456803"/>
              <a:gd name="connsiteY42" fmla="*/ 29133 h 1060448"/>
              <a:gd name="connsiteX43" fmla="*/ 278917 w 456803"/>
              <a:gd name="connsiteY43" fmla="*/ 31168 h 1060448"/>
              <a:gd name="connsiteX44" fmla="*/ 272794 w 456803"/>
              <a:gd name="connsiteY44" fmla="*/ 35236 h 1060448"/>
              <a:gd name="connsiteX45" fmla="*/ 282318 w 456803"/>
              <a:gd name="connsiteY45" fmla="*/ 31846 h 1060448"/>
              <a:gd name="connsiteX46" fmla="*/ 293202 w 456803"/>
              <a:gd name="connsiteY46" fmla="*/ 29133 h 1060448"/>
              <a:gd name="connsiteX47" fmla="*/ 289801 w 456803"/>
              <a:gd name="connsiteY47" fmla="*/ 28455 h 1060448"/>
              <a:gd name="connsiteX48" fmla="*/ 297964 w 456803"/>
              <a:gd name="connsiteY48" fmla="*/ 23708 h 1060448"/>
              <a:gd name="connsiteX49" fmla="*/ 293202 w 456803"/>
              <a:gd name="connsiteY49" fmla="*/ 21674 h 1060448"/>
              <a:gd name="connsiteX50" fmla="*/ 289121 w 456803"/>
              <a:gd name="connsiteY50" fmla="*/ 18961 h 1060448"/>
              <a:gd name="connsiteX51" fmla="*/ 291161 w 456803"/>
              <a:gd name="connsiteY51" fmla="*/ 17605 h 1060448"/>
              <a:gd name="connsiteX52" fmla="*/ 296603 w 456803"/>
              <a:gd name="connsiteY52" fmla="*/ 14215 h 1060448"/>
              <a:gd name="connsiteX53" fmla="*/ 303406 w 456803"/>
              <a:gd name="connsiteY53" fmla="*/ 11502 h 1060448"/>
              <a:gd name="connsiteX54" fmla="*/ 304766 w 456803"/>
              <a:gd name="connsiteY54" fmla="*/ 13537 h 1060448"/>
              <a:gd name="connsiteX55" fmla="*/ 308168 w 456803"/>
              <a:gd name="connsiteY55" fmla="*/ 16249 h 1060448"/>
              <a:gd name="connsiteX56" fmla="*/ 310889 w 456803"/>
              <a:gd name="connsiteY56" fmla="*/ 20318 h 1060448"/>
              <a:gd name="connsiteX57" fmla="*/ 303406 w 456803"/>
              <a:gd name="connsiteY57" fmla="*/ 24386 h 1060448"/>
              <a:gd name="connsiteX58" fmla="*/ 310208 w 456803"/>
              <a:gd name="connsiteY58" fmla="*/ 26421 h 1060448"/>
              <a:gd name="connsiteX59" fmla="*/ 304766 w 456803"/>
              <a:gd name="connsiteY59" fmla="*/ 32524 h 1060448"/>
              <a:gd name="connsiteX60" fmla="*/ 316331 w 456803"/>
              <a:gd name="connsiteY60" fmla="*/ 27099 h 1060448"/>
              <a:gd name="connsiteX61" fmla="*/ 315650 w 456803"/>
              <a:gd name="connsiteY61" fmla="*/ 33880 h 1060448"/>
              <a:gd name="connsiteX62" fmla="*/ 312249 w 456803"/>
              <a:gd name="connsiteY62" fmla="*/ 40661 h 1060448"/>
              <a:gd name="connsiteX63" fmla="*/ 323813 w 456803"/>
              <a:gd name="connsiteY63" fmla="*/ 35915 h 1060448"/>
              <a:gd name="connsiteX64" fmla="*/ 331977 w 456803"/>
              <a:gd name="connsiteY64" fmla="*/ 31846 h 1060448"/>
              <a:gd name="connsiteX65" fmla="*/ 334698 w 456803"/>
              <a:gd name="connsiteY65" fmla="*/ 29133 h 1060448"/>
              <a:gd name="connsiteX66" fmla="*/ 339459 w 456803"/>
              <a:gd name="connsiteY66" fmla="*/ 26421 h 1060448"/>
              <a:gd name="connsiteX67" fmla="*/ 346262 w 456803"/>
              <a:gd name="connsiteY67" fmla="*/ 27777 h 1060448"/>
              <a:gd name="connsiteX68" fmla="*/ 346262 w 456803"/>
              <a:gd name="connsiteY68" fmla="*/ 33880 h 1060448"/>
              <a:gd name="connsiteX69" fmla="*/ 340820 w 456803"/>
              <a:gd name="connsiteY69" fmla="*/ 37271 h 1060448"/>
              <a:gd name="connsiteX70" fmla="*/ 332657 w 456803"/>
              <a:gd name="connsiteY70" fmla="*/ 45408 h 1060448"/>
              <a:gd name="connsiteX71" fmla="*/ 325854 w 456803"/>
              <a:gd name="connsiteY71" fmla="*/ 46765 h 1060448"/>
              <a:gd name="connsiteX72" fmla="*/ 320412 w 456803"/>
              <a:gd name="connsiteY72" fmla="*/ 44052 h 1060448"/>
              <a:gd name="connsiteX73" fmla="*/ 321092 w 456803"/>
              <a:gd name="connsiteY73" fmla="*/ 46765 h 1060448"/>
              <a:gd name="connsiteX74" fmla="*/ 315650 w 456803"/>
              <a:gd name="connsiteY74" fmla="*/ 45408 h 1060448"/>
              <a:gd name="connsiteX75" fmla="*/ 311569 w 456803"/>
              <a:gd name="connsiteY75" fmla="*/ 44052 h 1060448"/>
              <a:gd name="connsiteX76" fmla="*/ 309528 w 456803"/>
              <a:gd name="connsiteY76" fmla="*/ 48121 h 1060448"/>
              <a:gd name="connsiteX77" fmla="*/ 303406 w 456803"/>
              <a:gd name="connsiteY77" fmla="*/ 50155 h 1060448"/>
              <a:gd name="connsiteX78" fmla="*/ 295923 w 456803"/>
              <a:gd name="connsiteY78" fmla="*/ 49477 h 1060448"/>
              <a:gd name="connsiteX79" fmla="*/ 288440 w 456803"/>
              <a:gd name="connsiteY79" fmla="*/ 47443 h 1060448"/>
              <a:gd name="connsiteX80" fmla="*/ 289121 w 456803"/>
              <a:gd name="connsiteY80" fmla="*/ 48121 h 1060448"/>
              <a:gd name="connsiteX81" fmla="*/ 295243 w 456803"/>
              <a:gd name="connsiteY81" fmla="*/ 50833 h 1060448"/>
              <a:gd name="connsiteX82" fmla="*/ 301365 w 456803"/>
              <a:gd name="connsiteY82" fmla="*/ 52190 h 1060448"/>
              <a:gd name="connsiteX83" fmla="*/ 302045 w 456803"/>
              <a:gd name="connsiteY83" fmla="*/ 52190 h 1060448"/>
              <a:gd name="connsiteX84" fmla="*/ 298644 w 456803"/>
              <a:gd name="connsiteY84" fmla="*/ 54224 h 1060448"/>
              <a:gd name="connsiteX85" fmla="*/ 293882 w 456803"/>
              <a:gd name="connsiteY85" fmla="*/ 56936 h 1060448"/>
              <a:gd name="connsiteX86" fmla="*/ 287760 w 456803"/>
              <a:gd name="connsiteY86" fmla="*/ 60327 h 1060448"/>
              <a:gd name="connsiteX87" fmla="*/ 281638 w 456803"/>
              <a:gd name="connsiteY87" fmla="*/ 60327 h 1060448"/>
              <a:gd name="connsiteX88" fmla="*/ 274155 w 456803"/>
              <a:gd name="connsiteY88" fmla="*/ 61005 h 1060448"/>
              <a:gd name="connsiteX89" fmla="*/ 264631 w 456803"/>
              <a:gd name="connsiteY89" fmla="*/ 58293 h 1060448"/>
              <a:gd name="connsiteX90" fmla="*/ 261230 w 456803"/>
              <a:gd name="connsiteY90" fmla="*/ 58971 h 1060448"/>
              <a:gd name="connsiteX91" fmla="*/ 251026 w 456803"/>
              <a:gd name="connsiteY91" fmla="*/ 54902 h 1060448"/>
              <a:gd name="connsiteX92" fmla="*/ 272114 w 456803"/>
              <a:gd name="connsiteY92" fmla="*/ 62361 h 1060448"/>
              <a:gd name="connsiteX93" fmla="*/ 266672 w 456803"/>
              <a:gd name="connsiteY93" fmla="*/ 66430 h 1060448"/>
              <a:gd name="connsiteX94" fmla="*/ 260550 w 456803"/>
              <a:gd name="connsiteY94" fmla="*/ 68465 h 1060448"/>
              <a:gd name="connsiteX95" fmla="*/ 255108 w 456803"/>
              <a:gd name="connsiteY95" fmla="*/ 69821 h 1060448"/>
              <a:gd name="connsiteX96" fmla="*/ 232659 w 456803"/>
              <a:gd name="connsiteY96" fmla="*/ 80671 h 1060448"/>
              <a:gd name="connsiteX97" fmla="*/ 225177 w 456803"/>
              <a:gd name="connsiteY97" fmla="*/ 88808 h 1060448"/>
              <a:gd name="connsiteX98" fmla="*/ 229258 w 456803"/>
              <a:gd name="connsiteY98" fmla="*/ 94911 h 1060448"/>
              <a:gd name="connsiteX99" fmla="*/ 226537 w 456803"/>
              <a:gd name="connsiteY99" fmla="*/ 98302 h 1060448"/>
              <a:gd name="connsiteX100" fmla="*/ 225857 w 456803"/>
              <a:gd name="connsiteY100" fmla="*/ 103049 h 1060448"/>
              <a:gd name="connsiteX101" fmla="*/ 222456 w 456803"/>
              <a:gd name="connsiteY101" fmla="*/ 107118 h 1060448"/>
              <a:gd name="connsiteX102" fmla="*/ 234020 w 456803"/>
              <a:gd name="connsiteY102" fmla="*/ 107118 h 1060448"/>
              <a:gd name="connsiteX103" fmla="*/ 244224 w 456803"/>
              <a:gd name="connsiteY103" fmla="*/ 111186 h 1060448"/>
              <a:gd name="connsiteX104" fmla="*/ 244904 w 456803"/>
              <a:gd name="connsiteY104" fmla="*/ 111864 h 1060448"/>
              <a:gd name="connsiteX105" fmla="*/ 246265 w 456803"/>
              <a:gd name="connsiteY105" fmla="*/ 116611 h 1060448"/>
              <a:gd name="connsiteX106" fmla="*/ 253747 w 456803"/>
              <a:gd name="connsiteY106" fmla="*/ 122714 h 1060448"/>
              <a:gd name="connsiteX107" fmla="*/ 263271 w 456803"/>
              <a:gd name="connsiteY107" fmla="*/ 124749 h 1060448"/>
              <a:gd name="connsiteX108" fmla="*/ 263951 w 456803"/>
              <a:gd name="connsiteY108" fmla="*/ 125427 h 1060448"/>
              <a:gd name="connsiteX109" fmla="*/ 260550 w 456803"/>
              <a:gd name="connsiteY109" fmla="*/ 130174 h 1060448"/>
              <a:gd name="connsiteX110" fmla="*/ 255788 w 456803"/>
              <a:gd name="connsiteY110" fmla="*/ 138989 h 1060448"/>
              <a:gd name="connsiteX111" fmla="*/ 253067 w 456803"/>
              <a:gd name="connsiteY111" fmla="*/ 143058 h 1060448"/>
              <a:gd name="connsiteX112" fmla="*/ 253067 w 456803"/>
              <a:gd name="connsiteY112" fmla="*/ 146449 h 1060448"/>
              <a:gd name="connsiteX113" fmla="*/ 253747 w 456803"/>
              <a:gd name="connsiteY113" fmla="*/ 147805 h 1060448"/>
              <a:gd name="connsiteX114" fmla="*/ 254428 w 456803"/>
              <a:gd name="connsiteY114" fmla="*/ 147805 h 1060448"/>
              <a:gd name="connsiteX115" fmla="*/ 255788 w 456803"/>
              <a:gd name="connsiteY115" fmla="*/ 151874 h 1060448"/>
              <a:gd name="connsiteX116" fmla="*/ 255108 w 456803"/>
              <a:gd name="connsiteY116" fmla="*/ 155943 h 1060448"/>
              <a:gd name="connsiteX117" fmla="*/ 257149 w 456803"/>
              <a:gd name="connsiteY117" fmla="*/ 156621 h 1060448"/>
              <a:gd name="connsiteX118" fmla="*/ 257149 w 456803"/>
              <a:gd name="connsiteY118" fmla="*/ 157299 h 1060448"/>
              <a:gd name="connsiteX119" fmla="*/ 259189 w 456803"/>
              <a:gd name="connsiteY119" fmla="*/ 157977 h 1060448"/>
              <a:gd name="connsiteX120" fmla="*/ 261910 w 456803"/>
              <a:gd name="connsiteY120" fmla="*/ 154586 h 1060448"/>
              <a:gd name="connsiteX121" fmla="*/ 265992 w 456803"/>
              <a:gd name="connsiteY121" fmla="*/ 154586 h 1060448"/>
              <a:gd name="connsiteX122" fmla="*/ 266672 w 456803"/>
              <a:gd name="connsiteY122" fmla="*/ 153230 h 1060448"/>
              <a:gd name="connsiteX123" fmla="*/ 265312 w 456803"/>
              <a:gd name="connsiteY123" fmla="*/ 151196 h 1060448"/>
              <a:gd name="connsiteX124" fmla="*/ 270754 w 456803"/>
              <a:gd name="connsiteY124" fmla="*/ 147805 h 1060448"/>
              <a:gd name="connsiteX125" fmla="*/ 272114 w 456803"/>
              <a:gd name="connsiteY125" fmla="*/ 139668 h 1060448"/>
              <a:gd name="connsiteX126" fmla="*/ 277556 w 456803"/>
              <a:gd name="connsiteY126" fmla="*/ 134243 h 1060448"/>
              <a:gd name="connsiteX127" fmla="*/ 276196 w 456803"/>
              <a:gd name="connsiteY127" fmla="*/ 128818 h 1060448"/>
              <a:gd name="connsiteX128" fmla="*/ 276876 w 456803"/>
              <a:gd name="connsiteY128" fmla="*/ 128818 h 1060448"/>
              <a:gd name="connsiteX129" fmla="*/ 304086 w 456803"/>
              <a:gd name="connsiteY129" fmla="*/ 115255 h 1060448"/>
              <a:gd name="connsiteX130" fmla="*/ 306807 w 456803"/>
              <a:gd name="connsiteY130" fmla="*/ 101693 h 1060448"/>
              <a:gd name="connsiteX131" fmla="*/ 312929 w 456803"/>
              <a:gd name="connsiteY131" fmla="*/ 94911 h 1060448"/>
              <a:gd name="connsiteX132" fmla="*/ 321092 w 456803"/>
              <a:gd name="connsiteY132" fmla="*/ 85418 h 1060448"/>
              <a:gd name="connsiteX133" fmla="*/ 323813 w 456803"/>
              <a:gd name="connsiteY133" fmla="*/ 81349 h 1060448"/>
              <a:gd name="connsiteX134" fmla="*/ 328575 w 456803"/>
              <a:gd name="connsiteY134" fmla="*/ 73890 h 1060448"/>
              <a:gd name="connsiteX135" fmla="*/ 340140 w 456803"/>
              <a:gd name="connsiteY135" fmla="*/ 75924 h 1060448"/>
              <a:gd name="connsiteX136" fmla="*/ 350343 w 456803"/>
              <a:gd name="connsiteY136" fmla="*/ 73890 h 1060448"/>
              <a:gd name="connsiteX137" fmla="*/ 351704 w 456803"/>
              <a:gd name="connsiteY137" fmla="*/ 78636 h 1060448"/>
              <a:gd name="connsiteX138" fmla="*/ 353064 w 456803"/>
              <a:gd name="connsiteY138" fmla="*/ 81349 h 1060448"/>
              <a:gd name="connsiteX139" fmla="*/ 356466 w 456803"/>
              <a:gd name="connsiteY139" fmla="*/ 84740 h 1060448"/>
              <a:gd name="connsiteX140" fmla="*/ 359187 w 456803"/>
              <a:gd name="connsiteY140" fmla="*/ 85418 h 1060448"/>
              <a:gd name="connsiteX141" fmla="*/ 362588 w 456803"/>
              <a:gd name="connsiteY141" fmla="*/ 84740 h 1060448"/>
              <a:gd name="connsiteX142" fmla="*/ 353745 w 456803"/>
              <a:gd name="connsiteY142" fmla="*/ 90843 h 1060448"/>
              <a:gd name="connsiteX143" fmla="*/ 356466 w 456803"/>
              <a:gd name="connsiteY143" fmla="*/ 94911 h 1060448"/>
              <a:gd name="connsiteX144" fmla="*/ 351024 w 456803"/>
              <a:gd name="connsiteY144" fmla="*/ 100336 h 1060448"/>
              <a:gd name="connsiteX145" fmla="*/ 351024 w 456803"/>
              <a:gd name="connsiteY145" fmla="*/ 103727 h 1060448"/>
              <a:gd name="connsiteX146" fmla="*/ 355785 w 456803"/>
              <a:gd name="connsiteY146" fmla="*/ 101014 h 1060448"/>
              <a:gd name="connsiteX147" fmla="*/ 365309 w 456803"/>
              <a:gd name="connsiteY147" fmla="*/ 103727 h 1060448"/>
              <a:gd name="connsiteX148" fmla="*/ 370751 w 456803"/>
              <a:gd name="connsiteY148" fmla="*/ 103049 h 1060448"/>
              <a:gd name="connsiteX149" fmla="*/ 378234 w 456803"/>
              <a:gd name="connsiteY149" fmla="*/ 94911 h 1060448"/>
              <a:gd name="connsiteX150" fmla="*/ 382996 w 456803"/>
              <a:gd name="connsiteY150" fmla="*/ 90164 h 1060448"/>
              <a:gd name="connsiteX151" fmla="*/ 384356 w 456803"/>
              <a:gd name="connsiteY151" fmla="*/ 95589 h 1060448"/>
              <a:gd name="connsiteX152" fmla="*/ 385036 w 456803"/>
              <a:gd name="connsiteY152" fmla="*/ 98980 h 1060448"/>
              <a:gd name="connsiteX153" fmla="*/ 383676 w 456803"/>
              <a:gd name="connsiteY153" fmla="*/ 101693 h 1060448"/>
              <a:gd name="connsiteX154" fmla="*/ 385036 w 456803"/>
              <a:gd name="connsiteY154" fmla="*/ 103049 h 1060448"/>
              <a:gd name="connsiteX155" fmla="*/ 380955 w 456803"/>
              <a:gd name="connsiteY155" fmla="*/ 106439 h 1060448"/>
              <a:gd name="connsiteX156" fmla="*/ 383676 w 456803"/>
              <a:gd name="connsiteY156" fmla="*/ 107118 h 1060448"/>
              <a:gd name="connsiteX157" fmla="*/ 381635 w 456803"/>
              <a:gd name="connsiteY157" fmla="*/ 109830 h 1060448"/>
              <a:gd name="connsiteX158" fmla="*/ 385717 w 456803"/>
              <a:gd name="connsiteY158" fmla="*/ 109830 h 1060448"/>
              <a:gd name="connsiteX159" fmla="*/ 385036 w 456803"/>
              <a:gd name="connsiteY159" fmla="*/ 112543 h 1060448"/>
              <a:gd name="connsiteX160" fmla="*/ 386397 w 456803"/>
              <a:gd name="connsiteY160" fmla="*/ 115255 h 1060448"/>
              <a:gd name="connsiteX161" fmla="*/ 383676 w 456803"/>
              <a:gd name="connsiteY161" fmla="*/ 117968 h 1060448"/>
              <a:gd name="connsiteX162" fmla="*/ 380955 w 456803"/>
              <a:gd name="connsiteY162" fmla="*/ 124071 h 1060448"/>
              <a:gd name="connsiteX163" fmla="*/ 383676 w 456803"/>
              <a:gd name="connsiteY163" fmla="*/ 128818 h 1060448"/>
              <a:gd name="connsiteX164" fmla="*/ 385717 w 456803"/>
              <a:gd name="connsiteY164" fmla="*/ 130852 h 1060448"/>
              <a:gd name="connsiteX165" fmla="*/ 392519 w 456803"/>
              <a:gd name="connsiteY165" fmla="*/ 134243 h 1060448"/>
              <a:gd name="connsiteX166" fmla="*/ 395920 w 456803"/>
              <a:gd name="connsiteY166" fmla="*/ 133564 h 1060448"/>
              <a:gd name="connsiteX167" fmla="*/ 399322 w 456803"/>
              <a:gd name="connsiteY167" fmla="*/ 136955 h 1060448"/>
              <a:gd name="connsiteX168" fmla="*/ 395920 w 456803"/>
              <a:gd name="connsiteY168" fmla="*/ 136955 h 1060448"/>
              <a:gd name="connsiteX169" fmla="*/ 385717 w 456803"/>
              <a:gd name="connsiteY169" fmla="*/ 136955 h 1060448"/>
              <a:gd name="connsiteX170" fmla="*/ 389118 w 456803"/>
              <a:gd name="connsiteY170" fmla="*/ 138311 h 1060448"/>
              <a:gd name="connsiteX171" fmla="*/ 385717 w 456803"/>
              <a:gd name="connsiteY171" fmla="*/ 140346 h 1060448"/>
              <a:gd name="connsiteX172" fmla="*/ 375513 w 456803"/>
              <a:gd name="connsiteY172" fmla="*/ 141024 h 1060448"/>
              <a:gd name="connsiteX173" fmla="*/ 395920 w 456803"/>
              <a:gd name="connsiteY173" fmla="*/ 139668 h 1060448"/>
              <a:gd name="connsiteX174" fmla="*/ 395240 w 456803"/>
              <a:gd name="connsiteY174" fmla="*/ 143736 h 1060448"/>
              <a:gd name="connsiteX175" fmla="*/ 401362 w 456803"/>
              <a:gd name="connsiteY175" fmla="*/ 141702 h 1060448"/>
              <a:gd name="connsiteX176" fmla="*/ 401362 w 456803"/>
              <a:gd name="connsiteY176" fmla="*/ 147127 h 1060448"/>
              <a:gd name="connsiteX177" fmla="*/ 400002 w 456803"/>
              <a:gd name="connsiteY177" fmla="*/ 149839 h 1060448"/>
              <a:gd name="connsiteX178" fmla="*/ 398641 w 456803"/>
              <a:gd name="connsiteY178" fmla="*/ 151874 h 1060448"/>
              <a:gd name="connsiteX179" fmla="*/ 382315 w 456803"/>
              <a:gd name="connsiteY179" fmla="*/ 160011 h 1060448"/>
              <a:gd name="connsiteX180" fmla="*/ 372111 w 456803"/>
              <a:gd name="connsiteY180" fmla="*/ 165436 h 1060448"/>
              <a:gd name="connsiteX181" fmla="*/ 369390 w 456803"/>
              <a:gd name="connsiteY181" fmla="*/ 167471 h 1060448"/>
              <a:gd name="connsiteX182" fmla="*/ 361908 w 456803"/>
              <a:gd name="connsiteY182" fmla="*/ 167471 h 1060448"/>
              <a:gd name="connsiteX183" fmla="*/ 331296 w 456803"/>
              <a:gd name="connsiteY183" fmla="*/ 166114 h 1060448"/>
              <a:gd name="connsiteX184" fmla="*/ 320412 w 456803"/>
              <a:gd name="connsiteY184" fmla="*/ 174252 h 1060448"/>
              <a:gd name="connsiteX185" fmla="*/ 309528 w 456803"/>
              <a:gd name="connsiteY185" fmla="*/ 178999 h 1060448"/>
              <a:gd name="connsiteX186" fmla="*/ 301365 w 456803"/>
              <a:gd name="connsiteY186" fmla="*/ 183067 h 1060448"/>
              <a:gd name="connsiteX187" fmla="*/ 295923 w 456803"/>
              <a:gd name="connsiteY187" fmla="*/ 182389 h 1060448"/>
              <a:gd name="connsiteX188" fmla="*/ 297284 w 456803"/>
              <a:gd name="connsiteY188" fmla="*/ 188492 h 1060448"/>
              <a:gd name="connsiteX189" fmla="*/ 289121 w 456803"/>
              <a:gd name="connsiteY189" fmla="*/ 194596 h 1060448"/>
              <a:gd name="connsiteX190" fmla="*/ 312929 w 456803"/>
              <a:gd name="connsiteY190" fmla="*/ 181033 h 1060448"/>
              <a:gd name="connsiteX191" fmla="*/ 336058 w 456803"/>
              <a:gd name="connsiteY191" fmla="*/ 178999 h 1060448"/>
              <a:gd name="connsiteX192" fmla="*/ 334017 w 456803"/>
              <a:gd name="connsiteY192" fmla="*/ 181711 h 1060448"/>
              <a:gd name="connsiteX193" fmla="*/ 323133 w 456803"/>
              <a:gd name="connsiteY193" fmla="*/ 185780 h 1060448"/>
              <a:gd name="connsiteX194" fmla="*/ 325854 w 456803"/>
              <a:gd name="connsiteY194" fmla="*/ 189171 h 1060448"/>
              <a:gd name="connsiteX195" fmla="*/ 322453 w 456803"/>
              <a:gd name="connsiteY195" fmla="*/ 193239 h 1060448"/>
              <a:gd name="connsiteX196" fmla="*/ 323133 w 456803"/>
              <a:gd name="connsiteY196" fmla="*/ 195274 h 1060448"/>
              <a:gd name="connsiteX197" fmla="*/ 323133 w 456803"/>
              <a:gd name="connsiteY197" fmla="*/ 201377 h 1060448"/>
              <a:gd name="connsiteX198" fmla="*/ 331977 w 456803"/>
              <a:gd name="connsiteY198" fmla="*/ 207480 h 1060448"/>
              <a:gd name="connsiteX199" fmla="*/ 340140 w 456803"/>
              <a:gd name="connsiteY199" fmla="*/ 208158 h 1060448"/>
              <a:gd name="connsiteX200" fmla="*/ 329255 w 456803"/>
              <a:gd name="connsiteY200" fmla="*/ 214939 h 1060448"/>
              <a:gd name="connsiteX201" fmla="*/ 317691 w 456803"/>
              <a:gd name="connsiteY201" fmla="*/ 216974 h 1060448"/>
              <a:gd name="connsiteX202" fmla="*/ 308848 w 456803"/>
              <a:gd name="connsiteY202" fmla="*/ 225111 h 1060448"/>
              <a:gd name="connsiteX203" fmla="*/ 306807 w 456803"/>
              <a:gd name="connsiteY203" fmla="*/ 222399 h 1060448"/>
              <a:gd name="connsiteX204" fmla="*/ 307487 w 456803"/>
              <a:gd name="connsiteY204" fmla="*/ 217652 h 1060448"/>
              <a:gd name="connsiteX205" fmla="*/ 319052 w 456803"/>
              <a:gd name="connsiteY205" fmla="*/ 211549 h 1060448"/>
              <a:gd name="connsiteX206" fmla="*/ 324494 w 456803"/>
              <a:gd name="connsiteY206" fmla="*/ 208836 h 1060448"/>
              <a:gd name="connsiteX207" fmla="*/ 318371 w 456803"/>
              <a:gd name="connsiteY207" fmla="*/ 208158 h 1060448"/>
              <a:gd name="connsiteX208" fmla="*/ 321773 w 456803"/>
              <a:gd name="connsiteY208" fmla="*/ 205446 h 1060448"/>
              <a:gd name="connsiteX209" fmla="*/ 310208 w 456803"/>
              <a:gd name="connsiteY209" fmla="*/ 209514 h 1060448"/>
              <a:gd name="connsiteX210" fmla="*/ 305447 w 456803"/>
              <a:gd name="connsiteY210" fmla="*/ 210192 h 1060448"/>
              <a:gd name="connsiteX211" fmla="*/ 303406 w 456803"/>
              <a:gd name="connsiteY211" fmla="*/ 214261 h 1060448"/>
              <a:gd name="connsiteX212" fmla="*/ 295243 w 456803"/>
              <a:gd name="connsiteY212" fmla="*/ 214939 h 1060448"/>
              <a:gd name="connsiteX213" fmla="*/ 289801 w 456803"/>
              <a:gd name="connsiteY213" fmla="*/ 215617 h 1060448"/>
              <a:gd name="connsiteX214" fmla="*/ 283678 w 456803"/>
              <a:gd name="connsiteY214" fmla="*/ 220364 h 1060448"/>
              <a:gd name="connsiteX215" fmla="*/ 272794 w 456803"/>
              <a:gd name="connsiteY215" fmla="*/ 227824 h 1060448"/>
              <a:gd name="connsiteX216" fmla="*/ 272114 w 456803"/>
              <a:gd name="connsiteY216" fmla="*/ 231892 h 1060448"/>
              <a:gd name="connsiteX217" fmla="*/ 269393 w 456803"/>
              <a:gd name="connsiteY217" fmla="*/ 236639 h 1060448"/>
              <a:gd name="connsiteX218" fmla="*/ 272114 w 456803"/>
              <a:gd name="connsiteY218" fmla="*/ 237995 h 1060448"/>
              <a:gd name="connsiteX219" fmla="*/ 272114 w 456803"/>
              <a:gd name="connsiteY219" fmla="*/ 241386 h 1060448"/>
              <a:gd name="connsiteX220" fmla="*/ 269393 w 456803"/>
              <a:gd name="connsiteY220" fmla="*/ 240030 h 1060448"/>
              <a:gd name="connsiteX221" fmla="*/ 257829 w 456803"/>
              <a:gd name="connsiteY221" fmla="*/ 241386 h 1060448"/>
              <a:gd name="connsiteX222" fmla="*/ 246265 w 456803"/>
              <a:gd name="connsiteY222" fmla="*/ 244099 h 1060448"/>
              <a:gd name="connsiteX223" fmla="*/ 241503 w 456803"/>
              <a:gd name="connsiteY223" fmla="*/ 248846 h 1060448"/>
              <a:gd name="connsiteX224" fmla="*/ 234020 w 456803"/>
              <a:gd name="connsiteY224" fmla="*/ 260374 h 1060448"/>
              <a:gd name="connsiteX225" fmla="*/ 231299 w 456803"/>
              <a:gd name="connsiteY225" fmla="*/ 261052 h 1060448"/>
              <a:gd name="connsiteX226" fmla="*/ 228578 w 456803"/>
              <a:gd name="connsiteY226" fmla="*/ 255627 h 1060448"/>
              <a:gd name="connsiteX227" fmla="*/ 227898 w 456803"/>
              <a:gd name="connsiteY227" fmla="*/ 261730 h 1060448"/>
              <a:gd name="connsiteX228" fmla="*/ 224496 w 456803"/>
              <a:gd name="connsiteY228" fmla="*/ 270545 h 1060448"/>
              <a:gd name="connsiteX229" fmla="*/ 218374 w 456803"/>
              <a:gd name="connsiteY229" fmla="*/ 277327 h 1060448"/>
              <a:gd name="connsiteX230" fmla="*/ 219735 w 456803"/>
              <a:gd name="connsiteY230" fmla="*/ 272580 h 1060448"/>
              <a:gd name="connsiteX231" fmla="*/ 221095 w 456803"/>
              <a:gd name="connsiteY231" fmla="*/ 267155 h 1060448"/>
              <a:gd name="connsiteX232" fmla="*/ 224496 w 456803"/>
              <a:gd name="connsiteY232" fmla="*/ 254949 h 1060448"/>
              <a:gd name="connsiteX233" fmla="*/ 217694 w 456803"/>
              <a:gd name="connsiteY233" fmla="*/ 263086 h 1060448"/>
              <a:gd name="connsiteX234" fmla="*/ 219054 w 456803"/>
              <a:gd name="connsiteY234" fmla="*/ 267833 h 1060448"/>
              <a:gd name="connsiteX235" fmla="*/ 215653 w 456803"/>
              <a:gd name="connsiteY235" fmla="*/ 265799 h 1060448"/>
              <a:gd name="connsiteX236" fmla="*/ 213612 w 456803"/>
              <a:gd name="connsiteY236" fmla="*/ 267155 h 1060448"/>
              <a:gd name="connsiteX237" fmla="*/ 216333 w 456803"/>
              <a:gd name="connsiteY237" fmla="*/ 271902 h 1060448"/>
              <a:gd name="connsiteX238" fmla="*/ 214973 w 456803"/>
              <a:gd name="connsiteY238" fmla="*/ 275292 h 1060448"/>
              <a:gd name="connsiteX239" fmla="*/ 211572 w 456803"/>
              <a:gd name="connsiteY239" fmla="*/ 275970 h 1060448"/>
              <a:gd name="connsiteX240" fmla="*/ 212932 w 456803"/>
              <a:gd name="connsiteY240" fmla="*/ 279361 h 1060448"/>
              <a:gd name="connsiteX241" fmla="*/ 213612 w 456803"/>
              <a:gd name="connsiteY241" fmla="*/ 284786 h 1060448"/>
              <a:gd name="connsiteX242" fmla="*/ 210891 w 456803"/>
              <a:gd name="connsiteY242" fmla="*/ 286142 h 1060448"/>
              <a:gd name="connsiteX243" fmla="*/ 211572 w 456803"/>
              <a:gd name="connsiteY243" fmla="*/ 290889 h 1060448"/>
              <a:gd name="connsiteX244" fmla="*/ 201368 w 456803"/>
              <a:gd name="connsiteY244" fmla="*/ 293602 h 1060448"/>
              <a:gd name="connsiteX245" fmla="*/ 203409 w 456803"/>
              <a:gd name="connsiteY245" fmla="*/ 296314 h 1060448"/>
              <a:gd name="connsiteX246" fmla="*/ 200007 w 456803"/>
              <a:gd name="connsiteY246" fmla="*/ 297670 h 1060448"/>
              <a:gd name="connsiteX247" fmla="*/ 204769 w 456803"/>
              <a:gd name="connsiteY247" fmla="*/ 299027 h 1060448"/>
              <a:gd name="connsiteX248" fmla="*/ 202048 w 456803"/>
              <a:gd name="connsiteY248" fmla="*/ 301061 h 1060448"/>
              <a:gd name="connsiteX249" fmla="*/ 194565 w 456803"/>
              <a:gd name="connsiteY249" fmla="*/ 303095 h 1060448"/>
              <a:gd name="connsiteX250" fmla="*/ 179600 w 456803"/>
              <a:gd name="connsiteY250" fmla="*/ 312589 h 1060448"/>
              <a:gd name="connsiteX251" fmla="*/ 168716 w 456803"/>
              <a:gd name="connsiteY251" fmla="*/ 319370 h 1060448"/>
              <a:gd name="connsiteX252" fmla="*/ 164634 w 456803"/>
              <a:gd name="connsiteY252" fmla="*/ 324795 h 1060448"/>
              <a:gd name="connsiteX253" fmla="*/ 156471 w 456803"/>
              <a:gd name="connsiteY253" fmla="*/ 334967 h 1060448"/>
              <a:gd name="connsiteX254" fmla="*/ 151709 w 456803"/>
              <a:gd name="connsiteY254" fmla="*/ 339714 h 1060448"/>
              <a:gd name="connsiteX255" fmla="*/ 154430 w 456803"/>
              <a:gd name="connsiteY255" fmla="*/ 343783 h 1060448"/>
              <a:gd name="connsiteX256" fmla="*/ 153750 w 456803"/>
              <a:gd name="connsiteY256" fmla="*/ 353955 h 1060448"/>
              <a:gd name="connsiteX257" fmla="*/ 153070 w 456803"/>
              <a:gd name="connsiteY257" fmla="*/ 361414 h 1060448"/>
              <a:gd name="connsiteX258" fmla="*/ 150349 w 456803"/>
              <a:gd name="connsiteY258" fmla="*/ 375655 h 1060448"/>
              <a:gd name="connsiteX259" fmla="*/ 147628 w 456803"/>
              <a:gd name="connsiteY259" fmla="*/ 381758 h 1060448"/>
              <a:gd name="connsiteX260" fmla="*/ 144907 w 456803"/>
              <a:gd name="connsiteY260" fmla="*/ 386505 h 1060448"/>
              <a:gd name="connsiteX261" fmla="*/ 140825 w 456803"/>
              <a:gd name="connsiteY261" fmla="*/ 384470 h 1060448"/>
              <a:gd name="connsiteX262" fmla="*/ 138104 w 456803"/>
              <a:gd name="connsiteY262" fmla="*/ 381080 h 1060448"/>
              <a:gd name="connsiteX263" fmla="*/ 137424 w 456803"/>
              <a:gd name="connsiteY263" fmla="*/ 376333 h 1060448"/>
              <a:gd name="connsiteX264" fmla="*/ 138104 w 456803"/>
              <a:gd name="connsiteY264" fmla="*/ 370908 h 1060448"/>
              <a:gd name="connsiteX265" fmla="*/ 135383 w 456803"/>
              <a:gd name="connsiteY265" fmla="*/ 366161 h 1060448"/>
              <a:gd name="connsiteX266" fmla="*/ 136744 w 456803"/>
              <a:gd name="connsiteY266" fmla="*/ 362092 h 1060448"/>
              <a:gd name="connsiteX267" fmla="*/ 138104 w 456803"/>
              <a:gd name="connsiteY267" fmla="*/ 357345 h 1060448"/>
              <a:gd name="connsiteX268" fmla="*/ 139465 w 456803"/>
              <a:gd name="connsiteY268" fmla="*/ 349886 h 1060448"/>
              <a:gd name="connsiteX269" fmla="*/ 136744 w 456803"/>
              <a:gd name="connsiteY269" fmla="*/ 343783 h 1060448"/>
              <a:gd name="connsiteX270" fmla="*/ 133342 w 456803"/>
              <a:gd name="connsiteY270" fmla="*/ 339714 h 1060448"/>
              <a:gd name="connsiteX271" fmla="*/ 125860 w 456803"/>
              <a:gd name="connsiteY271" fmla="*/ 339714 h 1060448"/>
              <a:gd name="connsiteX272" fmla="*/ 125179 w 456803"/>
              <a:gd name="connsiteY272" fmla="*/ 337002 h 1060448"/>
              <a:gd name="connsiteX273" fmla="*/ 122458 w 456803"/>
              <a:gd name="connsiteY273" fmla="*/ 336323 h 1060448"/>
              <a:gd name="connsiteX274" fmla="*/ 119057 w 456803"/>
              <a:gd name="connsiteY274" fmla="*/ 337002 h 1060448"/>
              <a:gd name="connsiteX275" fmla="*/ 116336 w 456803"/>
              <a:gd name="connsiteY275" fmla="*/ 335645 h 1060448"/>
              <a:gd name="connsiteX276" fmla="*/ 104091 w 456803"/>
              <a:gd name="connsiteY276" fmla="*/ 335645 h 1060448"/>
              <a:gd name="connsiteX277" fmla="*/ 90486 w 456803"/>
              <a:gd name="connsiteY277" fmla="*/ 334967 h 1060448"/>
              <a:gd name="connsiteX278" fmla="*/ 93207 w 456803"/>
              <a:gd name="connsiteY278" fmla="*/ 339036 h 1060448"/>
              <a:gd name="connsiteX279" fmla="*/ 95928 w 456803"/>
              <a:gd name="connsiteY279" fmla="*/ 341070 h 1060448"/>
              <a:gd name="connsiteX280" fmla="*/ 97289 w 456803"/>
              <a:gd name="connsiteY280" fmla="*/ 342427 h 1060448"/>
              <a:gd name="connsiteX281" fmla="*/ 97289 w 456803"/>
              <a:gd name="connsiteY281" fmla="*/ 345817 h 1060448"/>
              <a:gd name="connsiteX282" fmla="*/ 94568 w 456803"/>
              <a:gd name="connsiteY282" fmla="*/ 348530 h 1060448"/>
              <a:gd name="connsiteX283" fmla="*/ 91167 w 456803"/>
              <a:gd name="connsiteY283" fmla="*/ 343783 h 1060448"/>
              <a:gd name="connsiteX284" fmla="*/ 86405 w 456803"/>
              <a:gd name="connsiteY284" fmla="*/ 346495 h 1060448"/>
              <a:gd name="connsiteX285" fmla="*/ 84364 w 456803"/>
              <a:gd name="connsiteY285" fmla="*/ 343105 h 1060448"/>
              <a:gd name="connsiteX286" fmla="*/ 83004 w 456803"/>
              <a:gd name="connsiteY286" fmla="*/ 339714 h 1060448"/>
              <a:gd name="connsiteX287" fmla="*/ 80283 w 456803"/>
              <a:gd name="connsiteY287" fmla="*/ 342427 h 1060448"/>
              <a:gd name="connsiteX288" fmla="*/ 75521 w 456803"/>
              <a:gd name="connsiteY288" fmla="*/ 344461 h 1060448"/>
              <a:gd name="connsiteX289" fmla="*/ 68038 w 456803"/>
              <a:gd name="connsiteY289" fmla="*/ 341070 h 1060448"/>
              <a:gd name="connsiteX290" fmla="*/ 61916 w 456803"/>
              <a:gd name="connsiteY290" fmla="*/ 343105 h 1060448"/>
              <a:gd name="connsiteX291" fmla="*/ 63276 w 456803"/>
              <a:gd name="connsiteY291" fmla="*/ 339714 h 1060448"/>
              <a:gd name="connsiteX292" fmla="*/ 59195 w 456803"/>
              <a:gd name="connsiteY292" fmla="*/ 339714 h 1060448"/>
              <a:gd name="connsiteX293" fmla="*/ 55793 w 456803"/>
              <a:gd name="connsiteY293" fmla="*/ 345817 h 1060448"/>
              <a:gd name="connsiteX294" fmla="*/ 45590 w 456803"/>
              <a:gd name="connsiteY294" fmla="*/ 349886 h 1060448"/>
              <a:gd name="connsiteX295" fmla="*/ 46270 w 456803"/>
              <a:gd name="connsiteY295" fmla="*/ 353277 h 1060448"/>
              <a:gd name="connsiteX296" fmla="*/ 43549 w 456803"/>
              <a:gd name="connsiteY296" fmla="*/ 352598 h 1060448"/>
              <a:gd name="connsiteX297" fmla="*/ 40148 w 456803"/>
              <a:gd name="connsiteY297" fmla="*/ 355311 h 1060448"/>
              <a:gd name="connsiteX298" fmla="*/ 36746 w 456803"/>
              <a:gd name="connsiteY298" fmla="*/ 360736 h 1060448"/>
              <a:gd name="connsiteX299" fmla="*/ 33345 w 456803"/>
              <a:gd name="connsiteY299" fmla="*/ 366161 h 1060448"/>
              <a:gd name="connsiteX300" fmla="*/ 29944 w 456803"/>
              <a:gd name="connsiteY300" fmla="*/ 380402 h 1060448"/>
              <a:gd name="connsiteX301" fmla="*/ 23821 w 456803"/>
              <a:gd name="connsiteY301" fmla="*/ 384470 h 1060448"/>
              <a:gd name="connsiteX302" fmla="*/ 22461 w 456803"/>
              <a:gd name="connsiteY302" fmla="*/ 390573 h 1060448"/>
              <a:gd name="connsiteX303" fmla="*/ 18379 w 456803"/>
              <a:gd name="connsiteY303" fmla="*/ 404136 h 1060448"/>
              <a:gd name="connsiteX304" fmla="*/ 14978 w 456803"/>
              <a:gd name="connsiteY304" fmla="*/ 412951 h 1060448"/>
              <a:gd name="connsiteX305" fmla="*/ 13618 w 456803"/>
              <a:gd name="connsiteY305" fmla="*/ 419733 h 1060448"/>
              <a:gd name="connsiteX306" fmla="*/ 14978 w 456803"/>
              <a:gd name="connsiteY306" fmla="*/ 429905 h 1060448"/>
              <a:gd name="connsiteX307" fmla="*/ 17699 w 456803"/>
              <a:gd name="connsiteY307" fmla="*/ 445501 h 1060448"/>
              <a:gd name="connsiteX308" fmla="*/ 23141 w 456803"/>
              <a:gd name="connsiteY308" fmla="*/ 448214 h 1060448"/>
              <a:gd name="connsiteX309" fmla="*/ 29263 w 456803"/>
              <a:gd name="connsiteY309" fmla="*/ 453639 h 1060448"/>
              <a:gd name="connsiteX310" fmla="*/ 42869 w 456803"/>
              <a:gd name="connsiteY310" fmla="*/ 449570 h 1060448"/>
              <a:gd name="connsiteX311" fmla="*/ 45590 w 456803"/>
              <a:gd name="connsiteY311" fmla="*/ 451605 h 1060448"/>
              <a:gd name="connsiteX312" fmla="*/ 51032 w 456803"/>
              <a:gd name="connsiteY312" fmla="*/ 449570 h 1060448"/>
              <a:gd name="connsiteX313" fmla="*/ 47630 w 456803"/>
              <a:gd name="connsiteY313" fmla="*/ 447536 h 1060448"/>
              <a:gd name="connsiteX314" fmla="*/ 53753 w 456803"/>
              <a:gd name="connsiteY314" fmla="*/ 442789 h 1060448"/>
              <a:gd name="connsiteX315" fmla="*/ 59195 w 456803"/>
              <a:gd name="connsiteY315" fmla="*/ 431261 h 1060448"/>
              <a:gd name="connsiteX316" fmla="*/ 73480 w 456803"/>
              <a:gd name="connsiteY316" fmla="*/ 423123 h 1060448"/>
              <a:gd name="connsiteX317" fmla="*/ 87765 w 456803"/>
              <a:gd name="connsiteY317" fmla="*/ 426514 h 1060448"/>
              <a:gd name="connsiteX318" fmla="*/ 82323 w 456803"/>
              <a:gd name="connsiteY318" fmla="*/ 430583 h 1060448"/>
              <a:gd name="connsiteX319" fmla="*/ 80283 w 456803"/>
              <a:gd name="connsiteY319" fmla="*/ 436686 h 1060448"/>
              <a:gd name="connsiteX320" fmla="*/ 77562 w 456803"/>
              <a:gd name="connsiteY320" fmla="*/ 444823 h 1060448"/>
              <a:gd name="connsiteX321" fmla="*/ 74160 w 456803"/>
              <a:gd name="connsiteY321" fmla="*/ 453639 h 1060448"/>
              <a:gd name="connsiteX322" fmla="*/ 69398 w 456803"/>
              <a:gd name="connsiteY322" fmla="*/ 450926 h 1060448"/>
              <a:gd name="connsiteX323" fmla="*/ 69398 w 456803"/>
              <a:gd name="connsiteY323" fmla="*/ 463133 h 1060448"/>
              <a:gd name="connsiteX324" fmla="*/ 67358 w 456803"/>
              <a:gd name="connsiteY324" fmla="*/ 469914 h 1060448"/>
              <a:gd name="connsiteX325" fmla="*/ 63956 w 456803"/>
              <a:gd name="connsiteY325" fmla="*/ 475339 h 1060448"/>
              <a:gd name="connsiteX326" fmla="*/ 61916 w 456803"/>
              <a:gd name="connsiteY326" fmla="*/ 476017 h 1060448"/>
              <a:gd name="connsiteX327" fmla="*/ 61916 w 456803"/>
              <a:gd name="connsiteY327" fmla="*/ 480086 h 1060448"/>
              <a:gd name="connsiteX328" fmla="*/ 79602 w 456803"/>
              <a:gd name="connsiteY328" fmla="*/ 478729 h 1060448"/>
              <a:gd name="connsiteX329" fmla="*/ 97289 w 456803"/>
              <a:gd name="connsiteY329" fmla="*/ 481442 h 1060448"/>
              <a:gd name="connsiteX330" fmla="*/ 99330 w 456803"/>
              <a:gd name="connsiteY330" fmla="*/ 487545 h 1060448"/>
              <a:gd name="connsiteX331" fmla="*/ 97969 w 456803"/>
              <a:gd name="connsiteY331" fmla="*/ 488901 h 1060448"/>
              <a:gd name="connsiteX332" fmla="*/ 97289 w 456803"/>
              <a:gd name="connsiteY332" fmla="*/ 495004 h 1060448"/>
              <a:gd name="connsiteX333" fmla="*/ 96609 w 456803"/>
              <a:gd name="connsiteY333" fmla="*/ 495683 h 1060448"/>
              <a:gd name="connsiteX334" fmla="*/ 93888 w 456803"/>
              <a:gd name="connsiteY334" fmla="*/ 498395 h 1060448"/>
              <a:gd name="connsiteX335" fmla="*/ 92527 w 456803"/>
              <a:gd name="connsiteY335" fmla="*/ 504498 h 1060448"/>
              <a:gd name="connsiteX336" fmla="*/ 93207 w 456803"/>
              <a:gd name="connsiteY336" fmla="*/ 510601 h 1060448"/>
              <a:gd name="connsiteX337" fmla="*/ 91847 w 456803"/>
              <a:gd name="connsiteY337" fmla="*/ 509245 h 1060448"/>
              <a:gd name="connsiteX338" fmla="*/ 91847 w 456803"/>
              <a:gd name="connsiteY338" fmla="*/ 513314 h 1060448"/>
              <a:gd name="connsiteX339" fmla="*/ 90486 w 456803"/>
              <a:gd name="connsiteY339" fmla="*/ 520095 h 1060448"/>
              <a:gd name="connsiteX340" fmla="*/ 91167 w 456803"/>
              <a:gd name="connsiteY340" fmla="*/ 527554 h 1060448"/>
              <a:gd name="connsiteX341" fmla="*/ 92527 w 456803"/>
              <a:gd name="connsiteY341" fmla="*/ 533658 h 1060448"/>
              <a:gd name="connsiteX342" fmla="*/ 96609 w 456803"/>
              <a:gd name="connsiteY342" fmla="*/ 541795 h 1060448"/>
              <a:gd name="connsiteX343" fmla="*/ 99330 w 456803"/>
              <a:gd name="connsiteY343" fmla="*/ 547898 h 1060448"/>
              <a:gd name="connsiteX344" fmla="*/ 102731 w 456803"/>
              <a:gd name="connsiteY344" fmla="*/ 545864 h 1060448"/>
              <a:gd name="connsiteX345" fmla="*/ 115656 w 456803"/>
              <a:gd name="connsiteY345" fmla="*/ 543829 h 1060448"/>
              <a:gd name="connsiteX346" fmla="*/ 123819 w 456803"/>
              <a:gd name="connsiteY346" fmla="*/ 541795 h 1060448"/>
              <a:gd name="connsiteX347" fmla="*/ 134703 w 456803"/>
              <a:gd name="connsiteY347" fmla="*/ 549254 h 1060448"/>
              <a:gd name="connsiteX348" fmla="*/ 140825 w 456803"/>
              <a:gd name="connsiteY348" fmla="*/ 558070 h 1060448"/>
              <a:gd name="connsiteX349" fmla="*/ 144226 w 456803"/>
              <a:gd name="connsiteY349" fmla="*/ 543829 h 1060448"/>
              <a:gd name="connsiteX350" fmla="*/ 148308 w 456803"/>
              <a:gd name="connsiteY350" fmla="*/ 539083 h 1060448"/>
              <a:gd name="connsiteX351" fmla="*/ 155791 w 456803"/>
              <a:gd name="connsiteY351" fmla="*/ 527554 h 1060448"/>
              <a:gd name="connsiteX352" fmla="*/ 160553 w 456803"/>
              <a:gd name="connsiteY352" fmla="*/ 528233 h 1060448"/>
              <a:gd name="connsiteX353" fmla="*/ 163954 w 456803"/>
              <a:gd name="connsiteY353" fmla="*/ 524164 h 1060448"/>
              <a:gd name="connsiteX354" fmla="*/ 179600 w 456803"/>
              <a:gd name="connsiteY354" fmla="*/ 513992 h 1060448"/>
              <a:gd name="connsiteX355" fmla="*/ 184361 w 456803"/>
              <a:gd name="connsiteY355" fmla="*/ 517383 h 1060448"/>
              <a:gd name="connsiteX356" fmla="*/ 179600 w 456803"/>
              <a:gd name="connsiteY356" fmla="*/ 522129 h 1060448"/>
              <a:gd name="connsiteX357" fmla="*/ 177559 w 456803"/>
              <a:gd name="connsiteY357" fmla="*/ 537726 h 1060448"/>
              <a:gd name="connsiteX358" fmla="*/ 177559 w 456803"/>
              <a:gd name="connsiteY358" fmla="*/ 541117 h 1060448"/>
              <a:gd name="connsiteX359" fmla="*/ 182321 w 456803"/>
              <a:gd name="connsiteY359" fmla="*/ 545864 h 1060448"/>
              <a:gd name="connsiteX360" fmla="*/ 183001 w 456803"/>
              <a:gd name="connsiteY360" fmla="*/ 530945 h 1060448"/>
              <a:gd name="connsiteX361" fmla="*/ 195245 w 456803"/>
              <a:gd name="connsiteY361" fmla="*/ 522129 h 1060448"/>
              <a:gd name="connsiteX362" fmla="*/ 191844 w 456803"/>
              <a:gd name="connsiteY362" fmla="*/ 518061 h 1060448"/>
              <a:gd name="connsiteX363" fmla="*/ 195245 w 456803"/>
              <a:gd name="connsiteY363" fmla="*/ 516026 h 1060448"/>
              <a:gd name="connsiteX364" fmla="*/ 201368 w 456803"/>
              <a:gd name="connsiteY364" fmla="*/ 522129 h 1060448"/>
              <a:gd name="connsiteX365" fmla="*/ 211572 w 456803"/>
              <a:gd name="connsiteY365" fmla="*/ 531623 h 1060448"/>
              <a:gd name="connsiteX366" fmla="*/ 219054 w 456803"/>
              <a:gd name="connsiteY366" fmla="*/ 530945 h 1060448"/>
              <a:gd name="connsiteX367" fmla="*/ 225177 w 456803"/>
              <a:gd name="connsiteY367" fmla="*/ 535014 h 1060448"/>
              <a:gd name="connsiteX368" fmla="*/ 229258 w 456803"/>
              <a:gd name="connsiteY368" fmla="*/ 536370 h 1060448"/>
              <a:gd name="connsiteX369" fmla="*/ 238782 w 456803"/>
              <a:gd name="connsiteY369" fmla="*/ 534336 h 1060448"/>
              <a:gd name="connsiteX370" fmla="*/ 234020 w 456803"/>
              <a:gd name="connsiteY370" fmla="*/ 530945 h 1060448"/>
              <a:gd name="connsiteX371" fmla="*/ 250346 w 456803"/>
              <a:gd name="connsiteY371" fmla="*/ 530267 h 1060448"/>
              <a:gd name="connsiteX372" fmla="*/ 246265 w 456803"/>
              <a:gd name="connsiteY372" fmla="*/ 532301 h 1060448"/>
              <a:gd name="connsiteX373" fmla="*/ 245584 w 456803"/>
              <a:gd name="connsiteY373" fmla="*/ 534336 h 1060448"/>
              <a:gd name="connsiteX374" fmla="*/ 246945 w 456803"/>
              <a:gd name="connsiteY374" fmla="*/ 537726 h 1060448"/>
              <a:gd name="connsiteX375" fmla="*/ 249666 w 456803"/>
              <a:gd name="connsiteY375" fmla="*/ 537048 h 1060448"/>
              <a:gd name="connsiteX376" fmla="*/ 253747 w 456803"/>
              <a:gd name="connsiteY376" fmla="*/ 539761 h 1060448"/>
              <a:gd name="connsiteX377" fmla="*/ 259870 w 456803"/>
              <a:gd name="connsiteY377" fmla="*/ 545864 h 1060448"/>
              <a:gd name="connsiteX378" fmla="*/ 259870 w 456803"/>
              <a:gd name="connsiteY378" fmla="*/ 550611 h 1060448"/>
              <a:gd name="connsiteX379" fmla="*/ 256468 w 456803"/>
              <a:gd name="connsiteY379" fmla="*/ 553323 h 1060448"/>
              <a:gd name="connsiteX380" fmla="*/ 260550 w 456803"/>
              <a:gd name="connsiteY380" fmla="*/ 555357 h 1060448"/>
              <a:gd name="connsiteX381" fmla="*/ 267352 w 456803"/>
              <a:gd name="connsiteY381" fmla="*/ 554679 h 1060448"/>
              <a:gd name="connsiteX382" fmla="*/ 273475 w 456803"/>
              <a:gd name="connsiteY382" fmla="*/ 559426 h 1060448"/>
              <a:gd name="connsiteX383" fmla="*/ 275515 w 456803"/>
              <a:gd name="connsiteY383" fmla="*/ 565529 h 1060448"/>
              <a:gd name="connsiteX384" fmla="*/ 280957 w 456803"/>
              <a:gd name="connsiteY384" fmla="*/ 572989 h 1060448"/>
              <a:gd name="connsiteX385" fmla="*/ 283678 w 456803"/>
              <a:gd name="connsiteY385" fmla="*/ 575023 h 1060448"/>
              <a:gd name="connsiteX386" fmla="*/ 288440 w 456803"/>
              <a:gd name="connsiteY386" fmla="*/ 578414 h 1060448"/>
              <a:gd name="connsiteX387" fmla="*/ 300685 w 456803"/>
              <a:gd name="connsiteY387" fmla="*/ 579092 h 1060448"/>
              <a:gd name="connsiteX388" fmla="*/ 306807 w 456803"/>
              <a:gd name="connsiteY388" fmla="*/ 583161 h 1060448"/>
              <a:gd name="connsiteX389" fmla="*/ 311569 w 456803"/>
              <a:gd name="connsiteY389" fmla="*/ 581126 h 1060448"/>
              <a:gd name="connsiteX390" fmla="*/ 324494 w 456803"/>
              <a:gd name="connsiteY390" fmla="*/ 596045 h 1060448"/>
              <a:gd name="connsiteX391" fmla="*/ 328575 w 456803"/>
              <a:gd name="connsiteY391" fmla="*/ 597401 h 1060448"/>
              <a:gd name="connsiteX392" fmla="*/ 331296 w 456803"/>
              <a:gd name="connsiteY392" fmla="*/ 602826 h 1060448"/>
              <a:gd name="connsiteX393" fmla="*/ 332657 w 456803"/>
              <a:gd name="connsiteY393" fmla="*/ 609607 h 1060448"/>
              <a:gd name="connsiteX394" fmla="*/ 331296 w 456803"/>
              <a:gd name="connsiteY394" fmla="*/ 615710 h 1060448"/>
              <a:gd name="connsiteX395" fmla="*/ 333337 w 456803"/>
              <a:gd name="connsiteY395" fmla="*/ 616389 h 1060448"/>
              <a:gd name="connsiteX396" fmla="*/ 334017 w 456803"/>
              <a:gd name="connsiteY396" fmla="*/ 618423 h 1060448"/>
              <a:gd name="connsiteX397" fmla="*/ 338779 w 456803"/>
              <a:gd name="connsiteY397" fmla="*/ 619779 h 1060448"/>
              <a:gd name="connsiteX398" fmla="*/ 336058 w 456803"/>
              <a:gd name="connsiteY398" fmla="*/ 623170 h 1060448"/>
              <a:gd name="connsiteX399" fmla="*/ 336738 w 456803"/>
              <a:gd name="connsiteY399" fmla="*/ 626560 h 1060448"/>
              <a:gd name="connsiteX400" fmla="*/ 333337 w 456803"/>
              <a:gd name="connsiteY400" fmla="*/ 632664 h 1060448"/>
              <a:gd name="connsiteX401" fmla="*/ 328575 w 456803"/>
              <a:gd name="connsiteY401" fmla="*/ 636732 h 1060448"/>
              <a:gd name="connsiteX402" fmla="*/ 317011 w 456803"/>
              <a:gd name="connsiteY402" fmla="*/ 653007 h 1060448"/>
              <a:gd name="connsiteX403" fmla="*/ 306127 w 456803"/>
              <a:gd name="connsiteY403" fmla="*/ 657754 h 1060448"/>
              <a:gd name="connsiteX404" fmla="*/ 320412 w 456803"/>
              <a:gd name="connsiteY404" fmla="*/ 655042 h 1060448"/>
              <a:gd name="connsiteX405" fmla="*/ 331296 w 456803"/>
              <a:gd name="connsiteY405" fmla="*/ 646226 h 1060448"/>
              <a:gd name="connsiteX406" fmla="*/ 334017 w 456803"/>
              <a:gd name="connsiteY406" fmla="*/ 645548 h 1060448"/>
              <a:gd name="connsiteX407" fmla="*/ 348983 w 456803"/>
              <a:gd name="connsiteY407" fmla="*/ 641479 h 1060448"/>
              <a:gd name="connsiteX408" fmla="*/ 345582 w 456803"/>
              <a:gd name="connsiteY408" fmla="*/ 653007 h 1060448"/>
              <a:gd name="connsiteX409" fmla="*/ 333337 w 456803"/>
              <a:gd name="connsiteY409" fmla="*/ 655042 h 1060448"/>
              <a:gd name="connsiteX410" fmla="*/ 325854 w 456803"/>
              <a:gd name="connsiteY410" fmla="*/ 657076 h 1060448"/>
              <a:gd name="connsiteX411" fmla="*/ 333337 w 456803"/>
              <a:gd name="connsiteY411" fmla="*/ 657754 h 1060448"/>
              <a:gd name="connsiteX412" fmla="*/ 338779 w 456803"/>
              <a:gd name="connsiteY412" fmla="*/ 656398 h 1060448"/>
              <a:gd name="connsiteX413" fmla="*/ 341500 w 456803"/>
              <a:gd name="connsiteY413" fmla="*/ 659110 h 1060448"/>
              <a:gd name="connsiteX414" fmla="*/ 342861 w 456803"/>
              <a:gd name="connsiteY414" fmla="*/ 665214 h 1060448"/>
              <a:gd name="connsiteX415" fmla="*/ 344901 w 456803"/>
              <a:gd name="connsiteY415" fmla="*/ 659110 h 1060448"/>
              <a:gd name="connsiteX416" fmla="*/ 350343 w 456803"/>
              <a:gd name="connsiteY416" fmla="*/ 653007 h 1060448"/>
              <a:gd name="connsiteX417" fmla="*/ 357826 w 456803"/>
              <a:gd name="connsiteY417" fmla="*/ 644870 h 1060448"/>
              <a:gd name="connsiteX418" fmla="*/ 371431 w 456803"/>
              <a:gd name="connsiteY418" fmla="*/ 649617 h 1060448"/>
              <a:gd name="connsiteX419" fmla="*/ 378914 w 456803"/>
              <a:gd name="connsiteY419" fmla="*/ 654364 h 1060448"/>
              <a:gd name="connsiteX420" fmla="*/ 378234 w 456803"/>
              <a:gd name="connsiteY420" fmla="*/ 659110 h 1060448"/>
              <a:gd name="connsiteX421" fmla="*/ 380955 w 456803"/>
              <a:gd name="connsiteY421" fmla="*/ 667248 h 1060448"/>
              <a:gd name="connsiteX422" fmla="*/ 382996 w 456803"/>
              <a:gd name="connsiteY422" fmla="*/ 662501 h 1060448"/>
              <a:gd name="connsiteX423" fmla="*/ 383676 w 456803"/>
              <a:gd name="connsiteY423" fmla="*/ 664535 h 1060448"/>
              <a:gd name="connsiteX424" fmla="*/ 387757 w 456803"/>
              <a:gd name="connsiteY424" fmla="*/ 661823 h 1060448"/>
              <a:gd name="connsiteX425" fmla="*/ 395920 w 456803"/>
              <a:gd name="connsiteY425" fmla="*/ 664535 h 1060448"/>
              <a:gd name="connsiteX426" fmla="*/ 400682 w 456803"/>
              <a:gd name="connsiteY426" fmla="*/ 664535 h 1060448"/>
              <a:gd name="connsiteX427" fmla="*/ 402723 w 456803"/>
              <a:gd name="connsiteY427" fmla="*/ 666570 h 1060448"/>
              <a:gd name="connsiteX428" fmla="*/ 409525 w 456803"/>
              <a:gd name="connsiteY428" fmla="*/ 667248 h 1060448"/>
              <a:gd name="connsiteX429" fmla="*/ 428573 w 456803"/>
              <a:gd name="connsiteY429" fmla="*/ 676742 h 1060448"/>
              <a:gd name="connsiteX430" fmla="*/ 443538 w 456803"/>
              <a:gd name="connsiteY430" fmla="*/ 688270 h 1060448"/>
              <a:gd name="connsiteX431" fmla="*/ 453062 w 456803"/>
              <a:gd name="connsiteY431" fmla="*/ 695051 h 1060448"/>
              <a:gd name="connsiteX432" fmla="*/ 455783 w 456803"/>
              <a:gd name="connsiteY432" fmla="*/ 704545 h 1060448"/>
              <a:gd name="connsiteX433" fmla="*/ 455783 w 456803"/>
              <a:gd name="connsiteY433" fmla="*/ 719463 h 1060448"/>
              <a:gd name="connsiteX434" fmla="*/ 453062 w 456803"/>
              <a:gd name="connsiteY434" fmla="*/ 727601 h 1060448"/>
              <a:gd name="connsiteX435" fmla="*/ 448980 w 456803"/>
              <a:gd name="connsiteY435" fmla="*/ 735738 h 1060448"/>
              <a:gd name="connsiteX436" fmla="*/ 448300 w 456803"/>
              <a:gd name="connsiteY436" fmla="*/ 736417 h 1060448"/>
              <a:gd name="connsiteX437" fmla="*/ 446259 w 456803"/>
              <a:gd name="connsiteY437" fmla="*/ 739129 h 1060448"/>
              <a:gd name="connsiteX438" fmla="*/ 440137 w 456803"/>
              <a:gd name="connsiteY438" fmla="*/ 745910 h 1060448"/>
              <a:gd name="connsiteX439" fmla="*/ 427212 w 456803"/>
              <a:gd name="connsiteY439" fmla="*/ 766932 h 1060448"/>
              <a:gd name="connsiteX440" fmla="*/ 426532 w 456803"/>
              <a:gd name="connsiteY440" fmla="*/ 766932 h 1060448"/>
              <a:gd name="connsiteX441" fmla="*/ 426532 w 456803"/>
              <a:gd name="connsiteY441" fmla="*/ 771001 h 1060448"/>
              <a:gd name="connsiteX442" fmla="*/ 426532 w 456803"/>
              <a:gd name="connsiteY442" fmla="*/ 775070 h 1060448"/>
              <a:gd name="connsiteX443" fmla="*/ 429253 w 456803"/>
              <a:gd name="connsiteY443" fmla="*/ 773713 h 1060448"/>
              <a:gd name="connsiteX444" fmla="*/ 429933 w 456803"/>
              <a:gd name="connsiteY444" fmla="*/ 773035 h 1060448"/>
              <a:gd name="connsiteX445" fmla="*/ 428573 w 456803"/>
              <a:gd name="connsiteY445" fmla="*/ 785241 h 1060448"/>
              <a:gd name="connsiteX446" fmla="*/ 428573 w 456803"/>
              <a:gd name="connsiteY446" fmla="*/ 789988 h 1060448"/>
              <a:gd name="connsiteX447" fmla="*/ 429253 w 456803"/>
              <a:gd name="connsiteY447" fmla="*/ 794735 h 1060448"/>
              <a:gd name="connsiteX448" fmla="*/ 429933 w 456803"/>
              <a:gd name="connsiteY448" fmla="*/ 808298 h 1060448"/>
              <a:gd name="connsiteX449" fmla="*/ 427892 w 456803"/>
              <a:gd name="connsiteY449" fmla="*/ 817113 h 1060448"/>
              <a:gd name="connsiteX450" fmla="*/ 429253 w 456803"/>
              <a:gd name="connsiteY450" fmla="*/ 825929 h 1060448"/>
              <a:gd name="connsiteX451" fmla="*/ 425852 w 456803"/>
              <a:gd name="connsiteY451" fmla="*/ 831354 h 1060448"/>
              <a:gd name="connsiteX452" fmla="*/ 420410 w 456803"/>
              <a:gd name="connsiteY452" fmla="*/ 848985 h 1060448"/>
              <a:gd name="connsiteX453" fmla="*/ 414287 w 456803"/>
              <a:gd name="connsiteY453" fmla="*/ 857123 h 1060448"/>
              <a:gd name="connsiteX454" fmla="*/ 411566 w 456803"/>
              <a:gd name="connsiteY454" fmla="*/ 859835 h 1060448"/>
              <a:gd name="connsiteX455" fmla="*/ 406804 w 456803"/>
              <a:gd name="connsiteY455" fmla="*/ 861191 h 1060448"/>
              <a:gd name="connsiteX456" fmla="*/ 394560 w 456803"/>
              <a:gd name="connsiteY456" fmla="*/ 863226 h 1060448"/>
              <a:gd name="connsiteX457" fmla="*/ 395920 w 456803"/>
              <a:gd name="connsiteY457" fmla="*/ 865938 h 1060448"/>
              <a:gd name="connsiteX458" fmla="*/ 393199 w 456803"/>
              <a:gd name="connsiteY458" fmla="*/ 865938 h 1060448"/>
              <a:gd name="connsiteX459" fmla="*/ 384356 w 456803"/>
              <a:gd name="connsiteY459" fmla="*/ 870007 h 1060448"/>
              <a:gd name="connsiteX460" fmla="*/ 384356 w 456803"/>
              <a:gd name="connsiteY460" fmla="*/ 871363 h 1060448"/>
              <a:gd name="connsiteX461" fmla="*/ 380955 w 456803"/>
              <a:gd name="connsiteY461" fmla="*/ 872041 h 1060448"/>
              <a:gd name="connsiteX462" fmla="*/ 370071 w 456803"/>
              <a:gd name="connsiteY462" fmla="*/ 884926 h 1060448"/>
              <a:gd name="connsiteX463" fmla="*/ 370751 w 456803"/>
              <a:gd name="connsiteY463" fmla="*/ 891029 h 1060448"/>
              <a:gd name="connsiteX464" fmla="*/ 373472 w 456803"/>
              <a:gd name="connsiteY464" fmla="*/ 897810 h 1060448"/>
              <a:gd name="connsiteX465" fmla="*/ 374152 w 456803"/>
              <a:gd name="connsiteY465" fmla="*/ 907304 h 1060448"/>
              <a:gd name="connsiteX466" fmla="*/ 374833 w 456803"/>
              <a:gd name="connsiteY466" fmla="*/ 914085 h 1060448"/>
              <a:gd name="connsiteX467" fmla="*/ 367350 w 456803"/>
              <a:gd name="connsiteY467" fmla="*/ 931716 h 1060448"/>
              <a:gd name="connsiteX468" fmla="*/ 359867 w 456803"/>
              <a:gd name="connsiteY468" fmla="*/ 947313 h 1060448"/>
              <a:gd name="connsiteX469" fmla="*/ 363948 w 456803"/>
              <a:gd name="connsiteY469" fmla="*/ 938497 h 1060448"/>
              <a:gd name="connsiteX470" fmla="*/ 364629 w 456803"/>
              <a:gd name="connsiteY470" fmla="*/ 930360 h 1060448"/>
              <a:gd name="connsiteX471" fmla="*/ 361227 w 456803"/>
              <a:gd name="connsiteY471" fmla="*/ 938497 h 1060448"/>
              <a:gd name="connsiteX472" fmla="*/ 357146 w 456803"/>
              <a:gd name="connsiteY472" fmla="*/ 943922 h 1060448"/>
              <a:gd name="connsiteX473" fmla="*/ 357826 w 456803"/>
              <a:gd name="connsiteY473" fmla="*/ 954094 h 1060448"/>
              <a:gd name="connsiteX474" fmla="*/ 357146 w 456803"/>
              <a:gd name="connsiteY474" fmla="*/ 958841 h 1060448"/>
              <a:gd name="connsiteX475" fmla="*/ 353745 w 456803"/>
              <a:gd name="connsiteY475" fmla="*/ 963588 h 1060448"/>
              <a:gd name="connsiteX476" fmla="*/ 340820 w 456803"/>
              <a:gd name="connsiteY476" fmla="*/ 972404 h 1060448"/>
              <a:gd name="connsiteX477" fmla="*/ 331977 w 456803"/>
              <a:gd name="connsiteY477" fmla="*/ 969013 h 1060448"/>
              <a:gd name="connsiteX478" fmla="*/ 323813 w 456803"/>
              <a:gd name="connsiteY478" fmla="*/ 969691 h 1060448"/>
              <a:gd name="connsiteX479" fmla="*/ 332657 w 456803"/>
              <a:gd name="connsiteY479" fmla="*/ 974438 h 1060448"/>
              <a:gd name="connsiteX480" fmla="*/ 332657 w 456803"/>
              <a:gd name="connsiteY480" fmla="*/ 981897 h 1060448"/>
              <a:gd name="connsiteX481" fmla="*/ 338779 w 456803"/>
              <a:gd name="connsiteY481" fmla="*/ 984610 h 1060448"/>
              <a:gd name="connsiteX482" fmla="*/ 334017 w 456803"/>
              <a:gd name="connsiteY482" fmla="*/ 1004275 h 1060448"/>
              <a:gd name="connsiteX483" fmla="*/ 329936 w 456803"/>
              <a:gd name="connsiteY483" fmla="*/ 1008344 h 1060448"/>
              <a:gd name="connsiteX484" fmla="*/ 317691 w 456803"/>
              <a:gd name="connsiteY484" fmla="*/ 1010379 h 1060448"/>
              <a:gd name="connsiteX485" fmla="*/ 308848 w 456803"/>
              <a:gd name="connsiteY485" fmla="*/ 1009022 h 1060448"/>
              <a:gd name="connsiteX486" fmla="*/ 314290 w 456803"/>
              <a:gd name="connsiteY486" fmla="*/ 1014447 h 1060448"/>
              <a:gd name="connsiteX487" fmla="*/ 314290 w 456803"/>
              <a:gd name="connsiteY487" fmla="*/ 1021907 h 1060448"/>
              <a:gd name="connsiteX488" fmla="*/ 314970 w 456803"/>
              <a:gd name="connsiteY488" fmla="*/ 1028688 h 1060448"/>
              <a:gd name="connsiteX489" fmla="*/ 300685 w 456803"/>
              <a:gd name="connsiteY489" fmla="*/ 1027332 h 1060448"/>
              <a:gd name="connsiteX490" fmla="*/ 302045 w 456803"/>
              <a:gd name="connsiteY490" fmla="*/ 1032757 h 1060448"/>
              <a:gd name="connsiteX491" fmla="*/ 304766 w 456803"/>
              <a:gd name="connsiteY491" fmla="*/ 1038182 h 1060448"/>
              <a:gd name="connsiteX492" fmla="*/ 311569 w 456803"/>
              <a:gd name="connsiteY492" fmla="*/ 1037504 h 1060448"/>
              <a:gd name="connsiteX493" fmla="*/ 312929 w 456803"/>
              <a:gd name="connsiteY493" fmla="*/ 1042250 h 1060448"/>
              <a:gd name="connsiteX494" fmla="*/ 308848 w 456803"/>
              <a:gd name="connsiteY494" fmla="*/ 1041572 h 1060448"/>
              <a:gd name="connsiteX495" fmla="*/ 308168 w 456803"/>
              <a:gd name="connsiteY495" fmla="*/ 1041572 h 1060448"/>
              <a:gd name="connsiteX496" fmla="*/ 307487 w 456803"/>
              <a:gd name="connsiteY496" fmla="*/ 1041572 h 1060448"/>
              <a:gd name="connsiteX497" fmla="*/ 307487 w 456803"/>
              <a:gd name="connsiteY497" fmla="*/ 1042250 h 1060448"/>
              <a:gd name="connsiteX498" fmla="*/ 305447 w 456803"/>
              <a:gd name="connsiteY498" fmla="*/ 1044285 h 1060448"/>
              <a:gd name="connsiteX499" fmla="*/ 309528 w 456803"/>
              <a:gd name="connsiteY499" fmla="*/ 1044963 h 1060448"/>
              <a:gd name="connsiteX500" fmla="*/ 308168 w 456803"/>
              <a:gd name="connsiteY500" fmla="*/ 1047675 h 1060448"/>
              <a:gd name="connsiteX501" fmla="*/ 308848 w 456803"/>
              <a:gd name="connsiteY501" fmla="*/ 1056491 h 1060448"/>
              <a:gd name="connsiteX502" fmla="*/ 309528 w 456803"/>
              <a:gd name="connsiteY502" fmla="*/ 1057169 h 1060448"/>
              <a:gd name="connsiteX503" fmla="*/ 310208 w 456803"/>
              <a:gd name="connsiteY503" fmla="*/ 1057847 h 1060448"/>
              <a:gd name="connsiteX504" fmla="*/ 309556 w 456803"/>
              <a:gd name="connsiteY504" fmla="*/ 1060448 h 1060448"/>
              <a:gd name="connsiteX505" fmla="*/ 265880 w 456803"/>
              <a:gd name="connsiteY505" fmla="*/ 1060448 h 1060448"/>
              <a:gd name="connsiteX506" fmla="*/ 261230 w 456803"/>
              <a:gd name="connsiteY506" fmla="*/ 1055813 h 1060448"/>
              <a:gd name="connsiteX507" fmla="*/ 257149 w 456803"/>
              <a:gd name="connsiteY507" fmla="*/ 1043607 h 1060448"/>
              <a:gd name="connsiteX508" fmla="*/ 257829 w 456803"/>
              <a:gd name="connsiteY508" fmla="*/ 1038182 h 1060448"/>
              <a:gd name="connsiteX509" fmla="*/ 252387 w 456803"/>
              <a:gd name="connsiteY509" fmla="*/ 1032757 h 1060448"/>
              <a:gd name="connsiteX510" fmla="*/ 250346 w 456803"/>
              <a:gd name="connsiteY510" fmla="*/ 1036147 h 1060448"/>
              <a:gd name="connsiteX511" fmla="*/ 246945 w 456803"/>
              <a:gd name="connsiteY511" fmla="*/ 1035469 h 1060448"/>
              <a:gd name="connsiteX512" fmla="*/ 243543 w 456803"/>
              <a:gd name="connsiteY512" fmla="*/ 1032078 h 1060448"/>
              <a:gd name="connsiteX513" fmla="*/ 243543 w 456803"/>
              <a:gd name="connsiteY513" fmla="*/ 1027332 h 1060448"/>
              <a:gd name="connsiteX514" fmla="*/ 241503 w 456803"/>
              <a:gd name="connsiteY514" fmla="*/ 1021907 h 1060448"/>
              <a:gd name="connsiteX515" fmla="*/ 240822 w 456803"/>
              <a:gd name="connsiteY515" fmla="*/ 1013091 h 1060448"/>
              <a:gd name="connsiteX516" fmla="*/ 234700 w 456803"/>
              <a:gd name="connsiteY516" fmla="*/ 1004954 h 1060448"/>
              <a:gd name="connsiteX517" fmla="*/ 230619 w 456803"/>
              <a:gd name="connsiteY517" fmla="*/ 998172 h 1060448"/>
              <a:gd name="connsiteX518" fmla="*/ 231979 w 456803"/>
              <a:gd name="connsiteY518" fmla="*/ 990713 h 1060448"/>
              <a:gd name="connsiteX519" fmla="*/ 231299 w 456803"/>
              <a:gd name="connsiteY519" fmla="*/ 972404 h 1060448"/>
              <a:gd name="connsiteX520" fmla="*/ 231299 w 456803"/>
              <a:gd name="connsiteY520" fmla="*/ 965622 h 1060448"/>
              <a:gd name="connsiteX521" fmla="*/ 228578 w 456803"/>
              <a:gd name="connsiteY521" fmla="*/ 958841 h 1060448"/>
              <a:gd name="connsiteX522" fmla="*/ 223136 w 456803"/>
              <a:gd name="connsiteY522" fmla="*/ 935107 h 1060448"/>
              <a:gd name="connsiteX523" fmla="*/ 219054 w 456803"/>
              <a:gd name="connsiteY523" fmla="*/ 922901 h 1060448"/>
              <a:gd name="connsiteX524" fmla="*/ 217694 w 456803"/>
              <a:gd name="connsiteY524" fmla="*/ 911372 h 1060448"/>
              <a:gd name="connsiteX525" fmla="*/ 216333 w 456803"/>
              <a:gd name="connsiteY525" fmla="*/ 905269 h 1060448"/>
              <a:gd name="connsiteX526" fmla="*/ 216333 w 456803"/>
              <a:gd name="connsiteY526" fmla="*/ 897810 h 1060448"/>
              <a:gd name="connsiteX527" fmla="*/ 213612 w 456803"/>
              <a:gd name="connsiteY527" fmla="*/ 888994 h 1060448"/>
              <a:gd name="connsiteX528" fmla="*/ 212252 w 456803"/>
              <a:gd name="connsiteY528" fmla="*/ 876788 h 1060448"/>
              <a:gd name="connsiteX529" fmla="*/ 211572 w 456803"/>
              <a:gd name="connsiteY529" fmla="*/ 870007 h 1060448"/>
              <a:gd name="connsiteX530" fmla="*/ 208851 w 456803"/>
              <a:gd name="connsiteY530" fmla="*/ 865260 h 1060448"/>
              <a:gd name="connsiteX531" fmla="*/ 208851 w 456803"/>
              <a:gd name="connsiteY531" fmla="*/ 858479 h 1060448"/>
              <a:gd name="connsiteX532" fmla="*/ 205449 w 456803"/>
              <a:gd name="connsiteY532" fmla="*/ 845594 h 1060448"/>
              <a:gd name="connsiteX533" fmla="*/ 203409 w 456803"/>
              <a:gd name="connsiteY533" fmla="*/ 834066 h 1060448"/>
              <a:gd name="connsiteX534" fmla="*/ 199327 w 456803"/>
              <a:gd name="connsiteY534" fmla="*/ 820504 h 1060448"/>
              <a:gd name="connsiteX535" fmla="*/ 196606 w 456803"/>
              <a:gd name="connsiteY535" fmla="*/ 815079 h 1060448"/>
              <a:gd name="connsiteX536" fmla="*/ 191844 w 456803"/>
              <a:gd name="connsiteY536" fmla="*/ 812366 h 1060448"/>
              <a:gd name="connsiteX537" fmla="*/ 190484 w 456803"/>
              <a:gd name="connsiteY537" fmla="*/ 811688 h 1060448"/>
              <a:gd name="connsiteX538" fmla="*/ 190484 w 456803"/>
              <a:gd name="connsiteY538" fmla="*/ 808298 h 1060448"/>
              <a:gd name="connsiteX539" fmla="*/ 185722 w 456803"/>
              <a:gd name="connsiteY539" fmla="*/ 804907 h 1060448"/>
              <a:gd name="connsiteX540" fmla="*/ 175518 w 456803"/>
              <a:gd name="connsiteY540" fmla="*/ 800160 h 1060448"/>
              <a:gd name="connsiteX541" fmla="*/ 159872 w 456803"/>
              <a:gd name="connsiteY541" fmla="*/ 789310 h 1060448"/>
              <a:gd name="connsiteX542" fmla="*/ 155110 w 456803"/>
              <a:gd name="connsiteY542" fmla="*/ 785920 h 1060448"/>
              <a:gd name="connsiteX543" fmla="*/ 152389 w 456803"/>
              <a:gd name="connsiteY543" fmla="*/ 780495 h 1060448"/>
              <a:gd name="connsiteX544" fmla="*/ 147628 w 456803"/>
              <a:gd name="connsiteY544" fmla="*/ 777104 h 1060448"/>
              <a:gd name="connsiteX545" fmla="*/ 148308 w 456803"/>
              <a:gd name="connsiteY545" fmla="*/ 772357 h 1060448"/>
              <a:gd name="connsiteX546" fmla="*/ 146947 w 456803"/>
              <a:gd name="connsiteY546" fmla="*/ 766254 h 1060448"/>
              <a:gd name="connsiteX547" fmla="*/ 139465 w 456803"/>
              <a:gd name="connsiteY547" fmla="*/ 758795 h 1060448"/>
              <a:gd name="connsiteX548" fmla="*/ 138784 w 456803"/>
              <a:gd name="connsiteY548" fmla="*/ 754048 h 1060448"/>
              <a:gd name="connsiteX549" fmla="*/ 135383 w 456803"/>
              <a:gd name="connsiteY549" fmla="*/ 749979 h 1060448"/>
              <a:gd name="connsiteX550" fmla="*/ 130621 w 456803"/>
              <a:gd name="connsiteY550" fmla="*/ 739129 h 1060448"/>
              <a:gd name="connsiteX551" fmla="*/ 125860 w 456803"/>
              <a:gd name="connsiteY551" fmla="*/ 728279 h 1060448"/>
              <a:gd name="connsiteX552" fmla="*/ 119737 w 456803"/>
              <a:gd name="connsiteY552" fmla="*/ 714717 h 1060448"/>
              <a:gd name="connsiteX553" fmla="*/ 115656 w 456803"/>
              <a:gd name="connsiteY553" fmla="*/ 707257 h 1060448"/>
              <a:gd name="connsiteX554" fmla="*/ 110214 w 456803"/>
              <a:gd name="connsiteY554" fmla="*/ 701832 h 1060448"/>
              <a:gd name="connsiteX555" fmla="*/ 103411 w 456803"/>
              <a:gd name="connsiteY555" fmla="*/ 696407 h 1060448"/>
              <a:gd name="connsiteX556" fmla="*/ 105452 w 456803"/>
              <a:gd name="connsiteY556" fmla="*/ 693017 h 1060448"/>
              <a:gd name="connsiteX557" fmla="*/ 105452 w 456803"/>
              <a:gd name="connsiteY557" fmla="*/ 687592 h 1060448"/>
              <a:gd name="connsiteX558" fmla="*/ 104091 w 456803"/>
              <a:gd name="connsiteY558" fmla="*/ 682845 h 1060448"/>
              <a:gd name="connsiteX559" fmla="*/ 105452 w 456803"/>
              <a:gd name="connsiteY559" fmla="*/ 676742 h 1060448"/>
              <a:gd name="connsiteX560" fmla="*/ 108173 w 456803"/>
              <a:gd name="connsiteY560" fmla="*/ 673351 h 1060448"/>
              <a:gd name="connsiteX561" fmla="*/ 113615 w 456803"/>
              <a:gd name="connsiteY561" fmla="*/ 667248 h 1060448"/>
              <a:gd name="connsiteX562" fmla="*/ 112254 w 456803"/>
              <a:gd name="connsiteY562" fmla="*/ 662501 h 1060448"/>
              <a:gd name="connsiteX563" fmla="*/ 106812 w 456803"/>
              <a:gd name="connsiteY563" fmla="*/ 662501 h 1060448"/>
              <a:gd name="connsiteX564" fmla="*/ 106812 w 456803"/>
              <a:gd name="connsiteY564" fmla="*/ 656398 h 1060448"/>
              <a:gd name="connsiteX565" fmla="*/ 105452 w 456803"/>
              <a:gd name="connsiteY565" fmla="*/ 653685 h 1060448"/>
              <a:gd name="connsiteX566" fmla="*/ 106812 w 456803"/>
              <a:gd name="connsiteY566" fmla="*/ 648260 h 1060448"/>
              <a:gd name="connsiteX567" fmla="*/ 108173 w 456803"/>
              <a:gd name="connsiteY567" fmla="*/ 644192 h 1060448"/>
              <a:gd name="connsiteX568" fmla="*/ 107493 w 456803"/>
              <a:gd name="connsiteY568" fmla="*/ 640123 h 1060448"/>
              <a:gd name="connsiteX569" fmla="*/ 110894 w 456803"/>
              <a:gd name="connsiteY569" fmla="*/ 633342 h 1060448"/>
              <a:gd name="connsiteX570" fmla="*/ 110214 w 456803"/>
              <a:gd name="connsiteY570" fmla="*/ 627917 h 1060448"/>
              <a:gd name="connsiteX571" fmla="*/ 118377 w 456803"/>
              <a:gd name="connsiteY571" fmla="*/ 623848 h 1060448"/>
              <a:gd name="connsiteX572" fmla="*/ 121778 w 456803"/>
              <a:gd name="connsiteY572" fmla="*/ 618423 h 1060448"/>
              <a:gd name="connsiteX573" fmla="*/ 122458 w 456803"/>
              <a:gd name="connsiteY573" fmla="*/ 611642 h 1060448"/>
              <a:gd name="connsiteX574" fmla="*/ 129941 w 456803"/>
              <a:gd name="connsiteY574" fmla="*/ 604182 h 1060448"/>
              <a:gd name="connsiteX575" fmla="*/ 131982 w 456803"/>
              <a:gd name="connsiteY575" fmla="*/ 600114 h 1060448"/>
              <a:gd name="connsiteX576" fmla="*/ 131302 w 456803"/>
              <a:gd name="connsiteY576" fmla="*/ 594011 h 1060448"/>
              <a:gd name="connsiteX577" fmla="*/ 131982 w 456803"/>
              <a:gd name="connsiteY577" fmla="*/ 585873 h 1060448"/>
              <a:gd name="connsiteX578" fmla="*/ 133342 w 456803"/>
              <a:gd name="connsiteY578" fmla="*/ 581804 h 1060448"/>
              <a:gd name="connsiteX579" fmla="*/ 132662 w 456803"/>
              <a:gd name="connsiteY579" fmla="*/ 575701 h 1060448"/>
              <a:gd name="connsiteX580" fmla="*/ 131302 w 456803"/>
              <a:gd name="connsiteY580" fmla="*/ 570954 h 1060448"/>
              <a:gd name="connsiteX581" fmla="*/ 131302 w 456803"/>
              <a:gd name="connsiteY581" fmla="*/ 566886 h 1060448"/>
              <a:gd name="connsiteX582" fmla="*/ 126540 w 456803"/>
              <a:gd name="connsiteY582" fmla="*/ 564173 h 1060448"/>
              <a:gd name="connsiteX583" fmla="*/ 131302 w 456803"/>
              <a:gd name="connsiteY583" fmla="*/ 555357 h 1060448"/>
              <a:gd name="connsiteX584" fmla="*/ 127900 w 456803"/>
              <a:gd name="connsiteY584" fmla="*/ 552645 h 1060448"/>
              <a:gd name="connsiteX585" fmla="*/ 119737 w 456803"/>
              <a:gd name="connsiteY585" fmla="*/ 549254 h 1060448"/>
              <a:gd name="connsiteX586" fmla="*/ 117016 w 456803"/>
              <a:gd name="connsiteY586" fmla="*/ 553323 h 1060448"/>
              <a:gd name="connsiteX587" fmla="*/ 112254 w 456803"/>
              <a:gd name="connsiteY587" fmla="*/ 553323 h 1060448"/>
              <a:gd name="connsiteX588" fmla="*/ 114975 w 456803"/>
              <a:gd name="connsiteY588" fmla="*/ 561461 h 1060448"/>
              <a:gd name="connsiteX589" fmla="*/ 110214 w 456803"/>
              <a:gd name="connsiteY589" fmla="*/ 564173 h 1060448"/>
              <a:gd name="connsiteX590" fmla="*/ 106812 w 456803"/>
              <a:gd name="connsiteY590" fmla="*/ 560104 h 1060448"/>
              <a:gd name="connsiteX591" fmla="*/ 102051 w 456803"/>
              <a:gd name="connsiteY591" fmla="*/ 554679 h 1060448"/>
              <a:gd name="connsiteX592" fmla="*/ 96609 w 456803"/>
              <a:gd name="connsiteY592" fmla="*/ 553323 h 1060448"/>
              <a:gd name="connsiteX593" fmla="*/ 91847 w 456803"/>
              <a:gd name="connsiteY593" fmla="*/ 554679 h 1060448"/>
              <a:gd name="connsiteX594" fmla="*/ 90486 w 456803"/>
              <a:gd name="connsiteY594" fmla="*/ 551967 h 1060448"/>
              <a:gd name="connsiteX595" fmla="*/ 87085 w 456803"/>
              <a:gd name="connsiteY595" fmla="*/ 551289 h 1060448"/>
              <a:gd name="connsiteX596" fmla="*/ 85725 w 456803"/>
              <a:gd name="connsiteY596" fmla="*/ 544508 h 1060448"/>
              <a:gd name="connsiteX597" fmla="*/ 85044 w 456803"/>
              <a:gd name="connsiteY597" fmla="*/ 540439 h 1060448"/>
              <a:gd name="connsiteX598" fmla="*/ 82323 w 456803"/>
              <a:gd name="connsiteY598" fmla="*/ 541795 h 1060448"/>
              <a:gd name="connsiteX599" fmla="*/ 79955 w 456803"/>
              <a:gd name="connsiteY599" fmla="*/ 537466 h 1060448"/>
              <a:gd name="connsiteX600" fmla="*/ 80113 w 456803"/>
              <a:gd name="connsiteY600" fmla="*/ 537218 h 1060448"/>
              <a:gd name="connsiteX601" fmla="*/ 78242 w 456803"/>
              <a:gd name="connsiteY601" fmla="*/ 534336 h 1060448"/>
              <a:gd name="connsiteX602" fmla="*/ 79955 w 456803"/>
              <a:gd name="connsiteY602" fmla="*/ 537466 h 1060448"/>
              <a:gd name="connsiteX603" fmla="*/ 78922 w 456803"/>
              <a:gd name="connsiteY603" fmla="*/ 539083 h 1060448"/>
              <a:gd name="connsiteX604" fmla="*/ 74841 w 456803"/>
              <a:gd name="connsiteY604" fmla="*/ 530945 h 1060448"/>
              <a:gd name="connsiteX605" fmla="*/ 74841 w 456803"/>
              <a:gd name="connsiteY605" fmla="*/ 523486 h 1060448"/>
              <a:gd name="connsiteX606" fmla="*/ 68038 w 456803"/>
              <a:gd name="connsiteY606" fmla="*/ 513314 h 1060448"/>
              <a:gd name="connsiteX607" fmla="*/ 63956 w 456803"/>
              <a:gd name="connsiteY607" fmla="*/ 509245 h 1060448"/>
              <a:gd name="connsiteX608" fmla="*/ 68718 w 456803"/>
              <a:gd name="connsiteY608" fmla="*/ 505854 h 1060448"/>
              <a:gd name="connsiteX609" fmla="*/ 63956 w 456803"/>
              <a:gd name="connsiteY609" fmla="*/ 502464 h 1060448"/>
              <a:gd name="connsiteX610" fmla="*/ 50351 w 456803"/>
              <a:gd name="connsiteY610" fmla="*/ 501786 h 1060448"/>
              <a:gd name="connsiteX611" fmla="*/ 46950 w 456803"/>
              <a:gd name="connsiteY611" fmla="*/ 498395 h 1060448"/>
              <a:gd name="connsiteX612" fmla="*/ 39467 w 456803"/>
              <a:gd name="connsiteY612" fmla="*/ 496361 h 1060448"/>
              <a:gd name="connsiteX613" fmla="*/ 38107 w 456803"/>
              <a:gd name="connsiteY613" fmla="*/ 495004 h 1060448"/>
              <a:gd name="connsiteX614" fmla="*/ 32665 w 456803"/>
              <a:gd name="connsiteY614" fmla="*/ 484833 h 1060448"/>
              <a:gd name="connsiteX615" fmla="*/ 25862 w 456803"/>
              <a:gd name="connsiteY615" fmla="*/ 475339 h 1060448"/>
              <a:gd name="connsiteX616" fmla="*/ 21100 w 456803"/>
              <a:gd name="connsiteY616" fmla="*/ 474661 h 1060448"/>
              <a:gd name="connsiteX617" fmla="*/ 18379 w 456803"/>
              <a:gd name="connsiteY617" fmla="*/ 471948 h 1060448"/>
              <a:gd name="connsiteX618" fmla="*/ 7495 w 456803"/>
              <a:gd name="connsiteY618" fmla="*/ 479408 h 1060448"/>
              <a:gd name="connsiteX619" fmla="*/ 778 w 456803"/>
              <a:gd name="connsiteY619" fmla="*/ 477373 h 1060448"/>
              <a:gd name="connsiteX620" fmla="*/ 0 w 456803"/>
              <a:gd name="connsiteY620" fmla="*/ 476863 h 1060448"/>
              <a:gd name="connsiteX621" fmla="*/ 0 w 456803"/>
              <a:gd name="connsiteY621" fmla="*/ 165175 h 1060448"/>
              <a:gd name="connsiteX622" fmla="*/ 1373 w 456803"/>
              <a:gd name="connsiteY622" fmla="*/ 164080 h 1060448"/>
              <a:gd name="connsiteX623" fmla="*/ 4774 w 456803"/>
              <a:gd name="connsiteY623" fmla="*/ 156621 h 1060448"/>
              <a:gd name="connsiteX624" fmla="*/ 2734 w 456803"/>
              <a:gd name="connsiteY624" fmla="*/ 152552 h 1060448"/>
              <a:gd name="connsiteX625" fmla="*/ 5455 w 456803"/>
              <a:gd name="connsiteY625" fmla="*/ 150518 h 1060448"/>
              <a:gd name="connsiteX626" fmla="*/ 2053 w 456803"/>
              <a:gd name="connsiteY626" fmla="*/ 149161 h 1060448"/>
              <a:gd name="connsiteX627" fmla="*/ 5455 w 456803"/>
              <a:gd name="connsiteY627" fmla="*/ 143736 h 1060448"/>
              <a:gd name="connsiteX628" fmla="*/ 5455 w 456803"/>
              <a:gd name="connsiteY628" fmla="*/ 141702 h 1060448"/>
              <a:gd name="connsiteX629" fmla="*/ 693 w 456803"/>
              <a:gd name="connsiteY629" fmla="*/ 143058 h 1060448"/>
              <a:gd name="connsiteX630" fmla="*/ 268 w 456803"/>
              <a:gd name="connsiteY630" fmla="*/ 141109 h 1060448"/>
              <a:gd name="connsiteX631" fmla="*/ 0 w 456803"/>
              <a:gd name="connsiteY631" fmla="*/ 140697 h 1060448"/>
              <a:gd name="connsiteX632" fmla="*/ 0 w 456803"/>
              <a:gd name="connsiteY632" fmla="*/ 134643 h 1060448"/>
              <a:gd name="connsiteX633" fmla="*/ 693 w 456803"/>
              <a:gd name="connsiteY633" fmla="*/ 134243 h 1060448"/>
              <a:gd name="connsiteX634" fmla="*/ 3414 w 456803"/>
              <a:gd name="connsiteY634" fmla="*/ 130174 h 1060448"/>
              <a:gd name="connsiteX635" fmla="*/ 9536 w 456803"/>
              <a:gd name="connsiteY635" fmla="*/ 126783 h 1060448"/>
              <a:gd name="connsiteX636" fmla="*/ 1373 w 456803"/>
              <a:gd name="connsiteY636" fmla="*/ 128818 h 1060448"/>
              <a:gd name="connsiteX637" fmla="*/ 1373 w 456803"/>
              <a:gd name="connsiteY637" fmla="*/ 126783 h 1060448"/>
              <a:gd name="connsiteX638" fmla="*/ 8856 w 456803"/>
              <a:gd name="connsiteY638" fmla="*/ 120002 h 1060448"/>
              <a:gd name="connsiteX639" fmla="*/ 12257 w 456803"/>
              <a:gd name="connsiteY639" fmla="*/ 114577 h 1060448"/>
              <a:gd name="connsiteX640" fmla="*/ 8856 w 456803"/>
              <a:gd name="connsiteY640" fmla="*/ 115255 h 1060448"/>
              <a:gd name="connsiteX641" fmla="*/ 6135 w 456803"/>
              <a:gd name="connsiteY641" fmla="*/ 113899 h 1060448"/>
              <a:gd name="connsiteX642" fmla="*/ 7495 w 456803"/>
              <a:gd name="connsiteY642" fmla="*/ 109830 h 1060448"/>
              <a:gd name="connsiteX643" fmla="*/ 12937 w 456803"/>
              <a:gd name="connsiteY643" fmla="*/ 108474 h 1060448"/>
              <a:gd name="connsiteX644" fmla="*/ 18379 w 456803"/>
              <a:gd name="connsiteY644" fmla="*/ 104405 h 1060448"/>
              <a:gd name="connsiteX645" fmla="*/ 11577 w 456803"/>
              <a:gd name="connsiteY645" fmla="*/ 105083 h 1060448"/>
              <a:gd name="connsiteX646" fmla="*/ 14298 w 456803"/>
              <a:gd name="connsiteY646" fmla="*/ 103049 h 1060448"/>
              <a:gd name="connsiteX647" fmla="*/ 17699 w 456803"/>
              <a:gd name="connsiteY647" fmla="*/ 98980 h 1060448"/>
              <a:gd name="connsiteX648" fmla="*/ 12257 w 456803"/>
              <a:gd name="connsiteY648" fmla="*/ 98302 h 1060448"/>
              <a:gd name="connsiteX649" fmla="*/ 17699 w 456803"/>
              <a:gd name="connsiteY649" fmla="*/ 94233 h 1060448"/>
              <a:gd name="connsiteX650" fmla="*/ 19740 w 456803"/>
              <a:gd name="connsiteY650" fmla="*/ 86774 h 1060448"/>
              <a:gd name="connsiteX651" fmla="*/ 23141 w 456803"/>
              <a:gd name="connsiteY651" fmla="*/ 84740 h 1060448"/>
              <a:gd name="connsiteX652" fmla="*/ 25182 w 456803"/>
              <a:gd name="connsiteY652" fmla="*/ 79315 h 1060448"/>
              <a:gd name="connsiteX653" fmla="*/ 26542 w 456803"/>
              <a:gd name="connsiteY653" fmla="*/ 71177 h 1060448"/>
              <a:gd name="connsiteX654" fmla="*/ 20420 w 456803"/>
              <a:gd name="connsiteY654" fmla="*/ 75924 h 1060448"/>
              <a:gd name="connsiteX655" fmla="*/ 16339 w 456803"/>
              <a:gd name="connsiteY655" fmla="*/ 77280 h 1060448"/>
              <a:gd name="connsiteX656" fmla="*/ 13618 w 456803"/>
              <a:gd name="connsiteY656" fmla="*/ 73211 h 1060448"/>
              <a:gd name="connsiteX657" fmla="*/ 13618 w 456803"/>
              <a:gd name="connsiteY657" fmla="*/ 65752 h 1060448"/>
              <a:gd name="connsiteX658" fmla="*/ 16339 w 456803"/>
              <a:gd name="connsiteY658" fmla="*/ 67108 h 1060448"/>
              <a:gd name="connsiteX659" fmla="*/ 18379 w 456803"/>
              <a:gd name="connsiteY659" fmla="*/ 63040 h 1060448"/>
              <a:gd name="connsiteX660" fmla="*/ 12257 w 456803"/>
              <a:gd name="connsiteY660" fmla="*/ 63040 h 1060448"/>
              <a:gd name="connsiteX661" fmla="*/ 7495 w 456803"/>
              <a:gd name="connsiteY661" fmla="*/ 63040 h 1060448"/>
              <a:gd name="connsiteX662" fmla="*/ 6815 w 456803"/>
              <a:gd name="connsiteY662" fmla="*/ 59649 h 1060448"/>
              <a:gd name="connsiteX663" fmla="*/ 2224 w 456803"/>
              <a:gd name="connsiteY663" fmla="*/ 58632 h 1060448"/>
              <a:gd name="connsiteX664" fmla="*/ 0 w 456803"/>
              <a:gd name="connsiteY664" fmla="*/ 56732 h 1060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Lst>
            <a:rect l="l" t="t" r="r" b="b"/>
            <a:pathLst>
              <a:path w="456803" h="1060448">
                <a:moveTo>
                  <a:pt x="0" y="0"/>
                </a:moveTo>
                <a:lnTo>
                  <a:pt x="104264" y="0"/>
                </a:lnTo>
                <a:lnTo>
                  <a:pt x="106132" y="1330"/>
                </a:lnTo>
                <a:cubicBezTo>
                  <a:pt x="108853" y="2008"/>
                  <a:pt x="108853" y="4721"/>
                  <a:pt x="110214" y="5399"/>
                </a:cubicBezTo>
                <a:cubicBezTo>
                  <a:pt x="110214" y="6077"/>
                  <a:pt x="111574" y="6755"/>
                  <a:pt x="111574" y="7433"/>
                </a:cubicBezTo>
                <a:cubicBezTo>
                  <a:pt x="112935" y="7433"/>
                  <a:pt x="114295" y="10146"/>
                  <a:pt x="115656" y="10146"/>
                </a:cubicBezTo>
                <a:cubicBezTo>
                  <a:pt x="116336" y="10146"/>
                  <a:pt x="117697" y="7433"/>
                  <a:pt x="118377" y="6755"/>
                </a:cubicBezTo>
                <a:cubicBezTo>
                  <a:pt x="120418" y="4043"/>
                  <a:pt x="127900" y="4721"/>
                  <a:pt x="130621" y="4721"/>
                </a:cubicBezTo>
                <a:cubicBezTo>
                  <a:pt x="131302" y="5399"/>
                  <a:pt x="131302" y="5399"/>
                  <a:pt x="131302" y="5399"/>
                </a:cubicBezTo>
                <a:cubicBezTo>
                  <a:pt x="133342" y="6077"/>
                  <a:pt x="135383" y="6077"/>
                  <a:pt x="137424" y="5399"/>
                </a:cubicBezTo>
                <a:cubicBezTo>
                  <a:pt x="140145" y="4721"/>
                  <a:pt x="142866" y="4043"/>
                  <a:pt x="145587" y="4043"/>
                </a:cubicBezTo>
                <a:cubicBezTo>
                  <a:pt x="148308" y="4043"/>
                  <a:pt x="150349" y="2008"/>
                  <a:pt x="153070" y="2687"/>
                </a:cubicBezTo>
                <a:cubicBezTo>
                  <a:pt x="153070" y="6755"/>
                  <a:pt x="128581" y="6755"/>
                  <a:pt x="127220" y="10146"/>
                </a:cubicBezTo>
                <a:cubicBezTo>
                  <a:pt x="127220" y="10824"/>
                  <a:pt x="127220" y="11502"/>
                  <a:pt x="127220" y="12180"/>
                </a:cubicBezTo>
                <a:cubicBezTo>
                  <a:pt x="129941" y="12180"/>
                  <a:pt x="132662" y="10146"/>
                  <a:pt x="135383" y="9468"/>
                </a:cubicBezTo>
                <a:cubicBezTo>
                  <a:pt x="137424" y="8790"/>
                  <a:pt x="139465" y="10146"/>
                  <a:pt x="141505" y="9468"/>
                </a:cubicBezTo>
                <a:cubicBezTo>
                  <a:pt x="141505" y="9468"/>
                  <a:pt x="141505" y="9468"/>
                  <a:pt x="146947" y="7433"/>
                </a:cubicBezTo>
                <a:cubicBezTo>
                  <a:pt x="148988" y="6755"/>
                  <a:pt x="151029" y="6755"/>
                  <a:pt x="153070" y="6755"/>
                </a:cubicBezTo>
                <a:cubicBezTo>
                  <a:pt x="155110" y="7433"/>
                  <a:pt x="155110" y="5399"/>
                  <a:pt x="155791" y="4721"/>
                </a:cubicBezTo>
                <a:cubicBezTo>
                  <a:pt x="155791" y="4043"/>
                  <a:pt x="161233" y="2687"/>
                  <a:pt x="161233" y="3365"/>
                </a:cubicBezTo>
                <a:cubicBezTo>
                  <a:pt x="161233" y="4721"/>
                  <a:pt x="160553" y="12180"/>
                  <a:pt x="163954" y="10824"/>
                </a:cubicBezTo>
                <a:cubicBezTo>
                  <a:pt x="163954" y="10824"/>
                  <a:pt x="163954" y="10824"/>
                  <a:pt x="172117" y="6755"/>
                </a:cubicBezTo>
                <a:cubicBezTo>
                  <a:pt x="172117" y="6755"/>
                  <a:pt x="172117" y="6755"/>
                  <a:pt x="172797" y="6755"/>
                </a:cubicBezTo>
                <a:cubicBezTo>
                  <a:pt x="172797" y="7433"/>
                  <a:pt x="173477" y="7433"/>
                  <a:pt x="173477" y="7433"/>
                </a:cubicBezTo>
                <a:cubicBezTo>
                  <a:pt x="174158" y="7433"/>
                  <a:pt x="169396" y="9468"/>
                  <a:pt x="169396" y="11502"/>
                </a:cubicBezTo>
                <a:cubicBezTo>
                  <a:pt x="172117" y="12180"/>
                  <a:pt x="176879" y="8790"/>
                  <a:pt x="178919" y="10146"/>
                </a:cubicBezTo>
                <a:cubicBezTo>
                  <a:pt x="180960" y="12858"/>
                  <a:pt x="184361" y="14215"/>
                  <a:pt x="187763" y="15571"/>
                </a:cubicBezTo>
                <a:cubicBezTo>
                  <a:pt x="189123" y="16249"/>
                  <a:pt x="191844" y="17605"/>
                  <a:pt x="193205" y="18961"/>
                </a:cubicBezTo>
                <a:cubicBezTo>
                  <a:pt x="195926" y="20996"/>
                  <a:pt x="197286" y="18283"/>
                  <a:pt x="200007" y="20996"/>
                </a:cubicBezTo>
                <a:cubicBezTo>
                  <a:pt x="202728" y="23708"/>
                  <a:pt x="195245" y="23030"/>
                  <a:pt x="195245" y="25065"/>
                </a:cubicBezTo>
                <a:cubicBezTo>
                  <a:pt x="197286" y="25065"/>
                  <a:pt x="200007" y="27099"/>
                  <a:pt x="202048" y="27099"/>
                </a:cubicBezTo>
                <a:cubicBezTo>
                  <a:pt x="205449" y="28455"/>
                  <a:pt x="213612" y="26421"/>
                  <a:pt x="216333" y="27777"/>
                </a:cubicBezTo>
                <a:cubicBezTo>
                  <a:pt x="217014" y="27777"/>
                  <a:pt x="218374" y="32524"/>
                  <a:pt x="217694" y="33880"/>
                </a:cubicBezTo>
                <a:cubicBezTo>
                  <a:pt x="216333" y="35236"/>
                  <a:pt x="215653" y="38627"/>
                  <a:pt x="219054" y="35915"/>
                </a:cubicBezTo>
                <a:cubicBezTo>
                  <a:pt x="221095" y="33880"/>
                  <a:pt x="223816" y="27777"/>
                  <a:pt x="225857" y="27099"/>
                </a:cubicBezTo>
                <a:cubicBezTo>
                  <a:pt x="228578" y="26421"/>
                  <a:pt x="232659" y="27099"/>
                  <a:pt x="235380" y="26421"/>
                </a:cubicBezTo>
                <a:cubicBezTo>
                  <a:pt x="234700" y="25065"/>
                  <a:pt x="227217" y="25743"/>
                  <a:pt x="225857" y="25743"/>
                </a:cubicBezTo>
                <a:cubicBezTo>
                  <a:pt x="225857" y="25065"/>
                  <a:pt x="227217" y="24386"/>
                  <a:pt x="227217" y="23708"/>
                </a:cubicBezTo>
                <a:cubicBezTo>
                  <a:pt x="227217" y="23708"/>
                  <a:pt x="227217" y="23708"/>
                  <a:pt x="240822" y="23708"/>
                </a:cubicBezTo>
                <a:cubicBezTo>
                  <a:pt x="242183" y="23708"/>
                  <a:pt x="238782" y="27099"/>
                  <a:pt x="241503" y="27777"/>
                </a:cubicBezTo>
                <a:cubicBezTo>
                  <a:pt x="244224" y="29133"/>
                  <a:pt x="244224" y="28455"/>
                  <a:pt x="246265" y="30490"/>
                </a:cubicBezTo>
                <a:cubicBezTo>
                  <a:pt x="250346" y="31846"/>
                  <a:pt x="260550" y="34558"/>
                  <a:pt x="264631" y="31846"/>
                </a:cubicBezTo>
                <a:cubicBezTo>
                  <a:pt x="267352" y="30490"/>
                  <a:pt x="268033" y="28455"/>
                  <a:pt x="271434" y="29133"/>
                </a:cubicBezTo>
                <a:cubicBezTo>
                  <a:pt x="271434" y="29133"/>
                  <a:pt x="271434" y="29133"/>
                  <a:pt x="278917" y="31168"/>
                </a:cubicBezTo>
                <a:cubicBezTo>
                  <a:pt x="278917" y="33202"/>
                  <a:pt x="272794" y="33202"/>
                  <a:pt x="272794" y="35236"/>
                </a:cubicBezTo>
                <a:cubicBezTo>
                  <a:pt x="272794" y="39983"/>
                  <a:pt x="280277" y="33202"/>
                  <a:pt x="282318" y="31846"/>
                </a:cubicBezTo>
                <a:cubicBezTo>
                  <a:pt x="285039" y="31168"/>
                  <a:pt x="290481" y="29811"/>
                  <a:pt x="293202" y="29133"/>
                </a:cubicBezTo>
                <a:cubicBezTo>
                  <a:pt x="293202" y="29133"/>
                  <a:pt x="290481" y="29133"/>
                  <a:pt x="289801" y="28455"/>
                </a:cubicBezTo>
                <a:cubicBezTo>
                  <a:pt x="288440" y="27099"/>
                  <a:pt x="296603" y="24386"/>
                  <a:pt x="297964" y="23708"/>
                </a:cubicBezTo>
                <a:cubicBezTo>
                  <a:pt x="296603" y="23708"/>
                  <a:pt x="293202" y="23030"/>
                  <a:pt x="293202" y="21674"/>
                </a:cubicBezTo>
                <a:cubicBezTo>
                  <a:pt x="291161" y="21674"/>
                  <a:pt x="288440" y="20996"/>
                  <a:pt x="289121" y="18961"/>
                </a:cubicBezTo>
                <a:cubicBezTo>
                  <a:pt x="289121" y="17605"/>
                  <a:pt x="290481" y="17605"/>
                  <a:pt x="291161" y="17605"/>
                </a:cubicBezTo>
                <a:cubicBezTo>
                  <a:pt x="293202" y="16927"/>
                  <a:pt x="295243" y="15571"/>
                  <a:pt x="296603" y="14215"/>
                </a:cubicBezTo>
                <a:cubicBezTo>
                  <a:pt x="299324" y="12858"/>
                  <a:pt x="300685" y="11502"/>
                  <a:pt x="303406" y="11502"/>
                </a:cubicBezTo>
                <a:cubicBezTo>
                  <a:pt x="305447" y="11502"/>
                  <a:pt x="302726" y="13537"/>
                  <a:pt x="304766" y="13537"/>
                </a:cubicBezTo>
                <a:cubicBezTo>
                  <a:pt x="308168" y="13537"/>
                  <a:pt x="306807" y="14215"/>
                  <a:pt x="308168" y="16249"/>
                </a:cubicBezTo>
                <a:cubicBezTo>
                  <a:pt x="308168" y="16249"/>
                  <a:pt x="308168" y="16249"/>
                  <a:pt x="310889" y="20318"/>
                </a:cubicBezTo>
                <a:cubicBezTo>
                  <a:pt x="308168" y="20318"/>
                  <a:pt x="305447" y="23030"/>
                  <a:pt x="303406" y="24386"/>
                </a:cubicBezTo>
                <a:cubicBezTo>
                  <a:pt x="305447" y="25743"/>
                  <a:pt x="308848" y="22352"/>
                  <a:pt x="310208" y="26421"/>
                </a:cubicBezTo>
                <a:cubicBezTo>
                  <a:pt x="307487" y="27099"/>
                  <a:pt x="303406" y="33202"/>
                  <a:pt x="304766" y="32524"/>
                </a:cubicBezTo>
                <a:cubicBezTo>
                  <a:pt x="308168" y="31168"/>
                  <a:pt x="312929" y="27099"/>
                  <a:pt x="316331" y="27099"/>
                </a:cubicBezTo>
                <a:cubicBezTo>
                  <a:pt x="316331" y="29133"/>
                  <a:pt x="319052" y="33202"/>
                  <a:pt x="315650" y="33880"/>
                </a:cubicBezTo>
                <a:cubicBezTo>
                  <a:pt x="311569" y="34558"/>
                  <a:pt x="312249" y="37271"/>
                  <a:pt x="312249" y="40661"/>
                </a:cubicBezTo>
                <a:cubicBezTo>
                  <a:pt x="316331" y="40661"/>
                  <a:pt x="321773" y="37949"/>
                  <a:pt x="323813" y="35915"/>
                </a:cubicBezTo>
                <a:cubicBezTo>
                  <a:pt x="326534" y="33202"/>
                  <a:pt x="329936" y="33880"/>
                  <a:pt x="331977" y="31846"/>
                </a:cubicBezTo>
                <a:cubicBezTo>
                  <a:pt x="332657" y="31168"/>
                  <a:pt x="334698" y="30490"/>
                  <a:pt x="334698" y="29133"/>
                </a:cubicBezTo>
                <a:cubicBezTo>
                  <a:pt x="334698" y="25743"/>
                  <a:pt x="336738" y="25065"/>
                  <a:pt x="339459" y="26421"/>
                </a:cubicBezTo>
                <a:cubicBezTo>
                  <a:pt x="340820" y="26421"/>
                  <a:pt x="345582" y="27099"/>
                  <a:pt x="346262" y="27777"/>
                </a:cubicBezTo>
                <a:cubicBezTo>
                  <a:pt x="351024" y="32524"/>
                  <a:pt x="346262" y="29811"/>
                  <a:pt x="346262" y="33880"/>
                </a:cubicBezTo>
                <a:cubicBezTo>
                  <a:pt x="346262" y="35915"/>
                  <a:pt x="340820" y="33202"/>
                  <a:pt x="340820" y="37271"/>
                </a:cubicBezTo>
                <a:cubicBezTo>
                  <a:pt x="340820" y="42018"/>
                  <a:pt x="337419" y="44730"/>
                  <a:pt x="332657" y="45408"/>
                </a:cubicBezTo>
                <a:cubicBezTo>
                  <a:pt x="330616" y="45408"/>
                  <a:pt x="327895" y="46765"/>
                  <a:pt x="325854" y="46765"/>
                </a:cubicBezTo>
                <a:cubicBezTo>
                  <a:pt x="323133" y="46765"/>
                  <a:pt x="322453" y="44052"/>
                  <a:pt x="320412" y="44052"/>
                </a:cubicBezTo>
                <a:cubicBezTo>
                  <a:pt x="321092" y="44730"/>
                  <a:pt x="322453" y="46765"/>
                  <a:pt x="321092" y="46765"/>
                </a:cubicBezTo>
                <a:cubicBezTo>
                  <a:pt x="320412" y="46765"/>
                  <a:pt x="315650" y="46086"/>
                  <a:pt x="315650" y="45408"/>
                </a:cubicBezTo>
                <a:cubicBezTo>
                  <a:pt x="315650" y="44052"/>
                  <a:pt x="312929" y="44052"/>
                  <a:pt x="311569" y="44052"/>
                </a:cubicBezTo>
                <a:cubicBezTo>
                  <a:pt x="308848" y="42696"/>
                  <a:pt x="312929" y="46086"/>
                  <a:pt x="309528" y="48121"/>
                </a:cubicBezTo>
                <a:cubicBezTo>
                  <a:pt x="308168" y="48799"/>
                  <a:pt x="304766" y="50155"/>
                  <a:pt x="303406" y="50155"/>
                </a:cubicBezTo>
                <a:cubicBezTo>
                  <a:pt x="301365" y="50155"/>
                  <a:pt x="297964" y="50155"/>
                  <a:pt x="295923" y="49477"/>
                </a:cubicBezTo>
                <a:cubicBezTo>
                  <a:pt x="293882" y="48121"/>
                  <a:pt x="291161" y="47443"/>
                  <a:pt x="288440" y="47443"/>
                </a:cubicBezTo>
                <a:cubicBezTo>
                  <a:pt x="287080" y="47443"/>
                  <a:pt x="289121" y="48121"/>
                  <a:pt x="289121" y="48121"/>
                </a:cubicBezTo>
                <a:cubicBezTo>
                  <a:pt x="290481" y="48799"/>
                  <a:pt x="295243" y="50155"/>
                  <a:pt x="295243" y="50833"/>
                </a:cubicBezTo>
                <a:cubicBezTo>
                  <a:pt x="297284" y="50833"/>
                  <a:pt x="300005" y="52190"/>
                  <a:pt x="301365" y="52190"/>
                </a:cubicBezTo>
                <a:cubicBezTo>
                  <a:pt x="301365" y="52190"/>
                  <a:pt x="301365" y="52190"/>
                  <a:pt x="302045" y="52190"/>
                </a:cubicBezTo>
                <a:cubicBezTo>
                  <a:pt x="301365" y="52190"/>
                  <a:pt x="299324" y="53546"/>
                  <a:pt x="298644" y="54224"/>
                </a:cubicBezTo>
                <a:cubicBezTo>
                  <a:pt x="297284" y="54902"/>
                  <a:pt x="295923" y="55580"/>
                  <a:pt x="293882" y="56936"/>
                </a:cubicBezTo>
                <a:cubicBezTo>
                  <a:pt x="291842" y="58293"/>
                  <a:pt x="290481" y="59649"/>
                  <a:pt x="287760" y="60327"/>
                </a:cubicBezTo>
                <a:cubicBezTo>
                  <a:pt x="286399" y="61005"/>
                  <a:pt x="283678" y="60327"/>
                  <a:pt x="281638" y="60327"/>
                </a:cubicBezTo>
                <a:cubicBezTo>
                  <a:pt x="279597" y="60327"/>
                  <a:pt x="277556" y="61683"/>
                  <a:pt x="274155" y="61005"/>
                </a:cubicBezTo>
                <a:cubicBezTo>
                  <a:pt x="271434" y="60327"/>
                  <a:pt x="268033" y="59649"/>
                  <a:pt x="264631" y="58293"/>
                </a:cubicBezTo>
                <a:cubicBezTo>
                  <a:pt x="263271" y="57615"/>
                  <a:pt x="262591" y="58971"/>
                  <a:pt x="261230" y="58971"/>
                </a:cubicBezTo>
                <a:cubicBezTo>
                  <a:pt x="257829" y="58293"/>
                  <a:pt x="255108" y="54902"/>
                  <a:pt x="251026" y="54902"/>
                </a:cubicBezTo>
                <a:cubicBezTo>
                  <a:pt x="251026" y="60327"/>
                  <a:pt x="268713" y="61005"/>
                  <a:pt x="272114" y="62361"/>
                </a:cubicBezTo>
                <a:cubicBezTo>
                  <a:pt x="274155" y="63040"/>
                  <a:pt x="268033" y="66430"/>
                  <a:pt x="266672" y="66430"/>
                </a:cubicBezTo>
                <a:cubicBezTo>
                  <a:pt x="262591" y="67108"/>
                  <a:pt x="263951" y="66430"/>
                  <a:pt x="260550" y="68465"/>
                </a:cubicBezTo>
                <a:cubicBezTo>
                  <a:pt x="259189" y="69821"/>
                  <a:pt x="257149" y="69143"/>
                  <a:pt x="255108" y="69821"/>
                </a:cubicBezTo>
                <a:cubicBezTo>
                  <a:pt x="248986" y="73211"/>
                  <a:pt x="236741" y="75246"/>
                  <a:pt x="232659" y="80671"/>
                </a:cubicBezTo>
                <a:cubicBezTo>
                  <a:pt x="232659" y="80671"/>
                  <a:pt x="232659" y="80671"/>
                  <a:pt x="225177" y="88808"/>
                </a:cubicBezTo>
                <a:cubicBezTo>
                  <a:pt x="220415" y="94911"/>
                  <a:pt x="226537" y="91521"/>
                  <a:pt x="229258" y="94911"/>
                </a:cubicBezTo>
                <a:cubicBezTo>
                  <a:pt x="228578" y="96268"/>
                  <a:pt x="227217" y="97624"/>
                  <a:pt x="226537" y="98302"/>
                </a:cubicBezTo>
                <a:cubicBezTo>
                  <a:pt x="225857" y="100336"/>
                  <a:pt x="227898" y="101693"/>
                  <a:pt x="225857" y="103049"/>
                </a:cubicBezTo>
                <a:cubicBezTo>
                  <a:pt x="225857" y="103727"/>
                  <a:pt x="222456" y="105761"/>
                  <a:pt x="222456" y="107118"/>
                </a:cubicBezTo>
                <a:cubicBezTo>
                  <a:pt x="227217" y="107796"/>
                  <a:pt x="231299" y="103049"/>
                  <a:pt x="234020" y="107118"/>
                </a:cubicBezTo>
                <a:cubicBezTo>
                  <a:pt x="236061" y="109830"/>
                  <a:pt x="241503" y="110508"/>
                  <a:pt x="244224" y="111186"/>
                </a:cubicBezTo>
                <a:cubicBezTo>
                  <a:pt x="244224" y="111186"/>
                  <a:pt x="244224" y="111186"/>
                  <a:pt x="244904" y="111864"/>
                </a:cubicBezTo>
                <a:cubicBezTo>
                  <a:pt x="245584" y="113899"/>
                  <a:pt x="244224" y="114577"/>
                  <a:pt x="246265" y="116611"/>
                </a:cubicBezTo>
                <a:cubicBezTo>
                  <a:pt x="248986" y="118646"/>
                  <a:pt x="250346" y="122036"/>
                  <a:pt x="253747" y="122714"/>
                </a:cubicBezTo>
                <a:cubicBezTo>
                  <a:pt x="256468" y="123393"/>
                  <a:pt x="260550" y="124749"/>
                  <a:pt x="263271" y="124749"/>
                </a:cubicBezTo>
                <a:cubicBezTo>
                  <a:pt x="263271" y="124749"/>
                  <a:pt x="263951" y="124749"/>
                  <a:pt x="263951" y="125427"/>
                </a:cubicBezTo>
                <a:cubicBezTo>
                  <a:pt x="265992" y="126105"/>
                  <a:pt x="260550" y="129496"/>
                  <a:pt x="260550" y="130174"/>
                </a:cubicBezTo>
                <a:cubicBezTo>
                  <a:pt x="257829" y="132208"/>
                  <a:pt x="257149" y="136277"/>
                  <a:pt x="255788" y="138989"/>
                </a:cubicBezTo>
                <a:cubicBezTo>
                  <a:pt x="254428" y="141024"/>
                  <a:pt x="251707" y="141024"/>
                  <a:pt x="253067" y="143058"/>
                </a:cubicBezTo>
                <a:cubicBezTo>
                  <a:pt x="253747" y="143736"/>
                  <a:pt x="253747" y="145771"/>
                  <a:pt x="253067" y="146449"/>
                </a:cubicBezTo>
                <a:cubicBezTo>
                  <a:pt x="253067" y="147127"/>
                  <a:pt x="253067" y="147127"/>
                  <a:pt x="253747" y="147805"/>
                </a:cubicBezTo>
                <a:cubicBezTo>
                  <a:pt x="253747" y="147805"/>
                  <a:pt x="253747" y="147805"/>
                  <a:pt x="254428" y="147805"/>
                </a:cubicBezTo>
                <a:cubicBezTo>
                  <a:pt x="254428" y="149161"/>
                  <a:pt x="255788" y="149839"/>
                  <a:pt x="255788" y="151874"/>
                </a:cubicBezTo>
                <a:cubicBezTo>
                  <a:pt x="256468" y="153908"/>
                  <a:pt x="254428" y="153908"/>
                  <a:pt x="255108" y="155943"/>
                </a:cubicBezTo>
                <a:cubicBezTo>
                  <a:pt x="255788" y="155943"/>
                  <a:pt x="256468" y="156621"/>
                  <a:pt x="257149" y="156621"/>
                </a:cubicBezTo>
                <a:cubicBezTo>
                  <a:pt x="257149" y="156621"/>
                  <a:pt x="257149" y="156621"/>
                  <a:pt x="257149" y="157299"/>
                </a:cubicBezTo>
                <a:cubicBezTo>
                  <a:pt x="257149" y="157977"/>
                  <a:pt x="258509" y="157977"/>
                  <a:pt x="259189" y="157977"/>
                </a:cubicBezTo>
                <a:cubicBezTo>
                  <a:pt x="259189" y="156621"/>
                  <a:pt x="261230" y="155264"/>
                  <a:pt x="261910" y="154586"/>
                </a:cubicBezTo>
                <a:cubicBezTo>
                  <a:pt x="263271" y="153908"/>
                  <a:pt x="264631" y="154586"/>
                  <a:pt x="265992" y="154586"/>
                </a:cubicBezTo>
                <a:cubicBezTo>
                  <a:pt x="266672" y="154586"/>
                  <a:pt x="268033" y="153908"/>
                  <a:pt x="266672" y="153230"/>
                </a:cubicBezTo>
                <a:cubicBezTo>
                  <a:pt x="265992" y="152552"/>
                  <a:pt x="265312" y="152552"/>
                  <a:pt x="265312" y="151196"/>
                </a:cubicBezTo>
                <a:cubicBezTo>
                  <a:pt x="267352" y="150518"/>
                  <a:pt x="269393" y="149161"/>
                  <a:pt x="270754" y="147805"/>
                </a:cubicBezTo>
                <a:cubicBezTo>
                  <a:pt x="272794" y="145771"/>
                  <a:pt x="272114" y="142380"/>
                  <a:pt x="272114" y="139668"/>
                </a:cubicBezTo>
                <a:cubicBezTo>
                  <a:pt x="274155" y="138311"/>
                  <a:pt x="276196" y="136277"/>
                  <a:pt x="277556" y="134243"/>
                </a:cubicBezTo>
                <a:cubicBezTo>
                  <a:pt x="278236" y="132886"/>
                  <a:pt x="276196" y="130174"/>
                  <a:pt x="276196" y="128818"/>
                </a:cubicBezTo>
                <a:cubicBezTo>
                  <a:pt x="276196" y="128818"/>
                  <a:pt x="276196" y="128818"/>
                  <a:pt x="276876" y="128818"/>
                </a:cubicBezTo>
                <a:cubicBezTo>
                  <a:pt x="285039" y="129496"/>
                  <a:pt x="299324" y="121358"/>
                  <a:pt x="304086" y="115255"/>
                </a:cubicBezTo>
                <a:cubicBezTo>
                  <a:pt x="306127" y="112543"/>
                  <a:pt x="308168" y="105083"/>
                  <a:pt x="306807" y="101693"/>
                </a:cubicBezTo>
                <a:cubicBezTo>
                  <a:pt x="302726" y="94233"/>
                  <a:pt x="310889" y="98980"/>
                  <a:pt x="312929" y="94911"/>
                </a:cubicBezTo>
                <a:cubicBezTo>
                  <a:pt x="314970" y="94233"/>
                  <a:pt x="321092" y="86774"/>
                  <a:pt x="321092" y="85418"/>
                </a:cubicBezTo>
                <a:cubicBezTo>
                  <a:pt x="314970" y="83383"/>
                  <a:pt x="321773" y="82705"/>
                  <a:pt x="323813" y="81349"/>
                </a:cubicBezTo>
                <a:cubicBezTo>
                  <a:pt x="326534" y="79993"/>
                  <a:pt x="325174" y="75246"/>
                  <a:pt x="328575" y="73890"/>
                </a:cubicBezTo>
                <a:cubicBezTo>
                  <a:pt x="332657" y="72533"/>
                  <a:pt x="336058" y="75246"/>
                  <a:pt x="340140" y="75924"/>
                </a:cubicBezTo>
                <a:cubicBezTo>
                  <a:pt x="344221" y="75924"/>
                  <a:pt x="346942" y="73890"/>
                  <a:pt x="350343" y="73890"/>
                </a:cubicBezTo>
                <a:cubicBezTo>
                  <a:pt x="350343" y="75924"/>
                  <a:pt x="352384" y="76602"/>
                  <a:pt x="351704" y="78636"/>
                </a:cubicBezTo>
                <a:cubicBezTo>
                  <a:pt x="351024" y="82027"/>
                  <a:pt x="351704" y="79993"/>
                  <a:pt x="353064" y="81349"/>
                </a:cubicBezTo>
                <a:cubicBezTo>
                  <a:pt x="355105" y="82705"/>
                  <a:pt x="352384" y="85418"/>
                  <a:pt x="356466" y="84740"/>
                </a:cubicBezTo>
                <a:cubicBezTo>
                  <a:pt x="357826" y="84061"/>
                  <a:pt x="357146" y="86096"/>
                  <a:pt x="359187" y="85418"/>
                </a:cubicBezTo>
                <a:cubicBezTo>
                  <a:pt x="359867" y="85418"/>
                  <a:pt x="361227" y="84740"/>
                  <a:pt x="362588" y="84740"/>
                </a:cubicBezTo>
                <a:cubicBezTo>
                  <a:pt x="363268" y="88808"/>
                  <a:pt x="355105" y="88808"/>
                  <a:pt x="353745" y="90843"/>
                </a:cubicBezTo>
                <a:cubicBezTo>
                  <a:pt x="354425" y="91521"/>
                  <a:pt x="359867" y="92199"/>
                  <a:pt x="356466" y="94911"/>
                </a:cubicBezTo>
                <a:cubicBezTo>
                  <a:pt x="354425" y="95589"/>
                  <a:pt x="354425" y="102371"/>
                  <a:pt x="351024" y="100336"/>
                </a:cubicBezTo>
                <a:cubicBezTo>
                  <a:pt x="351024" y="100336"/>
                  <a:pt x="348983" y="103049"/>
                  <a:pt x="351024" y="103727"/>
                </a:cubicBezTo>
                <a:cubicBezTo>
                  <a:pt x="352384" y="103727"/>
                  <a:pt x="354425" y="101693"/>
                  <a:pt x="355785" y="101014"/>
                </a:cubicBezTo>
                <a:cubicBezTo>
                  <a:pt x="358506" y="109830"/>
                  <a:pt x="357826" y="105761"/>
                  <a:pt x="365309" y="103727"/>
                </a:cubicBezTo>
                <a:cubicBezTo>
                  <a:pt x="368710" y="103049"/>
                  <a:pt x="368030" y="106439"/>
                  <a:pt x="370751" y="103049"/>
                </a:cubicBezTo>
                <a:cubicBezTo>
                  <a:pt x="373472" y="101014"/>
                  <a:pt x="376193" y="97624"/>
                  <a:pt x="378234" y="94911"/>
                </a:cubicBezTo>
                <a:cubicBezTo>
                  <a:pt x="379594" y="93555"/>
                  <a:pt x="381635" y="91521"/>
                  <a:pt x="382996" y="90164"/>
                </a:cubicBezTo>
                <a:cubicBezTo>
                  <a:pt x="386397" y="85418"/>
                  <a:pt x="384356" y="93555"/>
                  <a:pt x="384356" y="95589"/>
                </a:cubicBezTo>
                <a:cubicBezTo>
                  <a:pt x="385036" y="96268"/>
                  <a:pt x="385717" y="97624"/>
                  <a:pt x="385036" y="98980"/>
                </a:cubicBezTo>
                <a:cubicBezTo>
                  <a:pt x="385036" y="99658"/>
                  <a:pt x="382996" y="100336"/>
                  <a:pt x="383676" y="101693"/>
                </a:cubicBezTo>
                <a:cubicBezTo>
                  <a:pt x="383676" y="102371"/>
                  <a:pt x="385717" y="101693"/>
                  <a:pt x="385036" y="103049"/>
                </a:cubicBezTo>
                <a:cubicBezTo>
                  <a:pt x="384356" y="104405"/>
                  <a:pt x="380275" y="105761"/>
                  <a:pt x="380955" y="106439"/>
                </a:cubicBezTo>
                <a:cubicBezTo>
                  <a:pt x="381635" y="107118"/>
                  <a:pt x="382996" y="107118"/>
                  <a:pt x="383676" y="107118"/>
                </a:cubicBezTo>
                <a:cubicBezTo>
                  <a:pt x="385036" y="107118"/>
                  <a:pt x="380955" y="109152"/>
                  <a:pt x="381635" y="109830"/>
                </a:cubicBezTo>
                <a:cubicBezTo>
                  <a:pt x="382315" y="111186"/>
                  <a:pt x="385717" y="107796"/>
                  <a:pt x="385717" y="109830"/>
                </a:cubicBezTo>
                <a:cubicBezTo>
                  <a:pt x="386397" y="111864"/>
                  <a:pt x="387077" y="111186"/>
                  <a:pt x="385036" y="112543"/>
                </a:cubicBezTo>
                <a:cubicBezTo>
                  <a:pt x="380955" y="114577"/>
                  <a:pt x="385717" y="115255"/>
                  <a:pt x="386397" y="115255"/>
                </a:cubicBezTo>
                <a:cubicBezTo>
                  <a:pt x="388438" y="117289"/>
                  <a:pt x="384356" y="117968"/>
                  <a:pt x="383676" y="117968"/>
                </a:cubicBezTo>
                <a:cubicBezTo>
                  <a:pt x="380955" y="117968"/>
                  <a:pt x="378234" y="122036"/>
                  <a:pt x="380955" y="124071"/>
                </a:cubicBezTo>
                <a:cubicBezTo>
                  <a:pt x="381635" y="124071"/>
                  <a:pt x="386397" y="128818"/>
                  <a:pt x="383676" y="128818"/>
                </a:cubicBezTo>
                <a:cubicBezTo>
                  <a:pt x="383676" y="131530"/>
                  <a:pt x="380955" y="132208"/>
                  <a:pt x="385717" y="130852"/>
                </a:cubicBezTo>
                <a:cubicBezTo>
                  <a:pt x="390478" y="129496"/>
                  <a:pt x="390478" y="134243"/>
                  <a:pt x="392519" y="134243"/>
                </a:cubicBezTo>
                <a:cubicBezTo>
                  <a:pt x="393880" y="134243"/>
                  <a:pt x="394560" y="132208"/>
                  <a:pt x="395920" y="133564"/>
                </a:cubicBezTo>
                <a:cubicBezTo>
                  <a:pt x="396601" y="134243"/>
                  <a:pt x="398641" y="136277"/>
                  <a:pt x="399322" y="136955"/>
                </a:cubicBezTo>
                <a:cubicBezTo>
                  <a:pt x="399322" y="137633"/>
                  <a:pt x="396601" y="136955"/>
                  <a:pt x="395920" y="136955"/>
                </a:cubicBezTo>
                <a:cubicBezTo>
                  <a:pt x="395920" y="136955"/>
                  <a:pt x="395920" y="136955"/>
                  <a:pt x="385717" y="136955"/>
                </a:cubicBezTo>
                <a:cubicBezTo>
                  <a:pt x="385717" y="137633"/>
                  <a:pt x="388438" y="138311"/>
                  <a:pt x="389118" y="138311"/>
                </a:cubicBezTo>
                <a:cubicBezTo>
                  <a:pt x="389798" y="138989"/>
                  <a:pt x="385717" y="140346"/>
                  <a:pt x="385717" y="140346"/>
                </a:cubicBezTo>
                <a:cubicBezTo>
                  <a:pt x="382996" y="143058"/>
                  <a:pt x="378914" y="141024"/>
                  <a:pt x="375513" y="141024"/>
                </a:cubicBezTo>
                <a:cubicBezTo>
                  <a:pt x="375513" y="150518"/>
                  <a:pt x="391839" y="138989"/>
                  <a:pt x="395920" y="139668"/>
                </a:cubicBezTo>
                <a:cubicBezTo>
                  <a:pt x="395920" y="141024"/>
                  <a:pt x="393199" y="143058"/>
                  <a:pt x="395240" y="143736"/>
                </a:cubicBezTo>
                <a:cubicBezTo>
                  <a:pt x="397961" y="143736"/>
                  <a:pt x="399322" y="141702"/>
                  <a:pt x="401362" y="141702"/>
                </a:cubicBezTo>
                <a:cubicBezTo>
                  <a:pt x="401362" y="143058"/>
                  <a:pt x="406124" y="146449"/>
                  <a:pt x="401362" y="147127"/>
                </a:cubicBezTo>
                <a:cubicBezTo>
                  <a:pt x="401362" y="148483"/>
                  <a:pt x="400682" y="149161"/>
                  <a:pt x="400002" y="149839"/>
                </a:cubicBezTo>
                <a:cubicBezTo>
                  <a:pt x="399322" y="149839"/>
                  <a:pt x="397281" y="151874"/>
                  <a:pt x="398641" y="151874"/>
                </a:cubicBezTo>
                <a:cubicBezTo>
                  <a:pt x="398641" y="159333"/>
                  <a:pt x="388438" y="160011"/>
                  <a:pt x="382315" y="160011"/>
                </a:cubicBezTo>
                <a:cubicBezTo>
                  <a:pt x="378234" y="160011"/>
                  <a:pt x="376193" y="165436"/>
                  <a:pt x="372111" y="165436"/>
                </a:cubicBezTo>
                <a:cubicBezTo>
                  <a:pt x="370071" y="165436"/>
                  <a:pt x="370751" y="166792"/>
                  <a:pt x="369390" y="167471"/>
                </a:cubicBezTo>
                <a:cubicBezTo>
                  <a:pt x="365989" y="168149"/>
                  <a:pt x="365309" y="167471"/>
                  <a:pt x="361908" y="167471"/>
                </a:cubicBezTo>
                <a:cubicBezTo>
                  <a:pt x="361908" y="167471"/>
                  <a:pt x="361908" y="167471"/>
                  <a:pt x="331296" y="166114"/>
                </a:cubicBezTo>
                <a:cubicBezTo>
                  <a:pt x="323133" y="166114"/>
                  <a:pt x="323813" y="173574"/>
                  <a:pt x="320412" y="174252"/>
                </a:cubicBezTo>
                <a:cubicBezTo>
                  <a:pt x="314970" y="175608"/>
                  <a:pt x="314290" y="176286"/>
                  <a:pt x="309528" y="178999"/>
                </a:cubicBezTo>
                <a:cubicBezTo>
                  <a:pt x="306127" y="180355"/>
                  <a:pt x="305447" y="183067"/>
                  <a:pt x="301365" y="183067"/>
                </a:cubicBezTo>
                <a:cubicBezTo>
                  <a:pt x="300685" y="183067"/>
                  <a:pt x="294563" y="181711"/>
                  <a:pt x="295923" y="182389"/>
                </a:cubicBezTo>
                <a:cubicBezTo>
                  <a:pt x="298644" y="185102"/>
                  <a:pt x="304086" y="183746"/>
                  <a:pt x="297284" y="188492"/>
                </a:cubicBezTo>
                <a:cubicBezTo>
                  <a:pt x="295243" y="189849"/>
                  <a:pt x="290481" y="192561"/>
                  <a:pt x="289121" y="194596"/>
                </a:cubicBezTo>
                <a:cubicBezTo>
                  <a:pt x="293882" y="194596"/>
                  <a:pt x="308168" y="183746"/>
                  <a:pt x="312929" y="181033"/>
                </a:cubicBezTo>
                <a:cubicBezTo>
                  <a:pt x="318371" y="177642"/>
                  <a:pt x="330616" y="174930"/>
                  <a:pt x="336058" y="178999"/>
                </a:cubicBezTo>
                <a:cubicBezTo>
                  <a:pt x="336058" y="178999"/>
                  <a:pt x="334017" y="180355"/>
                  <a:pt x="334017" y="181711"/>
                </a:cubicBezTo>
                <a:cubicBezTo>
                  <a:pt x="334017" y="185780"/>
                  <a:pt x="325174" y="185102"/>
                  <a:pt x="323133" y="185780"/>
                </a:cubicBezTo>
                <a:cubicBezTo>
                  <a:pt x="318371" y="186458"/>
                  <a:pt x="323133" y="188492"/>
                  <a:pt x="325854" y="189171"/>
                </a:cubicBezTo>
                <a:cubicBezTo>
                  <a:pt x="329936" y="190527"/>
                  <a:pt x="322453" y="192561"/>
                  <a:pt x="322453" y="193239"/>
                </a:cubicBezTo>
                <a:cubicBezTo>
                  <a:pt x="321092" y="195274"/>
                  <a:pt x="323133" y="193917"/>
                  <a:pt x="323133" y="195274"/>
                </a:cubicBezTo>
                <a:cubicBezTo>
                  <a:pt x="323133" y="196630"/>
                  <a:pt x="320412" y="200021"/>
                  <a:pt x="323133" y="201377"/>
                </a:cubicBezTo>
                <a:cubicBezTo>
                  <a:pt x="327215" y="202733"/>
                  <a:pt x="325174" y="207480"/>
                  <a:pt x="331977" y="207480"/>
                </a:cubicBezTo>
                <a:cubicBezTo>
                  <a:pt x="336058" y="207480"/>
                  <a:pt x="336058" y="206124"/>
                  <a:pt x="340140" y="208158"/>
                </a:cubicBezTo>
                <a:cubicBezTo>
                  <a:pt x="342861" y="209514"/>
                  <a:pt x="331977" y="214261"/>
                  <a:pt x="329255" y="214939"/>
                </a:cubicBezTo>
                <a:cubicBezTo>
                  <a:pt x="323813" y="217652"/>
                  <a:pt x="323133" y="214261"/>
                  <a:pt x="317691" y="216974"/>
                </a:cubicBezTo>
                <a:cubicBezTo>
                  <a:pt x="317011" y="219008"/>
                  <a:pt x="310889" y="224433"/>
                  <a:pt x="308848" y="225111"/>
                </a:cubicBezTo>
                <a:cubicBezTo>
                  <a:pt x="306127" y="225111"/>
                  <a:pt x="308168" y="223077"/>
                  <a:pt x="306807" y="222399"/>
                </a:cubicBezTo>
                <a:cubicBezTo>
                  <a:pt x="302726" y="222399"/>
                  <a:pt x="305447" y="219686"/>
                  <a:pt x="307487" y="217652"/>
                </a:cubicBezTo>
                <a:cubicBezTo>
                  <a:pt x="310889" y="214939"/>
                  <a:pt x="313610" y="211549"/>
                  <a:pt x="319052" y="211549"/>
                </a:cubicBezTo>
                <a:cubicBezTo>
                  <a:pt x="319732" y="211549"/>
                  <a:pt x="325854" y="209514"/>
                  <a:pt x="324494" y="208836"/>
                </a:cubicBezTo>
                <a:cubicBezTo>
                  <a:pt x="324494" y="208836"/>
                  <a:pt x="324494" y="208836"/>
                  <a:pt x="318371" y="208158"/>
                </a:cubicBezTo>
                <a:cubicBezTo>
                  <a:pt x="319732" y="208158"/>
                  <a:pt x="321092" y="206802"/>
                  <a:pt x="321773" y="205446"/>
                </a:cubicBezTo>
                <a:cubicBezTo>
                  <a:pt x="323133" y="203411"/>
                  <a:pt x="312249" y="209514"/>
                  <a:pt x="310208" y="209514"/>
                </a:cubicBezTo>
                <a:cubicBezTo>
                  <a:pt x="309528" y="210192"/>
                  <a:pt x="306127" y="210192"/>
                  <a:pt x="305447" y="210192"/>
                </a:cubicBezTo>
                <a:cubicBezTo>
                  <a:pt x="304086" y="210871"/>
                  <a:pt x="304766" y="214261"/>
                  <a:pt x="303406" y="214261"/>
                </a:cubicBezTo>
                <a:cubicBezTo>
                  <a:pt x="301365" y="214261"/>
                  <a:pt x="296603" y="213583"/>
                  <a:pt x="295243" y="214939"/>
                </a:cubicBezTo>
                <a:cubicBezTo>
                  <a:pt x="293202" y="216974"/>
                  <a:pt x="290481" y="214261"/>
                  <a:pt x="289801" y="215617"/>
                </a:cubicBezTo>
                <a:cubicBezTo>
                  <a:pt x="287760" y="218330"/>
                  <a:pt x="287080" y="219686"/>
                  <a:pt x="283678" y="220364"/>
                </a:cubicBezTo>
                <a:cubicBezTo>
                  <a:pt x="280277" y="221042"/>
                  <a:pt x="275515" y="225789"/>
                  <a:pt x="272794" y="227824"/>
                </a:cubicBezTo>
                <a:cubicBezTo>
                  <a:pt x="271434" y="229858"/>
                  <a:pt x="272114" y="230536"/>
                  <a:pt x="272114" y="231892"/>
                </a:cubicBezTo>
                <a:cubicBezTo>
                  <a:pt x="272114" y="233249"/>
                  <a:pt x="266672" y="231214"/>
                  <a:pt x="269393" y="236639"/>
                </a:cubicBezTo>
                <a:cubicBezTo>
                  <a:pt x="270073" y="237317"/>
                  <a:pt x="270754" y="237995"/>
                  <a:pt x="272114" y="237995"/>
                </a:cubicBezTo>
                <a:cubicBezTo>
                  <a:pt x="274155" y="238674"/>
                  <a:pt x="273475" y="240030"/>
                  <a:pt x="272114" y="241386"/>
                </a:cubicBezTo>
                <a:cubicBezTo>
                  <a:pt x="270754" y="242064"/>
                  <a:pt x="270073" y="240708"/>
                  <a:pt x="269393" y="240030"/>
                </a:cubicBezTo>
                <a:cubicBezTo>
                  <a:pt x="268713" y="239352"/>
                  <a:pt x="259189" y="241386"/>
                  <a:pt x="257829" y="241386"/>
                </a:cubicBezTo>
                <a:cubicBezTo>
                  <a:pt x="253747" y="242064"/>
                  <a:pt x="250346" y="242742"/>
                  <a:pt x="246265" y="244099"/>
                </a:cubicBezTo>
                <a:cubicBezTo>
                  <a:pt x="243543" y="245455"/>
                  <a:pt x="242863" y="246133"/>
                  <a:pt x="241503" y="248846"/>
                </a:cubicBezTo>
                <a:cubicBezTo>
                  <a:pt x="240822" y="251558"/>
                  <a:pt x="236061" y="258339"/>
                  <a:pt x="234020" y="260374"/>
                </a:cubicBezTo>
                <a:cubicBezTo>
                  <a:pt x="231979" y="261052"/>
                  <a:pt x="231299" y="264442"/>
                  <a:pt x="231299" y="261052"/>
                </a:cubicBezTo>
                <a:cubicBezTo>
                  <a:pt x="231299" y="260374"/>
                  <a:pt x="228578" y="255627"/>
                  <a:pt x="228578" y="255627"/>
                </a:cubicBezTo>
                <a:cubicBezTo>
                  <a:pt x="228578" y="256983"/>
                  <a:pt x="227217" y="261730"/>
                  <a:pt x="227898" y="261730"/>
                </a:cubicBezTo>
                <a:cubicBezTo>
                  <a:pt x="231299" y="264442"/>
                  <a:pt x="225857" y="268511"/>
                  <a:pt x="224496" y="270545"/>
                </a:cubicBezTo>
                <a:cubicBezTo>
                  <a:pt x="223136" y="271902"/>
                  <a:pt x="220415" y="276649"/>
                  <a:pt x="218374" y="277327"/>
                </a:cubicBezTo>
                <a:cubicBezTo>
                  <a:pt x="214293" y="278683"/>
                  <a:pt x="219054" y="273258"/>
                  <a:pt x="219735" y="272580"/>
                </a:cubicBezTo>
                <a:cubicBezTo>
                  <a:pt x="221095" y="271902"/>
                  <a:pt x="222456" y="268511"/>
                  <a:pt x="221095" y="267155"/>
                </a:cubicBezTo>
                <a:cubicBezTo>
                  <a:pt x="219054" y="265799"/>
                  <a:pt x="224496" y="257661"/>
                  <a:pt x="224496" y="254949"/>
                </a:cubicBezTo>
                <a:cubicBezTo>
                  <a:pt x="221095" y="254949"/>
                  <a:pt x="222456" y="263086"/>
                  <a:pt x="217694" y="263086"/>
                </a:cubicBezTo>
                <a:cubicBezTo>
                  <a:pt x="217014" y="263764"/>
                  <a:pt x="219054" y="266477"/>
                  <a:pt x="219054" y="267833"/>
                </a:cubicBezTo>
                <a:cubicBezTo>
                  <a:pt x="219054" y="269867"/>
                  <a:pt x="215653" y="266477"/>
                  <a:pt x="215653" y="265799"/>
                </a:cubicBezTo>
                <a:cubicBezTo>
                  <a:pt x="214973" y="266477"/>
                  <a:pt x="214293" y="267155"/>
                  <a:pt x="213612" y="267155"/>
                </a:cubicBezTo>
                <a:cubicBezTo>
                  <a:pt x="213612" y="268511"/>
                  <a:pt x="218374" y="269189"/>
                  <a:pt x="216333" y="271902"/>
                </a:cubicBezTo>
                <a:cubicBezTo>
                  <a:pt x="215653" y="273258"/>
                  <a:pt x="214293" y="273936"/>
                  <a:pt x="214973" y="275292"/>
                </a:cubicBezTo>
                <a:cubicBezTo>
                  <a:pt x="214973" y="277327"/>
                  <a:pt x="212252" y="275970"/>
                  <a:pt x="211572" y="275970"/>
                </a:cubicBezTo>
                <a:cubicBezTo>
                  <a:pt x="210211" y="275292"/>
                  <a:pt x="212252" y="279361"/>
                  <a:pt x="212932" y="279361"/>
                </a:cubicBezTo>
                <a:cubicBezTo>
                  <a:pt x="214973" y="280717"/>
                  <a:pt x="214293" y="282752"/>
                  <a:pt x="213612" y="284786"/>
                </a:cubicBezTo>
                <a:cubicBezTo>
                  <a:pt x="212932" y="286820"/>
                  <a:pt x="212252" y="286820"/>
                  <a:pt x="210891" y="286142"/>
                </a:cubicBezTo>
                <a:cubicBezTo>
                  <a:pt x="204089" y="284786"/>
                  <a:pt x="213612" y="287499"/>
                  <a:pt x="211572" y="290889"/>
                </a:cubicBezTo>
                <a:cubicBezTo>
                  <a:pt x="209531" y="293602"/>
                  <a:pt x="204769" y="293602"/>
                  <a:pt x="201368" y="293602"/>
                </a:cubicBezTo>
                <a:cubicBezTo>
                  <a:pt x="201368" y="293602"/>
                  <a:pt x="206130" y="296314"/>
                  <a:pt x="203409" y="296314"/>
                </a:cubicBezTo>
                <a:cubicBezTo>
                  <a:pt x="202048" y="296992"/>
                  <a:pt x="200007" y="296314"/>
                  <a:pt x="200007" y="297670"/>
                </a:cubicBezTo>
                <a:cubicBezTo>
                  <a:pt x="199327" y="299027"/>
                  <a:pt x="203409" y="298349"/>
                  <a:pt x="204769" y="299027"/>
                </a:cubicBezTo>
                <a:cubicBezTo>
                  <a:pt x="206810" y="299705"/>
                  <a:pt x="202728" y="300383"/>
                  <a:pt x="202048" y="301061"/>
                </a:cubicBezTo>
                <a:cubicBezTo>
                  <a:pt x="199327" y="301739"/>
                  <a:pt x="197286" y="301061"/>
                  <a:pt x="194565" y="303095"/>
                </a:cubicBezTo>
                <a:cubicBezTo>
                  <a:pt x="189803" y="307842"/>
                  <a:pt x="185042" y="308520"/>
                  <a:pt x="179600" y="312589"/>
                </a:cubicBezTo>
                <a:cubicBezTo>
                  <a:pt x="176879" y="314624"/>
                  <a:pt x="172117" y="319370"/>
                  <a:pt x="168716" y="319370"/>
                </a:cubicBezTo>
                <a:cubicBezTo>
                  <a:pt x="163274" y="320049"/>
                  <a:pt x="168035" y="322083"/>
                  <a:pt x="164634" y="324795"/>
                </a:cubicBezTo>
                <a:cubicBezTo>
                  <a:pt x="160553" y="328186"/>
                  <a:pt x="157831" y="328864"/>
                  <a:pt x="156471" y="334967"/>
                </a:cubicBezTo>
                <a:cubicBezTo>
                  <a:pt x="155110" y="338358"/>
                  <a:pt x="155110" y="337680"/>
                  <a:pt x="151709" y="339714"/>
                </a:cubicBezTo>
                <a:cubicBezTo>
                  <a:pt x="151709" y="340392"/>
                  <a:pt x="154430" y="341070"/>
                  <a:pt x="154430" y="343783"/>
                </a:cubicBezTo>
                <a:cubicBezTo>
                  <a:pt x="155110" y="346495"/>
                  <a:pt x="153750" y="350564"/>
                  <a:pt x="153750" y="353955"/>
                </a:cubicBezTo>
                <a:cubicBezTo>
                  <a:pt x="150349" y="354633"/>
                  <a:pt x="153070" y="358702"/>
                  <a:pt x="153070" y="361414"/>
                </a:cubicBezTo>
                <a:cubicBezTo>
                  <a:pt x="153070" y="367517"/>
                  <a:pt x="151709" y="370230"/>
                  <a:pt x="150349" y="375655"/>
                </a:cubicBezTo>
                <a:cubicBezTo>
                  <a:pt x="149668" y="378367"/>
                  <a:pt x="148988" y="379723"/>
                  <a:pt x="147628" y="381758"/>
                </a:cubicBezTo>
                <a:cubicBezTo>
                  <a:pt x="147628" y="381758"/>
                  <a:pt x="147628" y="381758"/>
                  <a:pt x="144907" y="386505"/>
                </a:cubicBezTo>
                <a:cubicBezTo>
                  <a:pt x="141505" y="386505"/>
                  <a:pt x="141505" y="388539"/>
                  <a:pt x="140825" y="384470"/>
                </a:cubicBezTo>
                <a:cubicBezTo>
                  <a:pt x="140825" y="383114"/>
                  <a:pt x="139465" y="381758"/>
                  <a:pt x="138104" y="381080"/>
                </a:cubicBezTo>
                <a:cubicBezTo>
                  <a:pt x="136063" y="379723"/>
                  <a:pt x="140145" y="378367"/>
                  <a:pt x="137424" y="376333"/>
                </a:cubicBezTo>
                <a:cubicBezTo>
                  <a:pt x="134703" y="373620"/>
                  <a:pt x="138104" y="372942"/>
                  <a:pt x="138104" y="370908"/>
                </a:cubicBezTo>
                <a:cubicBezTo>
                  <a:pt x="134023" y="370908"/>
                  <a:pt x="134703" y="368873"/>
                  <a:pt x="135383" y="366161"/>
                </a:cubicBezTo>
                <a:cubicBezTo>
                  <a:pt x="136063" y="364805"/>
                  <a:pt x="138104" y="362092"/>
                  <a:pt x="136744" y="362092"/>
                </a:cubicBezTo>
                <a:cubicBezTo>
                  <a:pt x="132662" y="362092"/>
                  <a:pt x="137424" y="358702"/>
                  <a:pt x="138104" y="357345"/>
                </a:cubicBezTo>
                <a:cubicBezTo>
                  <a:pt x="138784" y="354633"/>
                  <a:pt x="139465" y="352598"/>
                  <a:pt x="139465" y="349886"/>
                </a:cubicBezTo>
                <a:cubicBezTo>
                  <a:pt x="138784" y="349886"/>
                  <a:pt x="136744" y="345139"/>
                  <a:pt x="136744" y="343783"/>
                </a:cubicBezTo>
                <a:cubicBezTo>
                  <a:pt x="136744" y="340392"/>
                  <a:pt x="133342" y="337002"/>
                  <a:pt x="133342" y="339714"/>
                </a:cubicBezTo>
                <a:cubicBezTo>
                  <a:pt x="130621" y="340392"/>
                  <a:pt x="126540" y="347173"/>
                  <a:pt x="125860" y="339714"/>
                </a:cubicBezTo>
                <a:cubicBezTo>
                  <a:pt x="125860" y="339714"/>
                  <a:pt x="125860" y="337002"/>
                  <a:pt x="125179" y="337002"/>
                </a:cubicBezTo>
                <a:cubicBezTo>
                  <a:pt x="124499" y="337002"/>
                  <a:pt x="122458" y="337680"/>
                  <a:pt x="122458" y="336323"/>
                </a:cubicBezTo>
                <a:cubicBezTo>
                  <a:pt x="120418" y="336323"/>
                  <a:pt x="120418" y="337002"/>
                  <a:pt x="119057" y="337002"/>
                </a:cubicBezTo>
                <a:cubicBezTo>
                  <a:pt x="117697" y="337002"/>
                  <a:pt x="117697" y="335645"/>
                  <a:pt x="116336" y="335645"/>
                </a:cubicBezTo>
                <a:cubicBezTo>
                  <a:pt x="111574" y="335645"/>
                  <a:pt x="108853" y="333611"/>
                  <a:pt x="104091" y="335645"/>
                </a:cubicBezTo>
                <a:cubicBezTo>
                  <a:pt x="100010" y="337680"/>
                  <a:pt x="94568" y="334967"/>
                  <a:pt x="90486" y="334967"/>
                </a:cubicBezTo>
                <a:cubicBezTo>
                  <a:pt x="90486" y="335645"/>
                  <a:pt x="92527" y="337680"/>
                  <a:pt x="93207" y="339036"/>
                </a:cubicBezTo>
                <a:cubicBezTo>
                  <a:pt x="95248" y="339036"/>
                  <a:pt x="95928" y="339036"/>
                  <a:pt x="95928" y="341070"/>
                </a:cubicBezTo>
                <a:cubicBezTo>
                  <a:pt x="97289" y="341070"/>
                  <a:pt x="99330" y="341070"/>
                  <a:pt x="97289" y="342427"/>
                </a:cubicBezTo>
                <a:cubicBezTo>
                  <a:pt x="95928" y="343783"/>
                  <a:pt x="97289" y="345139"/>
                  <a:pt x="97289" y="345817"/>
                </a:cubicBezTo>
                <a:cubicBezTo>
                  <a:pt x="98649" y="346495"/>
                  <a:pt x="97289" y="349886"/>
                  <a:pt x="94568" y="348530"/>
                </a:cubicBezTo>
                <a:cubicBezTo>
                  <a:pt x="94568" y="348530"/>
                  <a:pt x="91167" y="337680"/>
                  <a:pt x="91167" y="343783"/>
                </a:cubicBezTo>
                <a:cubicBezTo>
                  <a:pt x="91167" y="348530"/>
                  <a:pt x="89126" y="346495"/>
                  <a:pt x="86405" y="346495"/>
                </a:cubicBezTo>
                <a:cubicBezTo>
                  <a:pt x="84364" y="346495"/>
                  <a:pt x="83684" y="345139"/>
                  <a:pt x="84364" y="343105"/>
                </a:cubicBezTo>
                <a:cubicBezTo>
                  <a:pt x="85044" y="342427"/>
                  <a:pt x="83684" y="339714"/>
                  <a:pt x="83004" y="339714"/>
                </a:cubicBezTo>
                <a:cubicBezTo>
                  <a:pt x="82323" y="340392"/>
                  <a:pt x="83684" y="345139"/>
                  <a:pt x="80283" y="342427"/>
                </a:cubicBezTo>
                <a:cubicBezTo>
                  <a:pt x="76881" y="340392"/>
                  <a:pt x="80283" y="345817"/>
                  <a:pt x="75521" y="344461"/>
                </a:cubicBezTo>
                <a:cubicBezTo>
                  <a:pt x="73480" y="344461"/>
                  <a:pt x="70079" y="341748"/>
                  <a:pt x="68038" y="341070"/>
                </a:cubicBezTo>
                <a:cubicBezTo>
                  <a:pt x="65997" y="340392"/>
                  <a:pt x="63956" y="343105"/>
                  <a:pt x="61916" y="343105"/>
                </a:cubicBezTo>
                <a:cubicBezTo>
                  <a:pt x="61916" y="341748"/>
                  <a:pt x="63276" y="341070"/>
                  <a:pt x="63276" y="339714"/>
                </a:cubicBezTo>
                <a:cubicBezTo>
                  <a:pt x="61916" y="339714"/>
                  <a:pt x="60555" y="339714"/>
                  <a:pt x="59195" y="339714"/>
                </a:cubicBezTo>
                <a:cubicBezTo>
                  <a:pt x="58514" y="339714"/>
                  <a:pt x="61235" y="345817"/>
                  <a:pt x="55793" y="345817"/>
                </a:cubicBezTo>
                <a:cubicBezTo>
                  <a:pt x="54433" y="352598"/>
                  <a:pt x="50351" y="349886"/>
                  <a:pt x="45590" y="349886"/>
                </a:cubicBezTo>
                <a:cubicBezTo>
                  <a:pt x="45590" y="350564"/>
                  <a:pt x="46950" y="352598"/>
                  <a:pt x="46270" y="353277"/>
                </a:cubicBezTo>
                <a:cubicBezTo>
                  <a:pt x="45590" y="353277"/>
                  <a:pt x="44229" y="351920"/>
                  <a:pt x="43549" y="352598"/>
                </a:cubicBezTo>
                <a:cubicBezTo>
                  <a:pt x="43549" y="355311"/>
                  <a:pt x="43549" y="355989"/>
                  <a:pt x="40148" y="355311"/>
                </a:cubicBezTo>
                <a:cubicBezTo>
                  <a:pt x="37427" y="354633"/>
                  <a:pt x="35386" y="359380"/>
                  <a:pt x="36746" y="360736"/>
                </a:cubicBezTo>
                <a:cubicBezTo>
                  <a:pt x="38107" y="362092"/>
                  <a:pt x="33345" y="364805"/>
                  <a:pt x="33345" y="366161"/>
                </a:cubicBezTo>
                <a:cubicBezTo>
                  <a:pt x="32665" y="370230"/>
                  <a:pt x="31985" y="377011"/>
                  <a:pt x="29944" y="380402"/>
                </a:cubicBezTo>
                <a:cubicBezTo>
                  <a:pt x="27903" y="383114"/>
                  <a:pt x="25862" y="383114"/>
                  <a:pt x="23821" y="384470"/>
                </a:cubicBezTo>
                <a:cubicBezTo>
                  <a:pt x="22461" y="386505"/>
                  <a:pt x="24502" y="389217"/>
                  <a:pt x="22461" y="390573"/>
                </a:cubicBezTo>
                <a:cubicBezTo>
                  <a:pt x="19740" y="395998"/>
                  <a:pt x="19740" y="399389"/>
                  <a:pt x="18379" y="404136"/>
                </a:cubicBezTo>
                <a:cubicBezTo>
                  <a:pt x="17699" y="406170"/>
                  <a:pt x="14298" y="410917"/>
                  <a:pt x="14978" y="412951"/>
                </a:cubicBezTo>
                <a:cubicBezTo>
                  <a:pt x="15658" y="414986"/>
                  <a:pt x="12257" y="417698"/>
                  <a:pt x="13618" y="419733"/>
                </a:cubicBezTo>
                <a:cubicBezTo>
                  <a:pt x="16339" y="423801"/>
                  <a:pt x="12257" y="427192"/>
                  <a:pt x="14978" y="429905"/>
                </a:cubicBezTo>
                <a:cubicBezTo>
                  <a:pt x="19060" y="434651"/>
                  <a:pt x="15658" y="441433"/>
                  <a:pt x="17699" y="445501"/>
                </a:cubicBezTo>
                <a:cubicBezTo>
                  <a:pt x="19740" y="447536"/>
                  <a:pt x="21100" y="447536"/>
                  <a:pt x="23141" y="448214"/>
                </a:cubicBezTo>
                <a:cubicBezTo>
                  <a:pt x="25862" y="448892"/>
                  <a:pt x="25182" y="452283"/>
                  <a:pt x="29263" y="453639"/>
                </a:cubicBezTo>
                <a:cubicBezTo>
                  <a:pt x="32665" y="454317"/>
                  <a:pt x="38787" y="449570"/>
                  <a:pt x="42869" y="449570"/>
                </a:cubicBezTo>
                <a:cubicBezTo>
                  <a:pt x="44909" y="449570"/>
                  <a:pt x="43549" y="452961"/>
                  <a:pt x="45590" y="451605"/>
                </a:cubicBezTo>
                <a:cubicBezTo>
                  <a:pt x="46950" y="450926"/>
                  <a:pt x="49671" y="450248"/>
                  <a:pt x="51032" y="449570"/>
                </a:cubicBezTo>
                <a:cubicBezTo>
                  <a:pt x="50351" y="448892"/>
                  <a:pt x="47630" y="448214"/>
                  <a:pt x="47630" y="447536"/>
                </a:cubicBezTo>
                <a:cubicBezTo>
                  <a:pt x="50351" y="447536"/>
                  <a:pt x="53753" y="446180"/>
                  <a:pt x="53753" y="442789"/>
                </a:cubicBezTo>
                <a:cubicBezTo>
                  <a:pt x="54433" y="437364"/>
                  <a:pt x="58514" y="436686"/>
                  <a:pt x="59195" y="431261"/>
                </a:cubicBezTo>
                <a:cubicBezTo>
                  <a:pt x="61235" y="423801"/>
                  <a:pt x="67358" y="425836"/>
                  <a:pt x="73480" y="423123"/>
                </a:cubicBezTo>
                <a:cubicBezTo>
                  <a:pt x="75521" y="422445"/>
                  <a:pt x="91167" y="420411"/>
                  <a:pt x="87765" y="426514"/>
                </a:cubicBezTo>
                <a:cubicBezTo>
                  <a:pt x="86405" y="428548"/>
                  <a:pt x="83684" y="428548"/>
                  <a:pt x="82323" y="430583"/>
                </a:cubicBezTo>
                <a:cubicBezTo>
                  <a:pt x="80283" y="432617"/>
                  <a:pt x="81643" y="434651"/>
                  <a:pt x="80283" y="436686"/>
                </a:cubicBezTo>
                <a:cubicBezTo>
                  <a:pt x="79602" y="438720"/>
                  <a:pt x="76881" y="441433"/>
                  <a:pt x="77562" y="444823"/>
                </a:cubicBezTo>
                <a:cubicBezTo>
                  <a:pt x="78242" y="444823"/>
                  <a:pt x="76201" y="453639"/>
                  <a:pt x="74160" y="453639"/>
                </a:cubicBezTo>
                <a:cubicBezTo>
                  <a:pt x="73480" y="450926"/>
                  <a:pt x="71439" y="448214"/>
                  <a:pt x="69398" y="450926"/>
                </a:cubicBezTo>
                <a:cubicBezTo>
                  <a:pt x="68718" y="452283"/>
                  <a:pt x="69398" y="460420"/>
                  <a:pt x="69398" y="463133"/>
                </a:cubicBezTo>
                <a:cubicBezTo>
                  <a:pt x="68718" y="464489"/>
                  <a:pt x="68038" y="467880"/>
                  <a:pt x="67358" y="469914"/>
                </a:cubicBezTo>
                <a:cubicBezTo>
                  <a:pt x="66677" y="471270"/>
                  <a:pt x="63956" y="474661"/>
                  <a:pt x="63956" y="475339"/>
                </a:cubicBezTo>
                <a:cubicBezTo>
                  <a:pt x="63276" y="475339"/>
                  <a:pt x="62596" y="476017"/>
                  <a:pt x="61916" y="476017"/>
                </a:cubicBezTo>
                <a:cubicBezTo>
                  <a:pt x="61235" y="476695"/>
                  <a:pt x="61235" y="479408"/>
                  <a:pt x="61916" y="480086"/>
                </a:cubicBezTo>
                <a:cubicBezTo>
                  <a:pt x="65317" y="482120"/>
                  <a:pt x="76201" y="480086"/>
                  <a:pt x="79602" y="478729"/>
                </a:cubicBezTo>
                <a:cubicBezTo>
                  <a:pt x="85044" y="476695"/>
                  <a:pt x="92527" y="478729"/>
                  <a:pt x="97289" y="481442"/>
                </a:cubicBezTo>
                <a:cubicBezTo>
                  <a:pt x="97969" y="482120"/>
                  <a:pt x="102051" y="486867"/>
                  <a:pt x="99330" y="487545"/>
                </a:cubicBezTo>
                <a:cubicBezTo>
                  <a:pt x="99330" y="488223"/>
                  <a:pt x="98649" y="488223"/>
                  <a:pt x="97969" y="488901"/>
                </a:cubicBezTo>
                <a:cubicBezTo>
                  <a:pt x="97969" y="491614"/>
                  <a:pt x="97969" y="492292"/>
                  <a:pt x="97289" y="495004"/>
                </a:cubicBezTo>
                <a:cubicBezTo>
                  <a:pt x="97289" y="495004"/>
                  <a:pt x="96609" y="495683"/>
                  <a:pt x="96609" y="495683"/>
                </a:cubicBezTo>
                <a:cubicBezTo>
                  <a:pt x="96609" y="496361"/>
                  <a:pt x="94568" y="497039"/>
                  <a:pt x="93888" y="498395"/>
                </a:cubicBezTo>
                <a:cubicBezTo>
                  <a:pt x="93888" y="500429"/>
                  <a:pt x="92527" y="502464"/>
                  <a:pt x="92527" y="504498"/>
                </a:cubicBezTo>
                <a:cubicBezTo>
                  <a:pt x="92527" y="506533"/>
                  <a:pt x="93888" y="508567"/>
                  <a:pt x="93207" y="510601"/>
                </a:cubicBezTo>
                <a:cubicBezTo>
                  <a:pt x="92527" y="510601"/>
                  <a:pt x="92527" y="509923"/>
                  <a:pt x="91847" y="509245"/>
                </a:cubicBezTo>
                <a:cubicBezTo>
                  <a:pt x="89806" y="507211"/>
                  <a:pt x="91847" y="512636"/>
                  <a:pt x="91847" y="513314"/>
                </a:cubicBezTo>
                <a:cubicBezTo>
                  <a:pt x="92527" y="515348"/>
                  <a:pt x="91167" y="518061"/>
                  <a:pt x="90486" y="520095"/>
                </a:cubicBezTo>
                <a:cubicBezTo>
                  <a:pt x="89806" y="523486"/>
                  <a:pt x="90486" y="524842"/>
                  <a:pt x="91167" y="527554"/>
                </a:cubicBezTo>
                <a:cubicBezTo>
                  <a:pt x="92527" y="527554"/>
                  <a:pt x="92527" y="532979"/>
                  <a:pt x="92527" y="533658"/>
                </a:cubicBezTo>
                <a:cubicBezTo>
                  <a:pt x="93888" y="536370"/>
                  <a:pt x="96609" y="539083"/>
                  <a:pt x="96609" y="541795"/>
                </a:cubicBezTo>
                <a:cubicBezTo>
                  <a:pt x="96609" y="542473"/>
                  <a:pt x="98649" y="547220"/>
                  <a:pt x="99330" y="547898"/>
                </a:cubicBezTo>
                <a:cubicBezTo>
                  <a:pt x="101370" y="548576"/>
                  <a:pt x="101370" y="543151"/>
                  <a:pt x="102731" y="545864"/>
                </a:cubicBezTo>
                <a:cubicBezTo>
                  <a:pt x="106132" y="550611"/>
                  <a:pt x="111574" y="545864"/>
                  <a:pt x="115656" y="543829"/>
                </a:cubicBezTo>
                <a:cubicBezTo>
                  <a:pt x="119737" y="542473"/>
                  <a:pt x="119057" y="540439"/>
                  <a:pt x="123819" y="541795"/>
                </a:cubicBezTo>
                <a:cubicBezTo>
                  <a:pt x="129261" y="544508"/>
                  <a:pt x="130621" y="545186"/>
                  <a:pt x="134703" y="549254"/>
                </a:cubicBezTo>
                <a:cubicBezTo>
                  <a:pt x="137424" y="551967"/>
                  <a:pt x="137424" y="558070"/>
                  <a:pt x="140825" y="558070"/>
                </a:cubicBezTo>
                <a:cubicBezTo>
                  <a:pt x="137424" y="553323"/>
                  <a:pt x="140145" y="547220"/>
                  <a:pt x="144226" y="543829"/>
                </a:cubicBezTo>
                <a:cubicBezTo>
                  <a:pt x="147628" y="541117"/>
                  <a:pt x="148308" y="545186"/>
                  <a:pt x="148308" y="539083"/>
                </a:cubicBezTo>
                <a:cubicBezTo>
                  <a:pt x="148308" y="536370"/>
                  <a:pt x="152389" y="528233"/>
                  <a:pt x="155791" y="527554"/>
                </a:cubicBezTo>
                <a:cubicBezTo>
                  <a:pt x="157831" y="527554"/>
                  <a:pt x="158512" y="529589"/>
                  <a:pt x="160553" y="528233"/>
                </a:cubicBezTo>
                <a:cubicBezTo>
                  <a:pt x="163954" y="526876"/>
                  <a:pt x="158512" y="524164"/>
                  <a:pt x="163954" y="524164"/>
                </a:cubicBezTo>
                <a:cubicBezTo>
                  <a:pt x="168716" y="524164"/>
                  <a:pt x="179600" y="519417"/>
                  <a:pt x="179600" y="513992"/>
                </a:cubicBezTo>
                <a:cubicBezTo>
                  <a:pt x="182321" y="513314"/>
                  <a:pt x="184361" y="513992"/>
                  <a:pt x="184361" y="517383"/>
                </a:cubicBezTo>
                <a:cubicBezTo>
                  <a:pt x="184361" y="521451"/>
                  <a:pt x="180960" y="519417"/>
                  <a:pt x="179600" y="522129"/>
                </a:cubicBezTo>
                <a:cubicBezTo>
                  <a:pt x="176879" y="526198"/>
                  <a:pt x="182321" y="532979"/>
                  <a:pt x="177559" y="537726"/>
                </a:cubicBezTo>
                <a:cubicBezTo>
                  <a:pt x="176198" y="539761"/>
                  <a:pt x="175518" y="539083"/>
                  <a:pt x="177559" y="541117"/>
                </a:cubicBezTo>
                <a:cubicBezTo>
                  <a:pt x="180280" y="543829"/>
                  <a:pt x="176198" y="547220"/>
                  <a:pt x="182321" y="545864"/>
                </a:cubicBezTo>
                <a:cubicBezTo>
                  <a:pt x="183681" y="545864"/>
                  <a:pt x="184361" y="533658"/>
                  <a:pt x="183001" y="530945"/>
                </a:cubicBezTo>
                <a:cubicBezTo>
                  <a:pt x="179600" y="526198"/>
                  <a:pt x="194565" y="524842"/>
                  <a:pt x="195245" y="522129"/>
                </a:cubicBezTo>
                <a:cubicBezTo>
                  <a:pt x="193885" y="521451"/>
                  <a:pt x="190484" y="520095"/>
                  <a:pt x="191844" y="518061"/>
                </a:cubicBezTo>
                <a:cubicBezTo>
                  <a:pt x="192524" y="516704"/>
                  <a:pt x="194565" y="513314"/>
                  <a:pt x="195245" y="516026"/>
                </a:cubicBezTo>
                <a:cubicBezTo>
                  <a:pt x="195926" y="520095"/>
                  <a:pt x="197966" y="520095"/>
                  <a:pt x="201368" y="522129"/>
                </a:cubicBezTo>
                <a:cubicBezTo>
                  <a:pt x="206810" y="524842"/>
                  <a:pt x="203409" y="532301"/>
                  <a:pt x="211572" y="531623"/>
                </a:cubicBezTo>
                <a:cubicBezTo>
                  <a:pt x="212932" y="531623"/>
                  <a:pt x="217694" y="530267"/>
                  <a:pt x="219054" y="530945"/>
                </a:cubicBezTo>
                <a:cubicBezTo>
                  <a:pt x="221095" y="532979"/>
                  <a:pt x="221095" y="535014"/>
                  <a:pt x="225177" y="535014"/>
                </a:cubicBezTo>
                <a:cubicBezTo>
                  <a:pt x="226537" y="535014"/>
                  <a:pt x="227898" y="537048"/>
                  <a:pt x="229258" y="536370"/>
                </a:cubicBezTo>
                <a:cubicBezTo>
                  <a:pt x="232659" y="535692"/>
                  <a:pt x="235380" y="534336"/>
                  <a:pt x="238782" y="534336"/>
                </a:cubicBezTo>
                <a:cubicBezTo>
                  <a:pt x="238101" y="532979"/>
                  <a:pt x="234020" y="534336"/>
                  <a:pt x="234020" y="530945"/>
                </a:cubicBezTo>
                <a:cubicBezTo>
                  <a:pt x="234020" y="530945"/>
                  <a:pt x="234020" y="530945"/>
                  <a:pt x="250346" y="530267"/>
                </a:cubicBezTo>
                <a:cubicBezTo>
                  <a:pt x="249666" y="531623"/>
                  <a:pt x="246945" y="532301"/>
                  <a:pt x="246265" y="532301"/>
                </a:cubicBezTo>
                <a:cubicBezTo>
                  <a:pt x="243543" y="532301"/>
                  <a:pt x="243543" y="533658"/>
                  <a:pt x="245584" y="534336"/>
                </a:cubicBezTo>
                <a:cubicBezTo>
                  <a:pt x="246945" y="535692"/>
                  <a:pt x="245584" y="537048"/>
                  <a:pt x="246945" y="537726"/>
                </a:cubicBezTo>
                <a:cubicBezTo>
                  <a:pt x="247625" y="538404"/>
                  <a:pt x="248986" y="536370"/>
                  <a:pt x="249666" y="537048"/>
                </a:cubicBezTo>
                <a:cubicBezTo>
                  <a:pt x="251026" y="538404"/>
                  <a:pt x="251707" y="539083"/>
                  <a:pt x="253747" y="539761"/>
                </a:cubicBezTo>
                <a:cubicBezTo>
                  <a:pt x="255788" y="540439"/>
                  <a:pt x="259189" y="543829"/>
                  <a:pt x="259870" y="545864"/>
                </a:cubicBezTo>
                <a:cubicBezTo>
                  <a:pt x="259870" y="547220"/>
                  <a:pt x="260550" y="549254"/>
                  <a:pt x="259870" y="550611"/>
                </a:cubicBezTo>
                <a:cubicBezTo>
                  <a:pt x="259189" y="551967"/>
                  <a:pt x="257149" y="551967"/>
                  <a:pt x="256468" y="553323"/>
                </a:cubicBezTo>
                <a:cubicBezTo>
                  <a:pt x="258509" y="553323"/>
                  <a:pt x="258509" y="555357"/>
                  <a:pt x="260550" y="555357"/>
                </a:cubicBezTo>
                <a:cubicBezTo>
                  <a:pt x="263951" y="555357"/>
                  <a:pt x="263951" y="551967"/>
                  <a:pt x="267352" y="554679"/>
                </a:cubicBezTo>
                <a:cubicBezTo>
                  <a:pt x="269393" y="556036"/>
                  <a:pt x="271434" y="558070"/>
                  <a:pt x="273475" y="559426"/>
                </a:cubicBezTo>
                <a:cubicBezTo>
                  <a:pt x="273475" y="562139"/>
                  <a:pt x="275515" y="562817"/>
                  <a:pt x="275515" y="565529"/>
                </a:cubicBezTo>
                <a:cubicBezTo>
                  <a:pt x="275515" y="566207"/>
                  <a:pt x="279597" y="572311"/>
                  <a:pt x="280957" y="572989"/>
                </a:cubicBezTo>
                <a:cubicBezTo>
                  <a:pt x="281638" y="573667"/>
                  <a:pt x="283678" y="574345"/>
                  <a:pt x="283678" y="575023"/>
                </a:cubicBezTo>
                <a:cubicBezTo>
                  <a:pt x="285039" y="578414"/>
                  <a:pt x="283678" y="578414"/>
                  <a:pt x="288440" y="578414"/>
                </a:cubicBezTo>
                <a:cubicBezTo>
                  <a:pt x="288440" y="578414"/>
                  <a:pt x="288440" y="578414"/>
                  <a:pt x="300685" y="579092"/>
                </a:cubicBezTo>
                <a:cubicBezTo>
                  <a:pt x="306127" y="579770"/>
                  <a:pt x="305447" y="578414"/>
                  <a:pt x="306807" y="583161"/>
                </a:cubicBezTo>
                <a:cubicBezTo>
                  <a:pt x="308168" y="583161"/>
                  <a:pt x="309528" y="581126"/>
                  <a:pt x="311569" y="581126"/>
                </a:cubicBezTo>
                <a:cubicBezTo>
                  <a:pt x="316331" y="583161"/>
                  <a:pt x="324494" y="589942"/>
                  <a:pt x="324494" y="596045"/>
                </a:cubicBezTo>
                <a:cubicBezTo>
                  <a:pt x="326534" y="596723"/>
                  <a:pt x="326534" y="594689"/>
                  <a:pt x="328575" y="597401"/>
                </a:cubicBezTo>
                <a:cubicBezTo>
                  <a:pt x="329255" y="598757"/>
                  <a:pt x="331977" y="600792"/>
                  <a:pt x="331296" y="602826"/>
                </a:cubicBezTo>
                <a:cubicBezTo>
                  <a:pt x="329936" y="606895"/>
                  <a:pt x="330616" y="606895"/>
                  <a:pt x="332657" y="609607"/>
                </a:cubicBezTo>
                <a:cubicBezTo>
                  <a:pt x="334017" y="611642"/>
                  <a:pt x="330616" y="613676"/>
                  <a:pt x="331296" y="615710"/>
                </a:cubicBezTo>
                <a:cubicBezTo>
                  <a:pt x="331977" y="615710"/>
                  <a:pt x="332657" y="616389"/>
                  <a:pt x="333337" y="616389"/>
                </a:cubicBezTo>
                <a:cubicBezTo>
                  <a:pt x="333337" y="616389"/>
                  <a:pt x="333337" y="618423"/>
                  <a:pt x="334017" y="618423"/>
                </a:cubicBezTo>
                <a:cubicBezTo>
                  <a:pt x="334698" y="619779"/>
                  <a:pt x="338779" y="617067"/>
                  <a:pt x="338779" y="619779"/>
                </a:cubicBezTo>
                <a:cubicBezTo>
                  <a:pt x="338779" y="622492"/>
                  <a:pt x="336058" y="621814"/>
                  <a:pt x="336058" y="623170"/>
                </a:cubicBezTo>
                <a:cubicBezTo>
                  <a:pt x="335378" y="624526"/>
                  <a:pt x="337419" y="624526"/>
                  <a:pt x="336738" y="626560"/>
                </a:cubicBezTo>
                <a:cubicBezTo>
                  <a:pt x="335378" y="628595"/>
                  <a:pt x="334698" y="630629"/>
                  <a:pt x="333337" y="632664"/>
                </a:cubicBezTo>
                <a:cubicBezTo>
                  <a:pt x="331977" y="634020"/>
                  <a:pt x="329936" y="634698"/>
                  <a:pt x="328575" y="636732"/>
                </a:cubicBezTo>
                <a:cubicBezTo>
                  <a:pt x="325854" y="642157"/>
                  <a:pt x="324494" y="651651"/>
                  <a:pt x="317011" y="653007"/>
                </a:cubicBezTo>
                <a:cubicBezTo>
                  <a:pt x="314970" y="654364"/>
                  <a:pt x="306807" y="655042"/>
                  <a:pt x="306127" y="657754"/>
                </a:cubicBezTo>
                <a:cubicBezTo>
                  <a:pt x="310208" y="657076"/>
                  <a:pt x="316331" y="655042"/>
                  <a:pt x="320412" y="655042"/>
                </a:cubicBezTo>
                <a:cubicBezTo>
                  <a:pt x="327895" y="654364"/>
                  <a:pt x="327215" y="649617"/>
                  <a:pt x="331296" y="646226"/>
                </a:cubicBezTo>
                <a:cubicBezTo>
                  <a:pt x="332657" y="650973"/>
                  <a:pt x="335378" y="649617"/>
                  <a:pt x="334017" y="645548"/>
                </a:cubicBezTo>
                <a:cubicBezTo>
                  <a:pt x="331977" y="640123"/>
                  <a:pt x="345582" y="642157"/>
                  <a:pt x="348983" y="641479"/>
                </a:cubicBezTo>
                <a:cubicBezTo>
                  <a:pt x="352384" y="640801"/>
                  <a:pt x="347622" y="650973"/>
                  <a:pt x="345582" y="653007"/>
                </a:cubicBezTo>
                <a:cubicBezTo>
                  <a:pt x="342180" y="655042"/>
                  <a:pt x="336738" y="655042"/>
                  <a:pt x="333337" y="655042"/>
                </a:cubicBezTo>
                <a:cubicBezTo>
                  <a:pt x="330616" y="655720"/>
                  <a:pt x="327215" y="655720"/>
                  <a:pt x="325854" y="657076"/>
                </a:cubicBezTo>
                <a:cubicBezTo>
                  <a:pt x="325174" y="658432"/>
                  <a:pt x="332657" y="657754"/>
                  <a:pt x="333337" y="657754"/>
                </a:cubicBezTo>
                <a:cubicBezTo>
                  <a:pt x="335378" y="657076"/>
                  <a:pt x="336738" y="656398"/>
                  <a:pt x="338779" y="656398"/>
                </a:cubicBezTo>
                <a:cubicBezTo>
                  <a:pt x="342861" y="656398"/>
                  <a:pt x="341500" y="655720"/>
                  <a:pt x="341500" y="659110"/>
                </a:cubicBezTo>
                <a:cubicBezTo>
                  <a:pt x="341500" y="661823"/>
                  <a:pt x="342861" y="663179"/>
                  <a:pt x="342861" y="665214"/>
                </a:cubicBezTo>
                <a:cubicBezTo>
                  <a:pt x="342861" y="665214"/>
                  <a:pt x="342861" y="665214"/>
                  <a:pt x="344901" y="659110"/>
                </a:cubicBezTo>
                <a:cubicBezTo>
                  <a:pt x="346262" y="655042"/>
                  <a:pt x="349663" y="655720"/>
                  <a:pt x="350343" y="653007"/>
                </a:cubicBezTo>
                <a:cubicBezTo>
                  <a:pt x="352384" y="648939"/>
                  <a:pt x="351024" y="644870"/>
                  <a:pt x="357826" y="644870"/>
                </a:cubicBezTo>
                <a:cubicBezTo>
                  <a:pt x="362588" y="644870"/>
                  <a:pt x="366669" y="649617"/>
                  <a:pt x="371431" y="649617"/>
                </a:cubicBezTo>
                <a:cubicBezTo>
                  <a:pt x="374152" y="649617"/>
                  <a:pt x="378234" y="652329"/>
                  <a:pt x="378914" y="654364"/>
                </a:cubicBezTo>
                <a:cubicBezTo>
                  <a:pt x="381635" y="659789"/>
                  <a:pt x="378234" y="655720"/>
                  <a:pt x="378234" y="659110"/>
                </a:cubicBezTo>
                <a:cubicBezTo>
                  <a:pt x="379594" y="659110"/>
                  <a:pt x="380955" y="665892"/>
                  <a:pt x="380955" y="667248"/>
                </a:cubicBezTo>
                <a:cubicBezTo>
                  <a:pt x="382315" y="667926"/>
                  <a:pt x="382315" y="663857"/>
                  <a:pt x="382996" y="662501"/>
                </a:cubicBezTo>
                <a:cubicBezTo>
                  <a:pt x="382996" y="662501"/>
                  <a:pt x="383676" y="663857"/>
                  <a:pt x="383676" y="664535"/>
                </a:cubicBezTo>
                <a:cubicBezTo>
                  <a:pt x="385717" y="664535"/>
                  <a:pt x="385717" y="661145"/>
                  <a:pt x="387757" y="661823"/>
                </a:cubicBezTo>
                <a:cubicBezTo>
                  <a:pt x="390478" y="663179"/>
                  <a:pt x="391159" y="665214"/>
                  <a:pt x="395920" y="664535"/>
                </a:cubicBezTo>
                <a:cubicBezTo>
                  <a:pt x="395920" y="664535"/>
                  <a:pt x="395920" y="664535"/>
                  <a:pt x="400682" y="664535"/>
                </a:cubicBezTo>
                <a:cubicBezTo>
                  <a:pt x="402043" y="664535"/>
                  <a:pt x="402043" y="666570"/>
                  <a:pt x="402723" y="666570"/>
                </a:cubicBezTo>
                <a:cubicBezTo>
                  <a:pt x="403403" y="667248"/>
                  <a:pt x="408845" y="667248"/>
                  <a:pt x="409525" y="667248"/>
                </a:cubicBezTo>
                <a:cubicBezTo>
                  <a:pt x="414967" y="667248"/>
                  <a:pt x="425852" y="671995"/>
                  <a:pt x="428573" y="676742"/>
                </a:cubicBezTo>
                <a:cubicBezTo>
                  <a:pt x="431294" y="680810"/>
                  <a:pt x="438096" y="688270"/>
                  <a:pt x="443538" y="688270"/>
                </a:cubicBezTo>
                <a:cubicBezTo>
                  <a:pt x="448980" y="688948"/>
                  <a:pt x="450341" y="690982"/>
                  <a:pt x="453062" y="695051"/>
                </a:cubicBezTo>
                <a:cubicBezTo>
                  <a:pt x="454422" y="697085"/>
                  <a:pt x="454422" y="703867"/>
                  <a:pt x="455783" y="704545"/>
                </a:cubicBezTo>
                <a:cubicBezTo>
                  <a:pt x="457143" y="707257"/>
                  <a:pt x="457143" y="715395"/>
                  <a:pt x="455783" y="719463"/>
                </a:cubicBezTo>
                <a:cubicBezTo>
                  <a:pt x="455102" y="721498"/>
                  <a:pt x="453742" y="725567"/>
                  <a:pt x="453062" y="727601"/>
                </a:cubicBezTo>
                <a:cubicBezTo>
                  <a:pt x="451701" y="729635"/>
                  <a:pt x="449660" y="734382"/>
                  <a:pt x="448980" y="735738"/>
                </a:cubicBezTo>
                <a:cubicBezTo>
                  <a:pt x="448980" y="735738"/>
                  <a:pt x="448980" y="735738"/>
                  <a:pt x="448300" y="736417"/>
                </a:cubicBezTo>
                <a:cubicBezTo>
                  <a:pt x="448300" y="736417"/>
                  <a:pt x="446939" y="738451"/>
                  <a:pt x="446259" y="739129"/>
                </a:cubicBezTo>
                <a:cubicBezTo>
                  <a:pt x="445579" y="742520"/>
                  <a:pt x="442178" y="743198"/>
                  <a:pt x="440137" y="745910"/>
                </a:cubicBezTo>
                <a:cubicBezTo>
                  <a:pt x="435375" y="753370"/>
                  <a:pt x="437416" y="764220"/>
                  <a:pt x="427212" y="766932"/>
                </a:cubicBezTo>
                <a:cubicBezTo>
                  <a:pt x="427212" y="766932"/>
                  <a:pt x="427212" y="766932"/>
                  <a:pt x="426532" y="766932"/>
                </a:cubicBezTo>
                <a:cubicBezTo>
                  <a:pt x="426532" y="768966"/>
                  <a:pt x="428573" y="768966"/>
                  <a:pt x="426532" y="771001"/>
                </a:cubicBezTo>
                <a:cubicBezTo>
                  <a:pt x="425852" y="771679"/>
                  <a:pt x="426532" y="773713"/>
                  <a:pt x="426532" y="775070"/>
                </a:cubicBezTo>
                <a:cubicBezTo>
                  <a:pt x="426532" y="776426"/>
                  <a:pt x="428573" y="773713"/>
                  <a:pt x="429253" y="773713"/>
                </a:cubicBezTo>
                <a:cubicBezTo>
                  <a:pt x="429253" y="773713"/>
                  <a:pt x="429253" y="773713"/>
                  <a:pt x="429933" y="773035"/>
                </a:cubicBezTo>
                <a:cubicBezTo>
                  <a:pt x="429933" y="775070"/>
                  <a:pt x="428573" y="782529"/>
                  <a:pt x="428573" y="785241"/>
                </a:cubicBezTo>
                <a:cubicBezTo>
                  <a:pt x="428573" y="786598"/>
                  <a:pt x="427212" y="788632"/>
                  <a:pt x="428573" y="789988"/>
                </a:cubicBezTo>
                <a:cubicBezTo>
                  <a:pt x="429933" y="791345"/>
                  <a:pt x="430613" y="792701"/>
                  <a:pt x="429253" y="794735"/>
                </a:cubicBezTo>
                <a:cubicBezTo>
                  <a:pt x="429933" y="799482"/>
                  <a:pt x="431294" y="802873"/>
                  <a:pt x="429933" y="808298"/>
                </a:cubicBezTo>
                <a:cubicBezTo>
                  <a:pt x="429253" y="811688"/>
                  <a:pt x="427212" y="813723"/>
                  <a:pt x="427892" y="817113"/>
                </a:cubicBezTo>
                <a:cubicBezTo>
                  <a:pt x="428573" y="819148"/>
                  <a:pt x="429933" y="824573"/>
                  <a:pt x="429253" y="825929"/>
                </a:cubicBezTo>
                <a:cubicBezTo>
                  <a:pt x="428573" y="827963"/>
                  <a:pt x="427212" y="829998"/>
                  <a:pt x="425852" y="831354"/>
                </a:cubicBezTo>
                <a:cubicBezTo>
                  <a:pt x="422450" y="834066"/>
                  <a:pt x="420410" y="844238"/>
                  <a:pt x="420410" y="848985"/>
                </a:cubicBezTo>
                <a:cubicBezTo>
                  <a:pt x="421090" y="854410"/>
                  <a:pt x="415648" y="853054"/>
                  <a:pt x="414287" y="857123"/>
                </a:cubicBezTo>
                <a:cubicBezTo>
                  <a:pt x="413607" y="860513"/>
                  <a:pt x="416328" y="860513"/>
                  <a:pt x="411566" y="859835"/>
                </a:cubicBezTo>
                <a:cubicBezTo>
                  <a:pt x="410206" y="859835"/>
                  <a:pt x="408165" y="861869"/>
                  <a:pt x="406804" y="861191"/>
                </a:cubicBezTo>
                <a:cubicBezTo>
                  <a:pt x="406124" y="857801"/>
                  <a:pt x="395920" y="862548"/>
                  <a:pt x="394560" y="863226"/>
                </a:cubicBezTo>
                <a:cubicBezTo>
                  <a:pt x="394560" y="863904"/>
                  <a:pt x="397281" y="865260"/>
                  <a:pt x="395920" y="865938"/>
                </a:cubicBezTo>
                <a:cubicBezTo>
                  <a:pt x="395920" y="866616"/>
                  <a:pt x="393880" y="865938"/>
                  <a:pt x="393199" y="865938"/>
                </a:cubicBezTo>
                <a:cubicBezTo>
                  <a:pt x="390478" y="866616"/>
                  <a:pt x="387077" y="868651"/>
                  <a:pt x="384356" y="870007"/>
                </a:cubicBezTo>
                <a:cubicBezTo>
                  <a:pt x="384356" y="870007"/>
                  <a:pt x="384356" y="870007"/>
                  <a:pt x="384356" y="871363"/>
                </a:cubicBezTo>
                <a:cubicBezTo>
                  <a:pt x="382996" y="872041"/>
                  <a:pt x="381635" y="872041"/>
                  <a:pt x="380955" y="872041"/>
                </a:cubicBezTo>
                <a:cubicBezTo>
                  <a:pt x="380955" y="876788"/>
                  <a:pt x="374152" y="883569"/>
                  <a:pt x="370071" y="884926"/>
                </a:cubicBezTo>
                <a:cubicBezTo>
                  <a:pt x="370071" y="887638"/>
                  <a:pt x="373472" y="886960"/>
                  <a:pt x="370751" y="891029"/>
                </a:cubicBezTo>
                <a:cubicBezTo>
                  <a:pt x="368710" y="894419"/>
                  <a:pt x="373472" y="895776"/>
                  <a:pt x="373472" y="897810"/>
                </a:cubicBezTo>
                <a:cubicBezTo>
                  <a:pt x="374152" y="897810"/>
                  <a:pt x="374152" y="905269"/>
                  <a:pt x="374152" y="907304"/>
                </a:cubicBezTo>
                <a:cubicBezTo>
                  <a:pt x="374152" y="910016"/>
                  <a:pt x="375513" y="911372"/>
                  <a:pt x="374833" y="914085"/>
                </a:cubicBezTo>
                <a:cubicBezTo>
                  <a:pt x="371431" y="920866"/>
                  <a:pt x="367350" y="923579"/>
                  <a:pt x="367350" y="931716"/>
                </a:cubicBezTo>
                <a:cubicBezTo>
                  <a:pt x="367350" y="936463"/>
                  <a:pt x="365989" y="947313"/>
                  <a:pt x="359867" y="947313"/>
                </a:cubicBezTo>
                <a:cubicBezTo>
                  <a:pt x="359867" y="947313"/>
                  <a:pt x="359867" y="947313"/>
                  <a:pt x="363948" y="938497"/>
                </a:cubicBezTo>
                <a:cubicBezTo>
                  <a:pt x="365989" y="935107"/>
                  <a:pt x="364629" y="933751"/>
                  <a:pt x="364629" y="930360"/>
                </a:cubicBezTo>
                <a:cubicBezTo>
                  <a:pt x="361908" y="929004"/>
                  <a:pt x="361227" y="937141"/>
                  <a:pt x="361227" y="938497"/>
                </a:cubicBezTo>
                <a:cubicBezTo>
                  <a:pt x="360547" y="940532"/>
                  <a:pt x="357826" y="941888"/>
                  <a:pt x="357146" y="943922"/>
                </a:cubicBezTo>
                <a:cubicBezTo>
                  <a:pt x="356466" y="946635"/>
                  <a:pt x="357826" y="951382"/>
                  <a:pt x="357826" y="954094"/>
                </a:cubicBezTo>
                <a:cubicBezTo>
                  <a:pt x="357826" y="955450"/>
                  <a:pt x="357826" y="957485"/>
                  <a:pt x="357146" y="958841"/>
                </a:cubicBezTo>
                <a:cubicBezTo>
                  <a:pt x="356466" y="959519"/>
                  <a:pt x="353745" y="962910"/>
                  <a:pt x="353745" y="963588"/>
                </a:cubicBezTo>
                <a:cubicBezTo>
                  <a:pt x="355105" y="971725"/>
                  <a:pt x="347622" y="972404"/>
                  <a:pt x="340820" y="972404"/>
                </a:cubicBezTo>
                <a:cubicBezTo>
                  <a:pt x="336058" y="973082"/>
                  <a:pt x="336738" y="969013"/>
                  <a:pt x="331977" y="969013"/>
                </a:cubicBezTo>
                <a:cubicBezTo>
                  <a:pt x="331977" y="969013"/>
                  <a:pt x="331977" y="969013"/>
                  <a:pt x="323813" y="969691"/>
                </a:cubicBezTo>
                <a:cubicBezTo>
                  <a:pt x="324494" y="972404"/>
                  <a:pt x="330616" y="972404"/>
                  <a:pt x="332657" y="974438"/>
                </a:cubicBezTo>
                <a:cubicBezTo>
                  <a:pt x="334017" y="975794"/>
                  <a:pt x="331977" y="979863"/>
                  <a:pt x="332657" y="981897"/>
                </a:cubicBezTo>
                <a:cubicBezTo>
                  <a:pt x="334017" y="984610"/>
                  <a:pt x="337419" y="982575"/>
                  <a:pt x="338779" y="984610"/>
                </a:cubicBezTo>
                <a:cubicBezTo>
                  <a:pt x="342861" y="991391"/>
                  <a:pt x="340140" y="1000207"/>
                  <a:pt x="334017" y="1004275"/>
                </a:cubicBezTo>
                <a:cubicBezTo>
                  <a:pt x="332657" y="1005632"/>
                  <a:pt x="331977" y="1007666"/>
                  <a:pt x="329936" y="1008344"/>
                </a:cubicBezTo>
                <a:cubicBezTo>
                  <a:pt x="329936" y="1008344"/>
                  <a:pt x="329936" y="1008344"/>
                  <a:pt x="317691" y="1010379"/>
                </a:cubicBezTo>
                <a:cubicBezTo>
                  <a:pt x="315650" y="1011057"/>
                  <a:pt x="311569" y="1009022"/>
                  <a:pt x="308848" y="1009022"/>
                </a:cubicBezTo>
                <a:cubicBezTo>
                  <a:pt x="309528" y="1011735"/>
                  <a:pt x="313610" y="1012413"/>
                  <a:pt x="314290" y="1014447"/>
                </a:cubicBezTo>
                <a:cubicBezTo>
                  <a:pt x="314290" y="1014447"/>
                  <a:pt x="314290" y="1014447"/>
                  <a:pt x="314290" y="1021907"/>
                </a:cubicBezTo>
                <a:cubicBezTo>
                  <a:pt x="312929" y="1026653"/>
                  <a:pt x="319732" y="1023263"/>
                  <a:pt x="314970" y="1028688"/>
                </a:cubicBezTo>
                <a:cubicBezTo>
                  <a:pt x="309528" y="1034113"/>
                  <a:pt x="304766" y="1025297"/>
                  <a:pt x="300685" y="1027332"/>
                </a:cubicBezTo>
                <a:cubicBezTo>
                  <a:pt x="295923" y="1028688"/>
                  <a:pt x="299324" y="1030044"/>
                  <a:pt x="302045" y="1032757"/>
                </a:cubicBezTo>
                <a:cubicBezTo>
                  <a:pt x="303406" y="1033435"/>
                  <a:pt x="302726" y="1038182"/>
                  <a:pt x="304766" y="1038182"/>
                </a:cubicBezTo>
                <a:cubicBezTo>
                  <a:pt x="305447" y="1040216"/>
                  <a:pt x="310889" y="1037504"/>
                  <a:pt x="311569" y="1037504"/>
                </a:cubicBezTo>
                <a:cubicBezTo>
                  <a:pt x="312249" y="1038860"/>
                  <a:pt x="313610" y="1040894"/>
                  <a:pt x="312929" y="1042250"/>
                </a:cubicBezTo>
                <a:cubicBezTo>
                  <a:pt x="311569" y="1044963"/>
                  <a:pt x="309528" y="1042928"/>
                  <a:pt x="308848" y="1041572"/>
                </a:cubicBezTo>
                <a:cubicBezTo>
                  <a:pt x="308848" y="1041572"/>
                  <a:pt x="308848" y="1041572"/>
                  <a:pt x="308168" y="1041572"/>
                </a:cubicBezTo>
                <a:cubicBezTo>
                  <a:pt x="308168" y="1041572"/>
                  <a:pt x="308168" y="1041572"/>
                  <a:pt x="307487" y="1041572"/>
                </a:cubicBezTo>
                <a:cubicBezTo>
                  <a:pt x="307487" y="1041572"/>
                  <a:pt x="307487" y="1041572"/>
                  <a:pt x="307487" y="1042250"/>
                </a:cubicBezTo>
                <a:cubicBezTo>
                  <a:pt x="306127" y="1042250"/>
                  <a:pt x="305447" y="1043607"/>
                  <a:pt x="305447" y="1044285"/>
                </a:cubicBezTo>
                <a:cubicBezTo>
                  <a:pt x="306807" y="1044963"/>
                  <a:pt x="308168" y="1044963"/>
                  <a:pt x="309528" y="1044963"/>
                </a:cubicBezTo>
                <a:cubicBezTo>
                  <a:pt x="309528" y="1046997"/>
                  <a:pt x="308168" y="1046997"/>
                  <a:pt x="308168" y="1047675"/>
                </a:cubicBezTo>
                <a:cubicBezTo>
                  <a:pt x="305447" y="1048353"/>
                  <a:pt x="308848" y="1055135"/>
                  <a:pt x="308848" y="1056491"/>
                </a:cubicBezTo>
                <a:cubicBezTo>
                  <a:pt x="308848" y="1056491"/>
                  <a:pt x="308848" y="1057169"/>
                  <a:pt x="309528" y="1057169"/>
                </a:cubicBezTo>
                <a:cubicBezTo>
                  <a:pt x="309528" y="1057847"/>
                  <a:pt x="309528" y="1057847"/>
                  <a:pt x="310208" y="1057847"/>
                </a:cubicBezTo>
                <a:lnTo>
                  <a:pt x="309556" y="1060448"/>
                </a:lnTo>
                <a:lnTo>
                  <a:pt x="265880" y="1060448"/>
                </a:lnTo>
                <a:lnTo>
                  <a:pt x="261230" y="1055813"/>
                </a:lnTo>
                <a:cubicBezTo>
                  <a:pt x="260550" y="1052422"/>
                  <a:pt x="257149" y="1046997"/>
                  <a:pt x="257149" y="1043607"/>
                </a:cubicBezTo>
                <a:cubicBezTo>
                  <a:pt x="257149" y="1042250"/>
                  <a:pt x="259189" y="1039538"/>
                  <a:pt x="257829" y="1038182"/>
                </a:cubicBezTo>
                <a:cubicBezTo>
                  <a:pt x="255108" y="1036825"/>
                  <a:pt x="253747" y="1036825"/>
                  <a:pt x="252387" y="1032757"/>
                </a:cubicBezTo>
                <a:cubicBezTo>
                  <a:pt x="251707" y="1033435"/>
                  <a:pt x="251707" y="1036147"/>
                  <a:pt x="250346" y="1036147"/>
                </a:cubicBezTo>
                <a:cubicBezTo>
                  <a:pt x="249666" y="1036147"/>
                  <a:pt x="248305" y="1035469"/>
                  <a:pt x="246945" y="1035469"/>
                </a:cubicBezTo>
                <a:cubicBezTo>
                  <a:pt x="246265" y="1032078"/>
                  <a:pt x="244904" y="1034113"/>
                  <a:pt x="243543" y="1032078"/>
                </a:cubicBezTo>
                <a:cubicBezTo>
                  <a:pt x="242863" y="1031400"/>
                  <a:pt x="243543" y="1028688"/>
                  <a:pt x="243543" y="1027332"/>
                </a:cubicBezTo>
                <a:cubicBezTo>
                  <a:pt x="243543" y="1025297"/>
                  <a:pt x="240822" y="1024619"/>
                  <a:pt x="241503" y="1021907"/>
                </a:cubicBezTo>
                <a:cubicBezTo>
                  <a:pt x="241503" y="1018516"/>
                  <a:pt x="241503" y="1016482"/>
                  <a:pt x="240822" y="1013091"/>
                </a:cubicBezTo>
                <a:cubicBezTo>
                  <a:pt x="239462" y="1010379"/>
                  <a:pt x="236741" y="1007666"/>
                  <a:pt x="234700" y="1004954"/>
                </a:cubicBezTo>
                <a:cubicBezTo>
                  <a:pt x="234020" y="1002919"/>
                  <a:pt x="230619" y="999529"/>
                  <a:pt x="230619" y="998172"/>
                </a:cubicBezTo>
                <a:cubicBezTo>
                  <a:pt x="234700" y="998172"/>
                  <a:pt x="231979" y="992747"/>
                  <a:pt x="231979" y="990713"/>
                </a:cubicBezTo>
                <a:cubicBezTo>
                  <a:pt x="231979" y="984610"/>
                  <a:pt x="232659" y="977829"/>
                  <a:pt x="231299" y="972404"/>
                </a:cubicBezTo>
                <a:cubicBezTo>
                  <a:pt x="231299" y="969691"/>
                  <a:pt x="231299" y="969013"/>
                  <a:pt x="231299" y="965622"/>
                </a:cubicBezTo>
                <a:cubicBezTo>
                  <a:pt x="231979" y="962232"/>
                  <a:pt x="228578" y="962232"/>
                  <a:pt x="228578" y="958841"/>
                </a:cubicBezTo>
                <a:cubicBezTo>
                  <a:pt x="228578" y="953416"/>
                  <a:pt x="219054" y="937819"/>
                  <a:pt x="223136" y="935107"/>
                </a:cubicBezTo>
                <a:cubicBezTo>
                  <a:pt x="225177" y="933751"/>
                  <a:pt x="220415" y="924935"/>
                  <a:pt x="219054" y="922901"/>
                </a:cubicBezTo>
                <a:cubicBezTo>
                  <a:pt x="216333" y="918832"/>
                  <a:pt x="217694" y="916797"/>
                  <a:pt x="217694" y="911372"/>
                </a:cubicBezTo>
                <a:cubicBezTo>
                  <a:pt x="218374" y="909338"/>
                  <a:pt x="219054" y="905947"/>
                  <a:pt x="216333" y="905269"/>
                </a:cubicBezTo>
                <a:cubicBezTo>
                  <a:pt x="216333" y="901879"/>
                  <a:pt x="217694" y="900522"/>
                  <a:pt x="216333" y="897810"/>
                </a:cubicBezTo>
                <a:cubicBezTo>
                  <a:pt x="215653" y="895776"/>
                  <a:pt x="213612" y="891707"/>
                  <a:pt x="213612" y="888994"/>
                </a:cubicBezTo>
                <a:cubicBezTo>
                  <a:pt x="218374" y="888994"/>
                  <a:pt x="212252" y="878144"/>
                  <a:pt x="212252" y="876788"/>
                </a:cubicBezTo>
                <a:cubicBezTo>
                  <a:pt x="210891" y="874076"/>
                  <a:pt x="212252" y="872719"/>
                  <a:pt x="211572" y="870007"/>
                </a:cubicBezTo>
                <a:cubicBezTo>
                  <a:pt x="210891" y="867973"/>
                  <a:pt x="208851" y="867973"/>
                  <a:pt x="208851" y="865260"/>
                </a:cubicBezTo>
                <a:cubicBezTo>
                  <a:pt x="210891" y="864582"/>
                  <a:pt x="208851" y="860513"/>
                  <a:pt x="208851" y="858479"/>
                </a:cubicBezTo>
                <a:cubicBezTo>
                  <a:pt x="208170" y="853732"/>
                  <a:pt x="206810" y="849663"/>
                  <a:pt x="205449" y="845594"/>
                </a:cubicBezTo>
                <a:cubicBezTo>
                  <a:pt x="204769" y="841526"/>
                  <a:pt x="204769" y="838135"/>
                  <a:pt x="203409" y="834066"/>
                </a:cubicBezTo>
                <a:cubicBezTo>
                  <a:pt x="202048" y="829319"/>
                  <a:pt x="200687" y="824573"/>
                  <a:pt x="199327" y="820504"/>
                </a:cubicBezTo>
                <a:cubicBezTo>
                  <a:pt x="198647" y="818469"/>
                  <a:pt x="197286" y="817113"/>
                  <a:pt x="196606" y="815079"/>
                </a:cubicBezTo>
                <a:cubicBezTo>
                  <a:pt x="195926" y="814401"/>
                  <a:pt x="191844" y="813045"/>
                  <a:pt x="191844" y="812366"/>
                </a:cubicBezTo>
                <a:cubicBezTo>
                  <a:pt x="191844" y="812366"/>
                  <a:pt x="191844" y="812366"/>
                  <a:pt x="190484" y="811688"/>
                </a:cubicBezTo>
                <a:cubicBezTo>
                  <a:pt x="190484" y="811688"/>
                  <a:pt x="190484" y="808976"/>
                  <a:pt x="190484" y="808298"/>
                </a:cubicBezTo>
                <a:cubicBezTo>
                  <a:pt x="188443" y="808298"/>
                  <a:pt x="186402" y="806941"/>
                  <a:pt x="185722" y="804907"/>
                </a:cubicBezTo>
                <a:cubicBezTo>
                  <a:pt x="182321" y="801516"/>
                  <a:pt x="179600" y="802195"/>
                  <a:pt x="175518" y="800160"/>
                </a:cubicBezTo>
                <a:cubicBezTo>
                  <a:pt x="170756" y="796770"/>
                  <a:pt x="161913" y="794735"/>
                  <a:pt x="159872" y="789310"/>
                </a:cubicBezTo>
                <a:cubicBezTo>
                  <a:pt x="159192" y="787276"/>
                  <a:pt x="156471" y="787276"/>
                  <a:pt x="155110" y="785920"/>
                </a:cubicBezTo>
                <a:cubicBezTo>
                  <a:pt x="153750" y="784563"/>
                  <a:pt x="153070" y="781851"/>
                  <a:pt x="152389" y="780495"/>
                </a:cubicBezTo>
                <a:cubicBezTo>
                  <a:pt x="151029" y="779138"/>
                  <a:pt x="148988" y="778460"/>
                  <a:pt x="147628" y="777104"/>
                </a:cubicBezTo>
                <a:cubicBezTo>
                  <a:pt x="146947" y="775070"/>
                  <a:pt x="148308" y="774391"/>
                  <a:pt x="148308" y="772357"/>
                </a:cubicBezTo>
                <a:cubicBezTo>
                  <a:pt x="148308" y="770323"/>
                  <a:pt x="146947" y="769645"/>
                  <a:pt x="146947" y="766254"/>
                </a:cubicBezTo>
                <a:cubicBezTo>
                  <a:pt x="146947" y="762863"/>
                  <a:pt x="141505" y="760151"/>
                  <a:pt x="139465" y="758795"/>
                </a:cubicBezTo>
                <a:cubicBezTo>
                  <a:pt x="138104" y="758116"/>
                  <a:pt x="138784" y="755404"/>
                  <a:pt x="138784" y="754048"/>
                </a:cubicBezTo>
                <a:cubicBezTo>
                  <a:pt x="138104" y="752691"/>
                  <a:pt x="134703" y="751335"/>
                  <a:pt x="135383" y="749979"/>
                </a:cubicBezTo>
                <a:cubicBezTo>
                  <a:pt x="136744" y="746588"/>
                  <a:pt x="131982" y="741842"/>
                  <a:pt x="130621" y="739129"/>
                </a:cubicBezTo>
                <a:cubicBezTo>
                  <a:pt x="129261" y="735738"/>
                  <a:pt x="130621" y="730992"/>
                  <a:pt x="125860" y="728279"/>
                </a:cubicBezTo>
                <a:cubicBezTo>
                  <a:pt x="120418" y="724888"/>
                  <a:pt x="124499" y="718785"/>
                  <a:pt x="119737" y="714717"/>
                </a:cubicBezTo>
                <a:cubicBezTo>
                  <a:pt x="117016" y="712004"/>
                  <a:pt x="116336" y="710648"/>
                  <a:pt x="115656" y="707257"/>
                </a:cubicBezTo>
                <a:cubicBezTo>
                  <a:pt x="114295" y="703867"/>
                  <a:pt x="112254" y="703867"/>
                  <a:pt x="110214" y="701832"/>
                </a:cubicBezTo>
                <a:cubicBezTo>
                  <a:pt x="108853" y="700476"/>
                  <a:pt x="103411" y="698442"/>
                  <a:pt x="103411" y="696407"/>
                </a:cubicBezTo>
                <a:cubicBezTo>
                  <a:pt x="106812" y="697085"/>
                  <a:pt x="107493" y="694373"/>
                  <a:pt x="105452" y="693017"/>
                </a:cubicBezTo>
                <a:cubicBezTo>
                  <a:pt x="102051" y="689626"/>
                  <a:pt x="104772" y="690304"/>
                  <a:pt x="105452" y="687592"/>
                </a:cubicBezTo>
                <a:cubicBezTo>
                  <a:pt x="105452" y="686235"/>
                  <a:pt x="103411" y="684879"/>
                  <a:pt x="104091" y="682845"/>
                </a:cubicBezTo>
                <a:cubicBezTo>
                  <a:pt x="104091" y="681488"/>
                  <a:pt x="104772" y="677420"/>
                  <a:pt x="105452" y="676742"/>
                </a:cubicBezTo>
                <a:cubicBezTo>
                  <a:pt x="106812" y="674707"/>
                  <a:pt x="108173" y="676064"/>
                  <a:pt x="108173" y="673351"/>
                </a:cubicBezTo>
                <a:cubicBezTo>
                  <a:pt x="108173" y="669960"/>
                  <a:pt x="113615" y="670639"/>
                  <a:pt x="113615" y="667248"/>
                </a:cubicBezTo>
                <a:cubicBezTo>
                  <a:pt x="113615" y="665214"/>
                  <a:pt x="115656" y="661823"/>
                  <a:pt x="112254" y="662501"/>
                </a:cubicBezTo>
                <a:cubicBezTo>
                  <a:pt x="110214" y="663179"/>
                  <a:pt x="108173" y="663179"/>
                  <a:pt x="106812" y="662501"/>
                </a:cubicBezTo>
                <a:cubicBezTo>
                  <a:pt x="103411" y="661145"/>
                  <a:pt x="106812" y="659789"/>
                  <a:pt x="106812" y="656398"/>
                </a:cubicBezTo>
                <a:cubicBezTo>
                  <a:pt x="106812" y="655042"/>
                  <a:pt x="105452" y="655042"/>
                  <a:pt x="105452" y="653685"/>
                </a:cubicBezTo>
                <a:cubicBezTo>
                  <a:pt x="104772" y="653007"/>
                  <a:pt x="106132" y="649617"/>
                  <a:pt x="106812" y="648260"/>
                </a:cubicBezTo>
                <a:cubicBezTo>
                  <a:pt x="106812" y="645548"/>
                  <a:pt x="105452" y="645548"/>
                  <a:pt x="108173" y="644192"/>
                </a:cubicBezTo>
                <a:cubicBezTo>
                  <a:pt x="110214" y="642157"/>
                  <a:pt x="108173" y="641479"/>
                  <a:pt x="107493" y="640123"/>
                </a:cubicBezTo>
                <a:cubicBezTo>
                  <a:pt x="107493" y="638767"/>
                  <a:pt x="110894" y="636054"/>
                  <a:pt x="110894" y="633342"/>
                </a:cubicBezTo>
                <a:cubicBezTo>
                  <a:pt x="110894" y="631985"/>
                  <a:pt x="108853" y="628595"/>
                  <a:pt x="110214" y="627917"/>
                </a:cubicBezTo>
                <a:cubicBezTo>
                  <a:pt x="112935" y="627239"/>
                  <a:pt x="116336" y="625882"/>
                  <a:pt x="118377" y="623848"/>
                </a:cubicBezTo>
                <a:cubicBezTo>
                  <a:pt x="119737" y="621135"/>
                  <a:pt x="118377" y="618423"/>
                  <a:pt x="121778" y="618423"/>
                </a:cubicBezTo>
                <a:cubicBezTo>
                  <a:pt x="121778" y="616389"/>
                  <a:pt x="121098" y="613676"/>
                  <a:pt x="122458" y="611642"/>
                </a:cubicBezTo>
                <a:cubicBezTo>
                  <a:pt x="125860" y="608251"/>
                  <a:pt x="127900" y="608251"/>
                  <a:pt x="129941" y="604182"/>
                </a:cubicBezTo>
                <a:cubicBezTo>
                  <a:pt x="130621" y="602148"/>
                  <a:pt x="131982" y="602148"/>
                  <a:pt x="131982" y="600114"/>
                </a:cubicBezTo>
                <a:cubicBezTo>
                  <a:pt x="131982" y="598079"/>
                  <a:pt x="131302" y="596723"/>
                  <a:pt x="131302" y="594011"/>
                </a:cubicBezTo>
                <a:cubicBezTo>
                  <a:pt x="131982" y="591976"/>
                  <a:pt x="133342" y="587907"/>
                  <a:pt x="131982" y="585873"/>
                </a:cubicBezTo>
                <a:cubicBezTo>
                  <a:pt x="130621" y="584517"/>
                  <a:pt x="132662" y="583161"/>
                  <a:pt x="133342" y="581804"/>
                </a:cubicBezTo>
                <a:cubicBezTo>
                  <a:pt x="134703" y="579092"/>
                  <a:pt x="130621" y="578414"/>
                  <a:pt x="132662" y="575701"/>
                </a:cubicBezTo>
                <a:cubicBezTo>
                  <a:pt x="134023" y="572989"/>
                  <a:pt x="134703" y="570954"/>
                  <a:pt x="131302" y="570954"/>
                </a:cubicBezTo>
                <a:cubicBezTo>
                  <a:pt x="131302" y="569598"/>
                  <a:pt x="131302" y="568242"/>
                  <a:pt x="131302" y="566886"/>
                </a:cubicBezTo>
                <a:cubicBezTo>
                  <a:pt x="129941" y="566886"/>
                  <a:pt x="127900" y="564173"/>
                  <a:pt x="126540" y="564173"/>
                </a:cubicBezTo>
                <a:cubicBezTo>
                  <a:pt x="126540" y="560104"/>
                  <a:pt x="125860" y="555357"/>
                  <a:pt x="131302" y="555357"/>
                </a:cubicBezTo>
                <a:cubicBezTo>
                  <a:pt x="131302" y="550611"/>
                  <a:pt x="128581" y="554001"/>
                  <a:pt x="127900" y="552645"/>
                </a:cubicBezTo>
                <a:cubicBezTo>
                  <a:pt x="125860" y="549254"/>
                  <a:pt x="123139" y="547220"/>
                  <a:pt x="119737" y="549254"/>
                </a:cubicBezTo>
                <a:cubicBezTo>
                  <a:pt x="118377" y="549932"/>
                  <a:pt x="119057" y="551967"/>
                  <a:pt x="117016" y="553323"/>
                </a:cubicBezTo>
                <a:cubicBezTo>
                  <a:pt x="114975" y="554001"/>
                  <a:pt x="114295" y="553323"/>
                  <a:pt x="112254" y="553323"/>
                </a:cubicBezTo>
                <a:cubicBezTo>
                  <a:pt x="112254" y="556036"/>
                  <a:pt x="116336" y="558748"/>
                  <a:pt x="114975" y="561461"/>
                </a:cubicBezTo>
                <a:cubicBezTo>
                  <a:pt x="114295" y="563495"/>
                  <a:pt x="112254" y="563495"/>
                  <a:pt x="110214" y="564173"/>
                </a:cubicBezTo>
                <a:cubicBezTo>
                  <a:pt x="106812" y="565529"/>
                  <a:pt x="111574" y="558748"/>
                  <a:pt x="106812" y="560104"/>
                </a:cubicBezTo>
                <a:cubicBezTo>
                  <a:pt x="104091" y="560782"/>
                  <a:pt x="102731" y="556714"/>
                  <a:pt x="102051" y="554679"/>
                </a:cubicBezTo>
                <a:cubicBezTo>
                  <a:pt x="100010" y="554679"/>
                  <a:pt x="99330" y="553323"/>
                  <a:pt x="96609" y="553323"/>
                </a:cubicBezTo>
                <a:cubicBezTo>
                  <a:pt x="94568" y="553323"/>
                  <a:pt x="93888" y="555357"/>
                  <a:pt x="91847" y="554679"/>
                </a:cubicBezTo>
                <a:cubicBezTo>
                  <a:pt x="91167" y="554679"/>
                  <a:pt x="90486" y="551289"/>
                  <a:pt x="90486" y="551967"/>
                </a:cubicBezTo>
                <a:cubicBezTo>
                  <a:pt x="90486" y="555357"/>
                  <a:pt x="86405" y="554001"/>
                  <a:pt x="87085" y="551289"/>
                </a:cubicBezTo>
                <a:cubicBezTo>
                  <a:pt x="87765" y="549254"/>
                  <a:pt x="89806" y="544508"/>
                  <a:pt x="85725" y="544508"/>
                </a:cubicBezTo>
                <a:cubicBezTo>
                  <a:pt x="85725" y="543829"/>
                  <a:pt x="87085" y="539083"/>
                  <a:pt x="85044" y="540439"/>
                </a:cubicBezTo>
                <a:cubicBezTo>
                  <a:pt x="83684" y="540439"/>
                  <a:pt x="84364" y="541795"/>
                  <a:pt x="82323" y="541795"/>
                </a:cubicBezTo>
                <a:lnTo>
                  <a:pt x="79955" y="537466"/>
                </a:lnTo>
                <a:lnTo>
                  <a:pt x="80113" y="537218"/>
                </a:lnTo>
                <a:cubicBezTo>
                  <a:pt x="79433" y="536540"/>
                  <a:pt x="78242" y="535692"/>
                  <a:pt x="78242" y="534336"/>
                </a:cubicBezTo>
                <a:lnTo>
                  <a:pt x="79955" y="537466"/>
                </a:lnTo>
                <a:lnTo>
                  <a:pt x="78922" y="539083"/>
                </a:lnTo>
                <a:cubicBezTo>
                  <a:pt x="73480" y="541117"/>
                  <a:pt x="74841" y="534336"/>
                  <a:pt x="74841" y="530945"/>
                </a:cubicBezTo>
                <a:cubicBezTo>
                  <a:pt x="74841" y="528911"/>
                  <a:pt x="76881" y="524164"/>
                  <a:pt x="74841" y="523486"/>
                </a:cubicBezTo>
                <a:cubicBezTo>
                  <a:pt x="70079" y="521451"/>
                  <a:pt x="71439" y="516704"/>
                  <a:pt x="68038" y="513314"/>
                </a:cubicBezTo>
                <a:cubicBezTo>
                  <a:pt x="66677" y="512636"/>
                  <a:pt x="63956" y="510601"/>
                  <a:pt x="63956" y="509245"/>
                </a:cubicBezTo>
                <a:cubicBezTo>
                  <a:pt x="63956" y="507211"/>
                  <a:pt x="68718" y="507211"/>
                  <a:pt x="68718" y="505854"/>
                </a:cubicBezTo>
                <a:cubicBezTo>
                  <a:pt x="65997" y="505854"/>
                  <a:pt x="67358" y="501108"/>
                  <a:pt x="63956" y="502464"/>
                </a:cubicBezTo>
                <a:cubicBezTo>
                  <a:pt x="59875" y="504498"/>
                  <a:pt x="55113" y="503142"/>
                  <a:pt x="50351" y="501786"/>
                </a:cubicBezTo>
                <a:cubicBezTo>
                  <a:pt x="48991" y="501786"/>
                  <a:pt x="48311" y="499751"/>
                  <a:pt x="46950" y="498395"/>
                </a:cubicBezTo>
                <a:cubicBezTo>
                  <a:pt x="46270" y="497039"/>
                  <a:pt x="40828" y="497039"/>
                  <a:pt x="39467" y="496361"/>
                </a:cubicBezTo>
                <a:lnTo>
                  <a:pt x="38107" y="495004"/>
                </a:lnTo>
                <a:cubicBezTo>
                  <a:pt x="36066" y="494326"/>
                  <a:pt x="34025" y="486867"/>
                  <a:pt x="32665" y="484833"/>
                </a:cubicBezTo>
                <a:cubicBezTo>
                  <a:pt x="30624" y="481442"/>
                  <a:pt x="27903" y="478729"/>
                  <a:pt x="25862" y="475339"/>
                </a:cubicBezTo>
                <a:cubicBezTo>
                  <a:pt x="23821" y="471948"/>
                  <a:pt x="23821" y="474661"/>
                  <a:pt x="21100" y="474661"/>
                </a:cubicBezTo>
                <a:cubicBezTo>
                  <a:pt x="19740" y="474661"/>
                  <a:pt x="19740" y="472626"/>
                  <a:pt x="18379" y="471948"/>
                </a:cubicBezTo>
                <a:cubicBezTo>
                  <a:pt x="17019" y="471948"/>
                  <a:pt x="8856" y="478051"/>
                  <a:pt x="7495" y="479408"/>
                </a:cubicBezTo>
                <a:cubicBezTo>
                  <a:pt x="6135" y="480086"/>
                  <a:pt x="3414" y="478899"/>
                  <a:pt x="778" y="477373"/>
                </a:cubicBezTo>
                <a:lnTo>
                  <a:pt x="0" y="476863"/>
                </a:lnTo>
                <a:lnTo>
                  <a:pt x="0" y="165175"/>
                </a:lnTo>
                <a:lnTo>
                  <a:pt x="1373" y="164080"/>
                </a:lnTo>
                <a:cubicBezTo>
                  <a:pt x="3414" y="160689"/>
                  <a:pt x="693" y="158655"/>
                  <a:pt x="4774" y="156621"/>
                </a:cubicBezTo>
                <a:cubicBezTo>
                  <a:pt x="8176" y="155264"/>
                  <a:pt x="4094" y="153230"/>
                  <a:pt x="2734" y="152552"/>
                </a:cubicBezTo>
                <a:cubicBezTo>
                  <a:pt x="693" y="151196"/>
                  <a:pt x="5455" y="150518"/>
                  <a:pt x="5455" y="150518"/>
                </a:cubicBezTo>
                <a:cubicBezTo>
                  <a:pt x="8856" y="147127"/>
                  <a:pt x="2053" y="150518"/>
                  <a:pt x="2053" y="149161"/>
                </a:cubicBezTo>
                <a:cubicBezTo>
                  <a:pt x="2053" y="144414"/>
                  <a:pt x="8176" y="146449"/>
                  <a:pt x="5455" y="143736"/>
                </a:cubicBezTo>
                <a:cubicBezTo>
                  <a:pt x="5455" y="143058"/>
                  <a:pt x="5455" y="141702"/>
                  <a:pt x="5455" y="141702"/>
                </a:cubicBezTo>
                <a:cubicBezTo>
                  <a:pt x="4774" y="142380"/>
                  <a:pt x="1373" y="143736"/>
                  <a:pt x="693" y="143058"/>
                </a:cubicBezTo>
                <a:cubicBezTo>
                  <a:pt x="-327" y="142380"/>
                  <a:pt x="13" y="141702"/>
                  <a:pt x="268" y="141109"/>
                </a:cubicBezTo>
                <a:lnTo>
                  <a:pt x="0" y="140697"/>
                </a:lnTo>
                <a:lnTo>
                  <a:pt x="0" y="134643"/>
                </a:lnTo>
                <a:lnTo>
                  <a:pt x="693" y="134243"/>
                </a:lnTo>
                <a:cubicBezTo>
                  <a:pt x="1373" y="133564"/>
                  <a:pt x="1373" y="130174"/>
                  <a:pt x="3414" y="130174"/>
                </a:cubicBezTo>
                <a:cubicBezTo>
                  <a:pt x="6135" y="130174"/>
                  <a:pt x="9536" y="130852"/>
                  <a:pt x="9536" y="126783"/>
                </a:cubicBezTo>
                <a:cubicBezTo>
                  <a:pt x="7495" y="127461"/>
                  <a:pt x="4774" y="129496"/>
                  <a:pt x="1373" y="128818"/>
                </a:cubicBezTo>
                <a:cubicBezTo>
                  <a:pt x="693" y="128818"/>
                  <a:pt x="693" y="126783"/>
                  <a:pt x="1373" y="126783"/>
                </a:cubicBezTo>
                <a:cubicBezTo>
                  <a:pt x="6135" y="125427"/>
                  <a:pt x="5455" y="122714"/>
                  <a:pt x="8856" y="120002"/>
                </a:cubicBezTo>
                <a:cubicBezTo>
                  <a:pt x="10216" y="117968"/>
                  <a:pt x="12257" y="117289"/>
                  <a:pt x="12257" y="114577"/>
                </a:cubicBezTo>
                <a:cubicBezTo>
                  <a:pt x="12257" y="112543"/>
                  <a:pt x="10216" y="114577"/>
                  <a:pt x="8856" y="115255"/>
                </a:cubicBezTo>
                <a:cubicBezTo>
                  <a:pt x="7495" y="116611"/>
                  <a:pt x="5455" y="117289"/>
                  <a:pt x="6135" y="113899"/>
                </a:cubicBezTo>
                <a:cubicBezTo>
                  <a:pt x="9536" y="110508"/>
                  <a:pt x="5455" y="111186"/>
                  <a:pt x="7495" y="109830"/>
                </a:cubicBezTo>
                <a:cubicBezTo>
                  <a:pt x="8176" y="109152"/>
                  <a:pt x="12257" y="108474"/>
                  <a:pt x="12937" y="108474"/>
                </a:cubicBezTo>
                <a:cubicBezTo>
                  <a:pt x="14298" y="108474"/>
                  <a:pt x="23821" y="104405"/>
                  <a:pt x="18379" y="104405"/>
                </a:cubicBezTo>
                <a:cubicBezTo>
                  <a:pt x="17699" y="104405"/>
                  <a:pt x="10897" y="106439"/>
                  <a:pt x="11577" y="105083"/>
                </a:cubicBezTo>
                <a:cubicBezTo>
                  <a:pt x="12257" y="104405"/>
                  <a:pt x="13618" y="103727"/>
                  <a:pt x="14298" y="103049"/>
                </a:cubicBezTo>
                <a:cubicBezTo>
                  <a:pt x="15658" y="102371"/>
                  <a:pt x="17699" y="101014"/>
                  <a:pt x="17699" y="98980"/>
                </a:cubicBezTo>
                <a:cubicBezTo>
                  <a:pt x="17699" y="97624"/>
                  <a:pt x="13618" y="98302"/>
                  <a:pt x="12257" y="98302"/>
                </a:cubicBezTo>
                <a:cubicBezTo>
                  <a:pt x="12937" y="98302"/>
                  <a:pt x="16339" y="94911"/>
                  <a:pt x="17699" y="94233"/>
                </a:cubicBezTo>
                <a:cubicBezTo>
                  <a:pt x="19740" y="92199"/>
                  <a:pt x="20420" y="90164"/>
                  <a:pt x="19740" y="86774"/>
                </a:cubicBezTo>
                <a:cubicBezTo>
                  <a:pt x="19740" y="84061"/>
                  <a:pt x="21781" y="86096"/>
                  <a:pt x="23141" y="84740"/>
                </a:cubicBezTo>
                <a:cubicBezTo>
                  <a:pt x="25182" y="84061"/>
                  <a:pt x="25182" y="81349"/>
                  <a:pt x="25182" y="79315"/>
                </a:cubicBezTo>
                <a:cubicBezTo>
                  <a:pt x="25182" y="76602"/>
                  <a:pt x="26542" y="73890"/>
                  <a:pt x="26542" y="71177"/>
                </a:cubicBezTo>
                <a:cubicBezTo>
                  <a:pt x="26542" y="72533"/>
                  <a:pt x="20420" y="80671"/>
                  <a:pt x="20420" y="75924"/>
                </a:cubicBezTo>
                <a:cubicBezTo>
                  <a:pt x="20420" y="69821"/>
                  <a:pt x="17699" y="77958"/>
                  <a:pt x="16339" y="77280"/>
                </a:cubicBezTo>
                <a:cubicBezTo>
                  <a:pt x="13618" y="76602"/>
                  <a:pt x="12937" y="76602"/>
                  <a:pt x="13618" y="73211"/>
                </a:cubicBezTo>
                <a:cubicBezTo>
                  <a:pt x="14298" y="71177"/>
                  <a:pt x="12257" y="66430"/>
                  <a:pt x="13618" y="65752"/>
                </a:cubicBezTo>
                <a:cubicBezTo>
                  <a:pt x="14978" y="65074"/>
                  <a:pt x="14978" y="68465"/>
                  <a:pt x="16339" y="67108"/>
                </a:cubicBezTo>
                <a:cubicBezTo>
                  <a:pt x="17019" y="66430"/>
                  <a:pt x="18379" y="64396"/>
                  <a:pt x="18379" y="63040"/>
                </a:cubicBezTo>
                <a:cubicBezTo>
                  <a:pt x="18379" y="61005"/>
                  <a:pt x="12937" y="63040"/>
                  <a:pt x="12257" y="63040"/>
                </a:cubicBezTo>
                <a:cubicBezTo>
                  <a:pt x="10897" y="63040"/>
                  <a:pt x="7495" y="63718"/>
                  <a:pt x="7495" y="63040"/>
                </a:cubicBezTo>
                <a:cubicBezTo>
                  <a:pt x="7495" y="61683"/>
                  <a:pt x="8176" y="60327"/>
                  <a:pt x="6815" y="59649"/>
                </a:cubicBezTo>
                <a:cubicBezTo>
                  <a:pt x="5455" y="58632"/>
                  <a:pt x="3754" y="58801"/>
                  <a:pt x="2224" y="58632"/>
                </a:cubicBezTo>
                <a:lnTo>
                  <a:pt x="0" y="56732"/>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noAutofit/>
          </a:bodyPr>
          <a:lstStyle/>
          <a:p>
            <a:pPr defTabSz="1087802">
              <a:defRPr/>
            </a:pPr>
            <a:endParaRPr lang="en-US" sz="2059" dirty="0">
              <a:solidFill>
                <a:srgbClr val="505050"/>
              </a:solidFill>
              <a:latin typeface="Arial"/>
            </a:endParaRPr>
          </a:p>
        </p:txBody>
      </p:sp>
      <p:sp>
        <p:nvSpPr>
          <p:cNvPr id="1874" name="Freeform: Shape 1873">
            <a:extLst>
              <a:ext uri="{FF2B5EF4-FFF2-40B4-BE49-F238E27FC236}">
                <a16:creationId xmlns:a16="http://schemas.microsoft.com/office/drawing/2014/main" id="{2EF208C2-C558-4C03-A59D-DE5B59C407E1}"/>
              </a:ext>
            </a:extLst>
          </p:cNvPr>
          <p:cNvSpPr>
            <a:spLocks/>
          </p:cNvSpPr>
          <p:nvPr/>
        </p:nvSpPr>
        <p:spPr bwMode="auto">
          <a:xfrm>
            <a:off x="7014158" y="2430680"/>
            <a:ext cx="2056737" cy="2359820"/>
          </a:xfrm>
          <a:custGeom>
            <a:avLst/>
            <a:gdLst>
              <a:gd name="connsiteX0" fmla="*/ 499552 w 845713"/>
              <a:gd name="connsiteY0" fmla="*/ 0 h 970339"/>
              <a:gd name="connsiteX1" fmla="*/ 589266 w 845713"/>
              <a:gd name="connsiteY1" fmla="*/ 0 h 970339"/>
              <a:gd name="connsiteX2" fmla="*/ 588693 w 845713"/>
              <a:gd name="connsiteY2" fmla="*/ 347 h 970339"/>
              <a:gd name="connsiteX3" fmla="*/ 583930 w 845713"/>
              <a:gd name="connsiteY3" fmla="*/ 4253 h 970339"/>
              <a:gd name="connsiteX4" fmla="*/ 596100 w 845713"/>
              <a:gd name="connsiteY4" fmla="*/ 0 h 970339"/>
              <a:gd name="connsiteX5" fmla="*/ 697073 w 845713"/>
              <a:gd name="connsiteY5" fmla="*/ 0 h 970339"/>
              <a:gd name="connsiteX6" fmla="*/ 700265 w 845713"/>
              <a:gd name="connsiteY6" fmla="*/ 177 h 970339"/>
              <a:gd name="connsiteX7" fmla="*/ 700169 w 845713"/>
              <a:gd name="connsiteY7" fmla="*/ 0 h 970339"/>
              <a:gd name="connsiteX8" fmla="*/ 845713 w 845713"/>
              <a:gd name="connsiteY8" fmla="*/ 0 h 970339"/>
              <a:gd name="connsiteX9" fmla="*/ 845713 w 845713"/>
              <a:gd name="connsiteY9" fmla="*/ 469851 h 970339"/>
              <a:gd name="connsiteX10" fmla="*/ 843133 w 845713"/>
              <a:gd name="connsiteY10" fmla="*/ 465435 h 970339"/>
              <a:gd name="connsiteX11" fmla="*/ 843133 w 845713"/>
              <a:gd name="connsiteY11" fmla="*/ 470869 h 970339"/>
              <a:gd name="connsiteX12" fmla="*/ 839731 w 845713"/>
              <a:gd name="connsiteY12" fmla="*/ 476981 h 970339"/>
              <a:gd name="connsiteX13" fmla="*/ 834289 w 845713"/>
              <a:gd name="connsiteY13" fmla="*/ 476981 h 970339"/>
              <a:gd name="connsiteX14" fmla="*/ 828846 w 845713"/>
              <a:gd name="connsiteY14" fmla="*/ 475623 h 970339"/>
              <a:gd name="connsiteX15" fmla="*/ 827485 w 845713"/>
              <a:gd name="connsiteY15" fmla="*/ 471548 h 970339"/>
              <a:gd name="connsiteX16" fmla="*/ 820002 w 845713"/>
              <a:gd name="connsiteY16" fmla="*/ 449134 h 970339"/>
              <a:gd name="connsiteX17" fmla="*/ 818641 w 845713"/>
              <a:gd name="connsiteY17" fmla="*/ 444379 h 970339"/>
              <a:gd name="connsiteX18" fmla="*/ 814559 w 845713"/>
              <a:gd name="connsiteY18" fmla="*/ 439625 h 970339"/>
              <a:gd name="connsiteX19" fmla="*/ 807756 w 845713"/>
              <a:gd name="connsiteY19" fmla="*/ 434871 h 970339"/>
              <a:gd name="connsiteX20" fmla="*/ 800273 w 845713"/>
              <a:gd name="connsiteY20" fmla="*/ 424682 h 970339"/>
              <a:gd name="connsiteX21" fmla="*/ 794150 w 845713"/>
              <a:gd name="connsiteY21" fmla="*/ 415853 h 970339"/>
              <a:gd name="connsiteX22" fmla="*/ 787346 w 845713"/>
              <a:gd name="connsiteY22" fmla="*/ 413136 h 970339"/>
              <a:gd name="connsiteX23" fmla="*/ 786666 w 845713"/>
              <a:gd name="connsiteY23" fmla="*/ 419928 h 970339"/>
              <a:gd name="connsiteX24" fmla="*/ 781224 w 845713"/>
              <a:gd name="connsiteY24" fmla="*/ 417211 h 970339"/>
              <a:gd name="connsiteX25" fmla="*/ 781224 w 845713"/>
              <a:gd name="connsiteY25" fmla="*/ 421286 h 970339"/>
              <a:gd name="connsiteX26" fmla="*/ 778502 w 845713"/>
              <a:gd name="connsiteY26" fmla="*/ 419928 h 970339"/>
              <a:gd name="connsiteX27" fmla="*/ 774420 w 845713"/>
              <a:gd name="connsiteY27" fmla="*/ 419928 h 970339"/>
              <a:gd name="connsiteX28" fmla="*/ 773740 w 845713"/>
              <a:gd name="connsiteY28" fmla="*/ 418570 h 970339"/>
              <a:gd name="connsiteX29" fmla="*/ 770338 w 845713"/>
              <a:gd name="connsiteY29" fmla="*/ 419928 h 970339"/>
              <a:gd name="connsiteX30" fmla="*/ 766937 w 845713"/>
              <a:gd name="connsiteY30" fmla="*/ 422645 h 970339"/>
              <a:gd name="connsiteX31" fmla="*/ 762855 w 845713"/>
              <a:gd name="connsiteY31" fmla="*/ 427399 h 970339"/>
              <a:gd name="connsiteX32" fmla="*/ 763535 w 845713"/>
              <a:gd name="connsiteY32" fmla="*/ 433512 h 970339"/>
              <a:gd name="connsiteX33" fmla="*/ 764896 w 845713"/>
              <a:gd name="connsiteY33" fmla="*/ 434191 h 970339"/>
              <a:gd name="connsiteX34" fmla="*/ 758093 w 845713"/>
              <a:gd name="connsiteY34" fmla="*/ 441663 h 970339"/>
              <a:gd name="connsiteX35" fmla="*/ 754011 w 845713"/>
              <a:gd name="connsiteY35" fmla="*/ 443021 h 970339"/>
              <a:gd name="connsiteX36" fmla="*/ 754691 w 845713"/>
              <a:gd name="connsiteY36" fmla="*/ 446417 h 970339"/>
              <a:gd name="connsiteX37" fmla="*/ 753330 w 845713"/>
              <a:gd name="connsiteY37" fmla="*/ 451851 h 970339"/>
              <a:gd name="connsiteX38" fmla="*/ 747207 w 845713"/>
              <a:gd name="connsiteY38" fmla="*/ 459322 h 970339"/>
              <a:gd name="connsiteX39" fmla="*/ 739724 w 845713"/>
              <a:gd name="connsiteY39" fmla="*/ 468831 h 970339"/>
              <a:gd name="connsiteX40" fmla="*/ 734281 w 845713"/>
              <a:gd name="connsiteY40" fmla="*/ 474944 h 970339"/>
              <a:gd name="connsiteX41" fmla="*/ 734281 w 845713"/>
              <a:gd name="connsiteY41" fmla="*/ 475623 h 970339"/>
              <a:gd name="connsiteX42" fmla="*/ 733601 w 845713"/>
              <a:gd name="connsiteY42" fmla="*/ 475623 h 970339"/>
              <a:gd name="connsiteX43" fmla="*/ 728839 w 845713"/>
              <a:gd name="connsiteY43" fmla="*/ 482415 h 970339"/>
              <a:gd name="connsiteX44" fmla="*/ 728158 w 845713"/>
              <a:gd name="connsiteY44" fmla="*/ 482415 h 970339"/>
              <a:gd name="connsiteX45" fmla="*/ 727478 w 845713"/>
              <a:gd name="connsiteY45" fmla="*/ 482415 h 970339"/>
              <a:gd name="connsiteX46" fmla="*/ 726798 w 845713"/>
              <a:gd name="connsiteY46" fmla="*/ 490566 h 970339"/>
              <a:gd name="connsiteX47" fmla="*/ 728839 w 845713"/>
              <a:gd name="connsiteY47" fmla="*/ 498716 h 970339"/>
              <a:gd name="connsiteX48" fmla="*/ 729519 w 845713"/>
              <a:gd name="connsiteY48" fmla="*/ 504829 h 970339"/>
              <a:gd name="connsiteX49" fmla="*/ 729519 w 845713"/>
              <a:gd name="connsiteY49" fmla="*/ 514338 h 970339"/>
              <a:gd name="connsiteX50" fmla="*/ 728158 w 845713"/>
              <a:gd name="connsiteY50" fmla="*/ 525884 h 970339"/>
              <a:gd name="connsiteX51" fmla="*/ 726117 w 845713"/>
              <a:gd name="connsiteY51" fmla="*/ 533356 h 970339"/>
              <a:gd name="connsiteX52" fmla="*/ 724757 w 845713"/>
              <a:gd name="connsiteY52" fmla="*/ 544223 h 970339"/>
              <a:gd name="connsiteX53" fmla="*/ 726798 w 845713"/>
              <a:gd name="connsiteY53" fmla="*/ 546261 h 970339"/>
              <a:gd name="connsiteX54" fmla="*/ 726798 w 845713"/>
              <a:gd name="connsiteY54" fmla="*/ 546940 h 970339"/>
              <a:gd name="connsiteX55" fmla="*/ 727478 w 845713"/>
              <a:gd name="connsiteY55" fmla="*/ 546940 h 970339"/>
              <a:gd name="connsiteX56" fmla="*/ 722716 w 845713"/>
              <a:gd name="connsiteY56" fmla="*/ 547619 h 970339"/>
              <a:gd name="connsiteX57" fmla="*/ 715232 w 845713"/>
              <a:gd name="connsiteY57" fmla="*/ 556449 h 970339"/>
              <a:gd name="connsiteX58" fmla="*/ 709109 w 845713"/>
              <a:gd name="connsiteY58" fmla="*/ 548298 h 970339"/>
              <a:gd name="connsiteX59" fmla="*/ 707068 w 845713"/>
              <a:gd name="connsiteY59" fmla="*/ 548298 h 970339"/>
              <a:gd name="connsiteX60" fmla="*/ 702306 w 845713"/>
              <a:gd name="connsiteY60" fmla="*/ 532677 h 970339"/>
              <a:gd name="connsiteX61" fmla="*/ 699585 w 845713"/>
              <a:gd name="connsiteY61" fmla="*/ 525205 h 970339"/>
              <a:gd name="connsiteX62" fmla="*/ 695503 w 845713"/>
              <a:gd name="connsiteY62" fmla="*/ 519092 h 970339"/>
              <a:gd name="connsiteX63" fmla="*/ 687339 w 845713"/>
              <a:gd name="connsiteY63" fmla="*/ 498037 h 970339"/>
              <a:gd name="connsiteX64" fmla="*/ 685978 w 845713"/>
              <a:gd name="connsiteY64" fmla="*/ 493282 h 970339"/>
              <a:gd name="connsiteX65" fmla="*/ 684618 w 845713"/>
              <a:gd name="connsiteY65" fmla="*/ 492603 h 970339"/>
              <a:gd name="connsiteX66" fmla="*/ 681896 w 845713"/>
              <a:gd name="connsiteY66" fmla="*/ 490566 h 970339"/>
              <a:gd name="connsiteX67" fmla="*/ 681216 w 845713"/>
              <a:gd name="connsiteY67" fmla="*/ 490566 h 970339"/>
              <a:gd name="connsiteX68" fmla="*/ 677134 w 845713"/>
              <a:gd name="connsiteY68" fmla="*/ 483094 h 970339"/>
              <a:gd name="connsiteX69" fmla="*/ 675093 w 845713"/>
              <a:gd name="connsiteY69" fmla="*/ 477661 h 970339"/>
              <a:gd name="connsiteX70" fmla="*/ 672372 w 845713"/>
              <a:gd name="connsiteY70" fmla="*/ 469510 h 970339"/>
              <a:gd name="connsiteX71" fmla="*/ 668970 w 845713"/>
              <a:gd name="connsiteY71" fmla="*/ 460680 h 970339"/>
              <a:gd name="connsiteX72" fmla="*/ 667610 w 845713"/>
              <a:gd name="connsiteY72" fmla="*/ 459322 h 970339"/>
              <a:gd name="connsiteX73" fmla="*/ 667610 w 845713"/>
              <a:gd name="connsiteY73" fmla="*/ 456605 h 970339"/>
              <a:gd name="connsiteX74" fmla="*/ 665569 w 845713"/>
              <a:gd name="connsiteY74" fmla="*/ 451851 h 970339"/>
              <a:gd name="connsiteX75" fmla="*/ 662167 w 845713"/>
              <a:gd name="connsiteY75" fmla="*/ 443021 h 970339"/>
              <a:gd name="connsiteX76" fmla="*/ 661487 w 845713"/>
              <a:gd name="connsiteY76" fmla="*/ 434871 h 970339"/>
              <a:gd name="connsiteX77" fmla="*/ 659446 w 845713"/>
              <a:gd name="connsiteY77" fmla="*/ 429437 h 970339"/>
              <a:gd name="connsiteX78" fmla="*/ 658085 w 845713"/>
              <a:gd name="connsiteY78" fmla="*/ 422645 h 970339"/>
              <a:gd name="connsiteX79" fmla="*/ 656725 w 845713"/>
              <a:gd name="connsiteY79" fmla="*/ 419249 h 970339"/>
              <a:gd name="connsiteX80" fmla="*/ 654003 w 845713"/>
              <a:gd name="connsiteY80" fmla="*/ 417890 h 970339"/>
              <a:gd name="connsiteX81" fmla="*/ 649921 w 845713"/>
              <a:gd name="connsiteY81" fmla="*/ 431475 h 970339"/>
              <a:gd name="connsiteX82" fmla="*/ 645159 w 845713"/>
              <a:gd name="connsiteY82" fmla="*/ 433512 h 970339"/>
              <a:gd name="connsiteX83" fmla="*/ 637676 w 845713"/>
              <a:gd name="connsiteY83" fmla="*/ 426041 h 970339"/>
              <a:gd name="connsiteX84" fmla="*/ 633594 w 845713"/>
              <a:gd name="connsiteY84" fmla="*/ 419928 h 970339"/>
              <a:gd name="connsiteX85" fmla="*/ 636315 w 845713"/>
              <a:gd name="connsiteY85" fmla="*/ 415853 h 970339"/>
              <a:gd name="connsiteX86" fmla="*/ 639036 w 845713"/>
              <a:gd name="connsiteY86" fmla="*/ 413136 h 970339"/>
              <a:gd name="connsiteX87" fmla="*/ 635635 w 845713"/>
              <a:gd name="connsiteY87" fmla="*/ 413815 h 970339"/>
              <a:gd name="connsiteX88" fmla="*/ 627471 w 845713"/>
              <a:gd name="connsiteY88" fmla="*/ 409740 h 970339"/>
              <a:gd name="connsiteX89" fmla="*/ 624749 w 845713"/>
              <a:gd name="connsiteY89" fmla="*/ 408381 h 970339"/>
              <a:gd name="connsiteX90" fmla="*/ 624069 w 845713"/>
              <a:gd name="connsiteY90" fmla="*/ 403627 h 970339"/>
              <a:gd name="connsiteX91" fmla="*/ 615225 w 845713"/>
              <a:gd name="connsiteY91" fmla="*/ 402269 h 970339"/>
              <a:gd name="connsiteX92" fmla="*/ 613184 w 845713"/>
              <a:gd name="connsiteY92" fmla="*/ 395477 h 970339"/>
              <a:gd name="connsiteX93" fmla="*/ 608422 w 845713"/>
              <a:gd name="connsiteY93" fmla="*/ 394118 h 970339"/>
              <a:gd name="connsiteX94" fmla="*/ 606381 w 845713"/>
              <a:gd name="connsiteY94" fmla="*/ 388684 h 970339"/>
              <a:gd name="connsiteX95" fmla="*/ 596856 w 845713"/>
              <a:gd name="connsiteY95" fmla="*/ 389364 h 970339"/>
              <a:gd name="connsiteX96" fmla="*/ 592094 w 845713"/>
              <a:gd name="connsiteY96" fmla="*/ 389364 h 970339"/>
              <a:gd name="connsiteX97" fmla="*/ 588012 w 845713"/>
              <a:gd name="connsiteY97" fmla="*/ 389364 h 970339"/>
              <a:gd name="connsiteX98" fmla="*/ 584610 w 845713"/>
              <a:gd name="connsiteY98" fmla="*/ 391401 h 970339"/>
              <a:gd name="connsiteX99" fmla="*/ 579168 w 845713"/>
              <a:gd name="connsiteY99" fmla="*/ 392760 h 970339"/>
              <a:gd name="connsiteX100" fmla="*/ 560799 w 845713"/>
              <a:gd name="connsiteY100" fmla="*/ 391401 h 970339"/>
              <a:gd name="connsiteX101" fmla="*/ 549234 w 845713"/>
              <a:gd name="connsiteY101" fmla="*/ 388684 h 970339"/>
              <a:gd name="connsiteX102" fmla="*/ 536988 w 845713"/>
              <a:gd name="connsiteY102" fmla="*/ 379176 h 970339"/>
              <a:gd name="connsiteX103" fmla="*/ 521340 w 845713"/>
              <a:gd name="connsiteY103" fmla="*/ 380534 h 970339"/>
              <a:gd name="connsiteX104" fmla="*/ 519980 w 845713"/>
              <a:gd name="connsiteY104" fmla="*/ 380534 h 970339"/>
              <a:gd name="connsiteX105" fmla="*/ 511816 w 845713"/>
              <a:gd name="connsiteY105" fmla="*/ 379176 h 970339"/>
              <a:gd name="connsiteX106" fmla="*/ 505693 w 845713"/>
              <a:gd name="connsiteY106" fmla="*/ 375100 h 970339"/>
              <a:gd name="connsiteX107" fmla="*/ 503652 w 845713"/>
              <a:gd name="connsiteY107" fmla="*/ 371025 h 970339"/>
              <a:gd name="connsiteX108" fmla="*/ 494808 w 845713"/>
              <a:gd name="connsiteY108" fmla="*/ 368308 h 970339"/>
              <a:gd name="connsiteX109" fmla="*/ 492767 w 845713"/>
              <a:gd name="connsiteY109" fmla="*/ 364233 h 970339"/>
              <a:gd name="connsiteX110" fmla="*/ 485964 w 845713"/>
              <a:gd name="connsiteY110" fmla="*/ 356762 h 970339"/>
              <a:gd name="connsiteX111" fmla="*/ 472357 w 845713"/>
              <a:gd name="connsiteY111" fmla="*/ 344536 h 970339"/>
              <a:gd name="connsiteX112" fmla="*/ 464193 w 845713"/>
              <a:gd name="connsiteY112" fmla="*/ 347253 h 970339"/>
              <a:gd name="connsiteX113" fmla="*/ 466234 w 845713"/>
              <a:gd name="connsiteY113" fmla="*/ 350649 h 970339"/>
              <a:gd name="connsiteX114" fmla="*/ 464874 w 845713"/>
              <a:gd name="connsiteY114" fmla="*/ 354045 h 970339"/>
              <a:gd name="connsiteX115" fmla="*/ 472357 w 845713"/>
              <a:gd name="connsiteY115" fmla="*/ 362195 h 970339"/>
              <a:gd name="connsiteX116" fmla="*/ 477119 w 845713"/>
              <a:gd name="connsiteY116" fmla="*/ 370346 h 970339"/>
              <a:gd name="connsiteX117" fmla="*/ 479160 w 845713"/>
              <a:gd name="connsiteY117" fmla="*/ 373742 h 970339"/>
              <a:gd name="connsiteX118" fmla="*/ 485964 w 845713"/>
              <a:gd name="connsiteY118" fmla="*/ 377817 h 970339"/>
              <a:gd name="connsiteX119" fmla="*/ 486644 w 845713"/>
              <a:gd name="connsiteY119" fmla="*/ 381213 h 970339"/>
              <a:gd name="connsiteX120" fmla="*/ 488685 w 845713"/>
              <a:gd name="connsiteY120" fmla="*/ 383930 h 970339"/>
              <a:gd name="connsiteX121" fmla="*/ 488005 w 845713"/>
              <a:gd name="connsiteY121" fmla="*/ 385288 h 970339"/>
              <a:gd name="connsiteX122" fmla="*/ 487324 w 845713"/>
              <a:gd name="connsiteY122" fmla="*/ 385968 h 970339"/>
              <a:gd name="connsiteX123" fmla="*/ 490046 w 845713"/>
              <a:gd name="connsiteY123" fmla="*/ 392080 h 970339"/>
              <a:gd name="connsiteX124" fmla="*/ 492767 w 845713"/>
              <a:gd name="connsiteY124" fmla="*/ 397514 h 970339"/>
              <a:gd name="connsiteX125" fmla="*/ 494808 w 845713"/>
              <a:gd name="connsiteY125" fmla="*/ 394118 h 970339"/>
              <a:gd name="connsiteX126" fmla="*/ 495488 w 845713"/>
              <a:gd name="connsiteY126" fmla="*/ 392080 h 970339"/>
              <a:gd name="connsiteX127" fmla="*/ 494128 w 845713"/>
              <a:gd name="connsiteY127" fmla="*/ 389364 h 970339"/>
              <a:gd name="connsiteX128" fmla="*/ 494128 w 845713"/>
              <a:gd name="connsiteY128" fmla="*/ 387326 h 970339"/>
              <a:gd name="connsiteX129" fmla="*/ 496168 w 845713"/>
              <a:gd name="connsiteY129" fmla="*/ 384609 h 970339"/>
              <a:gd name="connsiteX130" fmla="*/ 499570 w 845713"/>
              <a:gd name="connsiteY130" fmla="*/ 392080 h 970339"/>
              <a:gd name="connsiteX131" fmla="*/ 499570 w 845713"/>
              <a:gd name="connsiteY131" fmla="*/ 395477 h 970339"/>
              <a:gd name="connsiteX132" fmla="*/ 498209 w 845713"/>
              <a:gd name="connsiteY132" fmla="*/ 398193 h 970339"/>
              <a:gd name="connsiteX133" fmla="*/ 498890 w 845713"/>
              <a:gd name="connsiteY133" fmla="*/ 399552 h 970339"/>
              <a:gd name="connsiteX134" fmla="*/ 499570 w 845713"/>
              <a:gd name="connsiteY134" fmla="*/ 400910 h 970339"/>
              <a:gd name="connsiteX135" fmla="*/ 504332 w 845713"/>
              <a:gd name="connsiteY135" fmla="*/ 402269 h 970339"/>
              <a:gd name="connsiteX136" fmla="*/ 513177 w 845713"/>
              <a:gd name="connsiteY136" fmla="*/ 403627 h 970339"/>
              <a:gd name="connsiteX137" fmla="*/ 520660 w 845713"/>
              <a:gd name="connsiteY137" fmla="*/ 402948 h 970339"/>
              <a:gd name="connsiteX138" fmla="*/ 527463 w 845713"/>
              <a:gd name="connsiteY138" fmla="*/ 393439 h 970339"/>
              <a:gd name="connsiteX139" fmla="*/ 532226 w 845713"/>
              <a:gd name="connsiteY139" fmla="*/ 382572 h 970339"/>
              <a:gd name="connsiteX140" fmla="*/ 534947 w 845713"/>
              <a:gd name="connsiteY140" fmla="*/ 381213 h 970339"/>
              <a:gd name="connsiteX141" fmla="*/ 533586 w 845713"/>
              <a:gd name="connsiteY141" fmla="*/ 388684 h 970339"/>
              <a:gd name="connsiteX142" fmla="*/ 536307 w 845713"/>
              <a:gd name="connsiteY142" fmla="*/ 395477 h 970339"/>
              <a:gd name="connsiteX143" fmla="*/ 551275 w 845713"/>
              <a:gd name="connsiteY143" fmla="*/ 407702 h 970339"/>
              <a:gd name="connsiteX144" fmla="*/ 558758 w 845713"/>
              <a:gd name="connsiteY144" fmla="*/ 409061 h 970339"/>
              <a:gd name="connsiteX145" fmla="*/ 562840 w 845713"/>
              <a:gd name="connsiteY145" fmla="*/ 414494 h 970339"/>
              <a:gd name="connsiteX146" fmla="*/ 562840 w 845713"/>
              <a:gd name="connsiteY146" fmla="*/ 415174 h 970339"/>
              <a:gd name="connsiteX147" fmla="*/ 564881 w 845713"/>
              <a:gd name="connsiteY147" fmla="*/ 426720 h 970339"/>
              <a:gd name="connsiteX148" fmla="*/ 562840 w 845713"/>
              <a:gd name="connsiteY148" fmla="*/ 432833 h 970339"/>
              <a:gd name="connsiteX149" fmla="*/ 559438 w 845713"/>
              <a:gd name="connsiteY149" fmla="*/ 437587 h 970339"/>
              <a:gd name="connsiteX150" fmla="*/ 555357 w 845713"/>
              <a:gd name="connsiteY150" fmla="*/ 437587 h 970339"/>
              <a:gd name="connsiteX151" fmla="*/ 555357 w 845713"/>
              <a:gd name="connsiteY151" fmla="*/ 444379 h 970339"/>
              <a:gd name="connsiteX152" fmla="*/ 557397 w 845713"/>
              <a:gd name="connsiteY152" fmla="*/ 451172 h 970339"/>
              <a:gd name="connsiteX153" fmla="*/ 550594 w 845713"/>
              <a:gd name="connsiteY153" fmla="*/ 454568 h 970339"/>
              <a:gd name="connsiteX154" fmla="*/ 549234 w 845713"/>
              <a:gd name="connsiteY154" fmla="*/ 462718 h 970339"/>
              <a:gd name="connsiteX155" fmla="*/ 541750 w 845713"/>
              <a:gd name="connsiteY155" fmla="*/ 464077 h 970339"/>
              <a:gd name="connsiteX156" fmla="*/ 534267 w 845713"/>
              <a:gd name="connsiteY156" fmla="*/ 473585 h 970339"/>
              <a:gd name="connsiteX157" fmla="*/ 530185 w 845713"/>
              <a:gd name="connsiteY157" fmla="*/ 476302 h 970339"/>
              <a:gd name="connsiteX158" fmla="*/ 521340 w 845713"/>
              <a:gd name="connsiteY158" fmla="*/ 479698 h 970339"/>
              <a:gd name="connsiteX159" fmla="*/ 519980 w 845713"/>
              <a:gd name="connsiteY159" fmla="*/ 487849 h 970339"/>
              <a:gd name="connsiteX160" fmla="*/ 516578 w 845713"/>
              <a:gd name="connsiteY160" fmla="*/ 489886 h 970339"/>
              <a:gd name="connsiteX161" fmla="*/ 508414 w 845713"/>
              <a:gd name="connsiteY161" fmla="*/ 491924 h 970339"/>
              <a:gd name="connsiteX162" fmla="*/ 499570 w 845713"/>
              <a:gd name="connsiteY162" fmla="*/ 495320 h 970339"/>
              <a:gd name="connsiteX163" fmla="*/ 498209 w 845713"/>
              <a:gd name="connsiteY163" fmla="*/ 495999 h 970339"/>
              <a:gd name="connsiteX164" fmla="*/ 497529 w 845713"/>
              <a:gd name="connsiteY164" fmla="*/ 496679 h 970339"/>
              <a:gd name="connsiteX165" fmla="*/ 495488 w 845713"/>
              <a:gd name="connsiteY165" fmla="*/ 501433 h 970339"/>
              <a:gd name="connsiteX166" fmla="*/ 486644 w 845713"/>
              <a:gd name="connsiteY166" fmla="*/ 504150 h 970339"/>
              <a:gd name="connsiteX167" fmla="*/ 486644 w 845713"/>
              <a:gd name="connsiteY167" fmla="*/ 504829 h 970339"/>
              <a:gd name="connsiteX168" fmla="*/ 485964 w 845713"/>
              <a:gd name="connsiteY168" fmla="*/ 504829 h 970339"/>
              <a:gd name="connsiteX169" fmla="*/ 479841 w 845713"/>
              <a:gd name="connsiteY169" fmla="*/ 508904 h 970339"/>
              <a:gd name="connsiteX170" fmla="*/ 472357 w 845713"/>
              <a:gd name="connsiteY170" fmla="*/ 508225 h 970339"/>
              <a:gd name="connsiteX171" fmla="*/ 471677 w 845713"/>
              <a:gd name="connsiteY171" fmla="*/ 509583 h 970339"/>
              <a:gd name="connsiteX172" fmla="*/ 470997 w 845713"/>
              <a:gd name="connsiteY172" fmla="*/ 509583 h 970339"/>
              <a:gd name="connsiteX173" fmla="*/ 467595 w 845713"/>
              <a:gd name="connsiteY173" fmla="*/ 513659 h 970339"/>
              <a:gd name="connsiteX174" fmla="*/ 461472 w 845713"/>
              <a:gd name="connsiteY174" fmla="*/ 514338 h 970339"/>
              <a:gd name="connsiteX175" fmla="*/ 456029 w 845713"/>
              <a:gd name="connsiteY175" fmla="*/ 513659 h 970339"/>
              <a:gd name="connsiteX176" fmla="*/ 449226 w 845713"/>
              <a:gd name="connsiteY176" fmla="*/ 491924 h 970339"/>
              <a:gd name="connsiteX177" fmla="*/ 448546 w 845713"/>
              <a:gd name="connsiteY177" fmla="*/ 479698 h 970339"/>
              <a:gd name="connsiteX178" fmla="*/ 443784 w 845713"/>
              <a:gd name="connsiteY178" fmla="*/ 474265 h 970339"/>
              <a:gd name="connsiteX179" fmla="*/ 439021 w 845713"/>
              <a:gd name="connsiteY179" fmla="*/ 464756 h 970339"/>
              <a:gd name="connsiteX180" fmla="*/ 433579 w 845713"/>
              <a:gd name="connsiteY180" fmla="*/ 457964 h 970339"/>
              <a:gd name="connsiteX181" fmla="*/ 431538 w 845713"/>
              <a:gd name="connsiteY181" fmla="*/ 451851 h 970339"/>
              <a:gd name="connsiteX182" fmla="*/ 417251 w 845713"/>
              <a:gd name="connsiteY182" fmla="*/ 432833 h 970339"/>
              <a:gd name="connsiteX183" fmla="*/ 413169 w 845713"/>
              <a:gd name="connsiteY183" fmla="*/ 426041 h 970339"/>
              <a:gd name="connsiteX184" fmla="*/ 409087 w 845713"/>
              <a:gd name="connsiteY184" fmla="*/ 413136 h 970339"/>
              <a:gd name="connsiteX185" fmla="*/ 402964 w 845713"/>
              <a:gd name="connsiteY185" fmla="*/ 404985 h 970339"/>
              <a:gd name="connsiteX186" fmla="*/ 396161 w 845713"/>
              <a:gd name="connsiteY186" fmla="*/ 394797 h 970339"/>
              <a:gd name="connsiteX187" fmla="*/ 392079 w 845713"/>
              <a:gd name="connsiteY187" fmla="*/ 390043 h 970339"/>
              <a:gd name="connsiteX188" fmla="*/ 391399 w 845713"/>
              <a:gd name="connsiteY188" fmla="*/ 386647 h 970339"/>
              <a:gd name="connsiteX189" fmla="*/ 388678 w 845713"/>
              <a:gd name="connsiteY189" fmla="*/ 383930 h 970339"/>
              <a:gd name="connsiteX190" fmla="*/ 383915 w 845713"/>
              <a:gd name="connsiteY190" fmla="*/ 377817 h 970339"/>
              <a:gd name="connsiteX191" fmla="*/ 383235 w 845713"/>
              <a:gd name="connsiteY191" fmla="*/ 375100 h 970339"/>
              <a:gd name="connsiteX192" fmla="*/ 381874 w 845713"/>
              <a:gd name="connsiteY192" fmla="*/ 373063 h 970339"/>
              <a:gd name="connsiteX193" fmla="*/ 379833 w 845713"/>
              <a:gd name="connsiteY193" fmla="*/ 369667 h 970339"/>
              <a:gd name="connsiteX194" fmla="*/ 374391 w 845713"/>
              <a:gd name="connsiteY194" fmla="*/ 368308 h 970339"/>
              <a:gd name="connsiteX195" fmla="*/ 374391 w 845713"/>
              <a:gd name="connsiteY195" fmla="*/ 356762 h 970339"/>
              <a:gd name="connsiteX196" fmla="*/ 373710 w 845713"/>
              <a:gd name="connsiteY196" fmla="*/ 354045 h 970339"/>
              <a:gd name="connsiteX197" fmla="*/ 373030 w 845713"/>
              <a:gd name="connsiteY197" fmla="*/ 356762 h 970339"/>
              <a:gd name="connsiteX198" fmla="*/ 373030 w 845713"/>
              <a:gd name="connsiteY198" fmla="*/ 368987 h 970339"/>
              <a:gd name="connsiteX199" fmla="*/ 366907 w 845713"/>
              <a:gd name="connsiteY199" fmla="*/ 366950 h 970339"/>
              <a:gd name="connsiteX200" fmla="*/ 362145 w 845713"/>
              <a:gd name="connsiteY200" fmla="*/ 358120 h 970339"/>
              <a:gd name="connsiteX201" fmla="*/ 358063 w 845713"/>
              <a:gd name="connsiteY201" fmla="*/ 351328 h 970339"/>
              <a:gd name="connsiteX202" fmla="*/ 358743 w 845713"/>
              <a:gd name="connsiteY202" fmla="*/ 360837 h 970339"/>
              <a:gd name="connsiteX203" fmla="*/ 369629 w 845713"/>
              <a:gd name="connsiteY203" fmla="*/ 374421 h 970339"/>
              <a:gd name="connsiteX204" fmla="*/ 373030 w 845713"/>
              <a:gd name="connsiteY204" fmla="*/ 383251 h 970339"/>
              <a:gd name="connsiteX205" fmla="*/ 377792 w 845713"/>
              <a:gd name="connsiteY205" fmla="*/ 393439 h 970339"/>
              <a:gd name="connsiteX206" fmla="*/ 387317 w 845713"/>
              <a:gd name="connsiteY206" fmla="*/ 407702 h 970339"/>
              <a:gd name="connsiteX207" fmla="*/ 385276 w 845713"/>
              <a:gd name="connsiteY207" fmla="*/ 408381 h 970339"/>
              <a:gd name="connsiteX208" fmla="*/ 387317 w 845713"/>
              <a:gd name="connsiteY208" fmla="*/ 411778 h 970339"/>
              <a:gd name="connsiteX209" fmla="*/ 390038 w 845713"/>
              <a:gd name="connsiteY209" fmla="*/ 419249 h 970339"/>
              <a:gd name="connsiteX210" fmla="*/ 398882 w 845713"/>
              <a:gd name="connsiteY210" fmla="*/ 429437 h 970339"/>
              <a:gd name="connsiteX211" fmla="*/ 400923 w 845713"/>
              <a:gd name="connsiteY211" fmla="*/ 433512 h 970339"/>
              <a:gd name="connsiteX212" fmla="*/ 400923 w 845713"/>
              <a:gd name="connsiteY212" fmla="*/ 439625 h 970339"/>
              <a:gd name="connsiteX213" fmla="*/ 404325 w 845713"/>
              <a:gd name="connsiteY213" fmla="*/ 452530 h 970339"/>
              <a:gd name="connsiteX214" fmla="*/ 416571 w 845713"/>
              <a:gd name="connsiteY214" fmla="*/ 468831 h 970339"/>
              <a:gd name="connsiteX215" fmla="*/ 419972 w 845713"/>
              <a:gd name="connsiteY215" fmla="*/ 479019 h 970339"/>
              <a:gd name="connsiteX216" fmla="*/ 423374 w 845713"/>
              <a:gd name="connsiteY216" fmla="*/ 487170 h 970339"/>
              <a:gd name="connsiteX217" fmla="*/ 426095 w 845713"/>
              <a:gd name="connsiteY217" fmla="*/ 488528 h 970339"/>
              <a:gd name="connsiteX218" fmla="*/ 428136 w 845713"/>
              <a:gd name="connsiteY218" fmla="*/ 491924 h 970339"/>
              <a:gd name="connsiteX219" fmla="*/ 436300 w 845713"/>
              <a:gd name="connsiteY219" fmla="*/ 495999 h 970339"/>
              <a:gd name="connsiteX220" fmla="*/ 439702 w 845713"/>
              <a:gd name="connsiteY220" fmla="*/ 500754 h 970339"/>
              <a:gd name="connsiteX221" fmla="*/ 453308 w 845713"/>
              <a:gd name="connsiteY221" fmla="*/ 513659 h 970339"/>
              <a:gd name="connsiteX222" fmla="*/ 453308 w 845713"/>
              <a:gd name="connsiteY222" fmla="*/ 514338 h 970339"/>
              <a:gd name="connsiteX223" fmla="*/ 455349 w 845713"/>
              <a:gd name="connsiteY223" fmla="*/ 520451 h 970339"/>
              <a:gd name="connsiteX224" fmla="*/ 450587 w 845713"/>
              <a:gd name="connsiteY224" fmla="*/ 525884 h 970339"/>
              <a:gd name="connsiteX225" fmla="*/ 456710 w 845713"/>
              <a:gd name="connsiteY225" fmla="*/ 527243 h 970339"/>
              <a:gd name="connsiteX226" fmla="*/ 463513 w 845713"/>
              <a:gd name="connsiteY226" fmla="*/ 534035 h 970339"/>
              <a:gd name="connsiteX227" fmla="*/ 475759 w 845713"/>
              <a:gd name="connsiteY227" fmla="*/ 532677 h 970339"/>
              <a:gd name="connsiteX228" fmla="*/ 485964 w 845713"/>
              <a:gd name="connsiteY228" fmla="*/ 527922 h 970339"/>
              <a:gd name="connsiteX229" fmla="*/ 488005 w 845713"/>
              <a:gd name="connsiteY229" fmla="*/ 527922 h 970339"/>
              <a:gd name="connsiteX230" fmla="*/ 488005 w 845713"/>
              <a:gd name="connsiteY230" fmla="*/ 528601 h 970339"/>
              <a:gd name="connsiteX231" fmla="*/ 494808 w 845713"/>
              <a:gd name="connsiteY231" fmla="*/ 527922 h 970339"/>
              <a:gd name="connsiteX232" fmla="*/ 499570 w 845713"/>
              <a:gd name="connsiteY232" fmla="*/ 528601 h 970339"/>
              <a:gd name="connsiteX233" fmla="*/ 506373 w 845713"/>
              <a:gd name="connsiteY233" fmla="*/ 525884 h 970339"/>
              <a:gd name="connsiteX234" fmla="*/ 511136 w 845713"/>
              <a:gd name="connsiteY234" fmla="*/ 521809 h 970339"/>
              <a:gd name="connsiteX235" fmla="*/ 511816 w 845713"/>
              <a:gd name="connsiteY235" fmla="*/ 521809 h 970339"/>
              <a:gd name="connsiteX236" fmla="*/ 514537 w 845713"/>
              <a:gd name="connsiteY236" fmla="*/ 521130 h 970339"/>
              <a:gd name="connsiteX237" fmla="*/ 517258 w 845713"/>
              <a:gd name="connsiteY237" fmla="*/ 527922 h 970339"/>
              <a:gd name="connsiteX238" fmla="*/ 515898 w 845713"/>
              <a:gd name="connsiteY238" fmla="*/ 534714 h 970339"/>
              <a:gd name="connsiteX239" fmla="*/ 515218 w 845713"/>
              <a:gd name="connsiteY239" fmla="*/ 535393 h 970339"/>
              <a:gd name="connsiteX240" fmla="*/ 513857 w 845713"/>
              <a:gd name="connsiteY240" fmla="*/ 542185 h 970339"/>
              <a:gd name="connsiteX241" fmla="*/ 511136 w 845713"/>
              <a:gd name="connsiteY241" fmla="*/ 554411 h 970339"/>
              <a:gd name="connsiteX242" fmla="*/ 505013 w 845713"/>
              <a:gd name="connsiteY242" fmla="*/ 559166 h 970339"/>
              <a:gd name="connsiteX243" fmla="*/ 507054 w 845713"/>
              <a:gd name="connsiteY243" fmla="*/ 559845 h 970339"/>
              <a:gd name="connsiteX244" fmla="*/ 503652 w 845713"/>
              <a:gd name="connsiteY244" fmla="*/ 565279 h 970339"/>
              <a:gd name="connsiteX245" fmla="*/ 499570 w 845713"/>
              <a:gd name="connsiteY245" fmla="*/ 580221 h 970339"/>
              <a:gd name="connsiteX246" fmla="*/ 495488 w 845713"/>
              <a:gd name="connsiteY246" fmla="*/ 588372 h 970339"/>
              <a:gd name="connsiteX247" fmla="*/ 489365 w 845713"/>
              <a:gd name="connsiteY247" fmla="*/ 600597 h 970339"/>
              <a:gd name="connsiteX248" fmla="*/ 479160 w 845713"/>
              <a:gd name="connsiteY248" fmla="*/ 614182 h 970339"/>
              <a:gd name="connsiteX249" fmla="*/ 472357 w 845713"/>
              <a:gd name="connsiteY249" fmla="*/ 620974 h 970339"/>
              <a:gd name="connsiteX250" fmla="*/ 467595 w 845713"/>
              <a:gd name="connsiteY250" fmla="*/ 623011 h 970339"/>
              <a:gd name="connsiteX251" fmla="*/ 460792 w 845713"/>
              <a:gd name="connsiteY251" fmla="*/ 631841 h 970339"/>
              <a:gd name="connsiteX252" fmla="*/ 455349 w 845713"/>
              <a:gd name="connsiteY252" fmla="*/ 639991 h 970339"/>
              <a:gd name="connsiteX253" fmla="*/ 447185 w 845713"/>
              <a:gd name="connsiteY253" fmla="*/ 653576 h 970339"/>
              <a:gd name="connsiteX254" fmla="*/ 443784 w 845713"/>
              <a:gd name="connsiteY254" fmla="*/ 659009 h 970339"/>
              <a:gd name="connsiteX255" fmla="*/ 439702 w 845713"/>
              <a:gd name="connsiteY255" fmla="*/ 663764 h 970339"/>
              <a:gd name="connsiteX256" fmla="*/ 433579 w 845713"/>
              <a:gd name="connsiteY256" fmla="*/ 666481 h 970339"/>
              <a:gd name="connsiteX257" fmla="*/ 433579 w 845713"/>
              <a:gd name="connsiteY257" fmla="*/ 671235 h 970339"/>
              <a:gd name="connsiteX258" fmla="*/ 430177 w 845713"/>
              <a:gd name="connsiteY258" fmla="*/ 678706 h 970339"/>
              <a:gd name="connsiteX259" fmla="*/ 426095 w 845713"/>
              <a:gd name="connsiteY259" fmla="*/ 683461 h 970339"/>
              <a:gd name="connsiteX260" fmla="*/ 423374 w 845713"/>
              <a:gd name="connsiteY260" fmla="*/ 701120 h 970339"/>
              <a:gd name="connsiteX261" fmla="*/ 423374 w 845713"/>
              <a:gd name="connsiteY261" fmla="*/ 701799 h 970339"/>
              <a:gd name="connsiteX262" fmla="*/ 424054 w 845713"/>
              <a:gd name="connsiteY262" fmla="*/ 703158 h 970339"/>
              <a:gd name="connsiteX263" fmla="*/ 424735 w 845713"/>
              <a:gd name="connsiteY263" fmla="*/ 703837 h 970339"/>
              <a:gd name="connsiteX264" fmla="*/ 426095 w 845713"/>
              <a:gd name="connsiteY264" fmla="*/ 698403 h 970339"/>
              <a:gd name="connsiteX265" fmla="*/ 427456 w 845713"/>
              <a:gd name="connsiteY265" fmla="*/ 703158 h 970339"/>
              <a:gd name="connsiteX266" fmla="*/ 425415 w 845713"/>
              <a:gd name="connsiteY266" fmla="*/ 704516 h 970339"/>
              <a:gd name="connsiteX267" fmla="*/ 424735 w 845713"/>
              <a:gd name="connsiteY267" fmla="*/ 704516 h 970339"/>
              <a:gd name="connsiteX268" fmla="*/ 426095 w 845713"/>
              <a:gd name="connsiteY268" fmla="*/ 713346 h 970339"/>
              <a:gd name="connsiteX269" fmla="*/ 427456 w 845713"/>
              <a:gd name="connsiteY269" fmla="*/ 716742 h 970339"/>
              <a:gd name="connsiteX270" fmla="*/ 426095 w 845713"/>
              <a:gd name="connsiteY270" fmla="*/ 724892 h 970339"/>
              <a:gd name="connsiteX271" fmla="*/ 427456 w 845713"/>
              <a:gd name="connsiteY271" fmla="*/ 730326 h 970339"/>
              <a:gd name="connsiteX272" fmla="*/ 428817 w 845713"/>
              <a:gd name="connsiteY272" fmla="*/ 737797 h 970339"/>
              <a:gd name="connsiteX273" fmla="*/ 433579 w 845713"/>
              <a:gd name="connsiteY273" fmla="*/ 743231 h 970339"/>
              <a:gd name="connsiteX274" fmla="*/ 434259 w 845713"/>
              <a:gd name="connsiteY274" fmla="*/ 743231 h 970339"/>
              <a:gd name="connsiteX275" fmla="*/ 432899 w 845713"/>
              <a:gd name="connsiteY275" fmla="*/ 751382 h 970339"/>
              <a:gd name="connsiteX276" fmla="*/ 432899 w 845713"/>
              <a:gd name="connsiteY276" fmla="*/ 760890 h 970339"/>
              <a:gd name="connsiteX277" fmla="*/ 430177 w 845713"/>
              <a:gd name="connsiteY277" fmla="*/ 777871 h 970339"/>
              <a:gd name="connsiteX278" fmla="*/ 432218 w 845713"/>
              <a:gd name="connsiteY278" fmla="*/ 779229 h 970339"/>
              <a:gd name="connsiteX279" fmla="*/ 432899 w 845713"/>
              <a:gd name="connsiteY279" fmla="*/ 779908 h 970339"/>
              <a:gd name="connsiteX280" fmla="*/ 428136 w 845713"/>
              <a:gd name="connsiteY280" fmla="*/ 792134 h 970339"/>
              <a:gd name="connsiteX281" fmla="*/ 419972 w 845713"/>
              <a:gd name="connsiteY281" fmla="*/ 801643 h 970339"/>
              <a:gd name="connsiteX282" fmla="*/ 419292 w 845713"/>
              <a:gd name="connsiteY282" fmla="*/ 805718 h 970339"/>
              <a:gd name="connsiteX283" fmla="*/ 414530 w 845713"/>
              <a:gd name="connsiteY283" fmla="*/ 807077 h 970339"/>
              <a:gd name="connsiteX284" fmla="*/ 408407 w 845713"/>
              <a:gd name="connsiteY284" fmla="*/ 809114 h 970339"/>
              <a:gd name="connsiteX285" fmla="*/ 402964 w 845713"/>
              <a:gd name="connsiteY285" fmla="*/ 813869 h 970339"/>
              <a:gd name="connsiteX286" fmla="*/ 394800 w 845713"/>
              <a:gd name="connsiteY286" fmla="*/ 824736 h 970339"/>
              <a:gd name="connsiteX287" fmla="*/ 385956 w 845713"/>
              <a:gd name="connsiteY287" fmla="*/ 831528 h 970339"/>
              <a:gd name="connsiteX288" fmla="*/ 383915 w 845713"/>
              <a:gd name="connsiteY288" fmla="*/ 843075 h 970339"/>
              <a:gd name="connsiteX289" fmla="*/ 385276 w 845713"/>
              <a:gd name="connsiteY289" fmla="*/ 854621 h 970339"/>
              <a:gd name="connsiteX290" fmla="*/ 385956 w 845713"/>
              <a:gd name="connsiteY290" fmla="*/ 854621 h 970339"/>
              <a:gd name="connsiteX291" fmla="*/ 386637 w 845713"/>
              <a:gd name="connsiteY291" fmla="*/ 854621 h 970339"/>
              <a:gd name="connsiteX292" fmla="*/ 385956 w 845713"/>
              <a:gd name="connsiteY292" fmla="*/ 863451 h 970339"/>
              <a:gd name="connsiteX293" fmla="*/ 378473 w 845713"/>
              <a:gd name="connsiteY293" fmla="*/ 880431 h 970339"/>
              <a:gd name="connsiteX294" fmla="*/ 362825 w 845713"/>
              <a:gd name="connsiteY294" fmla="*/ 893336 h 970339"/>
              <a:gd name="connsiteX295" fmla="*/ 366227 w 845713"/>
              <a:gd name="connsiteY295" fmla="*/ 891978 h 970339"/>
              <a:gd name="connsiteX296" fmla="*/ 362145 w 845713"/>
              <a:gd name="connsiteY296" fmla="*/ 900807 h 970339"/>
              <a:gd name="connsiteX297" fmla="*/ 358063 w 845713"/>
              <a:gd name="connsiteY297" fmla="*/ 915071 h 970339"/>
              <a:gd name="connsiteX298" fmla="*/ 349899 w 845713"/>
              <a:gd name="connsiteY298" fmla="*/ 921863 h 970339"/>
              <a:gd name="connsiteX299" fmla="*/ 345137 w 845713"/>
              <a:gd name="connsiteY299" fmla="*/ 928655 h 970339"/>
              <a:gd name="connsiteX300" fmla="*/ 338334 w 845713"/>
              <a:gd name="connsiteY300" fmla="*/ 939522 h 970339"/>
              <a:gd name="connsiteX301" fmla="*/ 324047 w 845713"/>
              <a:gd name="connsiteY301" fmla="*/ 954465 h 970339"/>
              <a:gd name="connsiteX302" fmla="*/ 298875 w 845713"/>
              <a:gd name="connsiteY302" fmla="*/ 963294 h 970339"/>
              <a:gd name="connsiteX303" fmla="*/ 298195 w 845713"/>
              <a:gd name="connsiteY303" fmla="*/ 965332 h 970339"/>
              <a:gd name="connsiteX304" fmla="*/ 289351 w 845713"/>
              <a:gd name="connsiteY304" fmla="*/ 964653 h 970339"/>
              <a:gd name="connsiteX305" fmla="*/ 281867 w 845713"/>
              <a:gd name="connsiteY305" fmla="*/ 964653 h 970339"/>
              <a:gd name="connsiteX306" fmla="*/ 271662 w 845713"/>
              <a:gd name="connsiteY306" fmla="*/ 966690 h 970339"/>
              <a:gd name="connsiteX307" fmla="*/ 268941 w 845713"/>
              <a:gd name="connsiteY307" fmla="*/ 967370 h 970339"/>
              <a:gd name="connsiteX308" fmla="*/ 260097 w 845713"/>
              <a:gd name="connsiteY308" fmla="*/ 968728 h 970339"/>
              <a:gd name="connsiteX309" fmla="*/ 258056 w 845713"/>
              <a:gd name="connsiteY309" fmla="*/ 965332 h 970339"/>
              <a:gd name="connsiteX310" fmla="*/ 253293 w 845713"/>
              <a:gd name="connsiteY310" fmla="*/ 959219 h 970339"/>
              <a:gd name="connsiteX311" fmla="*/ 251933 w 845713"/>
              <a:gd name="connsiteY311" fmla="*/ 953786 h 970339"/>
              <a:gd name="connsiteX312" fmla="*/ 250572 w 845713"/>
              <a:gd name="connsiteY312" fmla="*/ 951748 h 970339"/>
              <a:gd name="connsiteX313" fmla="*/ 251933 w 845713"/>
              <a:gd name="connsiteY313" fmla="*/ 949710 h 970339"/>
              <a:gd name="connsiteX314" fmla="*/ 250572 w 845713"/>
              <a:gd name="connsiteY314" fmla="*/ 934089 h 970339"/>
              <a:gd name="connsiteX315" fmla="*/ 245810 w 845713"/>
              <a:gd name="connsiteY315" fmla="*/ 913033 h 970339"/>
              <a:gd name="connsiteX316" fmla="*/ 238326 w 845713"/>
              <a:gd name="connsiteY316" fmla="*/ 903524 h 970339"/>
              <a:gd name="connsiteX317" fmla="*/ 235605 w 845713"/>
              <a:gd name="connsiteY317" fmla="*/ 889261 h 970339"/>
              <a:gd name="connsiteX318" fmla="*/ 235605 w 845713"/>
              <a:gd name="connsiteY318" fmla="*/ 888582 h 970339"/>
              <a:gd name="connsiteX319" fmla="*/ 234925 w 845713"/>
              <a:gd name="connsiteY319" fmla="*/ 887902 h 970339"/>
              <a:gd name="connsiteX320" fmla="*/ 235605 w 845713"/>
              <a:gd name="connsiteY320" fmla="*/ 881110 h 970339"/>
              <a:gd name="connsiteX321" fmla="*/ 233564 w 845713"/>
              <a:gd name="connsiteY321" fmla="*/ 874997 h 970339"/>
              <a:gd name="connsiteX322" fmla="*/ 234244 w 845713"/>
              <a:gd name="connsiteY322" fmla="*/ 869564 h 970339"/>
              <a:gd name="connsiteX323" fmla="*/ 233564 w 845713"/>
              <a:gd name="connsiteY323" fmla="*/ 864130 h 970339"/>
              <a:gd name="connsiteX324" fmla="*/ 233564 w 845713"/>
              <a:gd name="connsiteY324" fmla="*/ 853263 h 970339"/>
              <a:gd name="connsiteX325" fmla="*/ 227441 w 845713"/>
              <a:gd name="connsiteY325" fmla="*/ 845791 h 970339"/>
              <a:gd name="connsiteX326" fmla="*/ 227441 w 845713"/>
              <a:gd name="connsiteY326" fmla="*/ 836962 h 970339"/>
              <a:gd name="connsiteX327" fmla="*/ 225400 w 845713"/>
              <a:gd name="connsiteY327" fmla="*/ 829490 h 970339"/>
              <a:gd name="connsiteX328" fmla="*/ 223359 w 845713"/>
              <a:gd name="connsiteY328" fmla="*/ 824057 h 970339"/>
              <a:gd name="connsiteX329" fmla="*/ 215876 w 845713"/>
              <a:gd name="connsiteY329" fmla="*/ 815227 h 970339"/>
              <a:gd name="connsiteX330" fmla="*/ 215876 w 845713"/>
              <a:gd name="connsiteY330" fmla="*/ 806397 h 970339"/>
              <a:gd name="connsiteX331" fmla="*/ 216556 w 845713"/>
              <a:gd name="connsiteY331" fmla="*/ 793492 h 970339"/>
              <a:gd name="connsiteX332" fmla="*/ 220638 w 845713"/>
              <a:gd name="connsiteY332" fmla="*/ 783304 h 970339"/>
              <a:gd name="connsiteX333" fmla="*/ 221999 w 845713"/>
              <a:gd name="connsiteY333" fmla="*/ 771758 h 970339"/>
              <a:gd name="connsiteX334" fmla="*/ 224720 w 845713"/>
              <a:gd name="connsiteY334" fmla="*/ 762928 h 970339"/>
              <a:gd name="connsiteX335" fmla="*/ 231523 w 845713"/>
              <a:gd name="connsiteY335" fmla="*/ 749344 h 970339"/>
              <a:gd name="connsiteX336" fmla="*/ 226761 w 845713"/>
              <a:gd name="connsiteY336" fmla="*/ 732364 h 970339"/>
              <a:gd name="connsiteX337" fmla="*/ 226081 w 845713"/>
              <a:gd name="connsiteY337" fmla="*/ 726251 h 970339"/>
              <a:gd name="connsiteX338" fmla="*/ 228122 w 845713"/>
              <a:gd name="connsiteY338" fmla="*/ 722855 h 970339"/>
              <a:gd name="connsiteX339" fmla="*/ 228122 w 845713"/>
              <a:gd name="connsiteY339" fmla="*/ 713346 h 970339"/>
              <a:gd name="connsiteX340" fmla="*/ 226081 w 845713"/>
              <a:gd name="connsiteY340" fmla="*/ 697724 h 970339"/>
              <a:gd name="connsiteX341" fmla="*/ 213835 w 845713"/>
              <a:gd name="connsiteY341" fmla="*/ 678706 h 970339"/>
              <a:gd name="connsiteX342" fmla="*/ 209753 w 845713"/>
              <a:gd name="connsiteY342" fmla="*/ 672593 h 970339"/>
              <a:gd name="connsiteX343" fmla="*/ 201589 w 845713"/>
              <a:gd name="connsiteY343" fmla="*/ 665122 h 970339"/>
              <a:gd name="connsiteX344" fmla="*/ 200909 w 845713"/>
              <a:gd name="connsiteY344" fmla="*/ 662405 h 970339"/>
              <a:gd name="connsiteX345" fmla="*/ 197507 w 845713"/>
              <a:gd name="connsiteY345" fmla="*/ 652896 h 970339"/>
              <a:gd name="connsiteX346" fmla="*/ 195466 w 845713"/>
              <a:gd name="connsiteY346" fmla="*/ 646104 h 970339"/>
              <a:gd name="connsiteX347" fmla="*/ 196827 w 845713"/>
              <a:gd name="connsiteY347" fmla="*/ 636595 h 970339"/>
              <a:gd name="connsiteX348" fmla="*/ 202269 w 845713"/>
              <a:gd name="connsiteY348" fmla="*/ 635237 h 970339"/>
              <a:gd name="connsiteX349" fmla="*/ 200228 w 845713"/>
              <a:gd name="connsiteY349" fmla="*/ 628445 h 970339"/>
              <a:gd name="connsiteX350" fmla="*/ 198187 w 845713"/>
              <a:gd name="connsiteY350" fmla="*/ 626407 h 970339"/>
              <a:gd name="connsiteX351" fmla="*/ 200228 w 845713"/>
              <a:gd name="connsiteY351" fmla="*/ 620294 h 970339"/>
              <a:gd name="connsiteX352" fmla="*/ 202269 w 845713"/>
              <a:gd name="connsiteY352" fmla="*/ 614861 h 970339"/>
              <a:gd name="connsiteX353" fmla="*/ 201589 w 845713"/>
              <a:gd name="connsiteY353" fmla="*/ 610106 h 970339"/>
              <a:gd name="connsiteX354" fmla="*/ 201589 w 845713"/>
              <a:gd name="connsiteY354" fmla="*/ 604673 h 970339"/>
              <a:gd name="connsiteX355" fmla="*/ 200228 w 845713"/>
              <a:gd name="connsiteY355" fmla="*/ 597881 h 970339"/>
              <a:gd name="connsiteX356" fmla="*/ 195466 w 845713"/>
              <a:gd name="connsiteY356" fmla="*/ 595164 h 970339"/>
              <a:gd name="connsiteX357" fmla="*/ 188663 w 845713"/>
              <a:gd name="connsiteY357" fmla="*/ 591768 h 970339"/>
              <a:gd name="connsiteX358" fmla="*/ 183220 w 845713"/>
              <a:gd name="connsiteY358" fmla="*/ 593805 h 970339"/>
              <a:gd name="connsiteX359" fmla="*/ 175056 w 845713"/>
              <a:gd name="connsiteY359" fmla="*/ 594484 h 970339"/>
              <a:gd name="connsiteX360" fmla="*/ 166212 w 845713"/>
              <a:gd name="connsiteY360" fmla="*/ 587692 h 970339"/>
              <a:gd name="connsiteX361" fmla="*/ 166893 w 845713"/>
              <a:gd name="connsiteY361" fmla="*/ 583617 h 970339"/>
              <a:gd name="connsiteX362" fmla="*/ 166212 w 845713"/>
              <a:gd name="connsiteY362" fmla="*/ 579542 h 970339"/>
              <a:gd name="connsiteX363" fmla="*/ 160770 w 845713"/>
              <a:gd name="connsiteY363" fmla="*/ 576825 h 970339"/>
              <a:gd name="connsiteX364" fmla="*/ 155327 w 845713"/>
              <a:gd name="connsiteY364" fmla="*/ 576146 h 970339"/>
              <a:gd name="connsiteX365" fmla="*/ 160089 w 845713"/>
              <a:gd name="connsiteY365" fmla="*/ 574787 h 970339"/>
              <a:gd name="connsiteX366" fmla="*/ 152606 w 845713"/>
              <a:gd name="connsiteY366" fmla="*/ 574787 h 970339"/>
              <a:gd name="connsiteX367" fmla="*/ 143762 w 845713"/>
              <a:gd name="connsiteY367" fmla="*/ 577504 h 970339"/>
              <a:gd name="connsiteX368" fmla="*/ 127434 w 845713"/>
              <a:gd name="connsiteY368" fmla="*/ 583617 h 970339"/>
              <a:gd name="connsiteX369" fmla="*/ 113147 w 845713"/>
              <a:gd name="connsiteY369" fmla="*/ 591088 h 970339"/>
              <a:gd name="connsiteX370" fmla="*/ 103623 w 845713"/>
              <a:gd name="connsiteY370" fmla="*/ 585655 h 970339"/>
              <a:gd name="connsiteX371" fmla="*/ 91377 w 845713"/>
              <a:gd name="connsiteY371" fmla="*/ 587013 h 970339"/>
              <a:gd name="connsiteX372" fmla="*/ 64844 w 845713"/>
              <a:gd name="connsiteY372" fmla="*/ 593805 h 970339"/>
              <a:gd name="connsiteX373" fmla="*/ 51918 w 845713"/>
              <a:gd name="connsiteY373" fmla="*/ 583617 h 970339"/>
              <a:gd name="connsiteX374" fmla="*/ 44435 w 845713"/>
              <a:gd name="connsiteY374" fmla="*/ 578183 h 970339"/>
              <a:gd name="connsiteX375" fmla="*/ 39672 w 845713"/>
              <a:gd name="connsiteY375" fmla="*/ 571391 h 970339"/>
              <a:gd name="connsiteX376" fmla="*/ 35590 w 845713"/>
              <a:gd name="connsiteY376" fmla="*/ 567995 h 970339"/>
              <a:gd name="connsiteX377" fmla="*/ 32189 w 845713"/>
              <a:gd name="connsiteY377" fmla="*/ 562562 h 970339"/>
              <a:gd name="connsiteX378" fmla="*/ 26746 w 845713"/>
              <a:gd name="connsiteY378" fmla="*/ 558486 h 970339"/>
              <a:gd name="connsiteX379" fmla="*/ 25385 w 845713"/>
              <a:gd name="connsiteY379" fmla="*/ 546261 h 970339"/>
              <a:gd name="connsiteX380" fmla="*/ 17222 w 845713"/>
              <a:gd name="connsiteY380" fmla="*/ 538789 h 970339"/>
              <a:gd name="connsiteX381" fmla="*/ 15181 w 845713"/>
              <a:gd name="connsiteY381" fmla="*/ 531318 h 970339"/>
              <a:gd name="connsiteX382" fmla="*/ 6336 w 845713"/>
              <a:gd name="connsiteY382" fmla="*/ 524526 h 970339"/>
              <a:gd name="connsiteX383" fmla="*/ 4296 w 845713"/>
              <a:gd name="connsiteY383" fmla="*/ 519772 h 970339"/>
              <a:gd name="connsiteX384" fmla="*/ 894 w 845713"/>
              <a:gd name="connsiteY384" fmla="*/ 517734 h 970339"/>
              <a:gd name="connsiteX385" fmla="*/ 2255 w 845713"/>
              <a:gd name="connsiteY385" fmla="*/ 514338 h 970339"/>
              <a:gd name="connsiteX386" fmla="*/ 2935 w 845713"/>
              <a:gd name="connsiteY386" fmla="*/ 514338 h 970339"/>
              <a:gd name="connsiteX387" fmla="*/ 2255 w 845713"/>
              <a:gd name="connsiteY387" fmla="*/ 513659 h 970339"/>
              <a:gd name="connsiteX388" fmla="*/ 1574 w 845713"/>
              <a:gd name="connsiteY388" fmla="*/ 513659 h 970339"/>
              <a:gd name="connsiteX389" fmla="*/ 894 w 845713"/>
              <a:gd name="connsiteY389" fmla="*/ 512980 h 970339"/>
              <a:gd name="connsiteX390" fmla="*/ 2255 w 845713"/>
              <a:gd name="connsiteY390" fmla="*/ 504829 h 970339"/>
              <a:gd name="connsiteX391" fmla="*/ 894 w 845713"/>
              <a:gd name="connsiteY391" fmla="*/ 491924 h 970339"/>
              <a:gd name="connsiteX392" fmla="*/ 4976 w 845713"/>
              <a:gd name="connsiteY392" fmla="*/ 478340 h 970339"/>
              <a:gd name="connsiteX393" fmla="*/ 8377 w 845713"/>
              <a:gd name="connsiteY393" fmla="*/ 466793 h 970339"/>
              <a:gd name="connsiteX394" fmla="*/ 7017 w 845713"/>
              <a:gd name="connsiteY394" fmla="*/ 457284 h 970339"/>
              <a:gd name="connsiteX395" fmla="*/ 4296 w 845713"/>
              <a:gd name="connsiteY395" fmla="*/ 453209 h 970339"/>
              <a:gd name="connsiteX396" fmla="*/ 5656 w 845713"/>
              <a:gd name="connsiteY396" fmla="*/ 451172 h 970339"/>
              <a:gd name="connsiteX397" fmla="*/ 6336 w 845713"/>
              <a:gd name="connsiteY397" fmla="*/ 448455 h 970339"/>
              <a:gd name="connsiteX398" fmla="*/ 5656 w 845713"/>
              <a:gd name="connsiteY398" fmla="*/ 438946 h 970339"/>
              <a:gd name="connsiteX399" fmla="*/ 2935 w 845713"/>
              <a:gd name="connsiteY399" fmla="*/ 435550 h 970339"/>
              <a:gd name="connsiteX400" fmla="*/ 1574 w 845713"/>
              <a:gd name="connsiteY400" fmla="*/ 435550 h 970339"/>
              <a:gd name="connsiteX401" fmla="*/ 2935 w 845713"/>
              <a:gd name="connsiteY401" fmla="*/ 428758 h 970339"/>
              <a:gd name="connsiteX402" fmla="*/ 6336 w 845713"/>
              <a:gd name="connsiteY402" fmla="*/ 422645 h 970339"/>
              <a:gd name="connsiteX403" fmla="*/ 9058 w 845713"/>
              <a:gd name="connsiteY403" fmla="*/ 415174 h 970339"/>
              <a:gd name="connsiteX404" fmla="*/ 13140 w 845713"/>
              <a:gd name="connsiteY404" fmla="*/ 410419 h 970339"/>
              <a:gd name="connsiteX405" fmla="*/ 11779 w 845713"/>
              <a:gd name="connsiteY405" fmla="*/ 408381 h 970339"/>
              <a:gd name="connsiteX406" fmla="*/ 13820 w 845713"/>
              <a:gd name="connsiteY406" fmla="*/ 404306 h 970339"/>
              <a:gd name="connsiteX407" fmla="*/ 18582 w 845713"/>
              <a:gd name="connsiteY407" fmla="*/ 398873 h 970339"/>
              <a:gd name="connsiteX408" fmla="*/ 21984 w 845713"/>
              <a:gd name="connsiteY408" fmla="*/ 389364 h 970339"/>
              <a:gd name="connsiteX409" fmla="*/ 30148 w 845713"/>
              <a:gd name="connsiteY409" fmla="*/ 381892 h 970339"/>
              <a:gd name="connsiteX410" fmla="*/ 30828 w 845713"/>
              <a:gd name="connsiteY410" fmla="*/ 377817 h 970339"/>
              <a:gd name="connsiteX411" fmla="*/ 32869 w 845713"/>
              <a:gd name="connsiteY411" fmla="*/ 371704 h 970339"/>
              <a:gd name="connsiteX412" fmla="*/ 41713 w 845713"/>
              <a:gd name="connsiteY412" fmla="*/ 368987 h 970339"/>
              <a:gd name="connsiteX413" fmla="*/ 44435 w 845713"/>
              <a:gd name="connsiteY413" fmla="*/ 365591 h 970339"/>
              <a:gd name="connsiteX414" fmla="*/ 47836 w 845713"/>
              <a:gd name="connsiteY414" fmla="*/ 362875 h 970339"/>
              <a:gd name="connsiteX415" fmla="*/ 56680 w 845713"/>
              <a:gd name="connsiteY415" fmla="*/ 356082 h 970339"/>
              <a:gd name="connsiteX416" fmla="*/ 60082 w 845713"/>
              <a:gd name="connsiteY416" fmla="*/ 350649 h 970339"/>
              <a:gd name="connsiteX417" fmla="*/ 60082 w 845713"/>
              <a:gd name="connsiteY417" fmla="*/ 345215 h 970339"/>
              <a:gd name="connsiteX418" fmla="*/ 61443 w 845713"/>
              <a:gd name="connsiteY418" fmla="*/ 339781 h 970339"/>
              <a:gd name="connsiteX419" fmla="*/ 61443 w 845713"/>
              <a:gd name="connsiteY419" fmla="*/ 335706 h 970339"/>
              <a:gd name="connsiteX420" fmla="*/ 61443 w 845713"/>
              <a:gd name="connsiteY420" fmla="*/ 335027 h 970339"/>
              <a:gd name="connsiteX421" fmla="*/ 72328 w 845713"/>
              <a:gd name="connsiteY421" fmla="*/ 320764 h 970339"/>
              <a:gd name="connsiteX422" fmla="*/ 80492 w 845713"/>
              <a:gd name="connsiteY422" fmla="*/ 315330 h 970339"/>
              <a:gd name="connsiteX423" fmla="*/ 85254 w 845713"/>
              <a:gd name="connsiteY423" fmla="*/ 306500 h 970339"/>
              <a:gd name="connsiteX424" fmla="*/ 85934 w 845713"/>
              <a:gd name="connsiteY424" fmla="*/ 305821 h 970339"/>
              <a:gd name="connsiteX425" fmla="*/ 91377 w 845713"/>
              <a:gd name="connsiteY425" fmla="*/ 299708 h 970339"/>
              <a:gd name="connsiteX426" fmla="*/ 92057 w 845713"/>
              <a:gd name="connsiteY426" fmla="*/ 300387 h 970339"/>
              <a:gd name="connsiteX427" fmla="*/ 102942 w 845713"/>
              <a:gd name="connsiteY427" fmla="*/ 304463 h 970339"/>
              <a:gd name="connsiteX428" fmla="*/ 103623 w 845713"/>
              <a:gd name="connsiteY428" fmla="*/ 304463 h 970339"/>
              <a:gd name="connsiteX429" fmla="*/ 109745 w 845713"/>
              <a:gd name="connsiteY429" fmla="*/ 303104 h 970339"/>
              <a:gd name="connsiteX430" fmla="*/ 111106 w 845713"/>
              <a:gd name="connsiteY430" fmla="*/ 305142 h 970339"/>
              <a:gd name="connsiteX431" fmla="*/ 115188 w 845713"/>
              <a:gd name="connsiteY431" fmla="*/ 305142 h 970339"/>
              <a:gd name="connsiteX432" fmla="*/ 121311 w 845713"/>
              <a:gd name="connsiteY432" fmla="*/ 302425 h 970339"/>
              <a:gd name="connsiteX433" fmla="*/ 121991 w 845713"/>
              <a:gd name="connsiteY433" fmla="*/ 302425 h 970339"/>
              <a:gd name="connsiteX434" fmla="*/ 125393 w 845713"/>
              <a:gd name="connsiteY434" fmla="*/ 299029 h 970339"/>
              <a:gd name="connsiteX435" fmla="*/ 128794 w 845713"/>
              <a:gd name="connsiteY435" fmla="*/ 298350 h 970339"/>
              <a:gd name="connsiteX436" fmla="*/ 136958 w 845713"/>
              <a:gd name="connsiteY436" fmla="*/ 294275 h 970339"/>
              <a:gd name="connsiteX437" fmla="*/ 154647 w 845713"/>
              <a:gd name="connsiteY437" fmla="*/ 290878 h 970339"/>
              <a:gd name="connsiteX438" fmla="*/ 160089 w 845713"/>
              <a:gd name="connsiteY438" fmla="*/ 292916 h 970339"/>
              <a:gd name="connsiteX439" fmla="*/ 166212 w 845713"/>
              <a:gd name="connsiteY439" fmla="*/ 290878 h 970339"/>
              <a:gd name="connsiteX440" fmla="*/ 168253 w 845713"/>
              <a:gd name="connsiteY440" fmla="*/ 288162 h 970339"/>
              <a:gd name="connsiteX441" fmla="*/ 168933 w 845713"/>
              <a:gd name="connsiteY441" fmla="*/ 288162 h 970339"/>
              <a:gd name="connsiteX442" fmla="*/ 170294 w 845713"/>
              <a:gd name="connsiteY442" fmla="*/ 288841 h 970339"/>
              <a:gd name="connsiteX443" fmla="*/ 173696 w 845713"/>
              <a:gd name="connsiteY443" fmla="*/ 288841 h 970339"/>
              <a:gd name="connsiteX444" fmla="*/ 179138 w 845713"/>
              <a:gd name="connsiteY444" fmla="*/ 291558 h 970339"/>
              <a:gd name="connsiteX445" fmla="*/ 187983 w 845713"/>
              <a:gd name="connsiteY445" fmla="*/ 287482 h 970339"/>
              <a:gd name="connsiteX446" fmla="*/ 194105 w 845713"/>
              <a:gd name="connsiteY446" fmla="*/ 290199 h 970339"/>
              <a:gd name="connsiteX447" fmla="*/ 195466 w 845713"/>
              <a:gd name="connsiteY447" fmla="*/ 291558 h 970339"/>
              <a:gd name="connsiteX448" fmla="*/ 200909 w 845713"/>
              <a:gd name="connsiteY448" fmla="*/ 287482 h 970339"/>
              <a:gd name="connsiteX449" fmla="*/ 202950 w 845713"/>
              <a:gd name="connsiteY449" fmla="*/ 290199 h 970339"/>
              <a:gd name="connsiteX450" fmla="*/ 199548 w 845713"/>
              <a:gd name="connsiteY450" fmla="*/ 299708 h 970339"/>
              <a:gd name="connsiteX451" fmla="*/ 199548 w 845713"/>
              <a:gd name="connsiteY451" fmla="*/ 300387 h 970339"/>
              <a:gd name="connsiteX452" fmla="*/ 200228 w 845713"/>
              <a:gd name="connsiteY452" fmla="*/ 300387 h 970339"/>
              <a:gd name="connsiteX453" fmla="*/ 202269 w 845713"/>
              <a:gd name="connsiteY453" fmla="*/ 302425 h 970339"/>
              <a:gd name="connsiteX454" fmla="*/ 202269 w 845713"/>
              <a:gd name="connsiteY454" fmla="*/ 303104 h 970339"/>
              <a:gd name="connsiteX455" fmla="*/ 198868 w 845713"/>
              <a:gd name="connsiteY455" fmla="*/ 310576 h 970339"/>
              <a:gd name="connsiteX456" fmla="*/ 197507 w 845713"/>
              <a:gd name="connsiteY456" fmla="*/ 317368 h 970339"/>
              <a:gd name="connsiteX457" fmla="*/ 199548 w 845713"/>
              <a:gd name="connsiteY457" fmla="*/ 319405 h 970339"/>
              <a:gd name="connsiteX458" fmla="*/ 200228 w 845713"/>
              <a:gd name="connsiteY458" fmla="*/ 322801 h 970339"/>
              <a:gd name="connsiteX459" fmla="*/ 200909 w 845713"/>
              <a:gd name="connsiteY459" fmla="*/ 322801 h 970339"/>
              <a:gd name="connsiteX460" fmla="*/ 204310 w 845713"/>
              <a:gd name="connsiteY460" fmla="*/ 322122 h 970339"/>
              <a:gd name="connsiteX461" fmla="*/ 204310 w 845713"/>
              <a:gd name="connsiteY461" fmla="*/ 322801 h 970339"/>
              <a:gd name="connsiteX462" fmla="*/ 207032 w 845713"/>
              <a:gd name="connsiteY462" fmla="*/ 322801 h 970339"/>
              <a:gd name="connsiteX463" fmla="*/ 219958 w 845713"/>
              <a:gd name="connsiteY463" fmla="*/ 328235 h 970339"/>
              <a:gd name="connsiteX464" fmla="*/ 231523 w 845713"/>
              <a:gd name="connsiteY464" fmla="*/ 330952 h 970339"/>
              <a:gd name="connsiteX465" fmla="*/ 236966 w 845713"/>
              <a:gd name="connsiteY465" fmla="*/ 338423 h 970339"/>
              <a:gd name="connsiteX466" fmla="*/ 253293 w 845713"/>
              <a:gd name="connsiteY466" fmla="*/ 341140 h 970339"/>
              <a:gd name="connsiteX467" fmla="*/ 264859 w 845713"/>
              <a:gd name="connsiteY467" fmla="*/ 347932 h 970339"/>
              <a:gd name="connsiteX468" fmla="*/ 268941 w 845713"/>
              <a:gd name="connsiteY468" fmla="*/ 339102 h 970339"/>
              <a:gd name="connsiteX469" fmla="*/ 270301 w 845713"/>
              <a:gd name="connsiteY469" fmla="*/ 327556 h 970339"/>
              <a:gd name="connsiteX470" fmla="*/ 277785 w 845713"/>
              <a:gd name="connsiteY470" fmla="*/ 326876 h 970339"/>
              <a:gd name="connsiteX471" fmla="*/ 282547 w 845713"/>
              <a:gd name="connsiteY471" fmla="*/ 326876 h 970339"/>
              <a:gd name="connsiteX472" fmla="*/ 287990 w 845713"/>
              <a:gd name="connsiteY472" fmla="*/ 326876 h 970339"/>
              <a:gd name="connsiteX473" fmla="*/ 287990 w 845713"/>
              <a:gd name="connsiteY473" fmla="*/ 327556 h 970339"/>
              <a:gd name="connsiteX474" fmla="*/ 289351 w 845713"/>
              <a:gd name="connsiteY474" fmla="*/ 330273 h 970339"/>
              <a:gd name="connsiteX475" fmla="*/ 290031 w 845713"/>
              <a:gd name="connsiteY475" fmla="*/ 330273 h 970339"/>
              <a:gd name="connsiteX476" fmla="*/ 295473 w 845713"/>
              <a:gd name="connsiteY476" fmla="*/ 330273 h 970339"/>
              <a:gd name="connsiteX477" fmla="*/ 300916 w 845713"/>
              <a:gd name="connsiteY477" fmla="*/ 332989 h 970339"/>
              <a:gd name="connsiteX478" fmla="*/ 304318 w 845713"/>
              <a:gd name="connsiteY478" fmla="*/ 336385 h 970339"/>
              <a:gd name="connsiteX479" fmla="*/ 311801 w 845713"/>
              <a:gd name="connsiteY479" fmla="*/ 335027 h 970339"/>
              <a:gd name="connsiteX480" fmla="*/ 334252 w 845713"/>
              <a:gd name="connsiteY480" fmla="*/ 339102 h 970339"/>
              <a:gd name="connsiteX481" fmla="*/ 340375 w 845713"/>
              <a:gd name="connsiteY481" fmla="*/ 336385 h 970339"/>
              <a:gd name="connsiteX482" fmla="*/ 344457 w 845713"/>
              <a:gd name="connsiteY482" fmla="*/ 336385 h 970339"/>
              <a:gd name="connsiteX483" fmla="*/ 351260 w 845713"/>
              <a:gd name="connsiteY483" fmla="*/ 335706 h 970339"/>
              <a:gd name="connsiteX484" fmla="*/ 352620 w 845713"/>
              <a:gd name="connsiteY484" fmla="*/ 340461 h 970339"/>
              <a:gd name="connsiteX485" fmla="*/ 356702 w 845713"/>
              <a:gd name="connsiteY485" fmla="*/ 339102 h 970339"/>
              <a:gd name="connsiteX486" fmla="*/ 359424 w 845713"/>
              <a:gd name="connsiteY486" fmla="*/ 340461 h 970339"/>
              <a:gd name="connsiteX487" fmla="*/ 364866 w 845713"/>
              <a:gd name="connsiteY487" fmla="*/ 338423 h 970339"/>
              <a:gd name="connsiteX488" fmla="*/ 369629 w 845713"/>
              <a:gd name="connsiteY488" fmla="*/ 331631 h 970339"/>
              <a:gd name="connsiteX489" fmla="*/ 370989 w 845713"/>
              <a:gd name="connsiteY489" fmla="*/ 326876 h 970339"/>
              <a:gd name="connsiteX490" fmla="*/ 370989 w 845713"/>
              <a:gd name="connsiteY490" fmla="*/ 320084 h 970339"/>
              <a:gd name="connsiteX491" fmla="*/ 371670 w 845713"/>
              <a:gd name="connsiteY491" fmla="*/ 316688 h 970339"/>
              <a:gd name="connsiteX492" fmla="*/ 371670 w 845713"/>
              <a:gd name="connsiteY492" fmla="*/ 309217 h 970339"/>
              <a:gd name="connsiteX493" fmla="*/ 371670 w 845713"/>
              <a:gd name="connsiteY493" fmla="*/ 301067 h 970339"/>
              <a:gd name="connsiteX494" fmla="*/ 370989 w 845713"/>
              <a:gd name="connsiteY494" fmla="*/ 300387 h 970339"/>
              <a:gd name="connsiteX495" fmla="*/ 371670 w 845713"/>
              <a:gd name="connsiteY495" fmla="*/ 296991 h 970339"/>
              <a:gd name="connsiteX496" fmla="*/ 370309 w 845713"/>
              <a:gd name="connsiteY496" fmla="*/ 292916 h 970339"/>
              <a:gd name="connsiteX497" fmla="*/ 369629 w 845713"/>
              <a:gd name="connsiteY497" fmla="*/ 288162 h 970339"/>
              <a:gd name="connsiteX498" fmla="*/ 362825 w 845713"/>
              <a:gd name="connsiteY498" fmla="*/ 288162 h 970339"/>
              <a:gd name="connsiteX499" fmla="*/ 357383 w 845713"/>
              <a:gd name="connsiteY499" fmla="*/ 293595 h 970339"/>
              <a:gd name="connsiteX500" fmla="*/ 346498 w 845713"/>
              <a:gd name="connsiteY500" fmla="*/ 293595 h 970339"/>
              <a:gd name="connsiteX501" fmla="*/ 345817 w 845713"/>
              <a:gd name="connsiteY501" fmla="*/ 292237 h 970339"/>
              <a:gd name="connsiteX502" fmla="*/ 334252 w 845713"/>
              <a:gd name="connsiteY502" fmla="*/ 292237 h 970339"/>
              <a:gd name="connsiteX503" fmla="*/ 329490 w 845713"/>
              <a:gd name="connsiteY503" fmla="*/ 294954 h 970339"/>
              <a:gd name="connsiteX504" fmla="*/ 324727 w 845713"/>
              <a:gd name="connsiteY504" fmla="*/ 289520 h 970339"/>
              <a:gd name="connsiteX505" fmla="*/ 324047 w 845713"/>
              <a:gd name="connsiteY505" fmla="*/ 289520 h 970339"/>
              <a:gd name="connsiteX506" fmla="*/ 319285 w 845713"/>
              <a:gd name="connsiteY506" fmla="*/ 288841 h 970339"/>
              <a:gd name="connsiteX507" fmla="*/ 314522 w 845713"/>
              <a:gd name="connsiteY507" fmla="*/ 290199 h 970339"/>
              <a:gd name="connsiteX508" fmla="*/ 317924 w 845713"/>
              <a:gd name="connsiteY508" fmla="*/ 286803 h 970339"/>
              <a:gd name="connsiteX509" fmla="*/ 313842 w 845713"/>
              <a:gd name="connsiteY509" fmla="*/ 286803 h 970339"/>
              <a:gd name="connsiteX510" fmla="*/ 314522 w 845713"/>
              <a:gd name="connsiteY510" fmla="*/ 284766 h 970339"/>
              <a:gd name="connsiteX511" fmla="*/ 311801 w 845713"/>
              <a:gd name="connsiteY511" fmla="*/ 282049 h 970339"/>
              <a:gd name="connsiteX512" fmla="*/ 310441 w 845713"/>
              <a:gd name="connsiteY512" fmla="*/ 277294 h 970339"/>
              <a:gd name="connsiteX513" fmla="*/ 310441 w 845713"/>
              <a:gd name="connsiteY513" fmla="*/ 276615 h 970339"/>
              <a:gd name="connsiteX514" fmla="*/ 309760 w 845713"/>
              <a:gd name="connsiteY514" fmla="*/ 276615 h 970339"/>
              <a:gd name="connsiteX515" fmla="*/ 307719 w 845713"/>
              <a:gd name="connsiteY515" fmla="*/ 276615 h 970339"/>
              <a:gd name="connsiteX516" fmla="*/ 304998 w 845713"/>
              <a:gd name="connsiteY516" fmla="*/ 275257 h 970339"/>
              <a:gd name="connsiteX517" fmla="*/ 307719 w 845713"/>
              <a:gd name="connsiteY517" fmla="*/ 275257 h 970339"/>
              <a:gd name="connsiteX518" fmla="*/ 309760 w 845713"/>
              <a:gd name="connsiteY518" fmla="*/ 273219 h 970339"/>
              <a:gd name="connsiteX519" fmla="*/ 307039 w 845713"/>
              <a:gd name="connsiteY519" fmla="*/ 269823 h 970339"/>
              <a:gd name="connsiteX520" fmla="*/ 302277 w 845713"/>
              <a:gd name="connsiteY520" fmla="*/ 265069 h 970339"/>
              <a:gd name="connsiteX521" fmla="*/ 304998 w 845713"/>
              <a:gd name="connsiteY521" fmla="*/ 258276 h 970339"/>
              <a:gd name="connsiteX522" fmla="*/ 317924 w 845713"/>
              <a:gd name="connsiteY522" fmla="*/ 257597 h 970339"/>
              <a:gd name="connsiteX523" fmla="*/ 320645 w 845713"/>
              <a:gd name="connsiteY523" fmla="*/ 255560 h 970339"/>
              <a:gd name="connsiteX524" fmla="*/ 322006 w 845713"/>
              <a:gd name="connsiteY524" fmla="*/ 254201 h 970339"/>
              <a:gd name="connsiteX525" fmla="*/ 319285 w 845713"/>
              <a:gd name="connsiteY525" fmla="*/ 252843 h 970339"/>
              <a:gd name="connsiteX526" fmla="*/ 319285 w 845713"/>
              <a:gd name="connsiteY526" fmla="*/ 251484 h 970339"/>
              <a:gd name="connsiteX527" fmla="*/ 319965 w 845713"/>
              <a:gd name="connsiteY527" fmla="*/ 251484 h 970339"/>
              <a:gd name="connsiteX528" fmla="*/ 319965 w 845713"/>
              <a:gd name="connsiteY528" fmla="*/ 250805 h 970339"/>
              <a:gd name="connsiteX529" fmla="*/ 328809 w 845713"/>
              <a:gd name="connsiteY529" fmla="*/ 251484 h 970339"/>
              <a:gd name="connsiteX530" fmla="*/ 334932 w 845713"/>
              <a:gd name="connsiteY530" fmla="*/ 248088 h 970339"/>
              <a:gd name="connsiteX531" fmla="*/ 347858 w 845713"/>
              <a:gd name="connsiteY531" fmla="*/ 244013 h 970339"/>
              <a:gd name="connsiteX532" fmla="*/ 356022 w 845713"/>
              <a:gd name="connsiteY532" fmla="*/ 244692 h 970339"/>
              <a:gd name="connsiteX533" fmla="*/ 356702 w 845713"/>
              <a:gd name="connsiteY533" fmla="*/ 245372 h 970339"/>
              <a:gd name="connsiteX534" fmla="*/ 362825 w 845713"/>
              <a:gd name="connsiteY534" fmla="*/ 246730 h 970339"/>
              <a:gd name="connsiteX535" fmla="*/ 368268 w 845713"/>
              <a:gd name="connsiteY535" fmla="*/ 248768 h 970339"/>
              <a:gd name="connsiteX536" fmla="*/ 379153 w 845713"/>
              <a:gd name="connsiteY536" fmla="*/ 252164 h 970339"/>
              <a:gd name="connsiteX537" fmla="*/ 383235 w 845713"/>
              <a:gd name="connsiteY537" fmla="*/ 250126 h 970339"/>
              <a:gd name="connsiteX538" fmla="*/ 392760 w 845713"/>
              <a:gd name="connsiteY538" fmla="*/ 252164 h 970339"/>
              <a:gd name="connsiteX539" fmla="*/ 395481 w 845713"/>
              <a:gd name="connsiteY539" fmla="*/ 249447 h 970339"/>
              <a:gd name="connsiteX540" fmla="*/ 396161 w 845713"/>
              <a:gd name="connsiteY540" fmla="*/ 239259 h 970339"/>
              <a:gd name="connsiteX541" fmla="*/ 381194 w 845713"/>
              <a:gd name="connsiteY541" fmla="*/ 230429 h 970339"/>
              <a:gd name="connsiteX542" fmla="*/ 375751 w 845713"/>
              <a:gd name="connsiteY542" fmla="*/ 224316 h 970339"/>
              <a:gd name="connsiteX543" fmla="*/ 369629 w 845713"/>
              <a:gd name="connsiteY543" fmla="*/ 220241 h 970339"/>
              <a:gd name="connsiteX544" fmla="*/ 364866 w 845713"/>
              <a:gd name="connsiteY544" fmla="*/ 220920 h 970339"/>
              <a:gd name="connsiteX545" fmla="*/ 363506 w 845713"/>
              <a:gd name="connsiteY545" fmla="*/ 219562 h 970339"/>
              <a:gd name="connsiteX546" fmla="*/ 363506 w 845713"/>
              <a:gd name="connsiteY546" fmla="*/ 218882 h 970339"/>
              <a:gd name="connsiteX547" fmla="*/ 361465 w 845713"/>
              <a:gd name="connsiteY547" fmla="*/ 217524 h 970339"/>
              <a:gd name="connsiteX548" fmla="*/ 360784 w 845713"/>
              <a:gd name="connsiteY548" fmla="*/ 216845 h 970339"/>
              <a:gd name="connsiteX549" fmla="*/ 359424 w 845713"/>
              <a:gd name="connsiteY549" fmla="*/ 216166 h 970339"/>
              <a:gd name="connsiteX550" fmla="*/ 360784 w 845713"/>
              <a:gd name="connsiteY550" fmla="*/ 214807 h 970339"/>
              <a:gd name="connsiteX551" fmla="*/ 363506 w 845713"/>
              <a:gd name="connsiteY551" fmla="*/ 211411 h 970339"/>
              <a:gd name="connsiteX552" fmla="*/ 365547 w 845713"/>
              <a:gd name="connsiteY552" fmla="*/ 208694 h 970339"/>
              <a:gd name="connsiteX553" fmla="*/ 362145 w 845713"/>
              <a:gd name="connsiteY553" fmla="*/ 201902 h 970339"/>
              <a:gd name="connsiteX554" fmla="*/ 366227 w 845713"/>
              <a:gd name="connsiteY554" fmla="*/ 201902 h 970339"/>
              <a:gd name="connsiteX555" fmla="*/ 368948 w 845713"/>
              <a:gd name="connsiteY555" fmla="*/ 197827 h 970339"/>
              <a:gd name="connsiteX556" fmla="*/ 359424 w 845713"/>
              <a:gd name="connsiteY556" fmla="*/ 199865 h 970339"/>
              <a:gd name="connsiteX557" fmla="*/ 350580 w 845713"/>
              <a:gd name="connsiteY557" fmla="*/ 203261 h 970339"/>
              <a:gd name="connsiteX558" fmla="*/ 342416 w 845713"/>
              <a:gd name="connsiteY558" fmla="*/ 207336 h 970339"/>
              <a:gd name="connsiteX559" fmla="*/ 345817 w 845713"/>
              <a:gd name="connsiteY559" fmla="*/ 209373 h 970339"/>
              <a:gd name="connsiteX560" fmla="*/ 349899 w 845713"/>
              <a:gd name="connsiteY560" fmla="*/ 213449 h 970339"/>
              <a:gd name="connsiteX561" fmla="*/ 355342 w 845713"/>
              <a:gd name="connsiteY561" fmla="*/ 213449 h 970339"/>
              <a:gd name="connsiteX562" fmla="*/ 356022 w 845713"/>
              <a:gd name="connsiteY562" fmla="*/ 215486 h 970339"/>
              <a:gd name="connsiteX563" fmla="*/ 351260 w 845713"/>
              <a:gd name="connsiteY563" fmla="*/ 216166 h 970339"/>
              <a:gd name="connsiteX564" fmla="*/ 346498 w 845713"/>
              <a:gd name="connsiteY564" fmla="*/ 219562 h 970339"/>
              <a:gd name="connsiteX565" fmla="*/ 342416 w 845713"/>
              <a:gd name="connsiteY565" fmla="*/ 222278 h 970339"/>
              <a:gd name="connsiteX566" fmla="*/ 339694 w 845713"/>
              <a:gd name="connsiteY566" fmla="*/ 216845 h 970339"/>
              <a:gd name="connsiteX567" fmla="*/ 332211 w 845713"/>
              <a:gd name="connsiteY567" fmla="*/ 213449 h 970339"/>
              <a:gd name="connsiteX568" fmla="*/ 335612 w 845713"/>
              <a:gd name="connsiteY568" fmla="*/ 208015 h 970339"/>
              <a:gd name="connsiteX569" fmla="*/ 327449 w 845713"/>
              <a:gd name="connsiteY569" fmla="*/ 207336 h 970339"/>
              <a:gd name="connsiteX570" fmla="*/ 328809 w 845713"/>
              <a:gd name="connsiteY570" fmla="*/ 203261 h 970339"/>
              <a:gd name="connsiteX571" fmla="*/ 319285 w 845713"/>
              <a:gd name="connsiteY571" fmla="*/ 205977 h 970339"/>
              <a:gd name="connsiteX572" fmla="*/ 315883 w 845713"/>
              <a:gd name="connsiteY572" fmla="*/ 204619 h 970339"/>
              <a:gd name="connsiteX573" fmla="*/ 316563 w 845713"/>
              <a:gd name="connsiteY573" fmla="*/ 208015 h 970339"/>
              <a:gd name="connsiteX574" fmla="*/ 314522 w 845713"/>
              <a:gd name="connsiteY574" fmla="*/ 214128 h 970339"/>
              <a:gd name="connsiteX575" fmla="*/ 312481 w 845713"/>
              <a:gd name="connsiteY575" fmla="*/ 218203 h 970339"/>
              <a:gd name="connsiteX576" fmla="*/ 308400 w 845713"/>
              <a:gd name="connsiteY576" fmla="*/ 234504 h 970339"/>
              <a:gd name="connsiteX577" fmla="*/ 307719 w 845713"/>
              <a:gd name="connsiteY577" fmla="*/ 235863 h 970339"/>
              <a:gd name="connsiteX578" fmla="*/ 307719 w 845713"/>
              <a:gd name="connsiteY578" fmla="*/ 237900 h 970339"/>
              <a:gd name="connsiteX579" fmla="*/ 307719 w 845713"/>
              <a:gd name="connsiteY579" fmla="*/ 238579 h 970339"/>
              <a:gd name="connsiteX580" fmla="*/ 307039 w 845713"/>
              <a:gd name="connsiteY580" fmla="*/ 239259 h 970339"/>
              <a:gd name="connsiteX581" fmla="*/ 317244 w 845713"/>
              <a:gd name="connsiteY581" fmla="*/ 248768 h 970339"/>
              <a:gd name="connsiteX582" fmla="*/ 317244 w 845713"/>
              <a:gd name="connsiteY582" fmla="*/ 252164 h 970339"/>
              <a:gd name="connsiteX583" fmla="*/ 306359 w 845713"/>
              <a:gd name="connsiteY583" fmla="*/ 254201 h 970339"/>
              <a:gd name="connsiteX584" fmla="*/ 306359 w 845713"/>
              <a:gd name="connsiteY584" fmla="*/ 254880 h 970339"/>
              <a:gd name="connsiteX585" fmla="*/ 302957 w 845713"/>
              <a:gd name="connsiteY585" fmla="*/ 254201 h 970339"/>
              <a:gd name="connsiteX586" fmla="*/ 296834 w 845713"/>
              <a:gd name="connsiteY586" fmla="*/ 253522 h 970339"/>
              <a:gd name="connsiteX587" fmla="*/ 292752 w 845713"/>
              <a:gd name="connsiteY587" fmla="*/ 254201 h 970339"/>
              <a:gd name="connsiteX588" fmla="*/ 290031 w 845713"/>
              <a:gd name="connsiteY588" fmla="*/ 254201 h 970339"/>
              <a:gd name="connsiteX589" fmla="*/ 288670 w 845713"/>
              <a:gd name="connsiteY589" fmla="*/ 253522 h 970339"/>
              <a:gd name="connsiteX590" fmla="*/ 288670 w 845713"/>
              <a:gd name="connsiteY590" fmla="*/ 254201 h 970339"/>
              <a:gd name="connsiteX591" fmla="*/ 284588 w 845713"/>
              <a:gd name="connsiteY591" fmla="*/ 253522 h 970339"/>
              <a:gd name="connsiteX592" fmla="*/ 285269 w 845713"/>
              <a:gd name="connsiteY592" fmla="*/ 256918 h 970339"/>
              <a:gd name="connsiteX593" fmla="*/ 284588 w 845713"/>
              <a:gd name="connsiteY593" fmla="*/ 259635 h 970339"/>
              <a:gd name="connsiteX594" fmla="*/ 279826 w 845713"/>
              <a:gd name="connsiteY594" fmla="*/ 258276 h 970339"/>
              <a:gd name="connsiteX595" fmla="*/ 279146 w 845713"/>
              <a:gd name="connsiteY595" fmla="*/ 263710 h 970339"/>
              <a:gd name="connsiteX596" fmla="*/ 280506 w 845713"/>
              <a:gd name="connsiteY596" fmla="*/ 270502 h 970339"/>
              <a:gd name="connsiteX597" fmla="*/ 283908 w 845713"/>
              <a:gd name="connsiteY597" fmla="*/ 273219 h 970339"/>
              <a:gd name="connsiteX598" fmla="*/ 286629 w 845713"/>
              <a:gd name="connsiteY598" fmla="*/ 275936 h 970339"/>
              <a:gd name="connsiteX599" fmla="*/ 282547 w 845713"/>
              <a:gd name="connsiteY599" fmla="*/ 281370 h 970339"/>
              <a:gd name="connsiteX600" fmla="*/ 283228 w 845713"/>
              <a:gd name="connsiteY600" fmla="*/ 284086 h 970339"/>
              <a:gd name="connsiteX601" fmla="*/ 281867 w 845713"/>
              <a:gd name="connsiteY601" fmla="*/ 284086 h 970339"/>
              <a:gd name="connsiteX602" fmla="*/ 280506 w 845713"/>
              <a:gd name="connsiteY602" fmla="*/ 286124 h 970339"/>
              <a:gd name="connsiteX603" fmla="*/ 281187 w 845713"/>
              <a:gd name="connsiteY603" fmla="*/ 286803 h 970339"/>
              <a:gd name="connsiteX604" fmla="*/ 283908 w 845713"/>
              <a:gd name="connsiteY604" fmla="*/ 289520 h 970339"/>
              <a:gd name="connsiteX605" fmla="*/ 283908 w 845713"/>
              <a:gd name="connsiteY605" fmla="*/ 292237 h 970339"/>
              <a:gd name="connsiteX606" fmla="*/ 281867 w 845713"/>
              <a:gd name="connsiteY606" fmla="*/ 290199 h 970339"/>
              <a:gd name="connsiteX607" fmla="*/ 281187 w 845713"/>
              <a:gd name="connsiteY607" fmla="*/ 291558 h 970339"/>
              <a:gd name="connsiteX608" fmla="*/ 277785 w 845713"/>
              <a:gd name="connsiteY608" fmla="*/ 286124 h 970339"/>
              <a:gd name="connsiteX609" fmla="*/ 276424 w 845713"/>
              <a:gd name="connsiteY609" fmla="*/ 286124 h 970339"/>
              <a:gd name="connsiteX610" fmla="*/ 275064 w 845713"/>
              <a:gd name="connsiteY610" fmla="*/ 289520 h 970339"/>
              <a:gd name="connsiteX611" fmla="*/ 272342 w 845713"/>
              <a:gd name="connsiteY611" fmla="*/ 281370 h 970339"/>
              <a:gd name="connsiteX612" fmla="*/ 281187 w 845713"/>
              <a:gd name="connsiteY612" fmla="*/ 278653 h 970339"/>
              <a:gd name="connsiteX613" fmla="*/ 283908 w 845713"/>
              <a:gd name="connsiteY613" fmla="*/ 277294 h 970339"/>
              <a:gd name="connsiteX614" fmla="*/ 277105 w 845713"/>
              <a:gd name="connsiteY614" fmla="*/ 275936 h 970339"/>
              <a:gd name="connsiteX615" fmla="*/ 271662 w 845713"/>
              <a:gd name="connsiteY615" fmla="*/ 275936 h 970339"/>
              <a:gd name="connsiteX616" fmla="*/ 268941 w 845713"/>
              <a:gd name="connsiteY616" fmla="*/ 273898 h 970339"/>
              <a:gd name="connsiteX617" fmla="*/ 268941 w 845713"/>
              <a:gd name="connsiteY617" fmla="*/ 269823 h 970339"/>
              <a:gd name="connsiteX618" fmla="*/ 262818 w 845713"/>
              <a:gd name="connsiteY618" fmla="*/ 268465 h 970339"/>
              <a:gd name="connsiteX619" fmla="*/ 262818 w 845713"/>
              <a:gd name="connsiteY619" fmla="*/ 264389 h 970339"/>
              <a:gd name="connsiteX620" fmla="*/ 259416 w 845713"/>
              <a:gd name="connsiteY620" fmla="*/ 260993 h 970339"/>
              <a:gd name="connsiteX621" fmla="*/ 254654 w 845713"/>
              <a:gd name="connsiteY621" fmla="*/ 257597 h 970339"/>
              <a:gd name="connsiteX622" fmla="*/ 254654 w 845713"/>
              <a:gd name="connsiteY622" fmla="*/ 246730 h 970339"/>
              <a:gd name="connsiteX623" fmla="*/ 248531 w 845713"/>
              <a:gd name="connsiteY623" fmla="*/ 239938 h 970339"/>
              <a:gd name="connsiteX624" fmla="*/ 243089 w 845713"/>
              <a:gd name="connsiteY624" fmla="*/ 238579 h 970339"/>
              <a:gd name="connsiteX625" fmla="*/ 241048 w 845713"/>
              <a:gd name="connsiteY625" fmla="*/ 235863 h 970339"/>
              <a:gd name="connsiteX626" fmla="*/ 235605 w 845713"/>
              <a:gd name="connsiteY626" fmla="*/ 232467 h 970339"/>
              <a:gd name="connsiteX627" fmla="*/ 228802 w 845713"/>
              <a:gd name="connsiteY627" fmla="*/ 231108 h 970339"/>
              <a:gd name="connsiteX628" fmla="*/ 226081 w 845713"/>
              <a:gd name="connsiteY628" fmla="*/ 229070 h 970339"/>
              <a:gd name="connsiteX629" fmla="*/ 225400 w 845713"/>
              <a:gd name="connsiteY629" fmla="*/ 227033 h 970339"/>
              <a:gd name="connsiteX630" fmla="*/ 225400 w 845713"/>
              <a:gd name="connsiteY630" fmla="*/ 223637 h 970339"/>
              <a:gd name="connsiteX631" fmla="*/ 223359 w 845713"/>
              <a:gd name="connsiteY631" fmla="*/ 222958 h 970339"/>
              <a:gd name="connsiteX632" fmla="*/ 221318 w 845713"/>
              <a:gd name="connsiteY632" fmla="*/ 217524 h 970339"/>
              <a:gd name="connsiteX633" fmla="*/ 217236 w 845713"/>
              <a:gd name="connsiteY633" fmla="*/ 220241 h 970339"/>
              <a:gd name="connsiteX634" fmla="*/ 214515 w 845713"/>
              <a:gd name="connsiteY634" fmla="*/ 218882 h 970339"/>
              <a:gd name="connsiteX635" fmla="*/ 213154 w 845713"/>
              <a:gd name="connsiteY635" fmla="*/ 215486 h 970339"/>
              <a:gd name="connsiteX636" fmla="*/ 209753 w 845713"/>
              <a:gd name="connsiteY636" fmla="*/ 212090 h 970339"/>
              <a:gd name="connsiteX637" fmla="*/ 204991 w 845713"/>
              <a:gd name="connsiteY637" fmla="*/ 214807 h 970339"/>
              <a:gd name="connsiteX638" fmla="*/ 205671 w 845713"/>
              <a:gd name="connsiteY638" fmla="*/ 217524 h 970339"/>
              <a:gd name="connsiteX639" fmla="*/ 207712 w 845713"/>
              <a:gd name="connsiteY639" fmla="*/ 224316 h 970339"/>
              <a:gd name="connsiteX640" fmla="*/ 214515 w 845713"/>
              <a:gd name="connsiteY640" fmla="*/ 230429 h 970339"/>
              <a:gd name="connsiteX641" fmla="*/ 219958 w 845713"/>
              <a:gd name="connsiteY641" fmla="*/ 240617 h 970339"/>
              <a:gd name="connsiteX642" fmla="*/ 224720 w 845713"/>
              <a:gd name="connsiteY642" fmla="*/ 244692 h 970339"/>
              <a:gd name="connsiteX643" fmla="*/ 231523 w 845713"/>
              <a:gd name="connsiteY643" fmla="*/ 245372 h 970339"/>
              <a:gd name="connsiteX644" fmla="*/ 232203 w 845713"/>
              <a:gd name="connsiteY644" fmla="*/ 248088 h 970339"/>
              <a:gd name="connsiteX645" fmla="*/ 246490 w 845713"/>
              <a:gd name="connsiteY645" fmla="*/ 256239 h 970339"/>
              <a:gd name="connsiteX646" fmla="*/ 247851 w 845713"/>
              <a:gd name="connsiteY646" fmla="*/ 262352 h 970339"/>
              <a:gd name="connsiteX647" fmla="*/ 244449 w 845713"/>
              <a:gd name="connsiteY647" fmla="*/ 259635 h 970339"/>
              <a:gd name="connsiteX648" fmla="*/ 239007 w 845713"/>
              <a:gd name="connsiteY648" fmla="*/ 256918 h 970339"/>
              <a:gd name="connsiteX649" fmla="*/ 240367 w 845713"/>
              <a:gd name="connsiteY649" fmla="*/ 265748 h 970339"/>
              <a:gd name="connsiteX650" fmla="*/ 241048 w 845713"/>
              <a:gd name="connsiteY650" fmla="*/ 271181 h 970339"/>
              <a:gd name="connsiteX651" fmla="*/ 239687 w 845713"/>
              <a:gd name="connsiteY651" fmla="*/ 272540 h 970339"/>
              <a:gd name="connsiteX652" fmla="*/ 239007 w 845713"/>
              <a:gd name="connsiteY652" fmla="*/ 274577 h 970339"/>
              <a:gd name="connsiteX653" fmla="*/ 238326 w 845713"/>
              <a:gd name="connsiteY653" fmla="*/ 275257 h 970339"/>
              <a:gd name="connsiteX654" fmla="*/ 233564 w 845713"/>
              <a:gd name="connsiteY654" fmla="*/ 280011 h 970339"/>
              <a:gd name="connsiteX655" fmla="*/ 233564 w 845713"/>
              <a:gd name="connsiteY655" fmla="*/ 273898 h 970339"/>
              <a:gd name="connsiteX656" fmla="*/ 232884 w 845713"/>
              <a:gd name="connsiteY656" fmla="*/ 264389 h 970339"/>
              <a:gd name="connsiteX657" fmla="*/ 226081 w 845713"/>
              <a:gd name="connsiteY657" fmla="*/ 259635 h 970339"/>
              <a:gd name="connsiteX658" fmla="*/ 226761 w 845713"/>
              <a:gd name="connsiteY658" fmla="*/ 255560 h 970339"/>
              <a:gd name="connsiteX659" fmla="*/ 220638 w 845713"/>
              <a:gd name="connsiteY659" fmla="*/ 252843 h 970339"/>
              <a:gd name="connsiteX660" fmla="*/ 217917 w 845713"/>
              <a:gd name="connsiteY660" fmla="*/ 250126 h 970339"/>
              <a:gd name="connsiteX661" fmla="*/ 213835 w 845713"/>
              <a:gd name="connsiteY661" fmla="*/ 250805 h 970339"/>
              <a:gd name="connsiteX662" fmla="*/ 210433 w 845713"/>
              <a:gd name="connsiteY662" fmla="*/ 250805 h 970339"/>
              <a:gd name="connsiteX663" fmla="*/ 205671 w 845713"/>
              <a:gd name="connsiteY663" fmla="*/ 244692 h 970339"/>
              <a:gd name="connsiteX664" fmla="*/ 198868 w 845713"/>
              <a:gd name="connsiteY664" fmla="*/ 240617 h 970339"/>
              <a:gd name="connsiteX665" fmla="*/ 186622 w 845713"/>
              <a:gd name="connsiteY665" fmla="*/ 225674 h 970339"/>
              <a:gd name="connsiteX666" fmla="*/ 181860 w 845713"/>
              <a:gd name="connsiteY666" fmla="*/ 223637 h 970339"/>
              <a:gd name="connsiteX667" fmla="*/ 173696 w 845713"/>
              <a:gd name="connsiteY667" fmla="*/ 229750 h 970339"/>
              <a:gd name="connsiteX668" fmla="*/ 168253 w 845713"/>
              <a:gd name="connsiteY668" fmla="*/ 234504 h 970339"/>
              <a:gd name="connsiteX669" fmla="*/ 157368 w 845713"/>
              <a:gd name="connsiteY669" fmla="*/ 232467 h 970339"/>
              <a:gd name="connsiteX670" fmla="*/ 145803 w 845713"/>
              <a:gd name="connsiteY670" fmla="*/ 236542 h 970339"/>
              <a:gd name="connsiteX671" fmla="*/ 143762 w 845713"/>
              <a:gd name="connsiteY671" fmla="*/ 249447 h 970339"/>
              <a:gd name="connsiteX672" fmla="*/ 130835 w 845713"/>
              <a:gd name="connsiteY672" fmla="*/ 254880 h 970339"/>
              <a:gd name="connsiteX673" fmla="*/ 128794 w 845713"/>
              <a:gd name="connsiteY673" fmla="*/ 263710 h 970339"/>
              <a:gd name="connsiteX674" fmla="*/ 128114 w 845713"/>
              <a:gd name="connsiteY674" fmla="*/ 269823 h 970339"/>
              <a:gd name="connsiteX675" fmla="*/ 128114 w 845713"/>
              <a:gd name="connsiteY675" fmla="*/ 275257 h 970339"/>
              <a:gd name="connsiteX676" fmla="*/ 127434 w 845713"/>
              <a:gd name="connsiteY676" fmla="*/ 275257 h 970339"/>
              <a:gd name="connsiteX677" fmla="*/ 126754 w 845713"/>
              <a:gd name="connsiteY677" fmla="*/ 275257 h 970339"/>
              <a:gd name="connsiteX678" fmla="*/ 126754 w 845713"/>
              <a:gd name="connsiteY678" fmla="*/ 275936 h 970339"/>
              <a:gd name="connsiteX679" fmla="*/ 124032 w 845713"/>
              <a:gd name="connsiteY679" fmla="*/ 282049 h 970339"/>
              <a:gd name="connsiteX680" fmla="*/ 119950 w 845713"/>
              <a:gd name="connsiteY680" fmla="*/ 283407 h 970339"/>
              <a:gd name="connsiteX681" fmla="*/ 119270 w 845713"/>
              <a:gd name="connsiteY681" fmla="*/ 283407 h 970339"/>
              <a:gd name="connsiteX682" fmla="*/ 118590 w 845713"/>
              <a:gd name="connsiteY682" fmla="*/ 284086 h 970339"/>
              <a:gd name="connsiteX683" fmla="*/ 117229 w 845713"/>
              <a:gd name="connsiteY683" fmla="*/ 291558 h 970339"/>
              <a:gd name="connsiteX684" fmla="*/ 112467 w 845713"/>
              <a:gd name="connsiteY684" fmla="*/ 292237 h 970339"/>
              <a:gd name="connsiteX685" fmla="*/ 104983 w 845713"/>
              <a:gd name="connsiteY685" fmla="*/ 291558 h 970339"/>
              <a:gd name="connsiteX686" fmla="*/ 100221 w 845713"/>
              <a:gd name="connsiteY686" fmla="*/ 291558 h 970339"/>
              <a:gd name="connsiteX687" fmla="*/ 96139 w 845713"/>
              <a:gd name="connsiteY687" fmla="*/ 292916 h 970339"/>
              <a:gd name="connsiteX688" fmla="*/ 95459 w 845713"/>
              <a:gd name="connsiteY688" fmla="*/ 293595 h 970339"/>
              <a:gd name="connsiteX689" fmla="*/ 94098 w 845713"/>
              <a:gd name="connsiteY689" fmla="*/ 294954 h 970339"/>
              <a:gd name="connsiteX690" fmla="*/ 93418 w 845713"/>
              <a:gd name="connsiteY690" fmla="*/ 294954 h 970339"/>
              <a:gd name="connsiteX691" fmla="*/ 93418 w 845713"/>
              <a:gd name="connsiteY691" fmla="*/ 296312 h 970339"/>
              <a:gd name="connsiteX692" fmla="*/ 92737 w 845713"/>
              <a:gd name="connsiteY692" fmla="*/ 296991 h 970339"/>
              <a:gd name="connsiteX693" fmla="*/ 92057 w 845713"/>
              <a:gd name="connsiteY693" fmla="*/ 297671 h 970339"/>
              <a:gd name="connsiteX694" fmla="*/ 91377 w 845713"/>
              <a:gd name="connsiteY694" fmla="*/ 297671 h 970339"/>
              <a:gd name="connsiteX695" fmla="*/ 90696 w 845713"/>
              <a:gd name="connsiteY695" fmla="*/ 297671 h 970339"/>
              <a:gd name="connsiteX696" fmla="*/ 90016 w 845713"/>
              <a:gd name="connsiteY696" fmla="*/ 296991 h 970339"/>
              <a:gd name="connsiteX697" fmla="*/ 89336 w 845713"/>
              <a:gd name="connsiteY697" fmla="*/ 295633 h 970339"/>
              <a:gd name="connsiteX698" fmla="*/ 88655 w 845713"/>
              <a:gd name="connsiteY698" fmla="*/ 294275 h 970339"/>
              <a:gd name="connsiteX699" fmla="*/ 87975 w 845713"/>
              <a:gd name="connsiteY699" fmla="*/ 293595 h 970339"/>
              <a:gd name="connsiteX700" fmla="*/ 87295 w 845713"/>
              <a:gd name="connsiteY700" fmla="*/ 292916 h 970339"/>
              <a:gd name="connsiteX701" fmla="*/ 85934 w 845713"/>
              <a:gd name="connsiteY701" fmla="*/ 288162 h 970339"/>
              <a:gd name="connsiteX702" fmla="*/ 77090 w 845713"/>
              <a:gd name="connsiteY702" fmla="*/ 286803 h 970339"/>
              <a:gd name="connsiteX703" fmla="*/ 69606 w 845713"/>
              <a:gd name="connsiteY703" fmla="*/ 287482 h 970339"/>
              <a:gd name="connsiteX704" fmla="*/ 68926 w 845713"/>
              <a:gd name="connsiteY704" fmla="*/ 286803 h 970339"/>
              <a:gd name="connsiteX705" fmla="*/ 70287 w 845713"/>
              <a:gd name="connsiteY705" fmla="*/ 278653 h 970339"/>
              <a:gd name="connsiteX706" fmla="*/ 70287 w 845713"/>
              <a:gd name="connsiteY706" fmla="*/ 277974 h 970339"/>
              <a:gd name="connsiteX707" fmla="*/ 68246 w 845713"/>
              <a:gd name="connsiteY707" fmla="*/ 276615 h 970339"/>
              <a:gd name="connsiteX708" fmla="*/ 69606 w 845713"/>
              <a:gd name="connsiteY708" fmla="*/ 274577 h 970339"/>
              <a:gd name="connsiteX709" fmla="*/ 70287 w 845713"/>
              <a:gd name="connsiteY709" fmla="*/ 272540 h 970339"/>
              <a:gd name="connsiteX710" fmla="*/ 65525 w 845713"/>
              <a:gd name="connsiteY710" fmla="*/ 273898 h 970339"/>
              <a:gd name="connsiteX711" fmla="*/ 68926 w 845713"/>
              <a:gd name="connsiteY711" fmla="*/ 268465 h 970339"/>
              <a:gd name="connsiteX712" fmla="*/ 70967 w 845713"/>
              <a:gd name="connsiteY712" fmla="*/ 261673 h 970339"/>
              <a:gd name="connsiteX713" fmla="*/ 72328 w 845713"/>
              <a:gd name="connsiteY713" fmla="*/ 247409 h 970339"/>
              <a:gd name="connsiteX714" fmla="*/ 71647 w 845713"/>
              <a:gd name="connsiteY714" fmla="*/ 240617 h 970339"/>
              <a:gd name="connsiteX715" fmla="*/ 69606 w 845713"/>
              <a:gd name="connsiteY715" fmla="*/ 235183 h 970339"/>
              <a:gd name="connsiteX716" fmla="*/ 77090 w 845713"/>
              <a:gd name="connsiteY716" fmla="*/ 233146 h 970339"/>
              <a:gd name="connsiteX717" fmla="*/ 81852 w 845713"/>
              <a:gd name="connsiteY717" fmla="*/ 231787 h 970339"/>
              <a:gd name="connsiteX718" fmla="*/ 87975 w 845713"/>
              <a:gd name="connsiteY718" fmla="*/ 231787 h 970339"/>
              <a:gd name="connsiteX719" fmla="*/ 96819 w 845713"/>
              <a:gd name="connsiteY719" fmla="*/ 232467 h 970339"/>
              <a:gd name="connsiteX720" fmla="*/ 107704 w 845713"/>
              <a:gd name="connsiteY720" fmla="*/ 233146 h 970339"/>
              <a:gd name="connsiteX721" fmla="*/ 124032 w 845713"/>
              <a:gd name="connsiteY721" fmla="*/ 216166 h 970339"/>
              <a:gd name="connsiteX722" fmla="*/ 121311 w 845713"/>
              <a:gd name="connsiteY722" fmla="*/ 210053 h 970339"/>
              <a:gd name="connsiteX723" fmla="*/ 117229 w 845713"/>
              <a:gd name="connsiteY723" fmla="*/ 205298 h 970339"/>
              <a:gd name="connsiteX724" fmla="*/ 112467 w 845713"/>
              <a:gd name="connsiteY724" fmla="*/ 198506 h 970339"/>
              <a:gd name="connsiteX725" fmla="*/ 102942 w 845713"/>
              <a:gd name="connsiteY725" fmla="*/ 197827 h 970339"/>
              <a:gd name="connsiteX726" fmla="*/ 100901 w 845713"/>
              <a:gd name="connsiteY726" fmla="*/ 195110 h 970339"/>
              <a:gd name="connsiteX727" fmla="*/ 101582 w 845713"/>
              <a:gd name="connsiteY727" fmla="*/ 191714 h 970339"/>
              <a:gd name="connsiteX728" fmla="*/ 108385 w 845713"/>
              <a:gd name="connsiteY728" fmla="*/ 190356 h 970339"/>
              <a:gd name="connsiteX729" fmla="*/ 113827 w 845713"/>
              <a:gd name="connsiteY729" fmla="*/ 191035 h 970339"/>
              <a:gd name="connsiteX730" fmla="*/ 122672 w 845713"/>
              <a:gd name="connsiteY730" fmla="*/ 187639 h 970339"/>
              <a:gd name="connsiteX731" fmla="*/ 120631 w 845713"/>
              <a:gd name="connsiteY731" fmla="*/ 183564 h 970339"/>
              <a:gd name="connsiteX732" fmla="*/ 119270 w 845713"/>
              <a:gd name="connsiteY732" fmla="*/ 179488 h 970339"/>
              <a:gd name="connsiteX733" fmla="*/ 122672 w 845713"/>
              <a:gd name="connsiteY733" fmla="*/ 179488 h 970339"/>
              <a:gd name="connsiteX734" fmla="*/ 123352 w 845713"/>
              <a:gd name="connsiteY734" fmla="*/ 183564 h 970339"/>
              <a:gd name="connsiteX735" fmla="*/ 128794 w 845713"/>
              <a:gd name="connsiteY735" fmla="*/ 182884 h 970339"/>
              <a:gd name="connsiteX736" fmla="*/ 131516 w 845713"/>
              <a:gd name="connsiteY736" fmla="*/ 177451 h 970339"/>
              <a:gd name="connsiteX737" fmla="*/ 134917 w 845713"/>
              <a:gd name="connsiteY737" fmla="*/ 176092 h 970339"/>
              <a:gd name="connsiteX738" fmla="*/ 136958 w 845713"/>
              <a:gd name="connsiteY738" fmla="*/ 170659 h 970339"/>
              <a:gd name="connsiteX739" fmla="*/ 143081 w 845713"/>
              <a:gd name="connsiteY739" fmla="*/ 167942 h 970339"/>
              <a:gd name="connsiteX740" fmla="*/ 152606 w 845713"/>
              <a:gd name="connsiteY740" fmla="*/ 160470 h 970339"/>
              <a:gd name="connsiteX741" fmla="*/ 158048 w 845713"/>
              <a:gd name="connsiteY741" fmla="*/ 152999 h 970339"/>
              <a:gd name="connsiteX742" fmla="*/ 163491 w 845713"/>
              <a:gd name="connsiteY742" fmla="*/ 150282 h 970339"/>
              <a:gd name="connsiteX743" fmla="*/ 171655 w 845713"/>
              <a:gd name="connsiteY743" fmla="*/ 149603 h 970339"/>
              <a:gd name="connsiteX744" fmla="*/ 175737 w 845713"/>
              <a:gd name="connsiteY744" fmla="*/ 148245 h 970339"/>
              <a:gd name="connsiteX745" fmla="*/ 179138 w 845713"/>
              <a:gd name="connsiteY745" fmla="*/ 148924 h 970339"/>
              <a:gd name="connsiteX746" fmla="*/ 175737 w 845713"/>
              <a:gd name="connsiteY746" fmla="*/ 144849 h 970339"/>
              <a:gd name="connsiteX747" fmla="*/ 176417 w 845713"/>
              <a:gd name="connsiteY747" fmla="*/ 141453 h 970339"/>
              <a:gd name="connsiteX748" fmla="*/ 175056 w 845713"/>
              <a:gd name="connsiteY748" fmla="*/ 138057 h 970339"/>
              <a:gd name="connsiteX749" fmla="*/ 171655 w 845713"/>
              <a:gd name="connsiteY749" fmla="*/ 133981 h 970339"/>
              <a:gd name="connsiteX750" fmla="*/ 171655 w 845713"/>
              <a:gd name="connsiteY750" fmla="*/ 127868 h 970339"/>
              <a:gd name="connsiteX751" fmla="*/ 175056 w 845713"/>
              <a:gd name="connsiteY751" fmla="*/ 126510 h 970339"/>
              <a:gd name="connsiteX752" fmla="*/ 174376 w 845713"/>
              <a:gd name="connsiteY752" fmla="*/ 123793 h 970339"/>
              <a:gd name="connsiteX753" fmla="*/ 176417 w 845713"/>
              <a:gd name="connsiteY753" fmla="*/ 123114 h 970339"/>
              <a:gd name="connsiteX754" fmla="*/ 184581 w 845713"/>
              <a:gd name="connsiteY754" fmla="*/ 117680 h 970339"/>
              <a:gd name="connsiteX755" fmla="*/ 181860 w 845713"/>
              <a:gd name="connsiteY755" fmla="*/ 125831 h 970339"/>
              <a:gd name="connsiteX756" fmla="*/ 185942 w 845713"/>
              <a:gd name="connsiteY756" fmla="*/ 127189 h 970339"/>
              <a:gd name="connsiteX757" fmla="*/ 187983 w 845713"/>
              <a:gd name="connsiteY757" fmla="*/ 128548 h 970339"/>
              <a:gd name="connsiteX758" fmla="*/ 185261 w 845713"/>
              <a:gd name="connsiteY758" fmla="*/ 129906 h 970339"/>
              <a:gd name="connsiteX759" fmla="*/ 184581 w 845713"/>
              <a:gd name="connsiteY759" fmla="*/ 131944 h 970339"/>
              <a:gd name="connsiteX760" fmla="*/ 182540 w 845713"/>
              <a:gd name="connsiteY760" fmla="*/ 134661 h 970339"/>
              <a:gd name="connsiteX761" fmla="*/ 186622 w 845713"/>
              <a:gd name="connsiteY761" fmla="*/ 134661 h 970339"/>
              <a:gd name="connsiteX762" fmla="*/ 183220 w 845713"/>
              <a:gd name="connsiteY762" fmla="*/ 137377 h 970339"/>
              <a:gd name="connsiteX763" fmla="*/ 181860 w 845713"/>
              <a:gd name="connsiteY763" fmla="*/ 142132 h 970339"/>
              <a:gd name="connsiteX764" fmla="*/ 185261 w 845713"/>
              <a:gd name="connsiteY764" fmla="*/ 142811 h 970339"/>
              <a:gd name="connsiteX765" fmla="*/ 188663 w 845713"/>
              <a:gd name="connsiteY765" fmla="*/ 146207 h 970339"/>
              <a:gd name="connsiteX766" fmla="*/ 194105 w 845713"/>
              <a:gd name="connsiteY766" fmla="*/ 144849 h 970339"/>
              <a:gd name="connsiteX767" fmla="*/ 198187 w 845713"/>
              <a:gd name="connsiteY767" fmla="*/ 142132 h 970339"/>
              <a:gd name="connsiteX768" fmla="*/ 203630 w 845713"/>
              <a:gd name="connsiteY768" fmla="*/ 144169 h 970339"/>
              <a:gd name="connsiteX769" fmla="*/ 211113 w 845713"/>
              <a:gd name="connsiteY769" fmla="*/ 147565 h 970339"/>
              <a:gd name="connsiteX770" fmla="*/ 223359 w 845713"/>
              <a:gd name="connsiteY770" fmla="*/ 141453 h 970339"/>
              <a:gd name="connsiteX771" fmla="*/ 232884 w 845713"/>
              <a:gd name="connsiteY771" fmla="*/ 142132 h 970339"/>
              <a:gd name="connsiteX772" fmla="*/ 242408 w 845713"/>
              <a:gd name="connsiteY772" fmla="*/ 142811 h 970339"/>
              <a:gd name="connsiteX773" fmla="*/ 242408 w 845713"/>
              <a:gd name="connsiteY773" fmla="*/ 139415 h 970339"/>
              <a:gd name="connsiteX774" fmla="*/ 249212 w 845713"/>
              <a:gd name="connsiteY774" fmla="*/ 136698 h 970339"/>
              <a:gd name="connsiteX775" fmla="*/ 246490 w 845713"/>
              <a:gd name="connsiteY775" fmla="*/ 131265 h 970339"/>
              <a:gd name="connsiteX776" fmla="*/ 248531 w 845713"/>
              <a:gd name="connsiteY776" fmla="*/ 119039 h 970339"/>
              <a:gd name="connsiteX777" fmla="*/ 255334 w 845713"/>
              <a:gd name="connsiteY777" fmla="*/ 120397 h 970339"/>
              <a:gd name="connsiteX778" fmla="*/ 262138 w 845713"/>
              <a:gd name="connsiteY778" fmla="*/ 117680 h 970339"/>
              <a:gd name="connsiteX779" fmla="*/ 261457 w 845713"/>
              <a:gd name="connsiteY779" fmla="*/ 111567 h 970339"/>
              <a:gd name="connsiteX780" fmla="*/ 256695 w 845713"/>
              <a:gd name="connsiteY780" fmla="*/ 109530 h 970339"/>
              <a:gd name="connsiteX781" fmla="*/ 263498 w 845713"/>
              <a:gd name="connsiteY781" fmla="*/ 104096 h 970339"/>
              <a:gd name="connsiteX782" fmla="*/ 270982 w 845713"/>
              <a:gd name="connsiteY782" fmla="*/ 102059 h 970339"/>
              <a:gd name="connsiteX783" fmla="*/ 276424 w 845713"/>
              <a:gd name="connsiteY783" fmla="*/ 104096 h 970339"/>
              <a:gd name="connsiteX784" fmla="*/ 281187 w 845713"/>
              <a:gd name="connsiteY784" fmla="*/ 100700 h 970339"/>
              <a:gd name="connsiteX785" fmla="*/ 285949 w 845713"/>
              <a:gd name="connsiteY785" fmla="*/ 97983 h 970339"/>
              <a:gd name="connsiteX786" fmla="*/ 281187 w 845713"/>
              <a:gd name="connsiteY786" fmla="*/ 95946 h 970339"/>
              <a:gd name="connsiteX787" fmla="*/ 275744 w 845713"/>
              <a:gd name="connsiteY787" fmla="*/ 96625 h 970339"/>
              <a:gd name="connsiteX788" fmla="*/ 268941 w 845713"/>
              <a:gd name="connsiteY788" fmla="*/ 95946 h 970339"/>
              <a:gd name="connsiteX789" fmla="*/ 256695 w 845713"/>
              <a:gd name="connsiteY789" fmla="*/ 99342 h 970339"/>
              <a:gd name="connsiteX790" fmla="*/ 249212 w 845713"/>
              <a:gd name="connsiteY790" fmla="*/ 98663 h 970339"/>
              <a:gd name="connsiteX791" fmla="*/ 241048 w 845713"/>
              <a:gd name="connsiteY791" fmla="*/ 90512 h 970339"/>
              <a:gd name="connsiteX792" fmla="*/ 241048 w 845713"/>
              <a:gd name="connsiteY792" fmla="*/ 78965 h 970339"/>
              <a:gd name="connsiteX793" fmla="*/ 252613 w 845713"/>
              <a:gd name="connsiteY793" fmla="*/ 63344 h 970339"/>
              <a:gd name="connsiteX794" fmla="*/ 241048 w 845713"/>
              <a:gd name="connsiteY794" fmla="*/ 63344 h 970339"/>
              <a:gd name="connsiteX795" fmla="*/ 234244 w 845713"/>
              <a:gd name="connsiteY795" fmla="*/ 68098 h 970339"/>
              <a:gd name="connsiteX796" fmla="*/ 232203 w 845713"/>
              <a:gd name="connsiteY796" fmla="*/ 74890 h 970339"/>
              <a:gd name="connsiteX797" fmla="*/ 217236 w 845713"/>
              <a:gd name="connsiteY797" fmla="*/ 94587 h 970339"/>
              <a:gd name="connsiteX798" fmla="*/ 221999 w 845713"/>
              <a:gd name="connsiteY798" fmla="*/ 96625 h 970339"/>
              <a:gd name="connsiteX799" fmla="*/ 217236 w 845713"/>
              <a:gd name="connsiteY799" fmla="*/ 103417 h 970339"/>
              <a:gd name="connsiteX800" fmla="*/ 225400 w 845713"/>
              <a:gd name="connsiteY800" fmla="*/ 106134 h 970339"/>
              <a:gd name="connsiteX801" fmla="*/ 225400 w 845713"/>
              <a:gd name="connsiteY801" fmla="*/ 106813 h 970339"/>
              <a:gd name="connsiteX802" fmla="*/ 217236 w 845713"/>
              <a:gd name="connsiteY802" fmla="*/ 110209 h 970339"/>
              <a:gd name="connsiteX803" fmla="*/ 217236 w 845713"/>
              <a:gd name="connsiteY803" fmla="*/ 113605 h 970339"/>
              <a:gd name="connsiteX804" fmla="*/ 217917 w 845713"/>
              <a:gd name="connsiteY804" fmla="*/ 117680 h 970339"/>
              <a:gd name="connsiteX805" fmla="*/ 216556 w 845713"/>
              <a:gd name="connsiteY805" fmla="*/ 127868 h 970339"/>
              <a:gd name="connsiteX806" fmla="*/ 205671 w 845713"/>
              <a:gd name="connsiteY806" fmla="*/ 131265 h 970339"/>
              <a:gd name="connsiteX807" fmla="*/ 207712 w 845713"/>
              <a:gd name="connsiteY807" fmla="*/ 135340 h 970339"/>
              <a:gd name="connsiteX808" fmla="*/ 199548 w 845713"/>
              <a:gd name="connsiteY808" fmla="*/ 133981 h 970339"/>
              <a:gd name="connsiteX809" fmla="*/ 199548 w 845713"/>
              <a:gd name="connsiteY809" fmla="*/ 133302 h 970339"/>
              <a:gd name="connsiteX810" fmla="*/ 198187 w 845713"/>
              <a:gd name="connsiteY810" fmla="*/ 126510 h 970339"/>
              <a:gd name="connsiteX811" fmla="*/ 198187 w 845713"/>
              <a:gd name="connsiteY811" fmla="*/ 125152 h 970339"/>
              <a:gd name="connsiteX812" fmla="*/ 192064 w 845713"/>
              <a:gd name="connsiteY812" fmla="*/ 117001 h 970339"/>
              <a:gd name="connsiteX813" fmla="*/ 189343 w 845713"/>
              <a:gd name="connsiteY813" fmla="*/ 112247 h 970339"/>
              <a:gd name="connsiteX814" fmla="*/ 187983 w 845713"/>
              <a:gd name="connsiteY814" fmla="*/ 109530 h 970339"/>
              <a:gd name="connsiteX815" fmla="*/ 187302 w 845713"/>
              <a:gd name="connsiteY815" fmla="*/ 106134 h 970339"/>
              <a:gd name="connsiteX816" fmla="*/ 181860 w 845713"/>
              <a:gd name="connsiteY816" fmla="*/ 102738 h 970339"/>
              <a:gd name="connsiteX817" fmla="*/ 178458 w 845713"/>
              <a:gd name="connsiteY817" fmla="*/ 108171 h 970339"/>
              <a:gd name="connsiteX818" fmla="*/ 173696 w 845713"/>
              <a:gd name="connsiteY818" fmla="*/ 113605 h 970339"/>
              <a:gd name="connsiteX819" fmla="*/ 162130 w 845713"/>
              <a:gd name="connsiteY819" fmla="*/ 114964 h 970339"/>
              <a:gd name="connsiteX820" fmla="*/ 157368 w 845713"/>
              <a:gd name="connsiteY820" fmla="*/ 111567 h 970339"/>
              <a:gd name="connsiteX821" fmla="*/ 158048 w 845713"/>
              <a:gd name="connsiteY821" fmla="*/ 108851 h 970339"/>
              <a:gd name="connsiteX822" fmla="*/ 157368 w 845713"/>
              <a:gd name="connsiteY822" fmla="*/ 107492 h 970339"/>
              <a:gd name="connsiteX823" fmla="*/ 156007 w 845713"/>
              <a:gd name="connsiteY823" fmla="*/ 105455 h 970339"/>
              <a:gd name="connsiteX824" fmla="*/ 156007 w 845713"/>
              <a:gd name="connsiteY824" fmla="*/ 103417 h 970339"/>
              <a:gd name="connsiteX825" fmla="*/ 158048 w 845713"/>
              <a:gd name="connsiteY825" fmla="*/ 101379 h 970339"/>
              <a:gd name="connsiteX826" fmla="*/ 160089 w 845713"/>
              <a:gd name="connsiteY826" fmla="*/ 99342 h 970339"/>
              <a:gd name="connsiteX827" fmla="*/ 162811 w 845713"/>
              <a:gd name="connsiteY827" fmla="*/ 96625 h 970339"/>
              <a:gd name="connsiteX828" fmla="*/ 160770 w 845713"/>
              <a:gd name="connsiteY828" fmla="*/ 97983 h 970339"/>
              <a:gd name="connsiteX829" fmla="*/ 157368 w 845713"/>
              <a:gd name="connsiteY829" fmla="*/ 98663 h 970339"/>
              <a:gd name="connsiteX830" fmla="*/ 155327 w 845713"/>
              <a:gd name="connsiteY830" fmla="*/ 98663 h 970339"/>
              <a:gd name="connsiteX831" fmla="*/ 154647 w 845713"/>
              <a:gd name="connsiteY831" fmla="*/ 97304 h 970339"/>
              <a:gd name="connsiteX832" fmla="*/ 161450 w 845713"/>
              <a:gd name="connsiteY832" fmla="*/ 94587 h 970339"/>
              <a:gd name="connsiteX833" fmla="*/ 162811 w 845713"/>
              <a:gd name="connsiteY833" fmla="*/ 91870 h 970339"/>
              <a:gd name="connsiteX834" fmla="*/ 154647 w 845713"/>
              <a:gd name="connsiteY834" fmla="*/ 93229 h 970339"/>
              <a:gd name="connsiteX835" fmla="*/ 152606 w 845713"/>
              <a:gd name="connsiteY835" fmla="*/ 91191 h 970339"/>
              <a:gd name="connsiteX836" fmla="*/ 157368 w 845713"/>
              <a:gd name="connsiteY836" fmla="*/ 89833 h 970339"/>
              <a:gd name="connsiteX837" fmla="*/ 159409 w 845713"/>
              <a:gd name="connsiteY837" fmla="*/ 85758 h 970339"/>
              <a:gd name="connsiteX838" fmla="*/ 163491 w 845713"/>
              <a:gd name="connsiteY838" fmla="*/ 84399 h 970339"/>
              <a:gd name="connsiteX839" fmla="*/ 162811 w 845713"/>
              <a:gd name="connsiteY839" fmla="*/ 83041 h 970339"/>
              <a:gd name="connsiteX840" fmla="*/ 168933 w 845713"/>
              <a:gd name="connsiteY840" fmla="*/ 81682 h 970339"/>
              <a:gd name="connsiteX841" fmla="*/ 175737 w 845713"/>
              <a:gd name="connsiteY841" fmla="*/ 78965 h 970339"/>
              <a:gd name="connsiteX842" fmla="*/ 179819 w 845713"/>
              <a:gd name="connsiteY842" fmla="*/ 76928 h 970339"/>
              <a:gd name="connsiteX843" fmla="*/ 173696 w 845713"/>
              <a:gd name="connsiteY843" fmla="*/ 76249 h 970339"/>
              <a:gd name="connsiteX844" fmla="*/ 178458 w 845713"/>
              <a:gd name="connsiteY844" fmla="*/ 72853 h 970339"/>
              <a:gd name="connsiteX845" fmla="*/ 183220 w 845713"/>
              <a:gd name="connsiteY845" fmla="*/ 70136 h 970339"/>
              <a:gd name="connsiteX846" fmla="*/ 186622 w 845713"/>
              <a:gd name="connsiteY846" fmla="*/ 66740 h 970339"/>
              <a:gd name="connsiteX847" fmla="*/ 192745 w 845713"/>
              <a:gd name="connsiteY847" fmla="*/ 60627 h 970339"/>
              <a:gd name="connsiteX848" fmla="*/ 190704 w 845713"/>
              <a:gd name="connsiteY848" fmla="*/ 58589 h 970339"/>
              <a:gd name="connsiteX849" fmla="*/ 195466 w 845713"/>
              <a:gd name="connsiteY849" fmla="*/ 55872 h 970339"/>
              <a:gd name="connsiteX850" fmla="*/ 201589 w 845713"/>
              <a:gd name="connsiteY850" fmla="*/ 52476 h 970339"/>
              <a:gd name="connsiteX851" fmla="*/ 198187 w 845713"/>
              <a:gd name="connsiteY851" fmla="*/ 51118 h 970339"/>
              <a:gd name="connsiteX852" fmla="*/ 200228 w 845713"/>
              <a:gd name="connsiteY852" fmla="*/ 49760 h 970339"/>
              <a:gd name="connsiteX853" fmla="*/ 201589 w 845713"/>
              <a:gd name="connsiteY853" fmla="*/ 48401 h 970339"/>
              <a:gd name="connsiteX854" fmla="*/ 204991 w 845713"/>
              <a:gd name="connsiteY854" fmla="*/ 49760 h 970339"/>
              <a:gd name="connsiteX855" fmla="*/ 209753 w 845713"/>
              <a:gd name="connsiteY855" fmla="*/ 47043 h 970339"/>
              <a:gd name="connsiteX856" fmla="*/ 206351 w 845713"/>
              <a:gd name="connsiteY856" fmla="*/ 47722 h 970339"/>
              <a:gd name="connsiteX857" fmla="*/ 209753 w 845713"/>
              <a:gd name="connsiteY857" fmla="*/ 44326 h 970339"/>
              <a:gd name="connsiteX858" fmla="*/ 215876 w 845713"/>
              <a:gd name="connsiteY858" fmla="*/ 41609 h 970339"/>
              <a:gd name="connsiteX859" fmla="*/ 220638 w 845713"/>
              <a:gd name="connsiteY859" fmla="*/ 38892 h 970339"/>
              <a:gd name="connsiteX860" fmla="*/ 221318 w 845713"/>
              <a:gd name="connsiteY860" fmla="*/ 38892 h 970339"/>
              <a:gd name="connsiteX861" fmla="*/ 222679 w 845713"/>
              <a:gd name="connsiteY861" fmla="*/ 39571 h 970339"/>
              <a:gd name="connsiteX862" fmla="*/ 224720 w 845713"/>
              <a:gd name="connsiteY862" fmla="*/ 38213 h 970339"/>
              <a:gd name="connsiteX863" fmla="*/ 228802 w 845713"/>
              <a:gd name="connsiteY863" fmla="*/ 39571 h 970339"/>
              <a:gd name="connsiteX864" fmla="*/ 228122 w 845713"/>
              <a:gd name="connsiteY864" fmla="*/ 36175 h 970339"/>
              <a:gd name="connsiteX865" fmla="*/ 236285 w 845713"/>
              <a:gd name="connsiteY865" fmla="*/ 35496 h 970339"/>
              <a:gd name="connsiteX866" fmla="*/ 243089 w 845713"/>
              <a:gd name="connsiteY866" fmla="*/ 33459 h 970339"/>
              <a:gd name="connsiteX867" fmla="*/ 243769 w 845713"/>
              <a:gd name="connsiteY867" fmla="*/ 36175 h 970339"/>
              <a:gd name="connsiteX868" fmla="*/ 255334 w 845713"/>
              <a:gd name="connsiteY868" fmla="*/ 32100 h 970339"/>
              <a:gd name="connsiteX869" fmla="*/ 258056 w 845713"/>
              <a:gd name="connsiteY869" fmla="*/ 34138 h 970339"/>
              <a:gd name="connsiteX870" fmla="*/ 267580 w 845713"/>
              <a:gd name="connsiteY870" fmla="*/ 32779 h 970339"/>
              <a:gd name="connsiteX871" fmla="*/ 260777 w 845713"/>
              <a:gd name="connsiteY871" fmla="*/ 36175 h 970339"/>
              <a:gd name="connsiteX872" fmla="*/ 270301 w 845713"/>
              <a:gd name="connsiteY872" fmla="*/ 39571 h 970339"/>
              <a:gd name="connsiteX873" fmla="*/ 278465 w 845713"/>
              <a:gd name="connsiteY873" fmla="*/ 36855 h 970339"/>
              <a:gd name="connsiteX874" fmla="*/ 281187 w 845713"/>
              <a:gd name="connsiteY874" fmla="*/ 39571 h 970339"/>
              <a:gd name="connsiteX875" fmla="*/ 291391 w 845713"/>
              <a:gd name="connsiteY875" fmla="*/ 40251 h 970339"/>
              <a:gd name="connsiteX876" fmla="*/ 301596 w 845713"/>
              <a:gd name="connsiteY876" fmla="*/ 42288 h 970339"/>
              <a:gd name="connsiteX877" fmla="*/ 309760 w 845713"/>
              <a:gd name="connsiteY877" fmla="*/ 45684 h 970339"/>
              <a:gd name="connsiteX878" fmla="*/ 319965 w 845713"/>
              <a:gd name="connsiteY878" fmla="*/ 48401 h 970339"/>
              <a:gd name="connsiteX879" fmla="*/ 324047 w 845713"/>
              <a:gd name="connsiteY879" fmla="*/ 53835 h 970339"/>
              <a:gd name="connsiteX880" fmla="*/ 317924 w 845713"/>
              <a:gd name="connsiteY880" fmla="*/ 59268 h 970339"/>
              <a:gd name="connsiteX881" fmla="*/ 292072 w 845713"/>
              <a:gd name="connsiteY881" fmla="*/ 54514 h 970339"/>
              <a:gd name="connsiteX882" fmla="*/ 281187 w 845713"/>
              <a:gd name="connsiteY882" fmla="*/ 53156 h 970339"/>
              <a:gd name="connsiteX883" fmla="*/ 290031 w 845713"/>
              <a:gd name="connsiteY883" fmla="*/ 57231 h 970339"/>
              <a:gd name="connsiteX884" fmla="*/ 294793 w 845713"/>
              <a:gd name="connsiteY884" fmla="*/ 59268 h 970339"/>
              <a:gd name="connsiteX885" fmla="*/ 300916 w 845713"/>
              <a:gd name="connsiteY885" fmla="*/ 66740 h 970339"/>
              <a:gd name="connsiteX886" fmla="*/ 316563 w 845713"/>
              <a:gd name="connsiteY886" fmla="*/ 73532 h 970339"/>
              <a:gd name="connsiteX887" fmla="*/ 314522 w 845713"/>
              <a:gd name="connsiteY887" fmla="*/ 70136 h 970339"/>
              <a:gd name="connsiteX888" fmla="*/ 311801 w 845713"/>
              <a:gd name="connsiteY888" fmla="*/ 64702 h 970339"/>
              <a:gd name="connsiteX889" fmla="*/ 327449 w 845713"/>
              <a:gd name="connsiteY889" fmla="*/ 68098 h 970339"/>
              <a:gd name="connsiteX890" fmla="*/ 330850 w 845713"/>
              <a:gd name="connsiteY890" fmla="*/ 67419 h 970339"/>
              <a:gd name="connsiteX891" fmla="*/ 324727 w 845713"/>
              <a:gd name="connsiteY891" fmla="*/ 63344 h 970339"/>
              <a:gd name="connsiteX892" fmla="*/ 332891 w 845713"/>
              <a:gd name="connsiteY892" fmla="*/ 56552 h 970339"/>
              <a:gd name="connsiteX893" fmla="*/ 340375 w 845713"/>
              <a:gd name="connsiteY893" fmla="*/ 58589 h 970339"/>
              <a:gd name="connsiteX894" fmla="*/ 341055 w 845713"/>
              <a:gd name="connsiteY894" fmla="*/ 54514 h 970339"/>
              <a:gd name="connsiteX895" fmla="*/ 338334 w 845713"/>
              <a:gd name="connsiteY895" fmla="*/ 51797 h 970339"/>
              <a:gd name="connsiteX896" fmla="*/ 336293 w 845713"/>
              <a:gd name="connsiteY896" fmla="*/ 45684 h 970339"/>
              <a:gd name="connsiteX897" fmla="*/ 330850 w 845713"/>
              <a:gd name="connsiteY897" fmla="*/ 42288 h 970339"/>
              <a:gd name="connsiteX898" fmla="*/ 347178 w 845713"/>
              <a:gd name="connsiteY898" fmla="*/ 46363 h 970339"/>
              <a:gd name="connsiteX899" fmla="*/ 350580 w 845713"/>
              <a:gd name="connsiteY899" fmla="*/ 52476 h 970339"/>
              <a:gd name="connsiteX900" fmla="*/ 354661 w 845713"/>
              <a:gd name="connsiteY900" fmla="*/ 51797 h 970339"/>
              <a:gd name="connsiteX901" fmla="*/ 357383 w 845713"/>
              <a:gd name="connsiteY901" fmla="*/ 49080 h 970339"/>
              <a:gd name="connsiteX902" fmla="*/ 362145 w 845713"/>
              <a:gd name="connsiteY902" fmla="*/ 45684 h 970339"/>
              <a:gd name="connsiteX903" fmla="*/ 366907 w 845713"/>
              <a:gd name="connsiteY903" fmla="*/ 44326 h 970339"/>
              <a:gd name="connsiteX904" fmla="*/ 370309 w 845713"/>
              <a:gd name="connsiteY904" fmla="*/ 41609 h 970339"/>
              <a:gd name="connsiteX905" fmla="*/ 375071 w 845713"/>
              <a:gd name="connsiteY905" fmla="*/ 41609 h 970339"/>
              <a:gd name="connsiteX906" fmla="*/ 377792 w 845713"/>
              <a:gd name="connsiteY906" fmla="*/ 38892 h 970339"/>
              <a:gd name="connsiteX907" fmla="*/ 379153 w 845713"/>
              <a:gd name="connsiteY907" fmla="*/ 41609 h 970339"/>
              <a:gd name="connsiteX908" fmla="*/ 376432 w 845713"/>
              <a:gd name="connsiteY908" fmla="*/ 50439 h 970339"/>
              <a:gd name="connsiteX909" fmla="*/ 388678 w 845713"/>
              <a:gd name="connsiteY909" fmla="*/ 40930 h 970339"/>
              <a:gd name="connsiteX910" fmla="*/ 401604 w 845713"/>
              <a:gd name="connsiteY910" fmla="*/ 38892 h 970339"/>
              <a:gd name="connsiteX911" fmla="*/ 405686 w 845713"/>
              <a:gd name="connsiteY911" fmla="*/ 41609 h 970339"/>
              <a:gd name="connsiteX912" fmla="*/ 411128 w 845713"/>
              <a:gd name="connsiteY912" fmla="*/ 38213 h 970339"/>
              <a:gd name="connsiteX913" fmla="*/ 410448 w 845713"/>
              <a:gd name="connsiteY913" fmla="*/ 33459 h 970339"/>
              <a:gd name="connsiteX914" fmla="*/ 422694 w 845713"/>
              <a:gd name="connsiteY914" fmla="*/ 32779 h 970339"/>
              <a:gd name="connsiteX915" fmla="*/ 430177 w 845713"/>
              <a:gd name="connsiteY915" fmla="*/ 34817 h 970339"/>
              <a:gd name="connsiteX916" fmla="*/ 434259 w 845713"/>
              <a:gd name="connsiteY916" fmla="*/ 37534 h 970339"/>
              <a:gd name="connsiteX917" fmla="*/ 442423 w 845713"/>
              <a:gd name="connsiteY917" fmla="*/ 38213 h 970339"/>
              <a:gd name="connsiteX918" fmla="*/ 449907 w 845713"/>
              <a:gd name="connsiteY918" fmla="*/ 40930 h 970339"/>
              <a:gd name="connsiteX919" fmla="*/ 449226 w 845713"/>
              <a:gd name="connsiteY919" fmla="*/ 36175 h 970339"/>
              <a:gd name="connsiteX920" fmla="*/ 445144 w 845713"/>
              <a:gd name="connsiteY920" fmla="*/ 36855 h 970339"/>
              <a:gd name="connsiteX921" fmla="*/ 439021 w 845713"/>
              <a:gd name="connsiteY921" fmla="*/ 31421 h 970339"/>
              <a:gd name="connsiteX922" fmla="*/ 433579 w 845713"/>
              <a:gd name="connsiteY922" fmla="*/ 30063 h 970339"/>
              <a:gd name="connsiteX923" fmla="*/ 430177 w 845713"/>
              <a:gd name="connsiteY923" fmla="*/ 26666 h 970339"/>
              <a:gd name="connsiteX924" fmla="*/ 431538 w 845713"/>
              <a:gd name="connsiteY924" fmla="*/ 23270 h 970339"/>
              <a:gd name="connsiteX925" fmla="*/ 435620 w 845713"/>
              <a:gd name="connsiteY925" fmla="*/ 17158 h 970339"/>
              <a:gd name="connsiteX926" fmla="*/ 444464 w 845713"/>
              <a:gd name="connsiteY926" fmla="*/ 15799 h 970339"/>
              <a:gd name="connsiteX927" fmla="*/ 450587 w 845713"/>
              <a:gd name="connsiteY927" fmla="*/ 21912 h 970339"/>
              <a:gd name="connsiteX928" fmla="*/ 458751 w 845713"/>
              <a:gd name="connsiteY928" fmla="*/ 28704 h 970339"/>
              <a:gd name="connsiteX929" fmla="*/ 468956 w 845713"/>
              <a:gd name="connsiteY929" fmla="*/ 42288 h 970339"/>
              <a:gd name="connsiteX930" fmla="*/ 465554 w 845713"/>
              <a:gd name="connsiteY930" fmla="*/ 47722 h 970339"/>
              <a:gd name="connsiteX931" fmla="*/ 458751 w 845713"/>
              <a:gd name="connsiteY931" fmla="*/ 48401 h 970339"/>
              <a:gd name="connsiteX932" fmla="*/ 456710 w 845713"/>
              <a:gd name="connsiteY932" fmla="*/ 50439 h 970339"/>
              <a:gd name="connsiteX933" fmla="*/ 461472 w 845713"/>
              <a:gd name="connsiteY933" fmla="*/ 51797 h 970339"/>
              <a:gd name="connsiteX934" fmla="*/ 471677 w 845713"/>
              <a:gd name="connsiteY934" fmla="*/ 51797 h 970339"/>
              <a:gd name="connsiteX935" fmla="*/ 477119 w 845713"/>
              <a:gd name="connsiteY935" fmla="*/ 51118 h 970339"/>
              <a:gd name="connsiteX936" fmla="*/ 479160 w 845713"/>
              <a:gd name="connsiteY936" fmla="*/ 42288 h 970339"/>
              <a:gd name="connsiteX937" fmla="*/ 473718 w 845713"/>
              <a:gd name="connsiteY937" fmla="*/ 35496 h 970339"/>
              <a:gd name="connsiteX938" fmla="*/ 487324 w 845713"/>
              <a:gd name="connsiteY938" fmla="*/ 37534 h 970339"/>
              <a:gd name="connsiteX939" fmla="*/ 496849 w 845713"/>
              <a:gd name="connsiteY939" fmla="*/ 40930 h 970339"/>
              <a:gd name="connsiteX940" fmla="*/ 490046 w 845713"/>
              <a:gd name="connsiteY940" fmla="*/ 38213 h 970339"/>
              <a:gd name="connsiteX941" fmla="*/ 477800 w 845713"/>
              <a:gd name="connsiteY941" fmla="*/ 31421 h 970339"/>
              <a:gd name="connsiteX942" fmla="*/ 473038 w 845713"/>
              <a:gd name="connsiteY942" fmla="*/ 32779 h 970339"/>
              <a:gd name="connsiteX943" fmla="*/ 469636 w 845713"/>
              <a:gd name="connsiteY943" fmla="*/ 33459 h 970339"/>
              <a:gd name="connsiteX944" fmla="*/ 463513 w 845713"/>
              <a:gd name="connsiteY944" fmla="*/ 30742 h 970339"/>
              <a:gd name="connsiteX945" fmla="*/ 462152 w 845713"/>
              <a:gd name="connsiteY945" fmla="*/ 25308 h 970339"/>
              <a:gd name="connsiteX946" fmla="*/ 455349 w 845713"/>
              <a:gd name="connsiteY946" fmla="*/ 20554 h 970339"/>
              <a:gd name="connsiteX947" fmla="*/ 459431 w 845713"/>
              <a:gd name="connsiteY947" fmla="*/ 14441 h 970339"/>
              <a:gd name="connsiteX948" fmla="*/ 460111 w 845713"/>
              <a:gd name="connsiteY948" fmla="*/ 17158 h 970339"/>
              <a:gd name="connsiteX949" fmla="*/ 470316 w 845713"/>
              <a:gd name="connsiteY949" fmla="*/ 22591 h 970339"/>
              <a:gd name="connsiteX950" fmla="*/ 481882 w 845713"/>
              <a:gd name="connsiteY950" fmla="*/ 22591 h 970339"/>
              <a:gd name="connsiteX951" fmla="*/ 465554 w 845713"/>
              <a:gd name="connsiteY951" fmla="*/ 17837 h 970339"/>
              <a:gd name="connsiteX952" fmla="*/ 471677 w 845713"/>
              <a:gd name="connsiteY952" fmla="*/ 18516 h 970339"/>
              <a:gd name="connsiteX953" fmla="*/ 475079 w 845713"/>
              <a:gd name="connsiteY953" fmla="*/ 16478 h 970339"/>
              <a:gd name="connsiteX954" fmla="*/ 494128 w 845713"/>
              <a:gd name="connsiteY954" fmla="*/ 18516 h 970339"/>
              <a:gd name="connsiteX955" fmla="*/ 496849 w 845713"/>
              <a:gd name="connsiteY955" fmla="*/ 23270 h 970339"/>
              <a:gd name="connsiteX956" fmla="*/ 504332 w 845713"/>
              <a:gd name="connsiteY956" fmla="*/ 25308 h 970339"/>
              <a:gd name="connsiteX957" fmla="*/ 500250 w 845713"/>
              <a:gd name="connsiteY957" fmla="*/ 19874 h 970339"/>
              <a:gd name="connsiteX958" fmla="*/ 481201 w 845713"/>
              <a:gd name="connsiteY958" fmla="*/ 13082 h 970339"/>
              <a:gd name="connsiteX959" fmla="*/ 477800 w 845713"/>
              <a:gd name="connsiteY959" fmla="*/ 9686 h 970339"/>
              <a:gd name="connsiteX960" fmla="*/ 502972 w 845713"/>
              <a:gd name="connsiteY960" fmla="*/ 6969 h 970339"/>
              <a:gd name="connsiteX961" fmla="*/ 497529 w 845713"/>
              <a:gd name="connsiteY961" fmla="*/ 3573 h 97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Lst>
            <a:rect l="l" t="t" r="r" b="b"/>
            <a:pathLst>
              <a:path w="845713" h="970339">
                <a:moveTo>
                  <a:pt x="499552" y="0"/>
                </a:moveTo>
                <a:lnTo>
                  <a:pt x="589266" y="0"/>
                </a:lnTo>
                <a:lnTo>
                  <a:pt x="588693" y="347"/>
                </a:lnTo>
                <a:cubicBezTo>
                  <a:pt x="586822" y="857"/>
                  <a:pt x="584951" y="1536"/>
                  <a:pt x="583930" y="4253"/>
                </a:cubicBezTo>
                <a:lnTo>
                  <a:pt x="596100" y="0"/>
                </a:lnTo>
                <a:lnTo>
                  <a:pt x="697073" y="0"/>
                </a:lnTo>
                <a:lnTo>
                  <a:pt x="700265" y="177"/>
                </a:lnTo>
                <a:lnTo>
                  <a:pt x="700169" y="0"/>
                </a:lnTo>
                <a:lnTo>
                  <a:pt x="845713" y="0"/>
                </a:lnTo>
                <a:lnTo>
                  <a:pt x="845713" y="469851"/>
                </a:lnTo>
                <a:lnTo>
                  <a:pt x="843133" y="465435"/>
                </a:lnTo>
                <a:cubicBezTo>
                  <a:pt x="843133" y="466114"/>
                  <a:pt x="843813" y="470189"/>
                  <a:pt x="843133" y="470869"/>
                </a:cubicBezTo>
                <a:cubicBezTo>
                  <a:pt x="843133" y="472227"/>
                  <a:pt x="840412" y="474944"/>
                  <a:pt x="839731" y="476981"/>
                </a:cubicBezTo>
                <a:cubicBezTo>
                  <a:pt x="838371" y="479698"/>
                  <a:pt x="837010" y="477661"/>
                  <a:pt x="834289" y="476981"/>
                </a:cubicBezTo>
                <a:cubicBezTo>
                  <a:pt x="832248" y="475623"/>
                  <a:pt x="831567" y="474944"/>
                  <a:pt x="828846" y="475623"/>
                </a:cubicBezTo>
                <a:cubicBezTo>
                  <a:pt x="826805" y="476981"/>
                  <a:pt x="827485" y="473585"/>
                  <a:pt x="827485" y="471548"/>
                </a:cubicBezTo>
                <a:cubicBezTo>
                  <a:pt x="827485" y="464077"/>
                  <a:pt x="822723" y="455926"/>
                  <a:pt x="820002" y="449134"/>
                </a:cubicBezTo>
                <a:cubicBezTo>
                  <a:pt x="818641" y="444379"/>
                  <a:pt x="818641" y="444379"/>
                  <a:pt x="818641" y="444379"/>
                </a:cubicBezTo>
                <a:cubicBezTo>
                  <a:pt x="817281" y="441663"/>
                  <a:pt x="815920" y="443021"/>
                  <a:pt x="814559" y="439625"/>
                </a:cubicBezTo>
                <a:cubicBezTo>
                  <a:pt x="813199" y="436908"/>
                  <a:pt x="810477" y="436908"/>
                  <a:pt x="807756" y="434871"/>
                </a:cubicBezTo>
                <a:cubicBezTo>
                  <a:pt x="804354" y="432154"/>
                  <a:pt x="801633" y="430116"/>
                  <a:pt x="800273" y="424682"/>
                </a:cubicBezTo>
                <a:cubicBezTo>
                  <a:pt x="799592" y="421286"/>
                  <a:pt x="795510" y="419249"/>
                  <a:pt x="794150" y="415853"/>
                </a:cubicBezTo>
                <a:cubicBezTo>
                  <a:pt x="792789" y="411778"/>
                  <a:pt x="785986" y="407023"/>
                  <a:pt x="787346" y="413136"/>
                </a:cubicBezTo>
                <a:cubicBezTo>
                  <a:pt x="787346" y="415174"/>
                  <a:pt x="788027" y="418570"/>
                  <a:pt x="786666" y="419928"/>
                </a:cubicBezTo>
                <a:cubicBezTo>
                  <a:pt x="785986" y="421286"/>
                  <a:pt x="781904" y="418570"/>
                  <a:pt x="781224" y="417211"/>
                </a:cubicBezTo>
                <a:cubicBezTo>
                  <a:pt x="781224" y="418570"/>
                  <a:pt x="782584" y="419928"/>
                  <a:pt x="781224" y="421286"/>
                </a:cubicBezTo>
                <a:cubicBezTo>
                  <a:pt x="779863" y="421966"/>
                  <a:pt x="779183" y="419928"/>
                  <a:pt x="778502" y="419928"/>
                </a:cubicBezTo>
                <a:cubicBezTo>
                  <a:pt x="777822" y="419249"/>
                  <a:pt x="776461" y="424682"/>
                  <a:pt x="774420" y="419928"/>
                </a:cubicBezTo>
                <a:cubicBezTo>
                  <a:pt x="774420" y="419249"/>
                  <a:pt x="773740" y="416532"/>
                  <a:pt x="773740" y="418570"/>
                </a:cubicBezTo>
                <a:cubicBezTo>
                  <a:pt x="773740" y="423324"/>
                  <a:pt x="772379" y="421286"/>
                  <a:pt x="770338" y="419928"/>
                </a:cubicBezTo>
                <a:cubicBezTo>
                  <a:pt x="768978" y="418570"/>
                  <a:pt x="768978" y="422645"/>
                  <a:pt x="766937" y="422645"/>
                </a:cubicBezTo>
                <a:cubicBezTo>
                  <a:pt x="763535" y="423324"/>
                  <a:pt x="760814" y="423324"/>
                  <a:pt x="762855" y="427399"/>
                </a:cubicBezTo>
                <a:cubicBezTo>
                  <a:pt x="763535" y="429437"/>
                  <a:pt x="766256" y="432154"/>
                  <a:pt x="763535" y="433512"/>
                </a:cubicBezTo>
                <a:cubicBezTo>
                  <a:pt x="762855" y="433512"/>
                  <a:pt x="764896" y="433512"/>
                  <a:pt x="764896" y="434191"/>
                </a:cubicBezTo>
                <a:cubicBezTo>
                  <a:pt x="761494" y="437587"/>
                  <a:pt x="762855" y="439625"/>
                  <a:pt x="758093" y="441663"/>
                </a:cubicBezTo>
                <a:cubicBezTo>
                  <a:pt x="756732" y="442342"/>
                  <a:pt x="754691" y="441663"/>
                  <a:pt x="754011" y="443021"/>
                </a:cubicBezTo>
                <a:cubicBezTo>
                  <a:pt x="753330" y="444379"/>
                  <a:pt x="756732" y="443700"/>
                  <a:pt x="754691" y="446417"/>
                </a:cubicBezTo>
                <a:cubicBezTo>
                  <a:pt x="752650" y="448455"/>
                  <a:pt x="754011" y="449134"/>
                  <a:pt x="753330" y="451851"/>
                </a:cubicBezTo>
                <a:cubicBezTo>
                  <a:pt x="747207" y="459322"/>
                  <a:pt x="747207" y="459322"/>
                  <a:pt x="747207" y="459322"/>
                </a:cubicBezTo>
                <a:cubicBezTo>
                  <a:pt x="745166" y="462718"/>
                  <a:pt x="743806" y="467473"/>
                  <a:pt x="739724" y="468831"/>
                </a:cubicBezTo>
                <a:cubicBezTo>
                  <a:pt x="739724" y="473585"/>
                  <a:pt x="740404" y="474944"/>
                  <a:pt x="734281" y="474944"/>
                </a:cubicBezTo>
                <a:cubicBezTo>
                  <a:pt x="734281" y="475623"/>
                  <a:pt x="734281" y="475623"/>
                  <a:pt x="734281" y="475623"/>
                </a:cubicBezTo>
                <a:cubicBezTo>
                  <a:pt x="733601" y="475623"/>
                  <a:pt x="733601" y="475623"/>
                  <a:pt x="733601" y="475623"/>
                </a:cubicBezTo>
                <a:cubicBezTo>
                  <a:pt x="732921" y="480378"/>
                  <a:pt x="734962" y="483774"/>
                  <a:pt x="728839" y="482415"/>
                </a:cubicBezTo>
                <a:cubicBezTo>
                  <a:pt x="728158" y="482415"/>
                  <a:pt x="728158" y="482415"/>
                  <a:pt x="728158" y="482415"/>
                </a:cubicBezTo>
                <a:cubicBezTo>
                  <a:pt x="727478" y="482415"/>
                  <a:pt x="727478" y="482415"/>
                  <a:pt x="727478" y="482415"/>
                </a:cubicBezTo>
                <a:cubicBezTo>
                  <a:pt x="727478" y="483774"/>
                  <a:pt x="726117" y="490566"/>
                  <a:pt x="726798" y="490566"/>
                </a:cubicBezTo>
                <a:cubicBezTo>
                  <a:pt x="728839" y="492603"/>
                  <a:pt x="728158" y="495999"/>
                  <a:pt x="728839" y="498716"/>
                </a:cubicBezTo>
                <a:cubicBezTo>
                  <a:pt x="730199" y="498716"/>
                  <a:pt x="729519" y="503471"/>
                  <a:pt x="729519" y="504829"/>
                </a:cubicBezTo>
                <a:cubicBezTo>
                  <a:pt x="729519" y="507546"/>
                  <a:pt x="732240" y="512980"/>
                  <a:pt x="729519" y="514338"/>
                </a:cubicBezTo>
                <a:cubicBezTo>
                  <a:pt x="729519" y="518413"/>
                  <a:pt x="727478" y="521809"/>
                  <a:pt x="728158" y="525884"/>
                </a:cubicBezTo>
                <a:cubicBezTo>
                  <a:pt x="728158" y="531997"/>
                  <a:pt x="731560" y="531318"/>
                  <a:pt x="726117" y="533356"/>
                </a:cubicBezTo>
                <a:cubicBezTo>
                  <a:pt x="726117" y="536752"/>
                  <a:pt x="724757" y="540148"/>
                  <a:pt x="724757" y="544223"/>
                </a:cubicBezTo>
                <a:cubicBezTo>
                  <a:pt x="726798" y="546261"/>
                  <a:pt x="726798" y="546261"/>
                  <a:pt x="726798" y="546261"/>
                </a:cubicBezTo>
                <a:cubicBezTo>
                  <a:pt x="726798" y="546940"/>
                  <a:pt x="726798" y="546940"/>
                  <a:pt x="726798" y="546940"/>
                </a:cubicBezTo>
                <a:cubicBezTo>
                  <a:pt x="727478" y="546940"/>
                  <a:pt x="727478" y="546940"/>
                  <a:pt x="727478" y="546940"/>
                </a:cubicBezTo>
                <a:cubicBezTo>
                  <a:pt x="725437" y="547619"/>
                  <a:pt x="724076" y="547619"/>
                  <a:pt x="722716" y="547619"/>
                </a:cubicBezTo>
                <a:cubicBezTo>
                  <a:pt x="722035" y="552374"/>
                  <a:pt x="720675" y="556449"/>
                  <a:pt x="715232" y="556449"/>
                </a:cubicBezTo>
                <a:cubicBezTo>
                  <a:pt x="709790" y="557128"/>
                  <a:pt x="709109" y="553053"/>
                  <a:pt x="709109" y="548298"/>
                </a:cubicBezTo>
                <a:cubicBezTo>
                  <a:pt x="708429" y="548298"/>
                  <a:pt x="707749" y="548298"/>
                  <a:pt x="707068" y="548298"/>
                </a:cubicBezTo>
                <a:cubicBezTo>
                  <a:pt x="705708" y="543544"/>
                  <a:pt x="705708" y="536073"/>
                  <a:pt x="702306" y="532677"/>
                </a:cubicBezTo>
                <a:cubicBezTo>
                  <a:pt x="700265" y="529960"/>
                  <a:pt x="701626" y="527922"/>
                  <a:pt x="699585" y="525205"/>
                </a:cubicBezTo>
                <a:cubicBezTo>
                  <a:pt x="695503" y="519092"/>
                  <a:pt x="695503" y="519092"/>
                  <a:pt x="695503" y="519092"/>
                </a:cubicBezTo>
                <a:cubicBezTo>
                  <a:pt x="691421" y="518413"/>
                  <a:pt x="687339" y="501433"/>
                  <a:pt x="687339" y="498037"/>
                </a:cubicBezTo>
                <a:cubicBezTo>
                  <a:pt x="687339" y="496679"/>
                  <a:pt x="686659" y="493962"/>
                  <a:pt x="685978" y="493282"/>
                </a:cubicBezTo>
                <a:cubicBezTo>
                  <a:pt x="685978" y="493282"/>
                  <a:pt x="684618" y="493282"/>
                  <a:pt x="684618" y="492603"/>
                </a:cubicBezTo>
                <a:cubicBezTo>
                  <a:pt x="683937" y="492603"/>
                  <a:pt x="681896" y="491924"/>
                  <a:pt x="681896" y="490566"/>
                </a:cubicBezTo>
                <a:cubicBezTo>
                  <a:pt x="681216" y="490566"/>
                  <a:pt x="681216" y="490566"/>
                  <a:pt x="681216" y="490566"/>
                </a:cubicBezTo>
                <a:cubicBezTo>
                  <a:pt x="680536" y="489886"/>
                  <a:pt x="677134" y="484453"/>
                  <a:pt x="677134" y="483094"/>
                </a:cubicBezTo>
                <a:cubicBezTo>
                  <a:pt x="676454" y="481057"/>
                  <a:pt x="676454" y="478340"/>
                  <a:pt x="675093" y="477661"/>
                </a:cubicBezTo>
                <a:cubicBezTo>
                  <a:pt x="672372" y="476302"/>
                  <a:pt x="673733" y="471548"/>
                  <a:pt x="672372" y="469510"/>
                </a:cubicBezTo>
                <a:cubicBezTo>
                  <a:pt x="671692" y="468152"/>
                  <a:pt x="668970" y="460680"/>
                  <a:pt x="668970" y="460680"/>
                </a:cubicBezTo>
                <a:cubicBezTo>
                  <a:pt x="668290" y="460001"/>
                  <a:pt x="668290" y="460001"/>
                  <a:pt x="667610" y="459322"/>
                </a:cubicBezTo>
                <a:cubicBezTo>
                  <a:pt x="666929" y="458643"/>
                  <a:pt x="668290" y="456605"/>
                  <a:pt x="667610" y="456605"/>
                </a:cubicBezTo>
                <a:cubicBezTo>
                  <a:pt x="667610" y="454568"/>
                  <a:pt x="665569" y="454568"/>
                  <a:pt x="665569" y="451851"/>
                </a:cubicBezTo>
                <a:cubicBezTo>
                  <a:pt x="666929" y="448455"/>
                  <a:pt x="664208" y="446417"/>
                  <a:pt x="662167" y="443021"/>
                </a:cubicBezTo>
                <a:cubicBezTo>
                  <a:pt x="659446" y="439625"/>
                  <a:pt x="661487" y="438267"/>
                  <a:pt x="661487" y="434871"/>
                </a:cubicBezTo>
                <a:cubicBezTo>
                  <a:pt x="661487" y="432833"/>
                  <a:pt x="661487" y="431475"/>
                  <a:pt x="659446" y="429437"/>
                </a:cubicBezTo>
                <a:cubicBezTo>
                  <a:pt x="658766" y="428758"/>
                  <a:pt x="658766" y="424682"/>
                  <a:pt x="658085" y="422645"/>
                </a:cubicBezTo>
                <a:cubicBezTo>
                  <a:pt x="657405" y="421286"/>
                  <a:pt x="657405" y="420607"/>
                  <a:pt x="656725" y="419249"/>
                </a:cubicBezTo>
                <a:cubicBezTo>
                  <a:pt x="656725" y="417890"/>
                  <a:pt x="654684" y="418570"/>
                  <a:pt x="654003" y="417890"/>
                </a:cubicBezTo>
                <a:cubicBezTo>
                  <a:pt x="654003" y="424003"/>
                  <a:pt x="659446" y="432154"/>
                  <a:pt x="649921" y="431475"/>
                </a:cubicBezTo>
                <a:cubicBezTo>
                  <a:pt x="645839" y="431475"/>
                  <a:pt x="647200" y="433512"/>
                  <a:pt x="645159" y="433512"/>
                </a:cubicBezTo>
                <a:cubicBezTo>
                  <a:pt x="644479" y="433512"/>
                  <a:pt x="639036" y="426720"/>
                  <a:pt x="637676" y="426041"/>
                </a:cubicBezTo>
                <a:cubicBezTo>
                  <a:pt x="635635" y="424003"/>
                  <a:pt x="634954" y="421966"/>
                  <a:pt x="633594" y="419928"/>
                </a:cubicBezTo>
                <a:cubicBezTo>
                  <a:pt x="631553" y="416532"/>
                  <a:pt x="634954" y="419249"/>
                  <a:pt x="636315" y="415853"/>
                </a:cubicBezTo>
                <a:cubicBezTo>
                  <a:pt x="636995" y="414494"/>
                  <a:pt x="638356" y="414494"/>
                  <a:pt x="639036" y="413136"/>
                </a:cubicBezTo>
                <a:cubicBezTo>
                  <a:pt x="640397" y="410419"/>
                  <a:pt x="637676" y="413136"/>
                  <a:pt x="635635" y="413815"/>
                </a:cubicBezTo>
                <a:cubicBezTo>
                  <a:pt x="632913" y="414494"/>
                  <a:pt x="628151" y="412457"/>
                  <a:pt x="627471" y="409740"/>
                </a:cubicBezTo>
                <a:cubicBezTo>
                  <a:pt x="624749" y="408381"/>
                  <a:pt x="624749" y="408381"/>
                  <a:pt x="624749" y="408381"/>
                </a:cubicBezTo>
                <a:cubicBezTo>
                  <a:pt x="624069" y="407023"/>
                  <a:pt x="624069" y="404985"/>
                  <a:pt x="624069" y="403627"/>
                </a:cubicBezTo>
                <a:cubicBezTo>
                  <a:pt x="621348" y="402269"/>
                  <a:pt x="617946" y="404306"/>
                  <a:pt x="615225" y="402269"/>
                </a:cubicBezTo>
                <a:cubicBezTo>
                  <a:pt x="613864" y="400910"/>
                  <a:pt x="613184" y="397514"/>
                  <a:pt x="613184" y="395477"/>
                </a:cubicBezTo>
                <a:cubicBezTo>
                  <a:pt x="611823" y="394797"/>
                  <a:pt x="609102" y="395477"/>
                  <a:pt x="608422" y="394118"/>
                </a:cubicBezTo>
                <a:cubicBezTo>
                  <a:pt x="607741" y="393439"/>
                  <a:pt x="606381" y="389364"/>
                  <a:pt x="606381" y="388684"/>
                </a:cubicBezTo>
                <a:cubicBezTo>
                  <a:pt x="605020" y="388684"/>
                  <a:pt x="598217" y="389364"/>
                  <a:pt x="596856" y="389364"/>
                </a:cubicBezTo>
                <a:cubicBezTo>
                  <a:pt x="594815" y="390043"/>
                  <a:pt x="594135" y="390722"/>
                  <a:pt x="592094" y="389364"/>
                </a:cubicBezTo>
                <a:cubicBezTo>
                  <a:pt x="591414" y="388684"/>
                  <a:pt x="588692" y="387326"/>
                  <a:pt x="588012" y="389364"/>
                </a:cubicBezTo>
                <a:cubicBezTo>
                  <a:pt x="587332" y="390043"/>
                  <a:pt x="585971" y="391401"/>
                  <a:pt x="584610" y="391401"/>
                </a:cubicBezTo>
                <a:cubicBezTo>
                  <a:pt x="582569" y="391401"/>
                  <a:pt x="581209" y="392080"/>
                  <a:pt x="579168" y="392760"/>
                </a:cubicBezTo>
                <a:cubicBezTo>
                  <a:pt x="573045" y="395477"/>
                  <a:pt x="566922" y="391401"/>
                  <a:pt x="560799" y="391401"/>
                </a:cubicBezTo>
                <a:cubicBezTo>
                  <a:pt x="557397" y="391401"/>
                  <a:pt x="551955" y="390043"/>
                  <a:pt x="549234" y="388684"/>
                </a:cubicBezTo>
                <a:cubicBezTo>
                  <a:pt x="541750" y="386647"/>
                  <a:pt x="539029" y="387326"/>
                  <a:pt x="536988" y="379176"/>
                </a:cubicBezTo>
                <a:cubicBezTo>
                  <a:pt x="534947" y="372383"/>
                  <a:pt x="522701" y="375100"/>
                  <a:pt x="521340" y="380534"/>
                </a:cubicBezTo>
                <a:cubicBezTo>
                  <a:pt x="520660" y="380534"/>
                  <a:pt x="520660" y="380534"/>
                  <a:pt x="519980" y="380534"/>
                </a:cubicBezTo>
                <a:cubicBezTo>
                  <a:pt x="519299" y="378496"/>
                  <a:pt x="513857" y="379176"/>
                  <a:pt x="511816" y="379176"/>
                </a:cubicBezTo>
                <a:cubicBezTo>
                  <a:pt x="507054" y="379176"/>
                  <a:pt x="510455" y="375100"/>
                  <a:pt x="505693" y="375100"/>
                </a:cubicBezTo>
                <a:cubicBezTo>
                  <a:pt x="502972" y="374421"/>
                  <a:pt x="504332" y="373063"/>
                  <a:pt x="503652" y="371025"/>
                </a:cubicBezTo>
                <a:cubicBezTo>
                  <a:pt x="503652" y="370346"/>
                  <a:pt x="496849" y="368987"/>
                  <a:pt x="494808" y="368308"/>
                </a:cubicBezTo>
                <a:cubicBezTo>
                  <a:pt x="492087" y="366950"/>
                  <a:pt x="494128" y="366271"/>
                  <a:pt x="492767" y="364233"/>
                </a:cubicBezTo>
                <a:cubicBezTo>
                  <a:pt x="490726" y="361516"/>
                  <a:pt x="488005" y="359478"/>
                  <a:pt x="485964" y="356762"/>
                </a:cubicBezTo>
                <a:cubicBezTo>
                  <a:pt x="482562" y="353366"/>
                  <a:pt x="479841" y="344536"/>
                  <a:pt x="472357" y="344536"/>
                </a:cubicBezTo>
                <a:cubicBezTo>
                  <a:pt x="472357" y="349290"/>
                  <a:pt x="467595" y="347253"/>
                  <a:pt x="464193" y="347253"/>
                </a:cubicBezTo>
                <a:cubicBezTo>
                  <a:pt x="464193" y="348611"/>
                  <a:pt x="465554" y="349970"/>
                  <a:pt x="466234" y="350649"/>
                </a:cubicBezTo>
                <a:cubicBezTo>
                  <a:pt x="466234" y="352007"/>
                  <a:pt x="464874" y="352686"/>
                  <a:pt x="464874" y="354045"/>
                </a:cubicBezTo>
                <a:cubicBezTo>
                  <a:pt x="468956" y="355403"/>
                  <a:pt x="469636" y="358799"/>
                  <a:pt x="472357" y="362195"/>
                </a:cubicBezTo>
                <a:cubicBezTo>
                  <a:pt x="474398" y="364233"/>
                  <a:pt x="475759" y="368308"/>
                  <a:pt x="477119" y="370346"/>
                </a:cubicBezTo>
                <a:cubicBezTo>
                  <a:pt x="479160" y="372383"/>
                  <a:pt x="477800" y="371704"/>
                  <a:pt x="479160" y="373742"/>
                </a:cubicBezTo>
                <a:cubicBezTo>
                  <a:pt x="479841" y="375100"/>
                  <a:pt x="484603" y="376459"/>
                  <a:pt x="485964" y="377817"/>
                </a:cubicBezTo>
                <a:cubicBezTo>
                  <a:pt x="486644" y="378496"/>
                  <a:pt x="485964" y="380534"/>
                  <a:pt x="486644" y="381213"/>
                </a:cubicBezTo>
                <a:cubicBezTo>
                  <a:pt x="487324" y="381892"/>
                  <a:pt x="489365" y="381892"/>
                  <a:pt x="488685" y="383930"/>
                </a:cubicBezTo>
                <a:cubicBezTo>
                  <a:pt x="488685" y="384609"/>
                  <a:pt x="488005" y="384609"/>
                  <a:pt x="488005" y="385288"/>
                </a:cubicBezTo>
                <a:cubicBezTo>
                  <a:pt x="487324" y="385968"/>
                  <a:pt x="487324" y="385968"/>
                  <a:pt x="487324" y="385968"/>
                </a:cubicBezTo>
                <a:cubicBezTo>
                  <a:pt x="487324" y="388005"/>
                  <a:pt x="489365" y="390043"/>
                  <a:pt x="490046" y="392080"/>
                </a:cubicBezTo>
                <a:cubicBezTo>
                  <a:pt x="490726" y="394118"/>
                  <a:pt x="492767" y="396156"/>
                  <a:pt x="492767" y="397514"/>
                </a:cubicBezTo>
                <a:cubicBezTo>
                  <a:pt x="494128" y="397514"/>
                  <a:pt x="494128" y="394797"/>
                  <a:pt x="494808" y="394118"/>
                </a:cubicBezTo>
                <a:cubicBezTo>
                  <a:pt x="494808" y="394118"/>
                  <a:pt x="495488" y="392080"/>
                  <a:pt x="495488" y="392080"/>
                </a:cubicBezTo>
                <a:cubicBezTo>
                  <a:pt x="495488" y="391401"/>
                  <a:pt x="494128" y="389364"/>
                  <a:pt x="494128" y="389364"/>
                </a:cubicBezTo>
                <a:cubicBezTo>
                  <a:pt x="494128" y="389364"/>
                  <a:pt x="492767" y="388005"/>
                  <a:pt x="494128" y="387326"/>
                </a:cubicBezTo>
                <a:cubicBezTo>
                  <a:pt x="494128" y="386647"/>
                  <a:pt x="495488" y="385968"/>
                  <a:pt x="496168" y="384609"/>
                </a:cubicBezTo>
                <a:cubicBezTo>
                  <a:pt x="496849" y="387326"/>
                  <a:pt x="498890" y="390043"/>
                  <a:pt x="499570" y="392080"/>
                </a:cubicBezTo>
                <a:cubicBezTo>
                  <a:pt x="499570" y="393439"/>
                  <a:pt x="500250" y="394118"/>
                  <a:pt x="499570" y="395477"/>
                </a:cubicBezTo>
                <a:cubicBezTo>
                  <a:pt x="499570" y="396835"/>
                  <a:pt x="497529" y="397514"/>
                  <a:pt x="498209" y="398193"/>
                </a:cubicBezTo>
                <a:cubicBezTo>
                  <a:pt x="498890" y="398193"/>
                  <a:pt x="498890" y="398873"/>
                  <a:pt x="498890" y="399552"/>
                </a:cubicBezTo>
                <a:cubicBezTo>
                  <a:pt x="498890" y="399552"/>
                  <a:pt x="499570" y="400231"/>
                  <a:pt x="499570" y="400910"/>
                </a:cubicBezTo>
                <a:cubicBezTo>
                  <a:pt x="501611" y="401589"/>
                  <a:pt x="502291" y="400231"/>
                  <a:pt x="504332" y="402269"/>
                </a:cubicBezTo>
                <a:cubicBezTo>
                  <a:pt x="508414" y="407702"/>
                  <a:pt x="510455" y="401589"/>
                  <a:pt x="513177" y="403627"/>
                </a:cubicBezTo>
                <a:cubicBezTo>
                  <a:pt x="516578" y="404985"/>
                  <a:pt x="517939" y="404306"/>
                  <a:pt x="520660" y="402948"/>
                </a:cubicBezTo>
                <a:cubicBezTo>
                  <a:pt x="525422" y="401589"/>
                  <a:pt x="525422" y="397514"/>
                  <a:pt x="527463" y="393439"/>
                </a:cubicBezTo>
                <a:cubicBezTo>
                  <a:pt x="529504" y="389364"/>
                  <a:pt x="532226" y="386647"/>
                  <a:pt x="532226" y="382572"/>
                </a:cubicBezTo>
                <a:cubicBezTo>
                  <a:pt x="533586" y="382572"/>
                  <a:pt x="534267" y="381213"/>
                  <a:pt x="534947" y="381213"/>
                </a:cubicBezTo>
                <a:cubicBezTo>
                  <a:pt x="535627" y="383251"/>
                  <a:pt x="533586" y="385968"/>
                  <a:pt x="533586" y="388684"/>
                </a:cubicBezTo>
                <a:cubicBezTo>
                  <a:pt x="533586" y="390722"/>
                  <a:pt x="535627" y="393439"/>
                  <a:pt x="536307" y="395477"/>
                </a:cubicBezTo>
                <a:cubicBezTo>
                  <a:pt x="538348" y="400910"/>
                  <a:pt x="545832" y="407023"/>
                  <a:pt x="551275" y="407702"/>
                </a:cubicBezTo>
                <a:cubicBezTo>
                  <a:pt x="553996" y="408381"/>
                  <a:pt x="556717" y="405665"/>
                  <a:pt x="558758" y="409061"/>
                </a:cubicBezTo>
                <a:cubicBezTo>
                  <a:pt x="560119" y="410419"/>
                  <a:pt x="562840" y="413136"/>
                  <a:pt x="562840" y="414494"/>
                </a:cubicBezTo>
                <a:cubicBezTo>
                  <a:pt x="562840" y="415174"/>
                  <a:pt x="562840" y="415174"/>
                  <a:pt x="562840" y="415174"/>
                </a:cubicBezTo>
                <a:cubicBezTo>
                  <a:pt x="566922" y="415853"/>
                  <a:pt x="564881" y="424003"/>
                  <a:pt x="564881" y="426720"/>
                </a:cubicBezTo>
                <a:cubicBezTo>
                  <a:pt x="564881" y="429437"/>
                  <a:pt x="563520" y="430795"/>
                  <a:pt x="562840" y="432833"/>
                </a:cubicBezTo>
                <a:cubicBezTo>
                  <a:pt x="562160" y="434871"/>
                  <a:pt x="559438" y="436229"/>
                  <a:pt x="559438" y="437587"/>
                </a:cubicBezTo>
                <a:cubicBezTo>
                  <a:pt x="557397" y="438267"/>
                  <a:pt x="556717" y="436908"/>
                  <a:pt x="555357" y="437587"/>
                </a:cubicBezTo>
                <a:cubicBezTo>
                  <a:pt x="554676" y="438946"/>
                  <a:pt x="555357" y="442342"/>
                  <a:pt x="555357" y="444379"/>
                </a:cubicBezTo>
                <a:cubicBezTo>
                  <a:pt x="555357" y="446417"/>
                  <a:pt x="557397" y="449813"/>
                  <a:pt x="557397" y="451172"/>
                </a:cubicBezTo>
                <a:cubicBezTo>
                  <a:pt x="556037" y="451851"/>
                  <a:pt x="553316" y="454568"/>
                  <a:pt x="550594" y="454568"/>
                </a:cubicBezTo>
                <a:cubicBezTo>
                  <a:pt x="550594" y="456605"/>
                  <a:pt x="549914" y="461360"/>
                  <a:pt x="549234" y="462718"/>
                </a:cubicBezTo>
                <a:cubicBezTo>
                  <a:pt x="547873" y="464756"/>
                  <a:pt x="543791" y="464756"/>
                  <a:pt x="541750" y="464077"/>
                </a:cubicBezTo>
                <a:cubicBezTo>
                  <a:pt x="539709" y="463397"/>
                  <a:pt x="539709" y="473585"/>
                  <a:pt x="534267" y="473585"/>
                </a:cubicBezTo>
                <a:cubicBezTo>
                  <a:pt x="531545" y="473585"/>
                  <a:pt x="532906" y="475623"/>
                  <a:pt x="530185" y="476302"/>
                </a:cubicBezTo>
                <a:cubicBezTo>
                  <a:pt x="528144" y="476302"/>
                  <a:pt x="522701" y="477661"/>
                  <a:pt x="521340" y="479698"/>
                </a:cubicBezTo>
                <a:cubicBezTo>
                  <a:pt x="520660" y="481736"/>
                  <a:pt x="520660" y="486490"/>
                  <a:pt x="519980" y="487849"/>
                </a:cubicBezTo>
                <a:cubicBezTo>
                  <a:pt x="517939" y="489207"/>
                  <a:pt x="517939" y="487849"/>
                  <a:pt x="516578" y="489886"/>
                </a:cubicBezTo>
                <a:cubicBezTo>
                  <a:pt x="515218" y="491924"/>
                  <a:pt x="510455" y="491245"/>
                  <a:pt x="508414" y="491924"/>
                </a:cubicBezTo>
                <a:cubicBezTo>
                  <a:pt x="499570" y="495320"/>
                  <a:pt x="499570" y="495320"/>
                  <a:pt x="499570" y="495320"/>
                </a:cubicBezTo>
                <a:cubicBezTo>
                  <a:pt x="499570" y="495320"/>
                  <a:pt x="498209" y="495320"/>
                  <a:pt x="498209" y="495999"/>
                </a:cubicBezTo>
                <a:cubicBezTo>
                  <a:pt x="497529" y="496679"/>
                  <a:pt x="497529" y="496679"/>
                  <a:pt x="497529" y="496679"/>
                </a:cubicBezTo>
                <a:cubicBezTo>
                  <a:pt x="496168" y="496679"/>
                  <a:pt x="496168" y="500754"/>
                  <a:pt x="495488" y="501433"/>
                </a:cubicBezTo>
                <a:cubicBezTo>
                  <a:pt x="495488" y="504150"/>
                  <a:pt x="488685" y="503471"/>
                  <a:pt x="486644" y="504150"/>
                </a:cubicBezTo>
                <a:cubicBezTo>
                  <a:pt x="486644" y="504829"/>
                  <a:pt x="486644" y="504829"/>
                  <a:pt x="486644" y="504829"/>
                </a:cubicBezTo>
                <a:cubicBezTo>
                  <a:pt x="485964" y="504829"/>
                  <a:pt x="485964" y="504829"/>
                  <a:pt x="485964" y="504829"/>
                </a:cubicBezTo>
                <a:cubicBezTo>
                  <a:pt x="484603" y="505508"/>
                  <a:pt x="481882" y="507546"/>
                  <a:pt x="479841" y="508904"/>
                </a:cubicBezTo>
                <a:cubicBezTo>
                  <a:pt x="479160" y="508904"/>
                  <a:pt x="472357" y="509583"/>
                  <a:pt x="472357" y="508225"/>
                </a:cubicBezTo>
                <a:cubicBezTo>
                  <a:pt x="470997" y="508225"/>
                  <a:pt x="471677" y="509583"/>
                  <a:pt x="471677" y="509583"/>
                </a:cubicBezTo>
                <a:cubicBezTo>
                  <a:pt x="470997" y="509583"/>
                  <a:pt x="470997" y="509583"/>
                  <a:pt x="470997" y="509583"/>
                </a:cubicBezTo>
                <a:cubicBezTo>
                  <a:pt x="470997" y="510263"/>
                  <a:pt x="468275" y="513659"/>
                  <a:pt x="467595" y="513659"/>
                </a:cubicBezTo>
                <a:cubicBezTo>
                  <a:pt x="467595" y="514338"/>
                  <a:pt x="462152" y="514338"/>
                  <a:pt x="461472" y="514338"/>
                </a:cubicBezTo>
                <a:cubicBezTo>
                  <a:pt x="460792" y="514338"/>
                  <a:pt x="456710" y="514338"/>
                  <a:pt x="456029" y="513659"/>
                </a:cubicBezTo>
                <a:cubicBezTo>
                  <a:pt x="454669" y="513659"/>
                  <a:pt x="449907" y="494641"/>
                  <a:pt x="449226" y="491924"/>
                </a:cubicBezTo>
                <a:cubicBezTo>
                  <a:pt x="447866" y="488528"/>
                  <a:pt x="448546" y="483774"/>
                  <a:pt x="448546" y="479698"/>
                </a:cubicBezTo>
                <a:cubicBezTo>
                  <a:pt x="447866" y="476981"/>
                  <a:pt x="445825" y="476302"/>
                  <a:pt x="443784" y="474265"/>
                </a:cubicBezTo>
                <a:cubicBezTo>
                  <a:pt x="441062" y="470869"/>
                  <a:pt x="444464" y="468152"/>
                  <a:pt x="439021" y="464756"/>
                </a:cubicBezTo>
                <a:cubicBezTo>
                  <a:pt x="436300" y="464077"/>
                  <a:pt x="435620" y="460001"/>
                  <a:pt x="433579" y="457964"/>
                </a:cubicBezTo>
                <a:cubicBezTo>
                  <a:pt x="432218" y="457284"/>
                  <a:pt x="432218" y="452530"/>
                  <a:pt x="431538" y="451851"/>
                </a:cubicBezTo>
                <a:cubicBezTo>
                  <a:pt x="429497" y="443021"/>
                  <a:pt x="419972" y="440983"/>
                  <a:pt x="417251" y="432833"/>
                </a:cubicBezTo>
                <a:cubicBezTo>
                  <a:pt x="416571" y="430795"/>
                  <a:pt x="413169" y="428078"/>
                  <a:pt x="413169" y="426041"/>
                </a:cubicBezTo>
                <a:cubicBezTo>
                  <a:pt x="413169" y="419928"/>
                  <a:pt x="413169" y="417890"/>
                  <a:pt x="409087" y="413136"/>
                </a:cubicBezTo>
                <a:cubicBezTo>
                  <a:pt x="407046" y="410419"/>
                  <a:pt x="405686" y="407702"/>
                  <a:pt x="402964" y="404985"/>
                </a:cubicBezTo>
                <a:cubicBezTo>
                  <a:pt x="400243" y="402269"/>
                  <a:pt x="394800" y="400231"/>
                  <a:pt x="396161" y="394797"/>
                </a:cubicBezTo>
                <a:cubicBezTo>
                  <a:pt x="397522" y="391401"/>
                  <a:pt x="392760" y="391401"/>
                  <a:pt x="392079" y="390043"/>
                </a:cubicBezTo>
                <a:cubicBezTo>
                  <a:pt x="391399" y="389364"/>
                  <a:pt x="392079" y="388005"/>
                  <a:pt x="391399" y="386647"/>
                </a:cubicBezTo>
                <a:cubicBezTo>
                  <a:pt x="390038" y="385968"/>
                  <a:pt x="388678" y="385968"/>
                  <a:pt x="388678" y="383930"/>
                </a:cubicBezTo>
                <a:cubicBezTo>
                  <a:pt x="387997" y="381892"/>
                  <a:pt x="385276" y="378496"/>
                  <a:pt x="383915" y="377817"/>
                </a:cubicBezTo>
                <a:cubicBezTo>
                  <a:pt x="383235" y="376459"/>
                  <a:pt x="383235" y="376459"/>
                  <a:pt x="383235" y="375100"/>
                </a:cubicBezTo>
                <a:cubicBezTo>
                  <a:pt x="383235" y="373742"/>
                  <a:pt x="381874" y="374421"/>
                  <a:pt x="381874" y="373063"/>
                </a:cubicBezTo>
                <a:cubicBezTo>
                  <a:pt x="381874" y="373063"/>
                  <a:pt x="379833" y="370346"/>
                  <a:pt x="379833" y="369667"/>
                </a:cubicBezTo>
                <a:cubicBezTo>
                  <a:pt x="379833" y="366950"/>
                  <a:pt x="376432" y="367629"/>
                  <a:pt x="374391" y="368308"/>
                </a:cubicBezTo>
                <a:cubicBezTo>
                  <a:pt x="374391" y="356762"/>
                  <a:pt x="374391" y="356762"/>
                  <a:pt x="374391" y="356762"/>
                </a:cubicBezTo>
                <a:cubicBezTo>
                  <a:pt x="373710" y="354045"/>
                  <a:pt x="373710" y="354045"/>
                  <a:pt x="373710" y="354045"/>
                </a:cubicBezTo>
                <a:cubicBezTo>
                  <a:pt x="373030" y="356762"/>
                  <a:pt x="373030" y="356762"/>
                  <a:pt x="373030" y="356762"/>
                </a:cubicBezTo>
                <a:cubicBezTo>
                  <a:pt x="373030" y="368987"/>
                  <a:pt x="373030" y="368987"/>
                  <a:pt x="373030" y="368987"/>
                </a:cubicBezTo>
                <a:cubicBezTo>
                  <a:pt x="370989" y="369667"/>
                  <a:pt x="368268" y="367629"/>
                  <a:pt x="366907" y="366950"/>
                </a:cubicBezTo>
                <a:cubicBezTo>
                  <a:pt x="364186" y="363554"/>
                  <a:pt x="366907" y="360837"/>
                  <a:pt x="362145" y="358120"/>
                </a:cubicBezTo>
                <a:cubicBezTo>
                  <a:pt x="360104" y="357441"/>
                  <a:pt x="358743" y="353366"/>
                  <a:pt x="358063" y="351328"/>
                </a:cubicBezTo>
                <a:cubicBezTo>
                  <a:pt x="356702" y="352007"/>
                  <a:pt x="358063" y="359478"/>
                  <a:pt x="358743" y="360837"/>
                </a:cubicBezTo>
                <a:cubicBezTo>
                  <a:pt x="362825" y="364912"/>
                  <a:pt x="365547" y="370346"/>
                  <a:pt x="369629" y="374421"/>
                </a:cubicBezTo>
                <a:cubicBezTo>
                  <a:pt x="371670" y="376459"/>
                  <a:pt x="371670" y="380534"/>
                  <a:pt x="373030" y="383251"/>
                </a:cubicBezTo>
                <a:cubicBezTo>
                  <a:pt x="373710" y="386647"/>
                  <a:pt x="375071" y="390722"/>
                  <a:pt x="377792" y="393439"/>
                </a:cubicBezTo>
                <a:cubicBezTo>
                  <a:pt x="379153" y="394797"/>
                  <a:pt x="387317" y="406344"/>
                  <a:pt x="387317" y="407702"/>
                </a:cubicBezTo>
                <a:cubicBezTo>
                  <a:pt x="386637" y="407702"/>
                  <a:pt x="385956" y="408381"/>
                  <a:pt x="385276" y="408381"/>
                </a:cubicBezTo>
                <a:cubicBezTo>
                  <a:pt x="384596" y="409061"/>
                  <a:pt x="386637" y="411778"/>
                  <a:pt x="387317" y="411778"/>
                </a:cubicBezTo>
                <a:cubicBezTo>
                  <a:pt x="388678" y="414494"/>
                  <a:pt x="386637" y="417211"/>
                  <a:pt x="390038" y="419249"/>
                </a:cubicBezTo>
                <a:cubicBezTo>
                  <a:pt x="394800" y="421966"/>
                  <a:pt x="396841" y="425362"/>
                  <a:pt x="398882" y="429437"/>
                </a:cubicBezTo>
                <a:cubicBezTo>
                  <a:pt x="400243" y="430795"/>
                  <a:pt x="402284" y="432154"/>
                  <a:pt x="400923" y="433512"/>
                </a:cubicBezTo>
                <a:cubicBezTo>
                  <a:pt x="398882" y="434871"/>
                  <a:pt x="400243" y="438267"/>
                  <a:pt x="400923" y="439625"/>
                </a:cubicBezTo>
                <a:cubicBezTo>
                  <a:pt x="400243" y="442342"/>
                  <a:pt x="404325" y="449134"/>
                  <a:pt x="404325" y="452530"/>
                </a:cubicBezTo>
                <a:cubicBezTo>
                  <a:pt x="405686" y="460001"/>
                  <a:pt x="414530" y="460680"/>
                  <a:pt x="416571" y="468831"/>
                </a:cubicBezTo>
                <a:cubicBezTo>
                  <a:pt x="419972" y="479019"/>
                  <a:pt x="419972" y="479019"/>
                  <a:pt x="419972" y="479019"/>
                </a:cubicBezTo>
                <a:cubicBezTo>
                  <a:pt x="420653" y="481736"/>
                  <a:pt x="422694" y="485132"/>
                  <a:pt x="423374" y="487170"/>
                </a:cubicBezTo>
                <a:cubicBezTo>
                  <a:pt x="424735" y="487170"/>
                  <a:pt x="425415" y="487849"/>
                  <a:pt x="426095" y="488528"/>
                </a:cubicBezTo>
                <a:cubicBezTo>
                  <a:pt x="426776" y="489207"/>
                  <a:pt x="427456" y="491245"/>
                  <a:pt x="428136" y="491924"/>
                </a:cubicBezTo>
                <a:cubicBezTo>
                  <a:pt x="430858" y="493282"/>
                  <a:pt x="434259" y="495320"/>
                  <a:pt x="436300" y="495999"/>
                </a:cubicBezTo>
                <a:cubicBezTo>
                  <a:pt x="439021" y="497358"/>
                  <a:pt x="438341" y="498716"/>
                  <a:pt x="439702" y="500754"/>
                </a:cubicBezTo>
                <a:cubicBezTo>
                  <a:pt x="440382" y="502112"/>
                  <a:pt x="451948" y="512980"/>
                  <a:pt x="453308" y="513659"/>
                </a:cubicBezTo>
                <a:cubicBezTo>
                  <a:pt x="453308" y="514338"/>
                  <a:pt x="453308" y="514338"/>
                  <a:pt x="453308" y="514338"/>
                </a:cubicBezTo>
                <a:cubicBezTo>
                  <a:pt x="453308" y="515696"/>
                  <a:pt x="456710" y="519092"/>
                  <a:pt x="455349" y="520451"/>
                </a:cubicBezTo>
                <a:cubicBezTo>
                  <a:pt x="453308" y="522488"/>
                  <a:pt x="450587" y="522488"/>
                  <a:pt x="450587" y="525884"/>
                </a:cubicBezTo>
                <a:cubicBezTo>
                  <a:pt x="451267" y="525884"/>
                  <a:pt x="456029" y="525884"/>
                  <a:pt x="456710" y="527243"/>
                </a:cubicBezTo>
                <a:cubicBezTo>
                  <a:pt x="456710" y="527243"/>
                  <a:pt x="462152" y="533356"/>
                  <a:pt x="463513" y="534035"/>
                </a:cubicBezTo>
                <a:cubicBezTo>
                  <a:pt x="469636" y="538110"/>
                  <a:pt x="470316" y="533356"/>
                  <a:pt x="475759" y="532677"/>
                </a:cubicBezTo>
                <a:cubicBezTo>
                  <a:pt x="479160" y="531997"/>
                  <a:pt x="483923" y="534714"/>
                  <a:pt x="485964" y="527922"/>
                </a:cubicBezTo>
                <a:cubicBezTo>
                  <a:pt x="486644" y="527922"/>
                  <a:pt x="486644" y="527922"/>
                  <a:pt x="488005" y="527922"/>
                </a:cubicBezTo>
                <a:cubicBezTo>
                  <a:pt x="488005" y="528601"/>
                  <a:pt x="488005" y="528601"/>
                  <a:pt x="488005" y="528601"/>
                </a:cubicBezTo>
                <a:cubicBezTo>
                  <a:pt x="488685" y="531318"/>
                  <a:pt x="493447" y="528601"/>
                  <a:pt x="494808" y="527922"/>
                </a:cubicBezTo>
                <a:cubicBezTo>
                  <a:pt x="496168" y="527243"/>
                  <a:pt x="497529" y="529281"/>
                  <a:pt x="499570" y="528601"/>
                </a:cubicBezTo>
                <a:cubicBezTo>
                  <a:pt x="502291" y="526564"/>
                  <a:pt x="502972" y="525884"/>
                  <a:pt x="506373" y="525884"/>
                </a:cubicBezTo>
                <a:cubicBezTo>
                  <a:pt x="507054" y="525884"/>
                  <a:pt x="511136" y="523168"/>
                  <a:pt x="511136" y="521809"/>
                </a:cubicBezTo>
                <a:cubicBezTo>
                  <a:pt x="511816" y="521809"/>
                  <a:pt x="511816" y="521809"/>
                  <a:pt x="511816" y="521809"/>
                </a:cubicBezTo>
                <a:cubicBezTo>
                  <a:pt x="511816" y="521809"/>
                  <a:pt x="514537" y="520451"/>
                  <a:pt x="514537" y="521130"/>
                </a:cubicBezTo>
                <a:cubicBezTo>
                  <a:pt x="514537" y="525205"/>
                  <a:pt x="516578" y="525884"/>
                  <a:pt x="517258" y="527922"/>
                </a:cubicBezTo>
                <a:cubicBezTo>
                  <a:pt x="517939" y="530639"/>
                  <a:pt x="516578" y="531997"/>
                  <a:pt x="515898" y="534714"/>
                </a:cubicBezTo>
                <a:cubicBezTo>
                  <a:pt x="515218" y="535393"/>
                  <a:pt x="515218" y="535393"/>
                  <a:pt x="515218" y="535393"/>
                </a:cubicBezTo>
                <a:cubicBezTo>
                  <a:pt x="513177" y="536073"/>
                  <a:pt x="513857" y="540827"/>
                  <a:pt x="513857" y="542185"/>
                </a:cubicBezTo>
                <a:cubicBezTo>
                  <a:pt x="513857" y="546261"/>
                  <a:pt x="511816" y="550336"/>
                  <a:pt x="511136" y="554411"/>
                </a:cubicBezTo>
                <a:cubicBezTo>
                  <a:pt x="509775" y="558486"/>
                  <a:pt x="505013" y="557807"/>
                  <a:pt x="505013" y="559166"/>
                </a:cubicBezTo>
                <a:cubicBezTo>
                  <a:pt x="505693" y="559845"/>
                  <a:pt x="506373" y="559845"/>
                  <a:pt x="507054" y="559845"/>
                </a:cubicBezTo>
                <a:cubicBezTo>
                  <a:pt x="507054" y="560524"/>
                  <a:pt x="504332" y="564599"/>
                  <a:pt x="503652" y="565279"/>
                </a:cubicBezTo>
                <a:cubicBezTo>
                  <a:pt x="502972" y="570033"/>
                  <a:pt x="500250" y="574787"/>
                  <a:pt x="499570" y="580221"/>
                </a:cubicBezTo>
                <a:cubicBezTo>
                  <a:pt x="499570" y="582938"/>
                  <a:pt x="494808" y="586334"/>
                  <a:pt x="495488" y="588372"/>
                </a:cubicBezTo>
                <a:cubicBezTo>
                  <a:pt x="496168" y="591768"/>
                  <a:pt x="492087" y="599239"/>
                  <a:pt x="489365" y="600597"/>
                </a:cubicBezTo>
                <a:cubicBezTo>
                  <a:pt x="482562" y="603314"/>
                  <a:pt x="483242" y="609427"/>
                  <a:pt x="479160" y="614182"/>
                </a:cubicBezTo>
                <a:cubicBezTo>
                  <a:pt x="475759" y="615540"/>
                  <a:pt x="475079" y="618936"/>
                  <a:pt x="472357" y="620974"/>
                </a:cubicBezTo>
                <a:cubicBezTo>
                  <a:pt x="470316" y="623690"/>
                  <a:pt x="468956" y="621653"/>
                  <a:pt x="467595" y="623011"/>
                </a:cubicBezTo>
                <a:cubicBezTo>
                  <a:pt x="465554" y="625049"/>
                  <a:pt x="462152" y="629124"/>
                  <a:pt x="460792" y="631841"/>
                </a:cubicBezTo>
                <a:cubicBezTo>
                  <a:pt x="460111" y="634558"/>
                  <a:pt x="456710" y="637275"/>
                  <a:pt x="455349" y="639991"/>
                </a:cubicBezTo>
                <a:cubicBezTo>
                  <a:pt x="453989" y="644067"/>
                  <a:pt x="449907" y="648821"/>
                  <a:pt x="447185" y="653576"/>
                </a:cubicBezTo>
                <a:cubicBezTo>
                  <a:pt x="446505" y="655613"/>
                  <a:pt x="446505" y="658330"/>
                  <a:pt x="443784" y="659009"/>
                </a:cubicBezTo>
                <a:cubicBezTo>
                  <a:pt x="439702" y="660368"/>
                  <a:pt x="441743" y="660368"/>
                  <a:pt x="439702" y="663764"/>
                </a:cubicBezTo>
                <a:cubicBezTo>
                  <a:pt x="439021" y="665801"/>
                  <a:pt x="435620" y="666481"/>
                  <a:pt x="433579" y="666481"/>
                </a:cubicBezTo>
                <a:cubicBezTo>
                  <a:pt x="432899" y="667839"/>
                  <a:pt x="434939" y="669877"/>
                  <a:pt x="433579" y="671235"/>
                </a:cubicBezTo>
                <a:cubicBezTo>
                  <a:pt x="431538" y="673952"/>
                  <a:pt x="432218" y="675989"/>
                  <a:pt x="430177" y="678706"/>
                </a:cubicBezTo>
                <a:cubicBezTo>
                  <a:pt x="430177" y="679385"/>
                  <a:pt x="426095" y="683461"/>
                  <a:pt x="426095" y="683461"/>
                </a:cubicBezTo>
                <a:cubicBezTo>
                  <a:pt x="426095" y="690253"/>
                  <a:pt x="423374" y="695007"/>
                  <a:pt x="423374" y="701120"/>
                </a:cubicBezTo>
                <a:cubicBezTo>
                  <a:pt x="423374" y="701799"/>
                  <a:pt x="423374" y="701799"/>
                  <a:pt x="423374" y="701799"/>
                </a:cubicBezTo>
                <a:cubicBezTo>
                  <a:pt x="423374" y="701799"/>
                  <a:pt x="424054" y="702479"/>
                  <a:pt x="424054" y="703158"/>
                </a:cubicBezTo>
                <a:cubicBezTo>
                  <a:pt x="424054" y="703158"/>
                  <a:pt x="424054" y="703837"/>
                  <a:pt x="424735" y="703837"/>
                </a:cubicBezTo>
                <a:cubicBezTo>
                  <a:pt x="424735" y="703837"/>
                  <a:pt x="425415" y="699083"/>
                  <a:pt x="426095" y="698403"/>
                </a:cubicBezTo>
                <a:cubicBezTo>
                  <a:pt x="426776" y="699083"/>
                  <a:pt x="427456" y="702479"/>
                  <a:pt x="427456" y="703158"/>
                </a:cubicBezTo>
                <a:cubicBezTo>
                  <a:pt x="428817" y="705195"/>
                  <a:pt x="426095" y="704516"/>
                  <a:pt x="425415" y="704516"/>
                </a:cubicBezTo>
                <a:cubicBezTo>
                  <a:pt x="425415" y="704516"/>
                  <a:pt x="424735" y="704516"/>
                  <a:pt x="424735" y="704516"/>
                </a:cubicBezTo>
                <a:cubicBezTo>
                  <a:pt x="429497" y="705875"/>
                  <a:pt x="426095" y="711308"/>
                  <a:pt x="426095" y="713346"/>
                </a:cubicBezTo>
                <a:cubicBezTo>
                  <a:pt x="425415" y="716063"/>
                  <a:pt x="425415" y="716063"/>
                  <a:pt x="427456" y="716742"/>
                </a:cubicBezTo>
                <a:cubicBezTo>
                  <a:pt x="427456" y="719459"/>
                  <a:pt x="425415" y="721496"/>
                  <a:pt x="426095" y="724892"/>
                </a:cubicBezTo>
                <a:cubicBezTo>
                  <a:pt x="426776" y="726251"/>
                  <a:pt x="428136" y="728968"/>
                  <a:pt x="427456" y="730326"/>
                </a:cubicBezTo>
                <a:cubicBezTo>
                  <a:pt x="426095" y="733043"/>
                  <a:pt x="428136" y="735760"/>
                  <a:pt x="428817" y="737797"/>
                </a:cubicBezTo>
                <a:cubicBezTo>
                  <a:pt x="430858" y="740514"/>
                  <a:pt x="432899" y="739156"/>
                  <a:pt x="433579" y="743231"/>
                </a:cubicBezTo>
                <a:cubicBezTo>
                  <a:pt x="434259" y="743231"/>
                  <a:pt x="434259" y="743231"/>
                  <a:pt x="434259" y="743231"/>
                </a:cubicBezTo>
                <a:cubicBezTo>
                  <a:pt x="434259" y="745948"/>
                  <a:pt x="432899" y="748665"/>
                  <a:pt x="432899" y="751382"/>
                </a:cubicBezTo>
                <a:cubicBezTo>
                  <a:pt x="432218" y="754778"/>
                  <a:pt x="433579" y="757494"/>
                  <a:pt x="432899" y="760890"/>
                </a:cubicBezTo>
                <a:cubicBezTo>
                  <a:pt x="432218" y="767003"/>
                  <a:pt x="428817" y="772437"/>
                  <a:pt x="430177" y="777871"/>
                </a:cubicBezTo>
                <a:cubicBezTo>
                  <a:pt x="430858" y="777871"/>
                  <a:pt x="431538" y="779229"/>
                  <a:pt x="432218" y="779229"/>
                </a:cubicBezTo>
                <a:cubicBezTo>
                  <a:pt x="432899" y="779908"/>
                  <a:pt x="432899" y="779908"/>
                  <a:pt x="432899" y="779908"/>
                </a:cubicBezTo>
                <a:cubicBezTo>
                  <a:pt x="431538" y="781946"/>
                  <a:pt x="429497" y="789417"/>
                  <a:pt x="428136" y="792134"/>
                </a:cubicBezTo>
                <a:cubicBezTo>
                  <a:pt x="427456" y="795530"/>
                  <a:pt x="423374" y="800964"/>
                  <a:pt x="419972" y="801643"/>
                </a:cubicBezTo>
                <a:cubicBezTo>
                  <a:pt x="419972" y="802322"/>
                  <a:pt x="419972" y="805039"/>
                  <a:pt x="419292" y="805718"/>
                </a:cubicBezTo>
                <a:cubicBezTo>
                  <a:pt x="419292" y="806397"/>
                  <a:pt x="414530" y="806397"/>
                  <a:pt x="414530" y="807077"/>
                </a:cubicBezTo>
                <a:cubicBezTo>
                  <a:pt x="411128" y="807077"/>
                  <a:pt x="411128" y="806397"/>
                  <a:pt x="408407" y="809114"/>
                </a:cubicBezTo>
                <a:cubicBezTo>
                  <a:pt x="406366" y="811152"/>
                  <a:pt x="405005" y="811831"/>
                  <a:pt x="402964" y="813869"/>
                </a:cubicBezTo>
                <a:cubicBezTo>
                  <a:pt x="398882" y="816586"/>
                  <a:pt x="398882" y="822698"/>
                  <a:pt x="394800" y="824736"/>
                </a:cubicBezTo>
                <a:cubicBezTo>
                  <a:pt x="391399" y="826094"/>
                  <a:pt x="390719" y="830170"/>
                  <a:pt x="385956" y="831528"/>
                </a:cubicBezTo>
                <a:cubicBezTo>
                  <a:pt x="384596" y="836283"/>
                  <a:pt x="381874" y="836962"/>
                  <a:pt x="383915" y="843075"/>
                </a:cubicBezTo>
                <a:cubicBezTo>
                  <a:pt x="385276" y="847150"/>
                  <a:pt x="385276" y="849867"/>
                  <a:pt x="385276" y="854621"/>
                </a:cubicBezTo>
                <a:cubicBezTo>
                  <a:pt x="385956" y="854621"/>
                  <a:pt x="385956" y="854621"/>
                  <a:pt x="385956" y="854621"/>
                </a:cubicBezTo>
                <a:cubicBezTo>
                  <a:pt x="386637" y="854621"/>
                  <a:pt x="386637" y="854621"/>
                  <a:pt x="386637" y="854621"/>
                </a:cubicBezTo>
                <a:cubicBezTo>
                  <a:pt x="386637" y="853942"/>
                  <a:pt x="387317" y="861413"/>
                  <a:pt x="385956" y="863451"/>
                </a:cubicBezTo>
                <a:cubicBezTo>
                  <a:pt x="381874" y="869564"/>
                  <a:pt x="386637" y="876356"/>
                  <a:pt x="378473" y="880431"/>
                </a:cubicBezTo>
                <a:cubicBezTo>
                  <a:pt x="375751" y="882469"/>
                  <a:pt x="362825" y="889261"/>
                  <a:pt x="362825" y="893336"/>
                </a:cubicBezTo>
                <a:cubicBezTo>
                  <a:pt x="363506" y="893336"/>
                  <a:pt x="364866" y="891978"/>
                  <a:pt x="366227" y="891978"/>
                </a:cubicBezTo>
                <a:cubicBezTo>
                  <a:pt x="366227" y="894015"/>
                  <a:pt x="362825" y="898770"/>
                  <a:pt x="362145" y="900807"/>
                </a:cubicBezTo>
                <a:cubicBezTo>
                  <a:pt x="359424" y="904883"/>
                  <a:pt x="360784" y="910316"/>
                  <a:pt x="358063" y="915071"/>
                </a:cubicBezTo>
                <a:cubicBezTo>
                  <a:pt x="356022" y="917108"/>
                  <a:pt x="351260" y="919825"/>
                  <a:pt x="349899" y="921863"/>
                </a:cubicBezTo>
                <a:cubicBezTo>
                  <a:pt x="348539" y="923900"/>
                  <a:pt x="345817" y="925938"/>
                  <a:pt x="345137" y="928655"/>
                </a:cubicBezTo>
                <a:cubicBezTo>
                  <a:pt x="342416" y="932730"/>
                  <a:pt x="341055" y="936126"/>
                  <a:pt x="338334" y="939522"/>
                </a:cubicBezTo>
                <a:cubicBezTo>
                  <a:pt x="333571" y="944277"/>
                  <a:pt x="328129" y="949031"/>
                  <a:pt x="324047" y="954465"/>
                </a:cubicBezTo>
                <a:cubicBezTo>
                  <a:pt x="315883" y="959898"/>
                  <a:pt x="308400" y="963294"/>
                  <a:pt x="298875" y="963294"/>
                </a:cubicBezTo>
                <a:cubicBezTo>
                  <a:pt x="298195" y="965332"/>
                  <a:pt x="298195" y="965332"/>
                  <a:pt x="298195" y="965332"/>
                </a:cubicBezTo>
                <a:cubicBezTo>
                  <a:pt x="294793" y="965332"/>
                  <a:pt x="292072" y="963294"/>
                  <a:pt x="289351" y="964653"/>
                </a:cubicBezTo>
                <a:cubicBezTo>
                  <a:pt x="285949" y="965332"/>
                  <a:pt x="283908" y="963974"/>
                  <a:pt x="281867" y="964653"/>
                </a:cubicBezTo>
                <a:cubicBezTo>
                  <a:pt x="281187" y="968049"/>
                  <a:pt x="273703" y="966690"/>
                  <a:pt x="271662" y="966690"/>
                </a:cubicBezTo>
                <a:cubicBezTo>
                  <a:pt x="270982" y="966011"/>
                  <a:pt x="268941" y="967370"/>
                  <a:pt x="268941" y="967370"/>
                </a:cubicBezTo>
                <a:cubicBezTo>
                  <a:pt x="266220" y="969407"/>
                  <a:pt x="263498" y="972124"/>
                  <a:pt x="260097" y="968728"/>
                </a:cubicBezTo>
                <a:cubicBezTo>
                  <a:pt x="258056" y="965332"/>
                  <a:pt x="258056" y="965332"/>
                  <a:pt x="258056" y="965332"/>
                </a:cubicBezTo>
                <a:cubicBezTo>
                  <a:pt x="257375" y="962615"/>
                  <a:pt x="255334" y="961257"/>
                  <a:pt x="253293" y="959219"/>
                </a:cubicBezTo>
                <a:cubicBezTo>
                  <a:pt x="252613" y="957861"/>
                  <a:pt x="252613" y="955144"/>
                  <a:pt x="251933" y="953786"/>
                </a:cubicBezTo>
                <a:cubicBezTo>
                  <a:pt x="251252" y="953786"/>
                  <a:pt x="250572" y="952427"/>
                  <a:pt x="250572" y="951748"/>
                </a:cubicBezTo>
                <a:cubicBezTo>
                  <a:pt x="250572" y="950389"/>
                  <a:pt x="251933" y="950389"/>
                  <a:pt x="251933" y="949710"/>
                </a:cubicBezTo>
                <a:cubicBezTo>
                  <a:pt x="255334" y="949710"/>
                  <a:pt x="250572" y="936126"/>
                  <a:pt x="250572" y="934089"/>
                </a:cubicBezTo>
                <a:cubicBezTo>
                  <a:pt x="248531" y="927976"/>
                  <a:pt x="245810" y="919146"/>
                  <a:pt x="245810" y="913033"/>
                </a:cubicBezTo>
                <a:cubicBezTo>
                  <a:pt x="239007" y="913033"/>
                  <a:pt x="239687" y="908958"/>
                  <a:pt x="238326" y="903524"/>
                </a:cubicBezTo>
                <a:cubicBezTo>
                  <a:pt x="236966" y="899449"/>
                  <a:pt x="234925" y="894015"/>
                  <a:pt x="235605" y="889261"/>
                </a:cubicBezTo>
                <a:cubicBezTo>
                  <a:pt x="235605" y="888582"/>
                  <a:pt x="235605" y="888582"/>
                  <a:pt x="235605" y="888582"/>
                </a:cubicBezTo>
                <a:cubicBezTo>
                  <a:pt x="235605" y="887902"/>
                  <a:pt x="235605" y="887902"/>
                  <a:pt x="234925" y="887902"/>
                </a:cubicBezTo>
                <a:cubicBezTo>
                  <a:pt x="234244" y="885186"/>
                  <a:pt x="236285" y="884506"/>
                  <a:pt x="235605" y="881110"/>
                </a:cubicBezTo>
                <a:cubicBezTo>
                  <a:pt x="234925" y="879073"/>
                  <a:pt x="233564" y="877035"/>
                  <a:pt x="233564" y="874997"/>
                </a:cubicBezTo>
                <a:cubicBezTo>
                  <a:pt x="232884" y="872960"/>
                  <a:pt x="233564" y="871601"/>
                  <a:pt x="234244" y="869564"/>
                </a:cubicBezTo>
                <a:cubicBezTo>
                  <a:pt x="234244" y="868205"/>
                  <a:pt x="231523" y="864809"/>
                  <a:pt x="233564" y="864130"/>
                </a:cubicBezTo>
                <a:cubicBezTo>
                  <a:pt x="234244" y="862092"/>
                  <a:pt x="234244" y="855980"/>
                  <a:pt x="233564" y="853263"/>
                </a:cubicBezTo>
                <a:cubicBezTo>
                  <a:pt x="232884" y="850546"/>
                  <a:pt x="226081" y="848508"/>
                  <a:pt x="227441" y="845791"/>
                </a:cubicBezTo>
                <a:cubicBezTo>
                  <a:pt x="228122" y="843075"/>
                  <a:pt x="228122" y="839679"/>
                  <a:pt x="227441" y="836962"/>
                </a:cubicBezTo>
                <a:cubicBezTo>
                  <a:pt x="227441" y="834924"/>
                  <a:pt x="226761" y="830849"/>
                  <a:pt x="225400" y="829490"/>
                </a:cubicBezTo>
                <a:cubicBezTo>
                  <a:pt x="223359" y="828132"/>
                  <a:pt x="224040" y="826094"/>
                  <a:pt x="223359" y="824057"/>
                </a:cubicBezTo>
                <a:cubicBezTo>
                  <a:pt x="221999" y="819302"/>
                  <a:pt x="215876" y="817944"/>
                  <a:pt x="215876" y="815227"/>
                </a:cubicBezTo>
                <a:cubicBezTo>
                  <a:pt x="215876" y="806397"/>
                  <a:pt x="215876" y="806397"/>
                  <a:pt x="215876" y="806397"/>
                </a:cubicBezTo>
                <a:cubicBezTo>
                  <a:pt x="216556" y="793492"/>
                  <a:pt x="216556" y="793492"/>
                  <a:pt x="216556" y="793492"/>
                </a:cubicBezTo>
                <a:cubicBezTo>
                  <a:pt x="218597" y="793492"/>
                  <a:pt x="219958" y="785342"/>
                  <a:pt x="220638" y="783304"/>
                </a:cubicBezTo>
                <a:cubicBezTo>
                  <a:pt x="220638" y="780587"/>
                  <a:pt x="220638" y="774475"/>
                  <a:pt x="221999" y="771758"/>
                </a:cubicBezTo>
                <a:cubicBezTo>
                  <a:pt x="222679" y="768362"/>
                  <a:pt x="224720" y="767003"/>
                  <a:pt x="224720" y="762928"/>
                </a:cubicBezTo>
                <a:cubicBezTo>
                  <a:pt x="232203" y="762928"/>
                  <a:pt x="230843" y="754778"/>
                  <a:pt x="231523" y="749344"/>
                </a:cubicBezTo>
                <a:cubicBezTo>
                  <a:pt x="232884" y="742552"/>
                  <a:pt x="226081" y="738477"/>
                  <a:pt x="226761" y="732364"/>
                </a:cubicBezTo>
                <a:cubicBezTo>
                  <a:pt x="226761" y="730326"/>
                  <a:pt x="226081" y="728288"/>
                  <a:pt x="226081" y="726251"/>
                </a:cubicBezTo>
                <a:cubicBezTo>
                  <a:pt x="226081" y="723534"/>
                  <a:pt x="226761" y="724213"/>
                  <a:pt x="228122" y="722855"/>
                </a:cubicBezTo>
                <a:cubicBezTo>
                  <a:pt x="229482" y="721496"/>
                  <a:pt x="229482" y="715384"/>
                  <a:pt x="228122" y="713346"/>
                </a:cubicBezTo>
                <a:cubicBezTo>
                  <a:pt x="226081" y="710629"/>
                  <a:pt x="218597" y="697724"/>
                  <a:pt x="226081" y="697724"/>
                </a:cubicBezTo>
                <a:cubicBezTo>
                  <a:pt x="219958" y="695686"/>
                  <a:pt x="216556" y="685498"/>
                  <a:pt x="213835" y="678706"/>
                </a:cubicBezTo>
                <a:cubicBezTo>
                  <a:pt x="213154" y="677348"/>
                  <a:pt x="211113" y="672593"/>
                  <a:pt x="209753" y="672593"/>
                </a:cubicBezTo>
                <a:cubicBezTo>
                  <a:pt x="209073" y="670556"/>
                  <a:pt x="202950" y="667160"/>
                  <a:pt x="201589" y="665122"/>
                </a:cubicBezTo>
                <a:cubicBezTo>
                  <a:pt x="200909" y="664443"/>
                  <a:pt x="202269" y="663084"/>
                  <a:pt x="200909" y="662405"/>
                </a:cubicBezTo>
                <a:cubicBezTo>
                  <a:pt x="195466" y="661726"/>
                  <a:pt x="198868" y="655613"/>
                  <a:pt x="197507" y="652896"/>
                </a:cubicBezTo>
                <a:cubicBezTo>
                  <a:pt x="195466" y="648821"/>
                  <a:pt x="194105" y="651538"/>
                  <a:pt x="195466" y="646104"/>
                </a:cubicBezTo>
                <a:cubicBezTo>
                  <a:pt x="197507" y="645425"/>
                  <a:pt x="196827" y="638633"/>
                  <a:pt x="196827" y="636595"/>
                </a:cubicBezTo>
                <a:cubicBezTo>
                  <a:pt x="199548" y="635916"/>
                  <a:pt x="200228" y="637954"/>
                  <a:pt x="202269" y="635237"/>
                </a:cubicBezTo>
                <a:cubicBezTo>
                  <a:pt x="200909" y="633879"/>
                  <a:pt x="200909" y="630483"/>
                  <a:pt x="200228" y="628445"/>
                </a:cubicBezTo>
                <a:cubicBezTo>
                  <a:pt x="199548" y="627766"/>
                  <a:pt x="198868" y="627086"/>
                  <a:pt x="198187" y="626407"/>
                </a:cubicBezTo>
                <a:cubicBezTo>
                  <a:pt x="198187" y="623690"/>
                  <a:pt x="200228" y="623011"/>
                  <a:pt x="200228" y="620294"/>
                </a:cubicBezTo>
                <a:cubicBezTo>
                  <a:pt x="200228" y="617578"/>
                  <a:pt x="202269" y="616898"/>
                  <a:pt x="202269" y="614861"/>
                </a:cubicBezTo>
                <a:cubicBezTo>
                  <a:pt x="202269" y="612823"/>
                  <a:pt x="201589" y="612144"/>
                  <a:pt x="201589" y="610106"/>
                </a:cubicBezTo>
                <a:cubicBezTo>
                  <a:pt x="201589" y="608748"/>
                  <a:pt x="202269" y="606031"/>
                  <a:pt x="201589" y="604673"/>
                </a:cubicBezTo>
                <a:cubicBezTo>
                  <a:pt x="200909" y="602635"/>
                  <a:pt x="200228" y="599918"/>
                  <a:pt x="200228" y="597881"/>
                </a:cubicBezTo>
                <a:cubicBezTo>
                  <a:pt x="196827" y="597201"/>
                  <a:pt x="195466" y="600597"/>
                  <a:pt x="195466" y="595164"/>
                </a:cubicBezTo>
                <a:cubicBezTo>
                  <a:pt x="195466" y="592447"/>
                  <a:pt x="190704" y="591768"/>
                  <a:pt x="188663" y="591768"/>
                </a:cubicBezTo>
                <a:cubicBezTo>
                  <a:pt x="186622" y="591768"/>
                  <a:pt x="185942" y="593805"/>
                  <a:pt x="183220" y="593805"/>
                </a:cubicBezTo>
                <a:cubicBezTo>
                  <a:pt x="179138" y="593126"/>
                  <a:pt x="179138" y="593126"/>
                  <a:pt x="175056" y="594484"/>
                </a:cubicBezTo>
                <a:cubicBezTo>
                  <a:pt x="166893" y="597881"/>
                  <a:pt x="168933" y="589051"/>
                  <a:pt x="166212" y="587692"/>
                </a:cubicBezTo>
                <a:cubicBezTo>
                  <a:pt x="166212" y="585655"/>
                  <a:pt x="168933" y="586334"/>
                  <a:pt x="166893" y="583617"/>
                </a:cubicBezTo>
                <a:cubicBezTo>
                  <a:pt x="165532" y="582259"/>
                  <a:pt x="166212" y="580900"/>
                  <a:pt x="166212" y="579542"/>
                </a:cubicBezTo>
                <a:cubicBezTo>
                  <a:pt x="160770" y="576825"/>
                  <a:pt x="160770" y="576825"/>
                  <a:pt x="160770" y="576825"/>
                </a:cubicBezTo>
                <a:cubicBezTo>
                  <a:pt x="160089" y="576825"/>
                  <a:pt x="155327" y="576146"/>
                  <a:pt x="155327" y="576146"/>
                </a:cubicBezTo>
                <a:cubicBezTo>
                  <a:pt x="160089" y="574787"/>
                  <a:pt x="160089" y="574787"/>
                  <a:pt x="160089" y="574787"/>
                </a:cubicBezTo>
                <a:cubicBezTo>
                  <a:pt x="157368" y="574787"/>
                  <a:pt x="155327" y="573429"/>
                  <a:pt x="152606" y="574787"/>
                </a:cubicBezTo>
                <a:cubicBezTo>
                  <a:pt x="149884" y="575467"/>
                  <a:pt x="147163" y="578863"/>
                  <a:pt x="143762" y="577504"/>
                </a:cubicBezTo>
                <a:cubicBezTo>
                  <a:pt x="136278" y="575467"/>
                  <a:pt x="132876" y="578863"/>
                  <a:pt x="127434" y="583617"/>
                </a:cubicBezTo>
                <a:cubicBezTo>
                  <a:pt x="122672" y="587013"/>
                  <a:pt x="118590" y="588372"/>
                  <a:pt x="113147" y="591088"/>
                </a:cubicBezTo>
                <a:cubicBezTo>
                  <a:pt x="109745" y="591768"/>
                  <a:pt x="104983" y="586334"/>
                  <a:pt x="103623" y="585655"/>
                </a:cubicBezTo>
                <a:cubicBezTo>
                  <a:pt x="102942" y="584976"/>
                  <a:pt x="94098" y="587692"/>
                  <a:pt x="91377" y="587013"/>
                </a:cubicBezTo>
                <a:cubicBezTo>
                  <a:pt x="80492" y="584976"/>
                  <a:pt x="74369" y="601277"/>
                  <a:pt x="64844" y="593805"/>
                </a:cubicBezTo>
                <a:cubicBezTo>
                  <a:pt x="60762" y="590409"/>
                  <a:pt x="56000" y="588372"/>
                  <a:pt x="51918" y="583617"/>
                </a:cubicBezTo>
                <a:cubicBezTo>
                  <a:pt x="51238" y="580900"/>
                  <a:pt x="46475" y="579542"/>
                  <a:pt x="44435" y="578183"/>
                </a:cubicBezTo>
                <a:cubicBezTo>
                  <a:pt x="42394" y="576146"/>
                  <a:pt x="41713" y="572750"/>
                  <a:pt x="39672" y="571391"/>
                </a:cubicBezTo>
                <a:cubicBezTo>
                  <a:pt x="38312" y="570712"/>
                  <a:pt x="36271" y="569354"/>
                  <a:pt x="35590" y="567995"/>
                </a:cubicBezTo>
                <a:cubicBezTo>
                  <a:pt x="34230" y="566637"/>
                  <a:pt x="33549" y="564599"/>
                  <a:pt x="32189" y="562562"/>
                </a:cubicBezTo>
                <a:cubicBezTo>
                  <a:pt x="30828" y="559166"/>
                  <a:pt x="28107" y="563241"/>
                  <a:pt x="26746" y="558486"/>
                </a:cubicBezTo>
                <a:cubicBezTo>
                  <a:pt x="26066" y="554411"/>
                  <a:pt x="26746" y="550336"/>
                  <a:pt x="25385" y="546261"/>
                </a:cubicBezTo>
                <a:cubicBezTo>
                  <a:pt x="24025" y="541506"/>
                  <a:pt x="23345" y="537431"/>
                  <a:pt x="17222" y="538789"/>
                </a:cubicBezTo>
                <a:cubicBezTo>
                  <a:pt x="15861" y="537431"/>
                  <a:pt x="16541" y="531997"/>
                  <a:pt x="15181" y="531318"/>
                </a:cubicBezTo>
                <a:cubicBezTo>
                  <a:pt x="14500" y="527922"/>
                  <a:pt x="9738" y="524526"/>
                  <a:pt x="6336" y="524526"/>
                </a:cubicBezTo>
                <a:cubicBezTo>
                  <a:pt x="5656" y="523168"/>
                  <a:pt x="4976" y="521130"/>
                  <a:pt x="4296" y="519772"/>
                </a:cubicBezTo>
                <a:cubicBezTo>
                  <a:pt x="894" y="517734"/>
                  <a:pt x="894" y="517734"/>
                  <a:pt x="894" y="517734"/>
                </a:cubicBezTo>
                <a:cubicBezTo>
                  <a:pt x="-467" y="516376"/>
                  <a:pt x="2255" y="515017"/>
                  <a:pt x="2255" y="514338"/>
                </a:cubicBezTo>
                <a:cubicBezTo>
                  <a:pt x="2935" y="514338"/>
                  <a:pt x="2935" y="514338"/>
                  <a:pt x="2935" y="514338"/>
                </a:cubicBezTo>
                <a:cubicBezTo>
                  <a:pt x="2255" y="513659"/>
                  <a:pt x="2255" y="513659"/>
                  <a:pt x="2255" y="513659"/>
                </a:cubicBezTo>
                <a:cubicBezTo>
                  <a:pt x="2255" y="513659"/>
                  <a:pt x="2255" y="513659"/>
                  <a:pt x="1574" y="513659"/>
                </a:cubicBezTo>
                <a:cubicBezTo>
                  <a:pt x="894" y="512980"/>
                  <a:pt x="894" y="512980"/>
                  <a:pt x="894" y="512980"/>
                </a:cubicBezTo>
                <a:cubicBezTo>
                  <a:pt x="-467" y="509583"/>
                  <a:pt x="2935" y="507546"/>
                  <a:pt x="2255" y="504829"/>
                </a:cubicBezTo>
                <a:cubicBezTo>
                  <a:pt x="-467" y="504150"/>
                  <a:pt x="-467" y="493962"/>
                  <a:pt x="894" y="491924"/>
                </a:cubicBezTo>
                <a:cubicBezTo>
                  <a:pt x="4976" y="487849"/>
                  <a:pt x="4296" y="483774"/>
                  <a:pt x="4976" y="478340"/>
                </a:cubicBezTo>
                <a:cubicBezTo>
                  <a:pt x="5656" y="474265"/>
                  <a:pt x="8377" y="470869"/>
                  <a:pt x="8377" y="466793"/>
                </a:cubicBezTo>
                <a:cubicBezTo>
                  <a:pt x="8377" y="463397"/>
                  <a:pt x="7017" y="460680"/>
                  <a:pt x="7017" y="457284"/>
                </a:cubicBezTo>
                <a:cubicBezTo>
                  <a:pt x="6336" y="456605"/>
                  <a:pt x="4296" y="453209"/>
                  <a:pt x="4296" y="453209"/>
                </a:cubicBezTo>
                <a:cubicBezTo>
                  <a:pt x="4296" y="452530"/>
                  <a:pt x="4976" y="451172"/>
                  <a:pt x="5656" y="451172"/>
                </a:cubicBezTo>
                <a:cubicBezTo>
                  <a:pt x="5656" y="450492"/>
                  <a:pt x="4976" y="449134"/>
                  <a:pt x="6336" y="448455"/>
                </a:cubicBezTo>
                <a:cubicBezTo>
                  <a:pt x="6336" y="445059"/>
                  <a:pt x="6336" y="442342"/>
                  <a:pt x="5656" y="438946"/>
                </a:cubicBezTo>
                <a:cubicBezTo>
                  <a:pt x="2935" y="438267"/>
                  <a:pt x="2935" y="438267"/>
                  <a:pt x="2935" y="435550"/>
                </a:cubicBezTo>
                <a:cubicBezTo>
                  <a:pt x="2255" y="435550"/>
                  <a:pt x="2255" y="435550"/>
                  <a:pt x="1574" y="435550"/>
                </a:cubicBezTo>
                <a:cubicBezTo>
                  <a:pt x="1574" y="433512"/>
                  <a:pt x="2255" y="430795"/>
                  <a:pt x="2935" y="428758"/>
                </a:cubicBezTo>
                <a:cubicBezTo>
                  <a:pt x="3615" y="424682"/>
                  <a:pt x="4296" y="425362"/>
                  <a:pt x="6336" y="422645"/>
                </a:cubicBezTo>
                <a:cubicBezTo>
                  <a:pt x="8377" y="420607"/>
                  <a:pt x="8377" y="417890"/>
                  <a:pt x="9058" y="415174"/>
                </a:cubicBezTo>
                <a:cubicBezTo>
                  <a:pt x="9738" y="413815"/>
                  <a:pt x="11779" y="411778"/>
                  <a:pt x="13140" y="410419"/>
                </a:cubicBezTo>
                <a:cubicBezTo>
                  <a:pt x="14500" y="408381"/>
                  <a:pt x="11779" y="409061"/>
                  <a:pt x="11779" y="408381"/>
                </a:cubicBezTo>
                <a:cubicBezTo>
                  <a:pt x="11779" y="407702"/>
                  <a:pt x="13820" y="405665"/>
                  <a:pt x="13820" y="404306"/>
                </a:cubicBezTo>
                <a:cubicBezTo>
                  <a:pt x="14500" y="402269"/>
                  <a:pt x="17902" y="400910"/>
                  <a:pt x="18582" y="398873"/>
                </a:cubicBezTo>
                <a:cubicBezTo>
                  <a:pt x="19943" y="395477"/>
                  <a:pt x="21984" y="392760"/>
                  <a:pt x="21984" y="389364"/>
                </a:cubicBezTo>
                <a:cubicBezTo>
                  <a:pt x="21984" y="383251"/>
                  <a:pt x="26066" y="384609"/>
                  <a:pt x="30148" y="381892"/>
                </a:cubicBezTo>
                <a:cubicBezTo>
                  <a:pt x="30148" y="380534"/>
                  <a:pt x="30828" y="379176"/>
                  <a:pt x="30828" y="377817"/>
                </a:cubicBezTo>
                <a:cubicBezTo>
                  <a:pt x="32189" y="377817"/>
                  <a:pt x="32869" y="373063"/>
                  <a:pt x="32869" y="371704"/>
                </a:cubicBezTo>
                <a:cubicBezTo>
                  <a:pt x="34230" y="369667"/>
                  <a:pt x="39672" y="369667"/>
                  <a:pt x="41713" y="368987"/>
                </a:cubicBezTo>
                <a:cubicBezTo>
                  <a:pt x="43754" y="368987"/>
                  <a:pt x="44435" y="367629"/>
                  <a:pt x="44435" y="365591"/>
                </a:cubicBezTo>
                <a:cubicBezTo>
                  <a:pt x="45115" y="364912"/>
                  <a:pt x="47156" y="364233"/>
                  <a:pt x="47836" y="362875"/>
                </a:cubicBezTo>
                <a:cubicBezTo>
                  <a:pt x="53279" y="362875"/>
                  <a:pt x="53959" y="359478"/>
                  <a:pt x="56680" y="356082"/>
                </a:cubicBezTo>
                <a:cubicBezTo>
                  <a:pt x="60082" y="350649"/>
                  <a:pt x="60082" y="350649"/>
                  <a:pt x="60082" y="350649"/>
                </a:cubicBezTo>
                <a:cubicBezTo>
                  <a:pt x="61443" y="348611"/>
                  <a:pt x="60082" y="347253"/>
                  <a:pt x="60082" y="345215"/>
                </a:cubicBezTo>
                <a:cubicBezTo>
                  <a:pt x="60762" y="343857"/>
                  <a:pt x="61443" y="341819"/>
                  <a:pt x="61443" y="339781"/>
                </a:cubicBezTo>
                <a:cubicBezTo>
                  <a:pt x="61443" y="339102"/>
                  <a:pt x="60762" y="335706"/>
                  <a:pt x="61443" y="335706"/>
                </a:cubicBezTo>
                <a:cubicBezTo>
                  <a:pt x="61443" y="335027"/>
                  <a:pt x="61443" y="335027"/>
                  <a:pt x="61443" y="335027"/>
                </a:cubicBezTo>
                <a:cubicBezTo>
                  <a:pt x="62803" y="327556"/>
                  <a:pt x="66205" y="325518"/>
                  <a:pt x="72328" y="320764"/>
                </a:cubicBezTo>
                <a:cubicBezTo>
                  <a:pt x="75729" y="318047"/>
                  <a:pt x="77770" y="318726"/>
                  <a:pt x="80492" y="315330"/>
                </a:cubicBezTo>
                <a:cubicBezTo>
                  <a:pt x="81852" y="314651"/>
                  <a:pt x="84574" y="306500"/>
                  <a:pt x="85254" y="306500"/>
                </a:cubicBezTo>
                <a:cubicBezTo>
                  <a:pt x="85934" y="305821"/>
                  <a:pt x="85934" y="305821"/>
                  <a:pt x="85934" y="305821"/>
                </a:cubicBezTo>
                <a:cubicBezTo>
                  <a:pt x="86614" y="305821"/>
                  <a:pt x="91377" y="300387"/>
                  <a:pt x="91377" y="299708"/>
                </a:cubicBezTo>
                <a:cubicBezTo>
                  <a:pt x="92057" y="300387"/>
                  <a:pt x="92057" y="300387"/>
                  <a:pt x="92057" y="300387"/>
                </a:cubicBezTo>
                <a:cubicBezTo>
                  <a:pt x="92057" y="303783"/>
                  <a:pt x="102262" y="307859"/>
                  <a:pt x="102942" y="304463"/>
                </a:cubicBezTo>
                <a:cubicBezTo>
                  <a:pt x="103623" y="304463"/>
                  <a:pt x="103623" y="304463"/>
                  <a:pt x="103623" y="304463"/>
                </a:cubicBezTo>
                <a:cubicBezTo>
                  <a:pt x="104303" y="306500"/>
                  <a:pt x="109065" y="303104"/>
                  <a:pt x="109745" y="303104"/>
                </a:cubicBezTo>
                <a:cubicBezTo>
                  <a:pt x="111106" y="305142"/>
                  <a:pt x="111106" y="305142"/>
                  <a:pt x="111106" y="305142"/>
                </a:cubicBezTo>
                <a:cubicBezTo>
                  <a:pt x="111106" y="306500"/>
                  <a:pt x="114508" y="305821"/>
                  <a:pt x="115188" y="305142"/>
                </a:cubicBezTo>
                <a:cubicBezTo>
                  <a:pt x="118590" y="305142"/>
                  <a:pt x="119950" y="303104"/>
                  <a:pt x="121311" y="302425"/>
                </a:cubicBezTo>
                <a:cubicBezTo>
                  <a:pt x="121991" y="302425"/>
                  <a:pt x="121991" y="302425"/>
                  <a:pt x="121991" y="302425"/>
                </a:cubicBezTo>
                <a:cubicBezTo>
                  <a:pt x="122672" y="302425"/>
                  <a:pt x="124713" y="299708"/>
                  <a:pt x="125393" y="299029"/>
                </a:cubicBezTo>
                <a:cubicBezTo>
                  <a:pt x="128114" y="299029"/>
                  <a:pt x="126073" y="301067"/>
                  <a:pt x="128794" y="298350"/>
                </a:cubicBezTo>
                <a:cubicBezTo>
                  <a:pt x="131516" y="296312"/>
                  <a:pt x="133557" y="293595"/>
                  <a:pt x="136958" y="294275"/>
                </a:cubicBezTo>
                <a:cubicBezTo>
                  <a:pt x="143762" y="295633"/>
                  <a:pt x="148524" y="292916"/>
                  <a:pt x="154647" y="290878"/>
                </a:cubicBezTo>
                <a:cubicBezTo>
                  <a:pt x="159409" y="289520"/>
                  <a:pt x="157368" y="292237"/>
                  <a:pt x="160089" y="292916"/>
                </a:cubicBezTo>
                <a:cubicBezTo>
                  <a:pt x="162811" y="293595"/>
                  <a:pt x="164171" y="291558"/>
                  <a:pt x="166212" y="290878"/>
                </a:cubicBezTo>
                <a:cubicBezTo>
                  <a:pt x="166893" y="289520"/>
                  <a:pt x="168253" y="288841"/>
                  <a:pt x="168253" y="288162"/>
                </a:cubicBezTo>
                <a:cubicBezTo>
                  <a:pt x="168933" y="288162"/>
                  <a:pt x="168933" y="288162"/>
                  <a:pt x="168933" y="288162"/>
                </a:cubicBezTo>
                <a:cubicBezTo>
                  <a:pt x="168933" y="288162"/>
                  <a:pt x="170294" y="288841"/>
                  <a:pt x="170294" y="288841"/>
                </a:cubicBezTo>
                <a:cubicBezTo>
                  <a:pt x="171655" y="289520"/>
                  <a:pt x="172335" y="289520"/>
                  <a:pt x="173696" y="288841"/>
                </a:cubicBezTo>
                <a:cubicBezTo>
                  <a:pt x="177778" y="288162"/>
                  <a:pt x="176417" y="290878"/>
                  <a:pt x="179138" y="291558"/>
                </a:cubicBezTo>
                <a:cubicBezTo>
                  <a:pt x="181860" y="292237"/>
                  <a:pt x="185261" y="288162"/>
                  <a:pt x="187983" y="287482"/>
                </a:cubicBezTo>
                <a:cubicBezTo>
                  <a:pt x="192745" y="285445"/>
                  <a:pt x="192064" y="289520"/>
                  <a:pt x="194105" y="290199"/>
                </a:cubicBezTo>
                <a:cubicBezTo>
                  <a:pt x="194105" y="290199"/>
                  <a:pt x="194786" y="291558"/>
                  <a:pt x="195466" y="291558"/>
                </a:cubicBezTo>
                <a:cubicBezTo>
                  <a:pt x="196146" y="294954"/>
                  <a:pt x="200228" y="288162"/>
                  <a:pt x="200909" y="287482"/>
                </a:cubicBezTo>
                <a:cubicBezTo>
                  <a:pt x="201589" y="288162"/>
                  <a:pt x="202950" y="288162"/>
                  <a:pt x="202950" y="290199"/>
                </a:cubicBezTo>
                <a:cubicBezTo>
                  <a:pt x="201589" y="290199"/>
                  <a:pt x="196146" y="299029"/>
                  <a:pt x="199548" y="299708"/>
                </a:cubicBezTo>
                <a:cubicBezTo>
                  <a:pt x="199548" y="300387"/>
                  <a:pt x="199548" y="300387"/>
                  <a:pt x="199548" y="300387"/>
                </a:cubicBezTo>
                <a:cubicBezTo>
                  <a:pt x="200228" y="300387"/>
                  <a:pt x="200228" y="300387"/>
                  <a:pt x="200228" y="300387"/>
                </a:cubicBezTo>
                <a:cubicBezTo>
                  <a:pt x="200909" y="301067"/>
                  <a:pt x="201589" y="302425"/>
                  <a:pt x="202269" y="302425"/>
                </a:cubicBezTo>
                <a:cubicBezTo>
                  <a:pt x="202269" y="303104"/>
                  <a:pt x="202269" y="303104"/>
                  <a:pt x="202269" y="303104"/>
                </a:cubicBezTo>
                <a:cubicBezTo>
                  <a:pt x="202269" y="307179"/>
                  <a:pt x="200228" y="307179"/>
                  <a:pt x="198868" y="310576"/>
                </a:cubicBezTo>
                <a:cubicBezTo>
                  <a:pt x="198868" y="311255"/>
                  <a:pt x="195466" y="316688"/>
                  <a:pt x="197507" y="317368"/>
                </a:cubicBezTo>
                <a:cubicBezTo>
                  <a:pt x="197507" y="318047"/>
                  <a:pt x="198868" y="318047"/>
                  <a:pt x="199548" y="319405"/>
                </a:cubicBezTo>
                <a:cubicBezTo>
                  <a:pt x="199548" y="320084"/>
                  <a:pt x="200228" y="322122"/>
                  <a:pt x="200228" y="322801"/>
                </a:cubicBezTo>
                <a:cubicBezTo>
                  <a:pt x="200909" y="322801"/>
                  <a:pt x="200909" y="322801"/>
                  <a:pt x="200909" y="322801"/>
                </a:cubicBezTo>
                <a:cubicBezTo>
                  <a:pt x="201589" y="322801"/>
                  <a:pt x="204310" y="318047"/>
                  <a:pt x="204310" y="322122"/>
                </a:cubicBezTo>
                <a:cubicBezTo>
                  <a:pt x="204310" y="322801"/>
                  <a:pt x="204310" y="322801"/>
                  <a:pt x="204310" y="322801"/>
                </a:cubicBezTo>
                <a:cubicBezTo>
                  <a:pt x="205671" y="322801"/>
                  <a:pt x="205671" y="322801"/>
                  <a:pt x="207032" y="322801"/>
                </a:cubicBezTo>
                <a:cubicBezTo>
                  <a:pt x="211794" y="324160"/>
                  <a:pt x="213835" y="327556"/>
                  <a:pt x="219958" y="328235"/>
                </a:cubicBezTo>
                <a:cubicBezTo>
                  <a:pt x="221999" y="328235"/>
                  <a:pt x="230843" y="327556"/>
                  <a:pt x="231523" y="330952"/>
                </a:cubicBezTo>
                <a:cubicBezTo>
                  <a:pt x="232203" y="330952"/>
                  <a:pt x="234925" y="337065"/>
                  <a:pt x="236966" y="338423"/>
                </a:cubicBezTo>
                <a:cubicBezTo>
                  <a:pt x="241048" y="341140"/>
                  <a:pt x="248531" y="338423"/>
                  <a:pt x="253293" y="341140"/>
                </a:cubicBezTo>
                <a:cubicBezTo>
                  <a:pt x="257375" y="344536"/>
                  <a:pt x="258056" y="347932"/>
                  <a:pt x="264859" y="347932"/>
                </a:cubicBezTo>
                <a:cubicBezTo>
                  <a:pt x="265539" y="344536"/>
                  <a:pt x="270982" y="343177"/>
                  <a:pt x="268941" y="339102"/>
                </a:cubicBezTo>
                <a:cubicBezTo>
                  <a:pt x="266900" y="335706"/>
                  <a:pt x="267580" y="330952"/>
                  <a:pt x="270301" y="327556"/>
                </a:cubicBezTo>
                <a:cubicBezTo>
                  <a:pt x="273703" y="327556"/>
                  <a:pt x="275064" y="328914"/>
                  <a:pt x="277785" y="326876"/>
                </a:cubicBezTo>
                <a:cubicBezTo>
                  <a:pt x="278465" y="325518"/>
                  <a:pt x="281867" y="325518"/>
                  <a:pt x="282547" y="326876"/>
                </a:cubicBezTo>
                <a:cubicBezTo>
                  <a:pt x="287990" y="326876"/>
                  <a:pt x="287990" y="326876"/>
                  <a:pt x="287990" y="326876"/>
                </a:cubicBezTo>
                <a:cubicBezTo>
                  <a:pt x="287990" y="327556"/>
                  <a:pt x="287990" y="326876"/>
                  <a:pt x="287990" y="327556"/>
                </a:cubicBezTo>
                <a:cubicBezTo>
                  <a:pt x="288670" y="327556"/>
                  <a:pt x="289351" y="329593"/>
                  <a:pt x="289351" y="330273"/>
                </a:cubicBezTo>
                <a:cubicBezTo>
                  <a:pt x="290031" y="330273"/>
                  <a:pt x="290031" y="330273"/>
                  <a:pt x="290031" y="330273"/>
                </a:cubicBezTo>
                <a:cubicBezTo>
                  <a:pt x="290711" y="330273"/>
                  <a:pt x="294793" y="329593"/>
                  <a:pt x="295473" y="330273"/>
                </a:cubicBezTo>
                <a:cubicBezTo>
                  <a:pt x="295473" y="333669"/>
                  <a:pt x="298875" y="332989"/>
                  <a:pt x="300916" y="332989"/>
                </a:cubicBezTo>
                <a:cubicBezTo>
                  <a:pt x="304318" y="332989"/>
                  <a:pt x="302957" y="336385"/>
                  <a:pt x="304318" y="336385"/>
                </a:cubicBezTo>
                <a:cubicBezTo>
                  <a:pt x="304998" y="337744"/>
                  <a:pt x="310441" y="335027"/>
                  <a:pt x="311801" y="335027"/>
                </a:cubicBezTo>
                <a:cubicBezTo>
                  <a:pt x="319285" y="334348"/>
                  <a:pt x="328809" y="345894"/>
                  <a:pt x="334252" y="339102"/>
                </a:cubicBezTo>
                <a:cubicBezTo>
                  <a:pt x="334932" y="339102"/>
                  <a:pt x="339014" y="337744"/>
                  <a:pt x="340375" y="336385"/>
                </a:cubicBezTo>
                <a:cubicBezTo>
                  <a:pt x="341735" y="335706"/>
                  <a:pt x="342416" y="337744"/>
                  <a:pt x="344457" y="336385"/>
                </a:cubicBezTo>
                <a:cubicBezTo>
                  <a:pt x="346498" y="335027"/>
                  <a:pt x="348539" y="335706"/>
                  <a:pt x="351260" y="335706"/>
                </a:cubicBezTo>
                <a:cubicBezTo>
                  <a:pt x="353301" y="335706"/>
                  <a:pt x="352620" y="339102"/>
                  <a:pt x="352620" y="340461"/>
                </a:cubicBezTo>
                <a:cubicBezTo>
                  <a:pt x="354661" y="341140"/>
                  <a:pt x="355342" y="339781"/>
                  <a:pt x="356702" y="339102"/>
                </a:cubicBezTo>
                <a:cubicBezTo>
                  <a:pt x="358743" y="338423"/>
                  <a:pt x="358743" y="339781"/>
                  <a:pt x="359424" y="340461"/>
                </a:cubicBezTo>
                <a:cubicBezTo>
                  <a:pt x="360784" y="341140"/>
                  <a:pt x="364186" y="339102"/>
                  <a:pt x="364866" y="338423"/>
                </a:cubicBezTo>
                <a:cubicBezTo>
                  <a:pt x="368948" y="336385"/>
                  <a:pt x="369629" y="337065"/>
                  <a:pt x="369629" y="331631"/>
                </a:cubicBezTo>
                <a:cubicBezTo>
                  <a:pt x="369629" y="330273"/>
                  <a:pt x="370309" y="328235"/>
                  <a:pt x="370989" y="326876"/>
                </a:cubicBezTo>
                <a:cubicBezTo>
                  <a:pt x="371670" y="324839"/>
                  <a:pt x="370989" y="322122"/>
                  <a:pt x="370989" y="320084"/>
                </a:cubicBezTo>
                <a:cubicBezTo>
                  <a:pt x="371670" y="318726"/>
                  <a:pt x="371670" y="317368"/>
                  <a:pt x="371670" y="316688"/>
                </a:cubicBezTo>
                <a:cubicBezTo>
                  <a:pt x="372350" y="316688"/>
                  <a:pt x="371670" y="309896"/>
                  <a:pt x="371670" y="309217"/>
                </a:cubicBezTo>
                <a:cubicBezTo>
                  <a:pt x="371670" y="306500"/>
                  <a:pt x="372350" y="303783"/>
                  <a:pt x="371670" y="301067"/>
                </a:cubicBezTo>
                <a:cubicBezTo>
                  <a:pt x="370989" y="300387"/>
                  <a:pt x="370989" y="300387"/>
                  <a:pt x="370989" y="300387"/>
                </a:cubicBezTo>
                <a:cubicBezTo>
                  <a:pt x="369629" y="300387"/>
                  <a:pt x="371670" y="296991"/>
                  <a:pt x="371670" y="296991"/>
                </a:cubicBezTo>
                <a:cubicBezTo>
                  <a:pt x="371670" y="294954"/>
                  <a:pt x="370309" y="294275"/>
                  <a:pt x="370309" y="292916"/>
                </a:cubicBezTo>
                <a:cubicBezTo>
                  <a:pt x="371670" y="292237"/>
                  <a:pt x="371670" y="285445"/>
                  <a:pt x="369629" y="288162"/>
                </a:cubicBezTo>
                <a:cubicBezTo>
                  <a:pt x="367588" y="291558"/>
                  <a:pt x="365547" y="288162"/>
                  <a:pt x="362825" y="288162"/>
                </a:cubicBezTo>
                <a:cubicBezTo>
                  <a:pt x="362145" y="290878"/>
                  <a:pt x="360784" y="294275"/>
                  <a:pt x="357383" y="293595"/>
                </a:cubicBezTo>
                <a:cubicBezTo>
                  <a:pt x="354661" y="292237"/>
                  <a:pt x="349219" y="298350"/>
                  <a:pt x="346498" y="293595"/>
                </a:cubicBezTo>
                <a:cubicBezTo>
                  <a:pt x="346498" y="292916"/>
                  <a:pt x="345817" y="292237"/>
                  <a:pt x="345817" y="292237"/>
                </a:cubicBezTo>
                <a:cubicBezTo>
                  <a:pt x="342416" y="290878"/>
                  <a:pt x="334932" y="284766"/>
                  <a:pt x="334252" y="292237"/>
                </a:cubicBezTo>
                <a:cubicBezTo>
                  <a:pt x="334252" y="295633"/>
                  <a:pt x="332211" y="294954"/>
                  <a:pt x="329490" y="294954"/>
                </a:cubicBezTo>
                <a:cubicBezTo>
                  <a:pt x="326088" y="294954"/>
                  <a:pt x="326088" y="292237"/>
                  <a:pt x="324727" y="289520"/>
                </a:cubicBezTo>
                <a:cubicBezTo>
                  <a:pt x="324727" y="288841"/>
                  <a:pt x="324047" y="289520"/>
                  <a:pt x="324047" y="289520"/>
                </a:cubicBezTo>
                <a:cubicBezTo>
                  <a:pt x="322006" y="290199"/>
                  <a:pt x="320645" y="288841"/>
                  <a:pt x="319285" y="288841"/>
                </a:cubicBezTo>
                <a:cubicBezTo>
                  <a:pt x="319285" y="290878"/>
                  <a:pt x="315883" y="290878"/>
                  <a:pt x="314522" y="290199"/>
                </a:cubicBezTo>
                <a:cubicBezTo>
                  <a:pt x="314522" y="288162"/>
                  <a:pt x="317924" y="289520"/>
                  <a:pt x="317924" y="286803"/>
                </a:cubicBezTo>
                <a:cubicBezTo>
                  <a:pt x="317924" y="286803"/>
                  <a:pt x="314522" y="286803"/>
                  <a:pt x="313842" y="286803"/>
                </a:cubicBezTo>
                <a:cubicBezTo>
                  <a:pt x="313842" y="286124"/>
                  <a:pt x="314522" y="285445"/>
                  <a:pt x="314522" y="284766"/>
                </a:cubicBezTo>
                <a:cubicBezTo>
                  <a:pt x="311801" y="284086"/>
                  <a:pt x="312481" y="285445"/>
                  <a:pt x="311801" y="282049"/>
                </a:cubicBezTo>
                <a:cubicBezTo>
                  <a:pt x="311801" y="281370"/>
                  <a:pt x="310441" y="277294"/>
                  <a:pt x="310441" y="277294"/>
                </a:cubicBezTo>
                <a:cubicBezTo>
                  <a:pt x="310441" y="276615"/>
                  <a:pt x="310441" y="276615"/>
                  <a:pt x="310441" y="276615"/>
                </a:cubicBezTo>
                <a:cubicBezTo>
                  <a:pt x="309760" y="276615"/>
                  <a:pt x="309760" y="276615"/>
                  <a:pt x="309760" y="276615"/>
                </a:cubicBezTo>
                <a:cubicBezTo>
                  <a:pt x="309760" y="276615"/>
                  <a:pt x="307719" y="276615"/>
                  <a:pt x="307719" y="276615"/>
                </a:cubicBezTo>
                <a:cubicBezTo>
                  <a:pt x="306359" y="276615"/>
                  <a:pt x="305678" y="275936"/>
                  <a:pt x="304998" y="275257"/>
                </a:cubicBezTo>
                <a:cubicBezTo>
                  <a:pt x="304998" y="274577"/>
                  <a:pt x="307039" y="275257"/>
                  <a:pt x="307719" y="275257"/>
                </a:cubicBezTo>
                <a:cubicBezTo>
                  <a:pt x="308400" y="274577"/>
                  <a:pt x="311121" y="273898"/>
                  <a:pt x="309760" y="273219"/>
                </a:cubicBezTo>
                <a:cubicBezTo>
                  <a:pt x="308400" y="271861"/>
                  <a:pt x="307039" y="273219"/>
                  <a:pt x="307039" y="269823"/>
                </a:cubicBezTo>
                <a:cubicBezTo>
                  <a:pt x="307039" y="263031"/>
                  <a:pt x="304318" y="269144"/>
                  <a:pt x="302277" y="265069"/>
                </a:cubicBezTo>
                <a:cubicBezTo>
                  <a:pt x="301596" y="263031"/>
                  <a:pt x="303637" y="258956"/>
                  <a:pt x="304998" y="258276"/>
                </a:cubicBezTo>
                <a:cubicBezTo>
                  <a:pt x="309080" y="256918"/>
                  <a:pt x="313162" y="257597"/>
                  <a:pt x="317924" y="257597"/>
                </a:cubicBezTo>
                <a:cubicBezTo>
                  <a:pt x="320645" y="257597"/>
                  <a:pt x="320645" y="258276"/>
                  <a:pt x="320645" y="255560"/>
                </a:cubicBezTo>
                <a:cubicBezTo>
                  <a:pt x="320645" y="254880"/>
                  <a:pt x="322686" y="254880"/>
                  <a:pt x="322006" y="254201"/>
                </a:cubicBezTo>
                <a:cubicBezTo>
                  <a:pt x="321326" y="253522"/>
                  <a:pt x="319285" y="252843"/>
                  <a:pt x="319285" y="252843"/>
                </a:cubicBezTo>
                <a:cubicBezTo>
                  <a:pt x="319285" y="252164"/>
                  <a:pt x="319285" y="252164"/>
                  <a:pt x="319285" y="251484"/>
                </a:cubicBezTo>
                <a:cubicBezTo>
                  <a:pt x="319965" y="251484"/>
                  <a:pt x="319965" y="251484"/>
                  <a:pt x="319965" y="251484"/>
                </a:cubicBezTo>
                <a:cubicBezTo>
                  <a:pt x="319965" y="250805"/>
                  <a:pt x="319965" y="250805"/>
                  <a:pt x="319965" y="250805"/>
                </a:cubicBezTo>
                <a:cubicBezTo>
                  <a:pt x="323367" y="250126"/>
                  <a:pt x="325408" y="250126"/>
                  <a:pt x="328809" y="251484"/>
                </a:cubicBezTo>
                <a:cubicBezTo>
                  <a:pt x="331531" y="252164"/>
                  <a:pt x="332211" y="248768"/>
                  <a:pt x="334932" y="248088"/>
                </a:cubicBezTo>
                <a:cubicBezTo>
                  <a:pt x="339014" y="246051"/>
                  <a:pt x="343776" y="243334"/>
                  <a:pt x="347858" y="244013"/>
                </a:cubicBezTo>
                <a:cubicBezTo>
                  <a:pt x="350580" y="244013"/>
                  <a:pt x="355342" y="243334"/>
                  <a:pt x="356022" y="244692"/>
                </a:cubicBezTo>
                <a:cubicBezTo>
                  <a:pt x="356702" y="245372"/>
                  <a:pt x="356702" y="245372"/>
                  <a:pt x="356702" y="245372"/>
                </a:cubicBezTo>
                <a:cubicBezTo>
                  <a:pt x="359424" y="245372"/>
                  <a:pt x="360104" y="244013"/>
                  <a:pt x="362825" y="246730"/>
                </a:cubicBezTo>
                <a:cubicBezTo>
                  <a:pt x="364186" y="248768"/>
                  <a:pt x="365547" y="248768"/>
                  <a:pt x="368268" y="248768"/>
                </a:cubicBezTo>
                <a:cubicBezTo>
                  <a:pt x="368268" y="250126"/>
                  <a:pt x="377792" y="252164"/>
                  <a:pt x="379153" y="252164"/>
                </a:cubicBezTo>
                <a:cubicBezTo>
                  <a:pt x="379833" y="252164"/>
                  <a:pt x="382555" y="251484"/>
                  <a:pt x="383235" y="250126"/>
                </a:cubicBezTo>
                <a:cubicBezTo>
                  <a:pt x="386637" y="250126"/>
                  <a:pt x="389358" y="252843"/>
                  <a:pt x="392760" y="252164"/>
                </a:cubicBezTo>
                <a:cubicBezTo>
                  <a:pt x="395481" y="249447"/>
                  <a:pt x="395481" y="249447"/>
                  <a:pt x="395481" y="249447"/>
                </a:cubicBezTo>
                <a:cubicBezTo>
                  <a:pt x="396161" y="246051"/>
                  <a:pt x="398202" y="243334"/>
                  <a:pt x="396161" y="239259"/>
                </a:cubicBezTo>
                <a:cubicBezTo>
                  <a:pt x="393440" y="234504"/>
                  <a:pt x="385276" y="233146"/>
                  <a:pt x="381194" y="230429"/>
                </a:cubicBezTo>
                <a:cubicBezTo>
                  <a:pt x="378473" y="228391"/>
                  <a:pt x="377112" y="227033"/>
                  <a:pt x="375751" y="224316"/>
                </a:cubicBezTo>
                <a:cubicBezTo>
                  <a:pt x="373710" y="221599"/>
                  <a:pt x="370989" y="224316"/>
                  <a:pt x="369629" y="220241"/>
                </a:cubicBezTo>
                <a:cubicBezTo>
                  <a:pt x="367588" y="220241"/>
                  <a:pt x="366227" y="220920"/>
                  <a:pt x="364866" y="220920"/>
                </a:cubicBezTo>
                <a:cubicBezTo>
                  <a:pt x="363506" y="219562"/>
                  <a:pt x="363506" y="219562"/>
                  <a:pt x="363506" y="219562"/>
                </a:cubicBezTo>
                <a:cubicBezTo>
                  <a:pt x="363506" y="218882"/>
                  <a:pt x="363506" y="218882"/>
                  <a:pt x="363506" y="218882"/>
                </a:cubicBezTo>
                <a:cubicBezTo>
                  <a:pt x="362825" y="218882"/>
                  <a:pt x="362145" y="218203"/>
                  <a:pt x="361465" y="217524"/>
                </a:cubicBezTo>
                <a:cubicBezTo>
                  <a:pt x="361465" y="217524"/>
                  <a:pt x="361465" y="217524"/>
                  <a:pt x="360784" y="216845"/>
                </a:cubicBezTo>
                <a:cubicBezTo>
                  <a:pt x="359424" y="216166"/>
                  <a:pt x="359424" y="216166"/>
                  <a:pt x="359424" y="216166"/>
                </a:cubicBezTo>
                <a:cubicBezTo>
                  <a:pt x="360104" y="216166"/>
                  <a:pt x="360784" y="215486"/>
                  <a:pt x="360784" y="214807"/>
                </a:cubicBezTo>
                <a:cubicBezTo>
                  <a:pt x="362825" y="214807"/>
                  <a:pt x="362825" y="212769"/>
                  <a:pt x="363506" y="211411"/>
                </a:cubicBezTo>
                <a:cubicBezTo>
                  <a:pt x="364186" y="208694"/>
                  <a:pt x="363506" y="208694"/>
                  <a:pt x="365547" y="208694"/>
                </a:cubicBezTo>
                <a:cubicBezTo>
                  <a:pt x="373710" y="208694"/>
                  <a:pt x="363506" y="203940"/>
                  <a:pt x="362145" y="201902"/>
                </a:cubicBezTo>
                <a:cubicBezTo>
                  <a:pt x="363506" y="201902"/>
                  <a:pt x="365547" y="201902"/>
                  <a:pt x="366227" y="201902"/>
                </a:cubicBezTo>
                <a:cubicBezTo>
                  <a:pt x="366907" y="201902"/>
                  <a:pt x="368948" y="197827"/>
                  <a:pt x="368948" y="197827"/>
                </a:cubicBezTo>
                <a:cubicBezTo>
                  <a:pt x="369629" y="195110"/>
                  <a:pt x="361465" y="199185"/>
                  <a:pt x="359424" y="199865"/>
                </a:cubicBezTo>
                <a:cubicBezTo>
                  <a:pt x="356022" y="201223"/>
                  <a:pt x="353301" y="200544"/>
                  <a:pt x="350580" y="203261"/>
                </a:cubicBezTo>
                <a:cubicBezTo>
                  <a:pt x="348539" y="205298"/>
                  <a:pt x="345137" y="206657"/>
                  <a:pt x="342416" y="207336"/>
                </a:cubicBezTo>
                <a:cubicBezTo>
                  <a:pt x="337653" y="209373"/>
                  <a:pt x="343776" y="208694"/>
                  <a:pt x="345817" y="209373"/>
                </a:cubicBezTo>
                <a:cubicBezTo>
                  <a:pt x="347858" y="210732"/>
                  <a:pt x="347858" y="213449"/>
                  <a:pt x="349899" y="213449"/>
                </a:cubicBezTo>
                <a:cubicBezTo>
                  <a:pt x="351940" y="213449"/>
                  <a:pt x="353981" y="213449"/>
                  <a:pt x="355342" y="213449"/>
                </a:cubicBezTo>
                <a:cubicBezTo>
                  <a:pt x="356702" y="212769"/>
                  <a:pt x="356702" y="214807"/>
                  <a:pt x="356022" y="215486"/>
                </a:cubicBezTo>
                <a:cubicBezTo>
                  <a:pt x="354661" y="216845"/>
                  <a:pt x="352620" y="216845"/>
                  <a:pt x="351260" y="216166"/>
                </a:cubicBezTo>
                <a:cubicBezTo>
                  <a:pt x="351260" y="216166"/>
                  <a:pt x="349219" y="218882"/>
                  <a:pt x="346498" y="219562"/>
                </a:cubicBezTo>
                <a:cubicBezTo>
                  <a:pt x="344457" y="219562"/>
                  <a:pt x="343776" y="221599"/>
                  <a:pt x="342416" y="222278"/>
                </a:cubicBezTo>
                <a:cubicBezTo>
                  <a:pt x="341055" y="222958"/>
                  <a:pt x="339694" y="218203"/>
                  <a:pt x="339694" y="216845"/>
                </a:cubicBezTo>
                <a:cubicBezTo>
                  <a:pt x="339694" y="214128"/>
                  <a:pt x="333571" y="214807"/>
                  <a:pt x="332211" y="213449"/>
                </a:cubicBezTo>
                <a:cubicBezTo>
                  <a:pt x="336973" y="213449"/>
                  <a:pt x="341055" y="206657"/>
                  <a:pt x="335612" y="208015"/>
                </a:cubicBezTo>
                <a:cubicBezTo>
                  <a:pt x="334252" y="208694"/>
                  <a:pt x="328809" y="209373"/>
                  <a:pt x="327449" y="207336"/>
                </a:cubicBezTo>
                <a:cubicBezTo>
                  <a:pt x="327449" y="205977"/>
                  <a:pt x="328809" y="204619"/>
                  <a:pt x="328809" y="203261"/>
                </a:cubicBezTo>
                <a:cubicBezTo>
                  <a:pt x="328809" y="201223"/>
                  <a:pt x="319285" y="201902"/>
                  <a:pt x="319285" y="205977"/>
                </a:cubicBezTo>
                <a:cubicBezTo>
                  <a:pt x="319285" y="208015"/>
                  <a:pt x="316563" y="205298"/>
                  <a:pt x="315883" y="204619"/>
                </a:cubicBezTo>
                <a:cubicBezTo>
                  <a:pt x="313842" y="203261"/>
                  <a:pt x="315883" y="207336"/>
                  <a:pt x="316563" y="208015"/>
                </a:cubicBezTo>
                <a:cubicBezTo>
                  <a:pt x="318604" y="211411"/>
                  <a:pt x="311801" y="210732"/>
                  <a:pt x="314522" y="214128"/>
                </a:cubicBezTo>
                <a:cubicBezTo>
                  <a:pt x="315883" y="215486"/>
                  <a:pt x="315203" y="218203"/>
                  <a:pt x="312481" y="218203"/>
                </a:cubicBezTo>
                <a:cubicBezTo>
                  <a:pt x="309760" y="218882"/>
                  <a:pt x="311801" y="232467"/>
                  <a:pt x="308400" y="234504"/>
                </a:cubicBezTo>
                <a:cubicBezTo>
                  <a:pt x="308400" y="235183"/>
                  <a:pt x="307719" y="235863"/>
                  <a:pt x="307719" y="235863"/>
                </a:cubicBezTo>
                <a:cubicBezTo>
                  <a:pt x="307719" y="236542"/>
                  <a:pt x="307719" y="237221"/>
                  <a:pt x="307719" y="237900"/>
                </a:cubicBezTo>
                <a:cubicBezTo>
                  <a:pt x="307719" y="237900"/>
                  <a:pt x="307719" y="238579"/>
                  <a:pt x="307719" y="238579"/>
                </a:cubicBezTo>
                <a:cubicBezTo>
                  <a:pt x="307039" y="238579"/>
                  <a:pt x="307039" y="239259"/>
                  <a:pt x="307039" y="239259"/>
                </a:cubicBezTo>
                <a:cubicBezTo>
                  <a:pt x="306359" y="241975"/>
                  <a:pt x="315203" y="248768"/>
                  <a:pt x="317244" y="248768"/>
                </a:cubicBezTo>
                <a:cubicBezTo>
                  <a:pt x="317244" y="248768"/>
                  <a:pt x="319285" y="251484"/>
                  <a:pt x="317244" y="252164"/>
                </a:cubicBezTo>
                <a:cubicBezTo>
                  <a:pt x="317244" y="254880"/>
                  <a:pt x="306359" y="250126"/>
                  <a:pt x="306359" y="254201"/>
                </a:cubicBezTo>
                <a:cubicBezTo>
                  <a:pt x="306359" y="254880"/>
                  <a:pt x="306359" y="254880"/>
                  <a:pt x="306359" y="254880"/>
                </a:cubicBezTo>
                <a:cubicBezTo>
                  <a:pt x="306359" y="256918"/>
                  <a:pt x="303637" y="254880"/>
                  <a:pt x="302957" y="254201"/>
                </a:cubicBezTo>
                <a:cubicBezTo>
                  <a:pt x="301596" y="253522"/>
                  <a:pt x="299555" y="254201"/>
                  <a:pt x="296834" y="253522"/>
                </a:cubicBezTo>
                <a:cubicBezTo>
                  <a:pt x="294113" y="252164"/>
                  <a:pt x="293432" y="251484"/>
                  <a:pt x="292752" y="254201"/>
                </a:cubicBezTo>
                <a:cubicBezTo>
                  <a:pt x="292072" y="254201"/>
                  <a:pt x="291391" y="254201"/>
                  <a:pt x="290031" y="254201"/>
                </a:cubicBezTo>
                <a:cubicBezTo>
                  <a:pt x="290031" y="253522"/>
                  <a:pt x="289351" y="253522"/>
                  <a:pt x="288670" y="253522"/>
                </a:cubicBezTo>
                <a:cubicBezTo>
                  <a:pt x="288670" y="253522"/>
                  <a:pt x="288670" y="254201"/>
                  <a:pt x="288670" y="254201"/>
                </a:cubicBezTo>
                <a:cubicBezTo>
                  <a:pt x="287310" y="254201"/>
                  <a:pt x="285949" y="253522"/>
                  <a:pt x="284588" y="253522"/>
                </a:cubicBezTo>
                <a:cubicBezTo>
                  <a:pt x="283908" y="253522"/>
                  <a:pt x="285269" y="255560"/>
                  <a:pt x="285269" y="256918"/>
                </a:cubicBezTo>
                <a:cubicBezTo>
                  <a:pt x="283908" y="256918"/>
                  <a:pt x="285269" y="258956"/>
                  <a:pt x="284588" y="259635"/>
                </a:cubicBezTo>
                <a:cubicBezTo>
                  <a:pt x="283908" y="260993"/>
                  <a:pt x="281187" y="257597"/>
                  <a:pt x="279826" y="258276"/>
                </a:cubicBezTo>
                <a:cubicBezTo>
                  <a:pt x="277785" y="258276"/>
                  <a:pt x="279146" y="262352"/>
                  <a:pt x="279146" y="263710"/>
                </a:cubicBezTo>
                <a:cubicBezTo>
                  <a:pt x="281867" y="264389"/>
                  <a:pt x="280506" y="268465"/>
                  <a:pt x="280506" y="270502"/>
                </a:cubicBezTo>
                <a:cubicBezTo>
                  <a:pt x="279146" y="273219"/>
                  <a:pt x="281867" y="271861"/>
                  <a:pt x="283908" y="273219"/>
                </a:cubicBezTo>
                <a:cubicBezTo>
                  <a:pt x="284588" y="273219"/>
                  <a:pt x="285949" y="275257"/>
                  <a:pt x="286629" y="275936"/>
                </a:cubicBezTo>
                <a:cubicBezTo>
                  <a:pt x="286629" y="277974"/>
                  <a:pt x="282547" y="279332"/>
                  <a:pt x="282547" y="281370"/>
                </a:cubicBezTo>
                <a:cubicBezTo>
                  <a:pt x="283228" y="281370"/>
                  <a:pt x="285269" y="284086"/>
                  <a:pt x="283228" y="284086"/>
                </a:cubicBezTo>
                <a:cubicBezTo>
                  <a:pt x="282547" y="284086"/>
                  <a:pt x="281867" y="282728"/>
                  <a:pt x="281867" y="284086"/>
                </a:cubicBezTo>
                <a:cubicBezTo>
                  <a:pt x="281867" y="284766"/>
                  <a:pt x="281187" y="285445"/>
                  <a:pt x="280506" y="286124"/>
                </a:cubicBezTo>
                <a:cubicBezTo>
                  <a:pt x="280506" y="286803"/>
                  <a:pt x="281187" y="286124"/>
                  <a:pt x="281187" y="286803"/>
                </a:cubicBezTo>
                <a:cubicBezTo>
                  <a:pt x="282547" y="286803"/>
                  <a:pt x="283908" y="288162"/>
                  <a:pt x="283908" y="289520"/>
                </a:cubicBezTo>
                <a:cubicBezTo>
                  <a:pt x="283908" y="289520"/>
                  <a:pt x="284588" y="292237"/>
                  <a:pt x="283908" y="292237"/>
                </a:cubicBezTo>
                <a:cubicBezTo>
                  <a:pt x="283228" y="292237"/>
                  <a:pt x="283228" y="290199"/>
                  <a:pt x="281867" y="290199"/>
                </a:cubicBezTo>
                <a:cubicBezTo>
                  <a:pt x="281867" y="290199"/>
                  <a:pt x="281867" y="290878"/>
                  <a:pt x="281187" y="291558"/>
                </a:cubicBezTo>
                <a:cubicBezTo>
                  <a:pt x="281187" y="292237"/>
                  <a:pt x="277785" y="287482"/>
                  <a:pt x="277785" y="286124"/>
                </a:cubicBezTo>
                <a:cubicBezTo>
                  <a:pt x="277105" y="286124"/>
                  <a:pt x="277105" y="286124"/>
                  <a:pt x="276424" y="286124"/>
                </a:cubicBezTo>
                <a:cubicBezTo>
                  <a:pt x="276424" y="286803"/>
                  <a:pt x="277785" y="290878"/>
                  <a:pt x="275064" y="289520"/>
                </a:cubicBezTo>
                <a:cubicBezTo>
                  <a:pt x="275064" y="288841"/>
                  <a:pt x="272342" y="281370"/>
                  <a:pt x="272342" y="281370"/>
                </a:cubicBezTo>
                <a:cubicBezTo>
                  <a:pt x="274383" y="275936"/>
                  <a:pt x="280506" y="280690"/>
                  <a:pt x="281187" y="278653"/>
                </a:cubicBezTo>
                <a:cubicBezTo>
                  <a:pt x="282547" y="278653"/>
                  <a:pt x="283228" y="277294"/>
                  <a:pt x="283908" y="277294"/>
                </a:cubicBezTo>
                <a:cubicBezTo>
                  <a:pt x="283908" y="276615"/>
                  <a:pt x="277785" y="275936"/>
                  <a:pt x="277105" y="275936"/>
                </a:cubicBezTo>
                <a:cubicBezTo>
                  <a:pt x="275064" y="275936"/>
                  <a:pt x="272342" y="276615"/>
                  <a:pt x="271662" y="275936"/>
                </a:cubicBezTo>
                <a:cubicBezTo>
                  <a:pt x="270301" y="274577"/>
                  <a:pt x="271662" y="273898"/>
                  <a:pt x="268941" y="273898"/>
                </a:cubicBezTo>
                <a:cubicBezTo>
                  <a:pt x="264859" y="273898"/>
                  <a:pt x="271662" y="269823"/>
                  <a:pt x="268941" y="269823"/>
                </a:cubicBezTo>
                <a:cubicBezTo>
                  <a:pt x="266220" y="269823"/>
                  <a:pt x="264859" y="268465"/>
                  <a:pt x="262818" y="268465"/>
                </a:cubicBezTo>
                <a:cubicBezTo>
                  <a:pt x="262818" y="267106"/>
                  <a:pt x="263498" y="265069"/>
                  <a:pt x="262818" y="264389"/>
                </a:cubicBezTo>
                <a:cubicBezTo>
                  <a:pt x="260097" y="262352"/>
                  <a:pt x="259416" y="265748"/>
                  <a:pt x="259416" y="260993"/>
                </a:cubicBezTo>
                <a:cubicBezTo>
                  <a:pt x="259416" y="259635"/>
                  <a:pt x="256015" y="260314"/>
                  <a:pt x="254654" y="257597"/>
                </a:cubicBezTo>
                <a:cubicBezTo>
                  <a:pt x="254654" y="254880"/>
                  <a:pt x="256015" y="248088"/>
                  <a:pt x="254654" y="246730"/>
                </a:cubicBezTo>
                <a:cubicBezTo>
                  <a:pt x="252613" y="244013"/>
                  <a:pt x="249212" y="242655"/>
                  <a:pt x="248531" y="239938"/>
                </a:cubicBezTo>
                <a:cubicBezTo>
                  <a:pt x="246490" y="239938"/>
                  <a:pt x="244449" y="238579"/>
                  <a:pt x="243089" y="238579"/>
                </a:cubicBezTo>
                <a:cubicBezTo>
                  <a:pt x="241048" y="238579"/>
                  <a:pt x="241728" y="236542"/>
                  <a:pt x="241048" y="235863"/>
                </a:cubicBezTo>
                <a:cubicBezTo>
                  <a:pt x="239687" y="234504"/>
                  <a:pt x="236966" y="232467"/>
                  <a:pt x="235605" y="232467"/>
                </a:cubicBezTo>
                <a:cubicBezTo>
                  <a:pt x="234244" y="232467"/>
                  <a:pt x="228802" y="232467"/>
                  <a:pt x="228802" y="231108"/>
                </a:cubicBezTo>
                <a:cubicBezTo>
                  <a:pt x="228122" y="231108"/>
                  <a:pt x="227441" y="229750"/>
                  <a:pt x="226081" y="229070"/>
                </a:cubicBezTo>
                <a:cubicBezTo>
                  <a:pt x="226081" y="228391"/>
                  <a:pt x="224720" y="227712"/>
                  <a:pt x="225400" y="227033"/>
                </a:cubicBezTo>
                <a:cubicBezTo>
                  <a:pt x="226081" y="225674"/>
                  <a:pt x="226081" y="224995"/>
                  <a:pt x="225400" y="223637"/>
                </a:cubicBezTo>
                <a:cubicBezTo>
                  <a:pt x="224720" y="223637"/>
                  <a:pt x="224040" y="222958"/>
                  <a:pt x="223359" y="222958"/>
                </a:cubicBezTo>
                <a:cubicBezTo>
                  <a:pt x="222679" y="221599"/>
                  <a:pt x="223359" y="218203"/>
                  <a:pt x="221318" y="217524"/>
                </a:cubicBezTo>
                <a:cubicBezTo>
                  <a:pt x="219958" y="213449"/>
                  <a:pt x="217236" y="219562"/>
                  <a:pt x="217236" y="220241"/>
                </a:cubicBezTo>
                <a:cubicBezTo>
                  <a:pt x="216556" y="223637"/>
                  <a:pt x="215195" y="219562"/>
                  <a:pt x="214515" y="218882"/>
                </a:cubicBezTo>
                <a:cubicBezTo>
                  <a:pt x="213154" y="218203"/>
                  <a:pt x="211113" y="216845"/>
                  <a:pt x="213154" y="215486"/>
                </a:cubicBezTo>
                <a:cubicBezTo>
                  <a:pt x="215876" y="214128"/>
                  <a:pt x="211113" y="211411"/>
                  <a:pt x="209753" y="212090"/>
                </a:cubicBezTo>
                <a:cubicBezTo>
                  <a:pt x="207712" y="213449"/>
                  <a:pt x="209073" y="215486"/>
                  <a:pt x="204991" y="214807"/>
                </a:cubicBezTo>
                <a:cubicBezTo>
                  <a:pt x="204310" y="217524"/>
                  <a:pt x="202269" y="216166"/>
                  <a:pt x="205671" y="217524"/>
                </a:cubicBezTo>
                <a:cubicBezTo>
                  <a:pt x="208392" y="218882"/>
                  <a:pt x="202950" y="221599"/>
                  <a:pt x="207712" y="224316"/>
                </a:cubicBezTo>
                <a:cubicBezTo>
                  <a:pt x="210433" y="226354"/>
                  <a:pt x="213154" y="227712"/>
                  <a:pt x="214515" y="230429"/>
                </a:cubicBezTo>
                <a:cubicBezTo>
                  <a:pt x="216556" y="234504"/>
                  <a:pt x="215195" y="238579"/>
                  <a:pt x="219958" y="240617"/>
                </a:cubicBezTo>
                <a:cubicBezTo>
                  <a:pt x="221999" y="241975"/>
                  <a:pt x="222679" y="244013"/>
                  <a:pt x="224720" y="244692"/>
                </a:cubicBezTo>
                <a:cubicBezTo>
                  <a:pt x="226761" y="246051"/>
                  <a:pt x="229482" y="245372"/>
                  <a:pt x="231523" y="245372"/>
                </a:cubicBezTo>
                <a:cubicBezTo>
                  <a:pt x="231523" y="247409"/>
                  <a:pt x="229482" y="246730"/>
                  <a:pt x="232203" y="248088"/>
                </a:cubicBezTo>
                <a:cubicBezTo>
                  <a:pt x="236966" y="249447"/>
                  <a:pt x="243089" y="253522"/>
                  <a:pt x="246490" y="256239"/>
                </a:cubicBezTo>
                <a:cubicBezTo>
                  <a:pt x="247851" y="257597"/>
                  <a:pt x="252613" y="260993"/>
                  <a:pt x="247851" y="262352"/>
                </a:cubicBezTo>
                <a:cubicBezTo>
                  <a:pt x="247171" y="262352"/>
                  <a:pt x="245130" y="259635"/>
                  <a:pt x="244449" y="259635"/>
                </a:cubicBezTo>
                <a:cubicBezTo>
                  <a:pt x="243769" y="258956"/>
                  <a:pt x="239687" y="256239"/>
                  <a:pt x="239007" y="256918"/>
                </a:cubicBezTo>
                <a:cubicBezTo>
                  <a:pt x="234244" y="260993"/>
                  <a:pt x="240367" y="263031"/>
                  <a:pt x="240367" y="265748"/>
                </a:cubicBezTo>
                <a:cubicBezTo>
                  <a:pt x="240367" y="267106"/>
                  <a:pt x="241728" y="269823"/>
                  <a:pt x="241048" y="271181"/>
                </a:cubicBezTo>
                <a:cubicBezTo>
                  <a:pt x="240367" y="271861"/>
                  <a:pt x="240367" y="271181"/>
                  <a:pt x="239687" y="272540"/>
                </a:cubicBezTo>
                <a:cubicBezTo>
                  <a:pt x="239687" y="273219"/>
                  <a:pt x="239687" y="274577"/>
                  <a:pt x="239007" y="274577"/>
                </a:cubicBezTo>
                <a:cubicBezTo>
                  <a:pt x="238326" y="275257"/>
                  <a:pt x="238326" y="275257"/>
                  <a:pt x="238326" y="275257"/>
                </a:cubicBezTo>
                <a:cubicBezTo>
                  <a:pt x="238326" y="277294"/>
                  <a:pt x="235605" y="279332"/>
                  <a:pt x="233564" y="280011"/>
                </a:cubicBezTo>
                <a:cubicBezTo>
                  <a:pt x="232203" y="280690"/>
                  <a:pt x="232884" y="274577"/>
                  <a:pt x="233564" y="273898"/>
                </a:cubicBezTo>
                <a:cubicBezTo>
                  <a:pt x="236966" y="270502"/>
                  <a:pt x="232884" y="268465"/>
                  <a:pt x="232884" y="264389"/>
                </a:cubicBezTo>
                <a:cubicBezTo>
                  <a:pt x="232884" y="256918"/>
                  <a:pt x="231523" y="260993"/>
                  <a:pt x="226081" y="259635"/>
                </a:cubicBezTo>
                <a:cubicBezTo>
                  <a:pt x="226081" y="258276"/>
                  <a:pt x="226761" y="256918"/>
                  <a:pt x="226761" y="255560"/>
                </a:cubicBezTo>
                <a:cubicBezTo>
                  <a:pt x="221999" y="255560"/>
                  <a:pt x="224040" y="255560"/>
                  <a:pt x="220638" y="252843"/>
                </a:cubicBezTo>
                <a:cubicBezTo>
                  <a:pt x="219277" y="252164"/>
                  <a:pt x="219277" y="250126"/>
                  <a:pt x="217917" y="250126"/>
                </a:cubicBezTo>
                <a:cubicBezTo>
                  <a:pt x="217236" y="250126"/>
                  <a:pt x="214515" y="250126"/>
                  <a:pt x="213835" y="250805"/>
                </a:cubicBezTo>
                <a:cubicBezTo>
                  <a:pt x="213154" y="250805"/>
                  <a:pt x="211794" y="251484"/>
                  <a:pt x="210433" y="250805"/>
                </a:cubicBezTo>
                <a:cubicBezTo>
                  <a:pt x="209753" y="250805"/>
                  <a:pt x="206351" y="245372"/>
                  <a:pt x="205671" y="244692"/>
                </a:cubicBezTo>
                <a:cubicBezTo>
                  <a:pt x="204310" y="239938"/>
                  <a:pt x="200228" y="242655"/>
                  <a:pt x="198868" y="240617"/>
                </a:cubicBezTo>
                <a:cubicBezTo>
                  <a:pt x="196146" y="235183"/>
                  <a:pt x="192064" y="229070"/>
                  <a:pt x="186622" y="225674"/>
                </a:cubicBezTo>
                <a:cubicBezTo>
                  <a:pt x="185261" y="224995"/>
                  <a:pt x="183901" y="223637"/>
                  <a:pt x="181860" y="223637"/>
                </a:cubicBezTo>
                <a:cubicBezTo>
                  <a:pt x="178458" y="223637"/>
                  <a:pt x="177778" y="228391"/>
                  <a:pt x="173696" y="229750"/>
                </a:cubicBezTo>
                <a:cubicBezTo>
                  <a:pt x="170294" y="231108"/>
                  <a:pt x="170974" y="233146"/>
                  <a:pt x="168253" y="234504"/>
                </a:cubicBezTo>
                <a:cubicBezTo>
                  <a:pt x="164171" y="237221"/>
                  <a:pt x="162130" y="233825"/>
                  <a:pt x="157368" y="232467"/>
                </a:cubicBezTo>
                <a:cubicBezTo>
                  <a:pt x="153286" y="231787"/>
                  <a:pt x="147163" y="231787"/>
                  <a:pt x="145803" y="236542"/>
                </a:cubicBezTo>
                <a:cubicBezTo>
                  <a:pt x="143762" y="241296"/>
                  <a:pt x="149204" y="245372"/>
                  <a:pt x="143762" y="249447"/>
                </a:cubicBezTo>
                <a:cubicBezTo>
                  <a:pt x="141721" y="250805"/>
                  <a:pt x="132876" y="254880"/>
                  <a:pt x="130835" y="254880"/>
                </a:cubicBezTo>
                <a:cubicBezTo>
                  <a:pt x="128794" y="263710"/>
                  <a:pt x="128794" y="263710"/>
                  <a:pt x="128794" y="263710"/>
                </a:cubicBezTo>
                <a:cubicBezTo>
                  <a:pt x="126073" y="264389"/>
                  <a:pt x="127434" y="268465"/>
                  <a:pt x="128114" y="269823"/>
                </a:cubicBezTo>
                <a:cubicBezTo>
                  <a:pt x="129475" y="272540"/>
                  <a:pt x="128794" y="272540"/>
                  <a:pt x="128114" y="275257"/>
                </a:cubicBezTo>
                <a:cubicBezTo>
                  <a:pt x="128114" y="275257"/>
                  <a:pt x="127434" y="275257"/>
                  <a:pt x="127434" y="275257"/>
                </a:cubicBezTo>
                <a:cubicBezTo>
                  <a:pt x="126754" y="275257"/>
                  <a:pt x="126754" y="275257"/>
                  <a:pt x="126754" y="275257"/>
                </a:cubicBezTo>
                <a:cubicBezTo>
                  <a:pt x="126754" y="275936"/>
                  <a:pt x="126754" y="275936"/>
                  <a:pt x="126754" y="275936"/>
                </a:cubicBezTo>
                <a:cubicBezTo>
                  <a:pt x="125393" y="276615"/>
                  <a:pt x="124713" y="282049"/>
                  <a:pt x="124032" y="282049"/>
                </a:cubicBezTo>
                <a:cubicBezTo>
                  <a:pt x="123352" y="283407"/>
                  <a:pt x="120631" y="282728"/>
                  <a:pt x="119950" y="283407"/>
                </a:cubicBezTo>
                <a:cubicBezTo>
                  <a:pt x="119950" y="283407"/>
                  <a:pt x="119270" y="283407"/>
                  <a:pt x="119270" y="283407"/>
                </a:cubicBezTo>
                <a:cubicBezTo>
                  <a:pt x="118590" y="284086"/>
                  <a:pt x="118590" y="284086"/>
                  <a:pt x="118590" y="284086"/>
                </a:cubicBezTo>
                <a:cubicBezTo>
                  <a:pt x="117909" y="286124"/>
                  <a:pt x="117229" y="289520"/>
                  <a:pt x="117229" y="291558"/>
                </a:cubicBezTo>
                <a:cubicBezTo>
                  <a:pt x="114508" y="292237"/>
                  <a:pt x="116549" y="292237"/>
                  <a:pt x="112467" y="292237"/>
                </a:cubicBezTo>
                <a:cubicBezTo>
                  <a:pt x="104983" y="291558"/>
                  <a:pt x="104983" y="291558"/>
                  <a:pt x="104983" y="291558"/>
                </a:cubicBezTo>
                <a:cubicBezTo>
                  <a:pt x="103623" y="290878"/>
                  <a:pt x="101582" y="290878"/>
                  <a:pt x="100221" y="291558"/>
                </a:cubicBezTo>
                <a:cubicBezTo>
                  <a:pt x="99541" y="291558"/>
                  <a:pt x="96819" y="294954"/>
                  <a:pt x="96139" y="292916"/>
                </a:cubicBezTo>
                <a:cubicBezTo>
                  <a:pt x="95459" y="292916"/>
                  <a:pt x="95459" y="292916"/>
                  <a:pt x="95459" y="293595"/>
                </a:cubicBezTo>
                <a:cubicBezTo>
                  <a:pt x="94098" y="294954"/>
                  <a:pt x="94098" y="294954"/>
                  <a:pt x="94098" y="294954"/>
                </a:cubicBezTo>
                <a:cubicBezTo>
                  <a:pt x="93418" y="294954"/>
                  <a:pt x="93418" y="294954"/>
                  <a:pt x="93418" y="294954"/>
                </a:cubicBezTo>
                <a:cubicBezTo>
                  <a:pt x="93418" y="295633"/>
                  <a:pt x="93418" y="295633"/>
                  <a:pt x="93418" y="296312"/>
                </a:cubicBezTo>
                <a:cubicBezTo>
                  <a:pt x="92737" y="296991"/>
                  <a:pt x="92737" y="296991"/>
                  <a:pt x="92737" y="296991"/>
                </a:cubicBezTo>
                <a:cubicBezTo>
                  <a:pt x="92057" y="297671"/>
                  <a:pt x="92057" y="297671"/>
                  <a:pt x="92057" y="297671"/>
                </a:cubicBezTo>
                <a:cubicBezTo>
                  <a:pt x="91377" y="297671"/>
                  <a:pt x="91377" y="297671"/>
                  <a:pt x="91377" y="297671"/>
                </a:cubicBezTo>
                <a:cubicBezTo>
                  <a:pt x="90696" y="297671"/>
                  <a:pt x="90696" y="297671"/>
                  <a:pt x="90696" y="297671"/>
                </a:cubicBezTo>
                <a:cubicBezTo>
                  <a:pt x="90696" y="296991"/>
                  <a:pt x="90696" y="296991"/>
                  <a:pt x="90016" y="296991"/>
                </a:cubicBezTo>
                <a:cubicBezTo>
                  <a:pt x="90016" y="296312"/>
                  <a:pt x="89336" y="296312"/>
                  <a:pt x="89336" y="295633"/>
                </a:cubicBezTo>
                <a:cubicBezTo>
                  <a:pt x="89336" y="295633"/>
                  <a:pt x="88655" y="294954"/>
                  <a:pt x="88655" y="294275"/>
                </a:cubicBezTo>
                <a:cubicBezTo>
                  <a:pt x="87975" y="294275"/>
                  <a:pt x="87975" y="293595"/>
                  <a:pt x="87975" y="293595"/>
                </a:cubicBezTo>
                <a:cubicBezTo>
                  <a:pt x="87295" y="292916"/>
                  <a:pt x="87295" y="292916"/>
                  <a:pt x="87295" y="292916"/>
                </a:cubicBezTo>
                <a:cubicBezTo>
                  <a:pt x="87295" y="292237"/>
                  <a:pt x="86614" y="288162"/>
                  <a:pt x="85934" y="288162"/>
                </a:cubicBezTo>
                <a:cubicBezTo>
                  <a:pt x="85254" y="287482"/>
                  <a:pt x="77770" y="286803"/>
                  <a:pt x="77090" y="286803"/>
                </a:cubicBezTo>
                <a:cubicBezTo>
                  <a:pt x="75049" y="288162"/>
                  <a:pt x="72328" y="287482"/>
                  <a:pt x="69606" y="287482"/>
                </a:cubicBezTo>
                <a:cubicBezTo>
                  <a:pt x="68926" y="286803"/>
                  <a:pt x="68926" y="286803"/>
                  <a:pt x="68926" y="286803"/>
                </a:cubicBezTo>
                <a:cubicBezTo>
                  <a:pt x="68246" y="285445"/>
                  <a:pt x="70287" y="280690"/>
                  <a:pt x="70287" y="278653"/>
                </a:cubicBezTo>
                <a:cubicBezTo>
                  <a:pt x="70287" y="277974"/>
                  <a:pt x="70287" y="277974"/>
                  <a:pt x="70287" y="277974"/>
                </a:cubicBezTo>
                <a:cubicBezTo>
                  <a:pt x="69606" y="277974"/>
                  <a:pt x="68926" y="276615"/>
                  <a:pt x="68246" y="276615"/>
                </a:cubicBezTo>
                <a:cubicBezTo>
                  <a:pt x="67565" y="276615"/>
                  <a:pt x="69606" y="274577"/>
                  <a:pt x="69606" y="274577"/>
                </a:cubicBezTo>
                <a:cubicBezTo>
                  <a:pt x="69606" y="273898"/>
                  <a:pt x="70287" y="273219"/>
                  <a:pt x="70287" y="272540"/>
                </a:cubicBezTo>
                <a:cubicBezTo>
                  <a:pt x="68926" y="271861"/>
                  <a:pt x="66885" y="273898"/>
                  <a:pt x="65525" y="273898"/>
                </a:cubicBezTo>
                <a:cubicBezTo>
                  <a:pt x="64844" y="272540"/>
                  <a:pt x="68246" y="269823"/>
                  <a:pt x="68926" y="268465"/>
                </a:cubicBezTo>
                <a:cubicBezTo>
                  <a:pt x="70967" y="267106"/>
                  <a:pt x="70287" y="263710"/>
                  <a:pt x="70967" y="261673"/>
                </a:cubicBezTo>
                <a:cubicBezTo>
                  <a:pt x="73008" y="257597"/>
                  <a:pt x="72328" y="251484"/>
                  <a:pt x="72328" y="247409"/>
                </a:cubicBezTo>
                <a:cubicBezTo>
                  <a:pt x="72328" y="244692"/>
                  <a:pt x="73008" y="242655"/>
                  <a:pt x="71647" y="240617"/>
                </a:cubicBezTo>
                <a:cubicBezTo>
                  <a:pt x="70967" y="239259"/>
                  <a:pt x="69606" y="236542"/>
                  <a:pt x="69606" y="235183"/>
                </a:cubicBezTo>
                <a:cubicBezTo>
                  <a:pt x="70967" y="235183"/>
                  <a:pt x="77090" y="233825"/>
                  <a:pt x="77090" y="233146"/>
                </a:cubicBezTo>
                <a:cubicBezTo>
                  <a:pt x="79131" y="229750"/>
                  <a:pt x="79131" y="231108"/>
                  <a:pt x="81852" y="231787"/>
                </a:cubicBezTo>
                <a:cubicBezTo>
                  <a:pt x="83893" y="232467"/>
                  <a:pt x="85934" y="231108"/>
                  <a:pt x="87975" y="231787"/>
                </a:cubicBezTo>
                <a:cubicBezTo>
                  <a:pt x="91377" y="233825"/>
                  <a:pt x="92737" y="231108"/>
                  <a:pt x="96819" y="232467"/>
                </a:cubicBezTo>
                <a:cubicBezTo>
                  <a:pt x="100901" y="233825"/>
                  <a:pt x="104303" y="231108"/>
                  <a:pt x="107704" y="233146"/>
                </a:cubicBezTo>
                <a:cubicBezTo>
                  <a:pt x="120631" y="237900"/>
                  <a:pt x="124032" y="227712"/>
                  <a:pt x="124032" y="216166"/>
                </a:cubicBezTo>
                <a:cubicBezTo>
                  <a:pt x="124032" y="212769"/>
                  <a:pt x="124032" y="212090"/>
                  <a:pt x="121311" y="210053"/>
                </a:cubicBezTo>
                <a:cubicBezTo>
                  <a:pt x="119270" y="208694"/>
                  <a:pt x="117909" y="207336"/>
                  <a:pt x="117229" y="205298"/>
                </a:cubicBezTo>
                <a:cubicBezTo>
                  <a:pt x="117229" y="203261"/>
                  <a:pt x="113827" y="199865"/>
                  <a:pt x="112467" y="198506"/>
                </a:cubicBezTo>
                <a:cubicBezTo>
                  <a:pt x="111106" y="197148"/>
                  <a:pt x="104983" y="197148"/>
                  <a:pt x="102942" y="197827"/>
                </a:cubicBezTo>
                <a:cubicBezTo>
                  <a:pt x="101582" y="196468"/>
                  <a:pt x="101582" y="195789"/>
                  <a:pt x="100901" y="195110"/>
                </a:cubicBezTo>
                <a:cubicBezTo>
                  <a:pt x="100221" y="195110"/>
                  <a:pt x="101582" y="192393"/>
                  <a:pt x="101582" y="191714"/>
                </a:cubicBezTo>
                <a:cubicBezTo>
                  <a:pt x="103623" y="191035"/>
                  <a:pt x="105664" y="190356"/>
                  <a:pt x="108385" y="190356"/>
                </a:cubicBezTo>
                <a:cubicBezTo>
                  <a:pt x="110426" y="190356"/>
                  <a:pt x="111786" y="191714"/>
                  <a:pt x="113827" y="191035"/>
                </a:cubicBezTo>
                <a:cubicBezTo>
                  <a:pt x="116549" y="190356"/>
                  <a:pt x="122672" y="191714"/>
                  <a:pt x="122672" y="187639"/>
                </a:cubicBezTo>
                <a:cubicBezTo>
                  <a:pt x="122672" y="186280"/>
                  <a:pt x="120631" y="185601"/>
                  <a:pt x="120631" y="183564"/>
                </a:cubicBezTo>
                <a:cubicBezTo>
                  <a:pt x="119950" y="182205"/>
                  <a:pt x="119270" y="181526"/>
                  <a:pt x="119270" y="179488"/>
                </a:cubicBezTo>
                <a:cubicBezTo>
                  <a:pt x="122672" y="179488"/>
                  <a:pt x="122672" y="179488"/>
                  <a:pt x="122672" y="179488"/>
                </a:cubicBezTo>
                <a:cubicBezTo>
                  <a:pt x="124032" y="179488"/>
                  <a:pt x="122672" y="182205"/>
                  <a:pt x="123352" y="183564"/>
                </a:cubicBezTo>
                <a:cubicBezTo>
                  <a:pt x="124032" y="184922"/>
                  <a:pt x="127434" y="184243"/>
                  <a:pt x="128794" y="182884"/>
                </a:cubicBezTo>
                <a:cubicBezTo>
                  <a:pt x="129475" y="180847"/>
                  <a:pt x="128794" y="178809"/>
                  <a:pt x="131516" y="177451"/>
                </a:cubicBezTo>
                <a:cubicBezTo>
                  <a:pt x="132196" y="177451"/>
                  <a:pt x="134237" y="176771"/>
                  <a:pt x="134917" y="176092"/>
                </a:cubicBezTo>
                <a:cubicBezTo>
                  <a:pt x="136278" y="174734"/>
                  <a:pt x="135598" y="172017"/>
                  <a:pt x="136958" y="170659"/>
                </a:cubicBezTo>
                <a:cubicBezTo>
                  <a:pt x="138319" y="169300"/>
                  <a:pt x="141040" y="168621"/>
                  <a:pt x="143081" y="167942"/>
                </a:cubicBezTo>
                <a:cubicBezTo>
                  <a:pt x="145803" y="165225"/>
                  <a:pt x="149204" y="161150"/>
                  <a:pt x="152606" y="160470"/>
                </a:cubicBezTo>
                <a:cubicBezTo>
                  <a:pt x="157368" y="159791"/>
                  <a:pt x="156688" y="156395"/>
                  <a:pt x="158048" y="152999"/>
                </a:cubicBezTo>
                <a:cubicBezTo>
                  <a:pt x="159409" y="152999"/>
                  <a:pt x="161450" y="150282"/>
                  <a:pt x="163491" y="150282"/>
                </a:cubicBezTo>
                <a:cubicBezTo>
                  <a:pt x="166893" y="150282"/>
                  <a:pt x="168253" y="148245"/>
                  <a:pt x="171655" y="149603"/>
                </a:cubicBezTo>
                <a:cubicBezTo>
                  <a:pt x="173015" y="149603"/>
                  <a:pt x="174376" y="148245"/>
                  <a:pt x="175737" y="148245"/>
                </a:cubicBezTo>
                <a:cubicBezTo>
                  <a:pt x="177097" y="148245"/>
                  <a:pt x="177778" y="148924"/>
                  <a:pt x="179138" y="148924"/>
                </a:cubicBezTo>
                <a:cubicBezTo>
                  <a:pt x="179138" y="146886"/>
                  <a:pt x="175737" y="146886"/>
                  <a:pt x="175737" y="144849"/>
                </a:cubicBezTo>
                <a:cubicBezTo>
                  <a:pt x="175737" y="143490"/>
                  <a:pt x="177097" y="142811"/>
                  <a:pt x="176417" y="141453"/>
                </a:cubicBezTo>
                <a:cubicBezTo>
                  <a:pt x="176417" y="140773"/>
                  <a:pt x="175056" y="139415"/>
                  <a:pt x="175056" y="138057"/>
                </a:cubicBezTo>
                <a:cubicBezTo>
                  <a:pt x="174376" y="136698"/>
                  <a:pt x="173015" y="135340"/>
                  <a:pt x="171655" y="133981"/>
                </a:cubicBezTo>
                <a:cubicBezTo>
                  <a:pt x="170974" y="132623"/>
                  <a:pt x="172335" y="129906"/>
                  <a:pt x="171655" y="127868"/>
                </a:cubicBezTo>
                <a:cubicBezTo>
                  <a:pt x="170294" y="123793"/>
                  <a:pt x="174376" y="125831"/>
                  <a:pt x="175056" y="126510"/>
                </a:cubicBezTo>
                <a:cubicBezTo>
                  <a:pt x="177778" y="126510"/>
                  <a:pt x="174376" y="124472"/>
                  <a:pt x="174376" y="123793"/>
                </a:cubicBezTo>
                <a:cubicBezTo>
                  <a:pt x="174376" y="122435"/>
                  <a:pt x="175737" y="123793"/>
                  <a:pt x="176417" y="123114"/>
                </a:cubicBezTo>
                <a:cubicBezTo>
                  <a:pt x="180499" y="120397"/>
                  <a:pt x="179138" y="117680"/>
                  <a:pt x="184581" y="117680"/>
                </a:cubicBezTo>
                <a:cubicBezTo>
                  <a:pt x="184581" y="120397"/>
                  <a:pt x="181179" y="123793"/>
                  <a:pt x="181860" y="125831"/>
                </a:cubicBezTo>
                <a:cubicBezTo>
                  <a:pt x="182540" y="127189"/>
                  <a:pt x="184581" y="126510"/>
                  <a:pt x="185942" y="127189"/>
                </a:cubicBezTo>
                <a:cubicBezTo>
                  <a:pt x="187983" y="127189"/>
                  <a:pt x="186622" y="128548"/>
                  <a:pt x="187983" y="128548"/>
                </a:cubicBezTo>
                <a:cubicBezTo>
                  <a:pt x="187983" y="129906"/>
                  <a:pt x="186622" y="129906"/>
                  <a:pt x="185261" y="129906"/>
                </a:cubicBezTo>
                <a:cubicBezTo>
                  <a:pt x="184581" y="130585"/>
                  <a:pt x="185261" y="131265"/>
                  <a:pt x="184581" y="131944"/>
                </a:cubicBezTo>
                <a:cubicBezTo>
                  <a:pt x="183220" y="133981"/>
                  <a:pt x="181179" y="132623"/>
                  <a:pt x="182540" y="134661"/>
                </a:cubicBezTo>
                <a:cubicBezTo>
                  <a:pt x="183220" y="136019"/>
                  <a:pt x="185261" y="134661"/>
                  <a:pt x="186622" y="134661"/>
                </a:cubicBezTo>
                <a:cubicBezTo>
                  <a:pt x="187302" y="137377"/>
                  <a:pt x="186622" y="140773"/>
                  <a:pt x="183220" y="137377"/>
                </a:cubicBezTo>
                <a:cubicBezTo>
                  <a:pt x="180499" y="134661"/>
                  <a:pt x="181860" y="140094"/>
                  <a:pt x="181860" y="142132"/>
                </a:cubicBezTo>
                <a:cubicBezTo>
                  <a:pt x="183220" y="142811"/>
                  <a:pt x="184581" y="141453"/>
                  <a:pt x="185261" y="142811"/>
                </a:cubicBezTo>
                <a:cubicBezTo>
                  <a:pt x="185942" y="143490"/>
                  <a:pt x="186622" y="146207"/>
                  <a:pt x="188663" y="146207"/>
                </a:cubicBezTo>
                <a:cubicBezTo>
                  <a:pt x="188663" y="147565"/>
                  <a:pt x="193425" y="145528"/>
                  <a:pt x="194105" y="144849"/>
                </a:cubicBezTo>
                <a:cubicBezTo>
                  <a:pt x="198187" y="142132"/>
                  <a:pt x="198187" y="142132"/>
                  <a:pt x="198187" y="142132"/>
                </a:cubicBezTo>
                <a:cubicBezTo>
                  <a:pt x="198187" y="146886"/>
                  <a:pt x="200909" y="142132"/>
                  <a:pt x="203630" y="144169"/>
                </a:cubicBezTo>
                <a:cubicBezTo>
                  <a:pt x="204310" y="144849"/>
                  <a:pt x="209753" y="150962"/>
                  <a:pt x="211113" y="147565"/>
                </a:cubicBezTo>
                <a:cubicBezTo>
                  <a:pt x="212474" y="144849"/>
                  <a:pt x="220638" y="142811"/>
                  <a:pt x="223359" y="141453"/>
                </a:cubicBezTo>
                <a:cubicBezTo>
                  <a:pt x="228802" y="138736"/>
                  <a:pt x="228802" y="140773"/>
                  <a:pt x="232884" y="142132"/>
                </a:cubicBezTo>
                <a:cubicBezTo>
                  <a:pt x="235605" y="143490"/>
                  <a:pt x="239687" y="142811"/>
                  <a:pt x="242408" y="142811"/>
                </a:cubicBezTo>
                <a:cubicBezTo>
                  <a:pt x="242408" y="141453"/>
                  <a:pt x="239687" y="140773"/>
                  <a:pt x="242408" y="139415"/>
                </a:cubicBezTo>
                <a:cubicBezTo>
                  <a:pt x="243769" y="138736"/>
                  <a:pt x="247851" y="139415"/>
                  <a:pt x="249212" y="136698"/>
                </a:cubicBezTo>
                <a:cubicBezTo>
                  <a:pt x="249892" y="133981"/>
                  <a:pt x="247171" y="133981"/>
                  <a:pt x="246490" y="131265"/>
                </a:cubicBezTo>
                <a:cubicBezTo>
                  <a:pt x="246490" y="128548"/>
                  <a:pt x="245810" y="121076"/>
                  <a:pt x="248531" y="119039"/>
                </a:cubicBezTo>
                <a:cubicBezTo>
                  <a:pt x="252613" y="116322"/>
                  <a:pt x="251933" y="118360"/>
                  <a:pt x="255334" y="120397"/>
                </a:cubicBezTo>
                <a:cubicBezTo>
                  <a:pt x="260097" y="122435"/>
                  <a:pt x="263498" y="123793"/>
                  <a:pt x="262138" y="117680"/>
                </a:cubicBezTo>
                <a:cubicBezTo>
                  <a:pt x="262138" y="117001"/>
                  <a:pt x="262818" y="110888"/>
                  <a:pt x="261457" y="111567"/>
                </a:cubicBezTo>
                <a:cubicBezTo>
                  <a:pt x="258736" y="114284"/>
                  <a:pt x="258056" y="111567"/>
                  <a:pt x="256695" y="109530"/>
                </a:cubicBezTo>
                <a:cubicBezTo>
                  <a:pt x="256695" y="106134"/>
                  <a:pt x="258736" y="104096"/>
                  <a:pt x="263498" y="104096"/>
                </a:cubicBezTo>
                <a:cubicBezTo>
                  <a:pt x="266220" y="104096"/>
                  <a:pt x="268941" y="102059"/>
                  <a:pt x="270982" y="102059"/>
                </a:cubicBezTo>
                <a:cubicBezTo>
                  <a:pt x="273023" y="102738"/>
                  <a:pt x="274383" y="104096"/>
                  <a:pt x="276424" y="104096"/>
                </a:cubicBezTo>
                <a:cubicBezTo>
                  <a:pt x="279146" y="104096"/>
                  <a:pt x="278465" y="102059"/>
                  <a:pt x="281187" y="100700"/>
                </a:cubicBezTo>
                <a:cubicBezTo>
                  <a:pt x="281867" y="100021"/>
                  <a:pt x="286629" y="98663"/>
                  <a:pt x="285949" y="97983"/>
                </a:cubicBezTo>
                <a:cubicBezTo>
                  <a:pt x="284588" y="97983"/>
                  <a:pt x="281187" y="97304"/>
                  <a:pt x="281187" y="95946"/>
                </a:cubicBezTo>
                <a:cubicBezTo>
                  <a:pt x="281187" y="93908"/>
                  <a:pt x="277105" y="96625"/>
                  <a:pt x="275744" y="96625"/>
                </a:cubicBezTo>
                <a:cubicBezTo>
                  <a:pt x="273703" y="96625"/>
                  <a:pt x="270982" y="95266"/>
                  <a:pt x="268941" y="95946"/>
                </a:cubicBezTo>
                <a:cubicBezTo>
                  <a:pt x="256695" y="99342"/>
                  <a:pt x="256695" y="99342"/>
                  <a:pt x="256695" y="99342"/>
                </a:cubicBezTo>
                <a:cubicBezTo>
                  <a:pt x="251933" y="100700"/>
                  <a:pt x="251252" y="102738"/>
                  <a:pt x="249212" y="98663"/>
                </a:cubicBezTo>
                <a:cubicBezTo>
                  <a:pt x="245810" y="92550"/>
                  <a:pt x="239007" y="98663"/>
                  <a:pt x="241048" y="90512"/>
                </a:cubicBezTo>
                <a:cubicBezTo>
                  <a:pt x="241728" y="87116"/>
                  <a:pt x="235605" y="84399"/>
                  <a:pt x="241048" y="78965"/>
                </a:cubicBezTo>
                <a:cubicBezTo>
                  <a:pt x="243089" y="76249"/>
                  <a:pt x="259416" y="66740"/>
                  <a:pt x="252613" y="63344"/>
                </a:cubicBezTo>
                <a:cubicBezTo>
                  <a:pt x="250572" y="62664"/>
                  <a:pt x="243769" y="64023"/>
                  <a:pt x="241048" y="63344"/>
                </a:cubicBezTo>
                <a:cubicBezTo>
                  <a:pt x="235605" y="63344"/>
                  <a:pt x="238326" y="66740"/>
                  <a:pt x="234244" y="68098"/>
                </a:cubicBezTo>
                <a:cubicBezTo>
                  <a:pt x="234244" y="70815"/>
                  <a:pt x="236285" y="71494"/>
                  <a:pt x="232203" y="74890"/>
                </a:cubicBezTo>
                <a:cubicBezTo>
                  <a:pt x="224720" y="81003"/>
                  <a:pt x="214515" y="81003"/>
                  <a:pt x="217236" y="94587"/>
                </a:cubicBezTo>
                <a:cubicBezTo>
                  <a:pt x="218597" y="94587"/>
                  <a:pt x="220638" y="96625"/>
                  <a:pt x="221999" y="96625"/>
                </a:cubicBezTo>
                <a:cubicBezTo>
                  <a:pt x="221999" y="100700"/>
                  <a:pt x="219277" y="100700"/>
                  <a:pt x="217236" y="103417"/>
                </a:cubicBezTo>
                <a:cubicBezTo>
                  <a:pt x="215195" y="104775"/>
                  <a:pt x="224040" y="106134"/>
                  <a:pt x="225400" y="106134"/>
                </a:cubicBezTo>
                <a:cubicBezTo>
                  <a:pt x="225400" y="106813"/>
                  <a:pt x="225400" y="106813"/>
                  <a:pt x="225400" y="106813"/>
                </a:cubicBezTo>
                <a:cubicBezTo>
                  <a:pt x="224720" y="108171"/>
                  <a:pt x="219277" y="110209"/>
                  <a:pt x="217236" y="110209"/>
                </a:cubicBezTo>
                <a:cubicBezTo>
                  <a:pt x="217236" y="110209"/>
                  <a:pt x="218597" y="112926"/>
                  <a:pt x="217236" y="113605"/>
                </a:cubicBezTo>
                <a:cubicBezTo>
                  <a:pt x="216556" y="114964"/>
                  <a:pt x="217917" y="116322"/>
                  <a:pt x="217917" y="117680"/>
                </a:cubicBezTo>
                <a:cubicBezTo>
                  <a:pt x="218597" y="121756"/>
                  <a:pt x="219958" y="124472"/>
                  <a:pt x="216556" y="127868"/>
                </a:cubicBezTo>
                <a:cubicBezTo>
                  <a:pt x="215876" y="128548"/>
                  <a:pt x="207032" y="131265"/>
                  <a:pt x="205671" y="131265"/>
                </a:cubicBezTo>
                <a:cubicBezTo>
                  <a:pt x="205671" y="131944"/>
                  <a:pt x="207712" y="133981"/>
                  <a:pt x="207712" y="135340"/>
                </a:cubicBezTo>
                <a:cubicBezTo>
                  <a:pt x="204310" y="136019"/>
                  <a:pt x="201589" y="137377"/>
                  <a:pt x="199548" y="133981"/>
                </a:cubicBezTo>
                <a:cubicBezTo>
                  <a:pt x="199548" y="133981"/>
                  <a:pt x="199548" y="133302"/>
                  <a:pt x="199548" y="133302"/>
                </a:cubicBezTo>
                <a:cubicBezTo>
                  <a:pt x="198187" y="126510"/>
                  <a:pt x="198187" y="126510"/>
                  <a:pt x="198187" y="126510"/>
                </a:cubicBezTo>
                <a:cubicBezTo>
                  <a:pt x="198187" y="126510"/>
                  <a:pt x="198187" y="125831"/>
                  <a:pt x="198187" y="125152"/>
                </a:cubicBezTo>
                <a:cubicBezTo>
                  <a:pt x="196827" y="125152"/>
                  <a:pt x="192745" y="118360"/>
                  <a:pt x="192064" y="117001"/>
                </a:cubicBezTo>
                <a:cubicBezTo>
                  <a:pt x="190704" y="114284"/>
                  <a:pt x="192064" y="113605"/>
                  <a:pt x="189343" y="112247"/>
                </a:cubicBezTo>
                <a:cubicBezTo>
                  <a:pt x="188663" y="111567"/>
                  <a:pt x="187983" y="110888"/>
                  <a:pt x="187983" y="109530"/>
                </a:cubicBezTo>
                <a:cubicBezTo>
                  <a:pt x="187983" y="109530"/>
                  <a:pt x="187983" y="106134"/>
                  <a:pt x="187302" y="106134"/>
                </a:cubicBezTo>
                <a:cubicBezTo>
                  <a:pt x="187302" y="106134"/>
                  <a:pt x="182540" y="102738"/>
                  <a:pt x="181860" y="102738"/>
                </a:cubicBezTo>
                <a:cubicBezTo>
                  <a:pt x="181179" y="104775"/>
                  <a:pt x="182540" y="109530"/>
                  <a:pt x="178458" y="108171"/>
                </a:cubicBezTo>
                <a:cubicBezTo>
                  <a:pt x="177097" y="107492"/>
                  <a:pt x="174376" y="112247"/>
                  <a:pt x="173696" y="113605"/>
                </a:cubicBezTo>
                <a:cubicBezTo>
                  <a:pt x="170974" y="117001"/>
                  <a:pt x="165532" y="116322"/>
                  <a:pt x="162130" y="114964"/>
                </a:cubicBezTo>
                <a:cubicBezTo>
                  <a:pt x="160089" y="114284"/>
                  <a:pt x="158729" y="112926"/>
                  <a:pt x="157368" y="111567"/>
                </a:cubicBezTo>
                <a:cubicBezTo>
                  <a:pt x="154647" y="108851"/>
                  <a:pt x="158729" y="110888"/>
                  <a:pt x="158048" y="108851"/>
                </a:cubicBezTo>
                <a:cubicBezTo>
                  <a:pt x="158048" y="108851"/>
                  <a:pt x="157368" y="108171"/>
                  <a:pt x="157368" y="107492"/>
                </a:cubicBezTo>
                <a:cubicBezTo>
                  <a:pt x="158729" y="107492"/>
                  <a:pt x="158729" y="104775"/>
                  <a:pt x="156007" y="105455"/>
                </a:cubicBezTo>
                <a:cubicBezTo>
                  <a:pt x="151925" y="106813"/>
                  <a:pt x="153966" y="104096"/>
                  <a:pt x="156007" y="103417"/>
                </a:cubicBezTo>
                <a:cubicBezTo>
                  <a:pt x="157368" y="102738"/>
                  <a:pt x="157368" y="102059"/>
                  <a:pt x="158048" y="101379"/>
                </a:cubicBezTo>
                <a:cubicBezTo>
                  <a:pt x="158729" y="100700"/>
                  <a:pt x="159409" y="99342"/>
                  <a:pt x="160089" y="99342"/>
                </a:cubicBezTo>
                <a:cubicBezTo>
                  <a:pt x="161450" y="98663"/>
                  <a:pt x="162811" y="98663"/>
                  <a:pt x="162811" y="96625"/>
                </a:cubicBezTo>
                <a:cubicBezTo>
                  <a:pt x="161450" y="96625"/>
                  <a:pt x="161450" y="97304"/>
                  <a:pt x="160770" y="97983"/>
                </a:cubicBezTo>
                <a:cubicBezTo>
                  <a:pt x="159409" y="97983"/>
                  <a:pt x="158729" y="99342"/>
                  <a:pt x="157368" y="98663"/>
                </a:cubicBezTo>
                <a:cubicBezTo>
                  <a:pt x="156688" y="98663"/>
                  <a:pt x="156007" y="99342"/>
                  <a:pt x="155327" y="98663"/>
                </a:cubicBezTo>
                <a:cubicBezTo>
                  <a:pt x="154647" y="98663"/>
                  <a:pt x="155327" y="97304"/>
                  <a:pt x="154647" y="97304"/>
                </a:cubicBezTo>
                <a:cubicBezTo>
                  <a:pt x="154647" y="94587"/>
                  <a:pt x="159409" y="95946"/>
                  <a:pt x="161450" y="94587"/>
                </a:cubicBezTo>
                <a:cubicBezTo>
                  <a:pt x="162811" y="93908"/>
                  <a:pt x="165532" y="90512"/>
                  <a:pt x="162811" y="91870"/>
                </a:cubicBezTo>
                <a:cubicBezTo>
                  <a:pt x="160089" y="94587"/>
                  <a:pt x="158048" y="92550"/>
                  <a:pt x="154647" y="93229"/>
                </a:cubicBezTo>
                <a:cubicBezTo>
                  <a:pt x="153286" y="93229"/>
                  <a:pt x="151245" y="91191"/>
                  <a:pt x="152606" y="91191"/>
                </a:cubicBezTo>
                <a:cubicBezTo>
                  <a:pt x="153286" y="90512"/>
                  <a:pt x="156007" y="90512"/>
                  <a:pt x="157368" y="89833"/>
                </a:cubicBezTo>
                <a:cubicBezTo>
                  <a:pt x="150565" y="88474"/>
                  <a:pt x="154647" y="86437"/>
                  <a:pt x="159409" y="85758"/>
                </a:cubicBezTo>
                <a:cubicBezTo>
                  <a:pt x="160089" y="85758"/>
                  <a:pt x="164171" y="85758"/>
                  <a:pt x="163491" y="84399"/>
                </a:cubicBezTo>
                <a:cubicBezTo>
                  <a:pt x="162811" y="83041"/>
                  <a:pt x="162811" y="83041"/>
                  <a:pt x="162811" y="83041"/>
                </a:cubicBezTo>
                <a:cubicBezTo>
                  <a:pt x="161450" y="80324"/>
                  <a:pt x="166893" y="83720"/>
                  <a:pt x="168933" y="81682"/>
                </a:cubicBezTo>
                <a:cubicBezTo>
                  <a:pt x="171655" y="80324"/>
                  <a:pt x="173015" y="80324"/>
                  <a:pt x="175737" y="78965"/>
                </a:cubicBezTo>
                <a:cubicBezTo>
                  <a:pt x="176417" y="78965"/>
                  <a:pt x="181179" y="76928"/>
                  <a:pt x="179819" y="76928"/>
                </a:cubicBezTo>
                <a:cubicBezTo>
                  <a:pt x="179138" y="76928"/>
                  <a:pt x="173015" y="76928"/>
                  <a:pt x="173696" y="76249"/>
                </a:cubicBezTo>
                <a:cubicBezTo>
                  <a:pt x="178458" y="72853"/>
                  <a:pt x="178458" y="72853"/>
                  <a:pt x="178458" y="72853"/>
                </a:cubicBezTo>
                <a:cubicBezTo>
                  <a:pt x="179819" y="72173"/>
                  <a:pt x="185261" y="74211"/>
                  <a:pt x="183220" y="70136"/>
                </a:cubicBezTo>
                <a:cubicBezTo>
                  <a:pt x="181860" y="68098"/>
                  <a:pt x="185261" y="68777"/>
                  <a:pt x="186622" y="66740"/>
                </a:cubicBezTo>
                <a:cubicBezTo>
                  <a:pt x="187983" y="62664"/>
                  <a:pt x="190023" y="63344"/>
                  <a:pt x="192745" y="60627"/>
                </a:cubicBezTo>
                <a:cubicBezTo>
                  <a:pt x="194105" y="59268"/>
                  <a:pt x="190023" y="59948"/>
                  <a:pt x="190704" y="58589"/>
                </a:cubicBezTo>
                <a:cubicBezTo>
                  <a:pt x="191384" y="56552"/>
                  <a:pt x="193425" y="55872"/>
                  <a:pt x="195466" y="55872"/>
                </a:cubicBezTo>
                <a:cubicBezTo>
                  <a:pt x="196827" y="55193"/>
                  <a:pt x="200228" y="53156"/>
                  <a:pt x="201589" y="52476"/>
                </a:cubicBezTo>
                <a:cubicBezTo>
                  <a:pt x="200909" y="51797"/>
                  <a:pt x="198868" y="52476"/>
                  <a:pt x="198187" y="51118"/>
                </a:cubicBezTo>
                <a:cubicBezTo>
                  <a:pt x="198187" y="50439"/>
                  <a:pt x="199548" y="49760"/>
                  <a:pt x="200228" y="49760"/>
                </a:cubicBezTo>
                <a:cubicBezTo>
                  <a:pt x="200228" y="49760"/>
                  <a:pt x="200909" y="48401"/>
                  <a:pt x="201589" y="48401"/>
                </a:cubicBezTo>
                <a:cubicBezTo>
                  <a:pt x="201589" y="51797"/>
                  <a:pt x="203630" y="49760"/>
                  <a:pt x="204991" y="49760"/>
                </a:cubicBezTo>
                <a:cubicBezTo>
                  <a:pt x="205671" y="49080"/>
                  <a:pt x="209753" y="47722"/>
                  <a:pt x="209753" y="47043"/>
                </a:cubicBezTo>
                <a:cubicBezTo>
                  <a:pt x="206351" y="47722"/>
                  <a:pt x="206351" y="47722"/>
                  <a:pt x="206351" y="47722"/>
                </a:cubicBezTo>
                <a:cubicBezTo>
                  <a:pt x="202950" y="47722"/>
                  <a:pt x="208392" y="45005"/>
                  <a:pt x="209753" y="44326"/>
                </a:cubicBezTo>
                <a:cubicBezTo>
                  <a:pt x="211113" y="42288"/>
                  <a:pt x="215876" y="42967"/>
                  <a:pt x="215876" y="41609"/>
                </a:cubicBezTo>
                <a:cubicBezTo>
                  <a:pt x="215876" y="36855"/>
                  <a:pt x="219277" y="44326"/>
                  <a:pt x="220638" y="38892"/>
                </a:cubicBezTo>
                <a:cubicBezTo>
                  <a:pt x="221318" y="38892"/>
                  <a:pt x="221318" y="38892"/>
                  <a:pt x="221318" y="38892"/>
                </a:cubicBezTo>
                <a:cubicBezTo>
                  <a:pt x="221999" y="38892"/>
                  <a:pt x="221999" y="40930"/>
                  <a:pt x="222679" y="39571"/>
                </a:cubicBezTo>
                <a:cubicBezTo>
                  <a:pt x="222679" y="39571"/>
                  <a:pt x="224720" y="36855"/>
                  <a:pt x="224720" y="38213"/>
                </a:cubicBezTo>
                <a:cubicBezTo>
                  <a:pt x="225400" y="38213"/>
                  <a:pt x="227441" y="39571"/>
                  <a:pt x="228802" y="39571"/>
                </a:cubicBezTo>
                <a:cubicBezTo>
                  <a:pt x="230843" y="39571"/>
                  <a:pt x="227441" y="36175"/>
                  <a:pt x="228122" y="36175"/>
                </a:cubicBezTo>
                <a:cubicBezTo>
                  <a:pt x="236285" y="35496"/>
                  <a:pt x="236285" y="35496"/>
                  <a:pt x="236285" y="35496"/>
                </a:cubicBezTo>
                <a:cubicBezTo>
                  <a:pt x="237646" y="34817"/>
                  <a:pt x="242408" y="32779"/>
                  <a:pt x="243089" y="33459"/>
                </a:cubicBezTo>
                <a:cubicBezTo>
                  <a:pt x="243769" y="33459"/>
                  <a:pt x="241048" y="36175"/>
                  <a:pt x="243769" y="36175"/>
                </a:cubicBezTo>
                <a:cubicBezTo>
                  <a:pt x="245810" y="36175"/>
                  <a:pt x="253974" y="30742"/>
                  <a:pt x="255334" y="32100"/>
                </a:cubicBezTo>
                <a:cubicBezTo>
                  <a:pt x="256015" y="32779"/>
                  <a:pt x="256015" y="34817"/>
                  <a:pt x="258056" y="34138"/>
                </a:cubicBezTo>
                <a:cubicBezTo>
                  <a:pt x="261457" y="32779"/>
                  <a:pt x="264179" y="32779"/>
                  <a:pt x="267580" y="32779"/>
                </a:cubicBezTo>
                <a:cubicBezTo>
                  <a:pt x="267580" y="36175"/>
                  <a:pt x="262138" y="34817"/>
                  <a:pt x="260777" y="36175"/>
                </a:cubicBezTo>
                <a:cubicBezTo>
                  <a:pt x="262138" y="37534"/>
                  <a:pt x="268261" y="38892"/>
                  <a:pt x="270301" y="39571"/>
                </a:cubicBezTo>
                <a:cubicBezTo>
                  <a:pt x="273703" y="40251"/>
                  <a:pt x="275744" y="36855"/>
                  <a:pt x="278465" y="36855"/>
                </a:cubicBezTo>
                <a:cubicBezTo>
                  <a:pt x="279146" y="36855"/>
                  <a:pt x="278465" y="39571"/>
                  <a:pt x="281187" y="39571"/>
                </a:cubicBezTo>
                <a:cubicBezTo>
                  <a:pt x="285949" y="39571"/>
                  <a:pt x="286629" y="41609"/>
                  <a:pt x="291391" y="40251"/>
                </a:cubicBezTo>
                <a:cubicBezTo>
                  <a:pt x="296154" y="38892"/>
                  <a:pt x="297514" y="42288"/>
                  <a:pt x="301596" y="42288"/>
                </a:cubicBezTo>
                <a:cubicBezTo>
                  <a:pt x="303637" y="43647"/>
                  <a:pt x="307039" y="45684"/>
                  <a:pt x="309760" y="45684"/>
                </a:cubicBezTo>
                <a:cubicBezTo>
                  <a:pt x="313842" y="45684"/>
                  <a:pt x="316563" y="47043"/>
                  <a:pt x="319965" y="48401"/>
                </a:cubicBezTo>
                <a:cubicBezTo>
                  <a:pt x="320645" y="49080"/>
                  <a:pt x="328809" y="53156"/>
                  <a:pt x="324047" y="53835"/>
                </a:cubicBezTo>
                <a:cubicBezTo>
                  <a:pt x="324047" y="54514"/>
                  <a:pt x="318604" y="58589"/>
                  <a:pt x="317924" y="59268"/>
                </a:cubicBezTo>
                <a:cubicBezTo>
                  <a:pt x="314522" y="61306"/>
                  <a:pt x="292752" y="58589"/>
                  <a:pt x="292072" y="54514"/>
                </a:cubicBezTo>
                <a:cubicBezTo>
                  <a:pt x="287990" y="54514"/>
                  <a:pt x="285269" y="53156"/>
                  <a:pt x="281187" y="53156"/>
                </a:cubicBezTo>
                <a:cubicBezTo>
                  <a:pt x="283228" y="53835"/>
                  <a:pt x="287310" y="55872"/>
                  <a:pt x="290031" y="57231"/>
                </a:cubicBezTo>
                <a:cubicBezTo>
                  <a:pt x="292072" y="57910"/>
                  <a:pt x="288670" y="59268"/>
                  <a:pt x="294793" y="59268"/>
                </a:cubicBezTo>
                <a:cubicBezTo>
                  <a:pt x="298875" y="59268"/>
                  <a:pt x="298875" y="63344"/>
                  <a:pt x="300916" y="66740"/>
                </a:cubicBezTo>
                <a:cubicBezTo>
                  <a:pt x="302277" y="69457"/>
                  <a:pt x="312481" y="73532"/>
                  <a:pt x="316563" y="73532"/>
                </a:cubicBezTo>
                <a:cubicBezTo>
                  <a:pt x="319285" y="73532"/>
                  <a:pt x="317924" y="70136"/>
                  <a:pt x="314522" y="70136"/>
                </a:cubicBezTo>
                <a:cubicBezTo>
                  <a:pt x="311801" y="70136"/>
                  <a:pt x="309760" y="65381"/>
                  <a:pt x="311801" y="64702"/>
                </a:cubicBezTo>
                <a:cubicBezTo>
                  <a:pt x="313162" y="68777"/>
                  <a:pt x="324047" y="68098"/>
                  <a:pt x="327449" y="68098"/>
                </a:cubicBezTo>
                <a:cubicBezTo>
                  <a:pt x="328809" y="68777"/>
                  <a:pt x="334932" y="68777"/>
                  <a:pt x="330850" y="67419"/>
                </a:cubicBezTo>
                <a:cubicBezTo>
                  <a:pt x="328129" y="66740"/>
                  <a:pt x="326768" y="64023"/>
                  <a:pt x="324727" y="63344"/>
                </a:cubicBezTo>
                <a:cubicBezTo>
                  <a:pt x="324727" y="61985"/>
                  <a:pt x="330850" y="55872"/>
                  <a:pt x="332891" y="56552"/>
                </a:cubicBezTo>
                <a:cubicBezTo>
                  <a:pt x="336293" y="56552"/>
                  <a:pt x="337653" y="56552"/>
                  <a:pt x="340375" y="58589"/>
                </a:cubicBezTo>
                <a:cubicBezTo>
                  <a:pt x="341735" y="59948"/>
                  <a:pt x="341055" y="55872"/>
                  <a:pt x="341055" y="54514"/>
                </a:cubicBezTo>
                <a:cubicBezTo>
                  <a:pt x="341055" y="52476"/>
                  <a:pt x="339014" y="53156"/>
                  <a:pt x="338334" y="51797"/>
                </a:cubicBezTo>
                <a:cubicBezTo>
                  <a:pt x="336973" y="49760"/>
                  <a:pt x="338334" y="47043"/>
                  <a:pt x="336293" y="45684"/>
                </a:cubicBezTo>
                <a:cubicBezTo>
                  <a:pt x="334252" y="45005"/>
                  <a:pt x="330850" y="45005"/>
                  <a:pt x="330850" y="42288"/>
                </a:cubicBezTo>
                <a:cubicBezTo>
                  <a:pt x="336973" y="42288"/>
                  <a:pt x="341735" y="45005"/>
                  <a:pt x="347178" y="46363"/>
                </a:cubicBezTo>
                <a:cubicBezTo>
                  <a:pt x="336973" y="49080"/>
                  <a:pt x="345137" y="52476"/>
                  <a:pt x="350580" y="52476"/>
                </a:cubicBezTo>
                <a:cubicBezTo>
                  <a:pt x="351260" y="52476"/>
                  <a:pt x="353981" y="53156"/>
                  <a:pt x="354661" y="51797"/>
                </a:cubicBezTo>
                <a:cubicBezTo>
                  <a:pt x="356022" y="49080"/>
                  <a:pt x="352620" y="49760"/>
                  <a:pt x="357383" y="49080"/>
                </a:cubicBezTo>
                <a:cubicBezTo>
                  <a:pt x="362825" y="47722"/>
                  <a:pt x="357383" y="47043"/>
                  <a:pt x="362145" y="45684"/>
                </a:cubicBezTo>
                <a:cubicBezTo>
                  <a:pt x="366907" y="44326"/>
                  <a:pt x="366907" y="44326"/>
                  <a:pt x="366907" y="44326"/>
                </a:cubicBezTo>
                <a:cubicBezTo>
                  <a:pt x="368268" y="43647"/>
                  <a:pt x="368948" y="41609"/>
                  <a:pt x="370309" y="41609"/>
                </a:cubicBezTo>
                <a:cubicBezTo>
                  <a:pt x="370989" y="42967"/>
                  <a:pt x="374391" y="44326"/>
                  <a:pt x="375071" y="41609"/>
                </a:cubicBezTo>
                <a:cubicBezTo>
                  <a:pt x="375071" y="40251"/>
                  <a:pt x="375751" y="38892"/>
                  <a:pt x="377792" y="38892"/>
                </a:cubicBezTo>
                <a:cubicBezTo>
                  <a:pt x="377792" y="40251"/>
                  <a:pt x="379833" y="40930"/>
                  <a:pt x="379153" y="41609"/>
                </a:cubicBezTo>
                <a:cubicBezTo>
                  <a:pt x="377112" y="43647"/>
                  <a:pt x="370309" y="48401"/>
                  <a:pt x="376432" y="50439"/>
                </a:cubicBezTo>
                <a:cubicBezTo>
                  <a:pt x="377112" y="49080"/>
                  <a:pt x="386637" y="40930"/>
                  <a:pt x="388678" y="40930"/>
                </a:cubicBezTo>
                <a:cubicBezTo>
                  <a:pt x="392760" y="40930"/>
                  <a:pt x="397522" y="38892"/>
                  <a:pt x="401604" y="38892"/>
                </a:cubicBezTo>
                <a:cubicBezTo>
                  <a:pt x="401604" y="40930"/>
                  <a:pt x="403645" y="42967"/>
                  <a:pt x="405686" y="41609"/>
                </a:cubicBezTo>
                <a:cubicBezTo>
                  <a:pt x="407046" y="40930"/>
                  <a:pt x="413169" y="38892"/>
                  <a:pt x="411128" y="38213"/>
                </a:cubicBezTo>
                <a:cubicBezTo>
                  <a:pt x="407046" y="36855"/>
                  <a:pt x="403645" y="33459"/>
                  <a:pt x="410448" y="33459"/>
                </a:cubicBezTo>
                <a:cubicBezTo>
                  <a:pt x="414530" y="33459"/>
                  <a:pt x="418612" y="32100"/>
                  <a:pt x="422694" y="32779"/>
                </a:cubicBezTo>
                <a:cubicBezTo>
                  <a:pt x="426776" y="33459"/>
                  <a:pt x="426095" y="34817"/>
                  <a:pt x="430177" y="34817"/>
                </a:cubicBezTo>
                <a:cubicBezTo>
                  <a:pt x="431538" y="34817"/>
                  <a:pt x="431538" y="37534"/>
                  <a:pt x="434259" y="37534"/>
                </a:cubicBezTo>
                <a:cubicBezTo>
                  <a:pt x="436980" y="37534"/>
                  <a:pt x="439702" y="38213"/>
                  <a:pt x="442423" y="38213"/>
                </a:cubicBezTo>
                <a:cubicBezTo>
                  <a:pt x="445144" y="38213"/>
                  <a:pt x="447866" y="40930"/>
                  <a:pt x="449907" y="40930"/>
                </a:cubicBezTo>
                <a:cubicBezTo>
                  <a:pt x="449226" y="39571"/>
                  <a:pt x="449226" y="37534"/>
                  <a:pt x="449226" y="36175"/>
                </a:cubicBezTo>
                <a:cubicBezTo>
                  <a:pt x="448546" y="35496"/>
                  <a:pt x="446505" y="36855"/>
                  <a:pt x="445144" y="36855"/>
                </a:cubicBezTo>
                <a:cubicBezTo>
                  <a:pt x="442423" y="36175"/>
                  <a:pt x="441062" y="31421"/>
                  <a:pt x="439021" y="31421"/>
                </a:cubicBezTo>
                <a:cubicBezTo>
                  <a:pt x="437661" y="31421"/>
                  <a:pt x="432899" y="32779"/>
                  <a:pt x="433579" y="30063"/>
                </a:cubicBezTo>
                <a:cubicBezTo>
                  <a:pt x="434259" y="27346"/>
                  <a:pt x="431538" y="28025"/>
                  <a:pt x="430177" y="26666"/>
                </a:cubicBezTo>
                <a:cubicBezTo>
                  <a:pt x="428136" y="24629"/>
                  <a:pt x="430177" y="24629"/>
                  <a:pt x="431538" y="23270"/>
                </a:cubicBezTo>
                <a:cubicBezTo>
                  <a:pt x="434939" y="20554"/>
                  <a:pt x="430858" y="16478"/>
                  <a:pt x="435620" y="17158"/>
                </a:cubicBezTo>
                <a:cubicBezTo>
                  <a:pt x="439021" y="17837"/>
                  <a:pt x="441743" y="17158"/>
                  <a:pt x="444464" y="15799"/>
                </a:cubicBezTo>
                <a:cubicBezTo>
                  <a:pt x="449907" y="14441"/>
                  <a:pt x="448546" y="17837"/>
                  <a:pt x="450587" y="21912"/>
                </a:cubicBezTo>
                <a:cubicBezTo>
                  <a:pt x="451267" y="24629"/>
                  <a:pt x="457390" y="23270"/>
                  <a:pt x="458751" y="28704"/>
                </a:cubicBezTo>
                <a:cubicBezTo>
                  <a:pt x="460111" y="37534"/>
                  <a:pt x="470997" y="34138"/>
                  <a:pt x="468956" y="42288"/>
                </a:cubicBezTo>
                <a:cubicBezTo>
                  <a:pt x="468275" y="45005"/>
                  <a:pt x="470997" y="47043"/>
                  <a:pt x="465554" y="47722"/>
                </a:cubicBezTo>
                <a:cubicBezTo>
                  <a:pt x="458751" y="48401"/>
                  <a:pt x="458751" y="48401"/>
                  <a:pt x="458751" y="48401"/>
                </a:cubicBezTo>
                <a:cubicBezTo>
                  <a:pt x="457390" y="48401"/>
                  <a:pt x="453308" y="51118"/>
                  <a:pt x="456710" y="50439"/>
                </a:cubicBezTo>
                <a:cubicBezTo>
                  <a:pt x="460792" y="50439"/>
                  <a:pt x="458751" y="50439"/>
                  <a:pt x="461472" y="51797"/>
                </a:cubicBezTo>
                <a:cubicBezTo>
                  <a:pt x="462833" y="52476"/>
                  <a:pt x="469636" y="51797"/>
                  <a:pt x="471677" y="51797"/>
                </a:cubicBezTo>
                <a:cubicBezTo>
                  <a:pt x="473038" y="51797"/>
                  <a:pt x="477800" y="53156"/>
                  <a:pt x="477119" y="51118"/>
                </a:cubicBezTo>
                <a:cubicBezTo>
                  <a:pt x="477119" y="47043"/>
                  <a:pt x="479160" y="45005"/>
                  <a:pt x="479160" y="42288"/>
                </a:cubicBezTo>
                <a:cubicBezTo>
                  <a:pt x="479160" y="36855"/>
                  <a:pt x="473718" y="40930"/>
                  <a:pt x="473718" y="35496"/>
                </a:cubicBezTo>
                <a:cubicBezTo>
                  <a:pt x="479160" y="35496"/>
                  <a:pt x="482562" y="32779"/>
                  <a:pt x="487324" y="37534"/>
                </a:cubicBezTo>
                <a:cubicBezTo>
                  <a:pt x="488005" y="38892"/>
                  <a:pt x="495488" y="45005"/>
                  <a:pt x="496849" y="40930"/>
                </a:cubicBezTo>
                <a:cubicBezTo>
                  <a:pt x="494128" y="40930"/>
                  <a:pt x="491406" y="40930"/>
                  <a:pt x="490046" y="38213"/>
                </a:cubicBezTo>
                <a:cubicBezTo>
                  <a:pt x="488685" y="35496"/>
                  <a:pt x="480521" y="31421"/>
                  <a:pt x="477800" y="31421"/>
                </a:cubicBezTo>
                <a:cubicBezTo>
                  <a:pt x="475759" y="31421"/>
                  <a:pt x="475079" y="33459"/>
                  <a:pt x="473038" y="32779"/>
                </a:cubicBezTo>
                <a:cubicBezTo>
                  <a:pt x="470316" y="31421"/>
                  <a:pt x="470997" y="32100"/>
                  <a:pt x="469636" y="33459"/>
                </a:cubicBezTo>
                <a:cubicBezTo>
                  <a:pt x="469636" y="34138"/>
                  <a:pt x="464874" y="31421"/>
                  <a:pt x="463513" y="30742"/>
                </a:cubicBezTo>
                <a:cubicBezTo>
                  <a:pt x="462152" y="29383"/>
                  <a:pt x="464193" y="26666"/>
                  <a:pt x="462152" y="25308"/>
                </a:cubicBezTo>
                <a:cubicBezTo>
                  <a:pt x="460111" y="24629"/>
                  <a:pt x="456029" y="22591"/>
                  <a:pt x="455349" y="20554"/>
                </a:cubicBezTo>
                <a:cubicBezTo>
                  <a:pt x="455349" y="19874"/>
                  <a:pt x="459431" y="15799"/>
                  <a:pt x="459431" y="14441"/>
                </a:cubicBezTo>
                <a:cubicBezTo>
                  <a:pt x="460111" y="17158"/>
                  <a:pt x="460111" y="17158"/>
                  <a:pt x="460111" y="17158"/>
                </a:cubicBezTo>
                <a:cubicBezTo>
                  <a:pt x="461472" y="19874"/>
                  <a:pt x="466915" y="23270"/>
                  <a:pt x="470316" y="22591"/>
                </a:cubicBezTo>
                <a:cubicBezTo>
                  <a:pt x="474398" y="21233"/>
                  <a:pt x="477800" y="23950"/>
                  <a:pt x="481882" y="22591"/>
                </a:cubicBezTo>
                <a:cubicBezTo>
                  <a:pt x="479841" y="19195"/>
                  <a:pt x="465554" y="22591"/>
                  <a:pt x="465554" y="17837"/>
                </a:cubicBezTo>
                <a:cubicBezTo>
                  <a:pt x="467595" y="17837"/>
                  <a:pt x="469636" y="18516"/>
                  <a:pt x="471677" y="18516"/>
                </a:cubicBezTo>
                <a:cubicBezTo>
                  <a:pt x="474398" y="19195"/>
                  <a:pt x="473718" y="17158"/>
                  <a:pt x="475079" y="16478"/>
                </a:cubicBezTo>
                <a:cubicBezTo>
                  <a:pt x="481882" y="14441"/>
                  <a:pt x="487324" y="18516"/>
                  <a:pt x="494128" y="18516"/>
                </a:cubicBezTo>
                <a:cubicBezTo>
                  <a:pt x="499570" y="17837"/>
                  <a:pt x="492767" y="20554"/>
                  <a:pt x="496849" y="23270"/>
                </a:cubicBezTo>
                <a:cubicBezTo>
                  <a:pt x="499570" y="23950"/>
                  <a:pt x="502291" y="25308"/>
                  <a:pt x="504332" y="25308"/>
                </a:cubicBezTo>
                <a:cubicBezTo>
                  <a:pt x="504332" y="23950"/>
                  <a:pt x="500931" y="21912"/>
                  <a:pt x="500250" y="19874"/>
                </a:cubicBezTo>
                <a:cubicBezTo>
                  <a:pt x="498890" y="16478"/>
                  <a:pt x="485964" y="14441"/>
                  <a:pt x="481201" y="13082"/>
                </a:cubicBezTo>
                <a:cubicBezTo>
                  <a:pt x="480521" y="12403"/>
                  <a:pt x="477800" y="11045"/>
                  <a:pt x="477800" y="9686"/>
                </a:cubicBezTo>
                <a:cubicBezTo>
                  <a:pt x="485283" y="9686"/>
                  <a:pt x="495488" y="9007"/>
                  <a:pt x="502972" y="6969"/>
                </a:cubicBezTo>
                <a:cubicBezTo>
                  <a:pt x="502291" y="5611"/>
                  <a:pt x="497529" y="5611"/>
                  <a:pt x="497529" y="3573"/>
                </a:cubicBez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noAutofit/>
          </a:bodyPr>
          <a:lstStyle/>
          <a:p>
            <a:pPr defTabSz="1087802">
              <a:defRPr/>
            </a:pPr>
            <a:endParaRPr lang="en-US" sz="2059" dirty="0">
              <a:solidFill>
                <a:srgbClr val="505050"/>
              </a:solidFill>
              <a:latin typeface="Arial"/>
            </a:endParaRPr>
          </a:p>
        </p:txBody>
      </p:sp>
      <p:sp>
        <p:nvSpPr>
          <p:cNvPr id="1875" name="Freeform 12">
            <a:extLst>
              <a:ext uri="{FF2B5EF4-FFF2-40B4-BE49-F238E27FC236}">
                <a16:creationId xmlns:a16="http://schemas.microsoft.com/office/drawing/2014/main" id="{B2E1947E-36B8-4668-8622-9F6BF251715B}"/>
              </a:ext>
            </a:extLst>
          </p:cNvPr>
          <p:cNvSpPr>
            <a:spLocks/>
          </p:cNvSpPr>
          <p:nvPr/>
        </p:nvSpPr>
        <p:spPr bwMode="auto">
          <a:xfrm>
            <a:off x="8228222" y="2909938"/>
            <a:ext cx="17741" cy="13308"/>
          </a:xfrm>
          <a:custGeom>
            <a:avLst/>
            <a:gdLst>
              <a:gd name="T0" fmla="*/ 9 w 10"/>
              <a:gd name="T1" fmla="*/ 1 h 7"/>
              <a:gd name="T2" fmla="*/ 7 w 10"/>
              <a:gd name="T3" fmla="*/ 1 h 7"/>
              <a:gd name="T4" fmla="*/ 6 w 10"/>
              <a:gd name="T5" fmla="*/ 0 h 7"/>
              <a:gd name="T6" fmla="*/ 6 w 10"/>
              <a:gd name="T7" fmla="*/ 0 h 7"/>
              <a:gd name="T8" fmla="*/ 4 w 10"/>
              <a:gd name="T9" fmla="*/ 0 h 7"/>
              <a:gd name="T10" fmla="*/ 1 w 10"/>
              <a:gd name="T11" fmla="*/ 0 h 7"/>
              <a:gd name="T12" fmla="*/ 1 w 10"/>
              <a:gd name="T13" fmla="*/ 1 h 7"/>
              <a:gd name="T14" fmla="*/ 1 w 10"/>
              <a:gd name="T15" fmla="*/ 2 h 7"/>
              <a:gd name="T16" fmla="*/ 3 w 10"/>
              <a:gd name="T17" fmla="*/ 3 h 7"/>
              <a:gd name="T18" fmla="*/ 5 w 10"/>
              <a:gd name="T19" fmla="*/ 4 h 7"/>
              <a:gd name="T20" fmla="*/ 7 w 10"/>
              <a:gd name="T21" fmla="*/ 7 h 7"/>
              <a:gd name="T22" fmla="*/ 9 w 10"/>
              <a:gd name="T23" fmla="*/ 6 h 7"/>
              <a:gd name="T24" fmla="*/ 10 w 10"/>
              <a:gd name="T25" fmla="*/ 3 h 7"/>
              <a:gd name="T26" fmla="*/ 9 w 10"/>
              <a:gd name="T2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7">
                <a:moveTo>
                  <a:pt x="9" y="1"/>
                </a:moveTo>
                <a:cubicBezTo>
                  <a:pt x="8" y="1"/>
                  <a:pt x="8" y="1"/>
                  <a:pt x="7" y="1"/>
                </a:cubicBezTo>
                <a:cubicBezTo>
                  <a:pt x="6" y="0"/>
                  <a:pt x="6" y="0"/>
                  <a:pt x="6" y="0"/>
                </a:cubicBezTo>
                <a:cubicBezTo>
                  <a:pt x="6" y="0"/>
                  <a:pt x="6" y="0"/>
                  <a:pt x="6" y="0"/>
                </a:cubicBezTo>
                <a:cubicBezTo>
                  <a:pt x="6" y="0"/>
                  <a:pt x="5" y="0"/>
                  <a:pt x="4" y="0"/>
                </a:cubicBezTo>
                <a:cubicBezTo>
                  <a:pt x="3" y="0"/>
                  <a:pt x="3" y="0"/>
                  <a:pt x="1" y="0"/>
                </a:cubicBezTo>
                <a:cubicBezTo>
                  <a:pt x="1" y="1"/>
                  <a:pt x="1" y="1"/>
                  <a:pt x="1" y="1"/>
                </a:cubicBezTo>
                <a:cubicBezTo>
                  <a:pt x="1" y="1"/>
                  <a:pt x="0" y="1"/>
                  <a:pt x="1" y="2"/>
                </a:cubicBezTo>
                <a:cubicBezTo>
                  <a:pt x="2" y="2"/>
                  <a:pt x="3" y="2"/>
                  <a:pt x="3" y="3"/>
                </a:cubicBezTo>
                <a:cubicBezTo>
                  <a:pt x="4" y="3"/>
                  <a:pt x="5" y="3"/>
                  <a:pt x="5" y="4"/>
                </a:cubicBezTo>
                <a:cubicBezTo>
                  <a:pt x="6" y="5"/>
                  <a:pt x="5" y="7"/>
                  <a:pt x="7" y="7"/>
                </a:cubicBezTo>
                <a:cubicBezTo>
                  <a:pt x="8" y="7"/>
                  <a:pt x="9" y="7"/>
                  <a:pt x="9" y="6"/>
                </a:cubicBezTo>
                <a:cubicBezTo>
                  <a:pt x="9" y="5"/>
                  <a:pt x="9" y="3"/>
                  <a:pt x="10" y="3"/>
                </a:cubicBezTo>
                <a:lnTo>
                  <a:pt x="9" y="1"/>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76" name="Freeform 13">
            <a:extLst>
              <a:ext uri="{FF2B5EF4-FFF2-40B4-BE49-F238E27FC236}">
                <a16:creationId xmlns:a16="http://schemas.microsoft.com/office/drawing/2014/main" id="{4AA60559-6FCE-491E-8A5D-DEE17A84C092}"/>
              </a:ext>
            </a:extLst>
          </p:cNvPr>
          <p:cNvSpPr>
            <a:spLocks/>
          </p:cNvSpPr>
          <p:nvPr/>
        </p:nvSpPr>
        <p:spPr bwMode="auto">
          <a:xfrm>
            <a:off x="8228222" y="2909938"/>
            <a:ext cx="17741" cy="13308"/>
          </a:xfrm>
          <a:custGeom>
            <a:avLst/>
            <a:gdLst>
              <a:gd name="T0" fmla="*/ 9 w 10"/>
              <a:gd name="T1" fmla="*/ 1 h 7"/>
              <a:gd name="T2" fmla="*/ 7 w 10"/>
              <a:gd name="T3" fmla="*/ 1 h 7"/>
              <a:gd name="T4" fmla="*/ 6 w 10"/>
              <a:gd name="T5" fmla="*/ 0 h 7"/>
              <a:gd name="T6" fmla="*/ 6 w 10"/>
              <a:gd name="T7" fmla="*/ 0 h 7"/>
              <a:gd name="T8" fmla="*/ 4 w 10"/>
              <a:gd name="T9" fmla="*/ 0 h 7"/>
              <a:gd name="T10" fmla="*/ 1 w 10"/>
              <a:gd name="T11" fmla="*/ 0 h 7"/>
              <a:gd name="T12" fmla="*/ 1 w 10"/>
              <a:gd name="T13" fmla="*/ 1 h 7"/>
              <a:gd name="T14" fmla="*/ 1 w 10"/>
              <a:gd name="T15" fmla="*/ 2 h 7"/>
              <a:gd name="T16" fmla="*/ 3 w 10"/>
              <a:gd name="T17" fmla="*/ 3 h 7"/>
              <a:gd name="T18" fmla="*/ 5 w 10"/>
              <a:gd name="T19" fmla="*/ 4 h 7"/>
              <a:gd name="T20" fmla="*/ 7 w 10"/>
              <a:gd name="T21" fmla="*/ 7 h 7"/>
              <a:gd name="T22" fmla="*/ 9 w 10"/>
              <a:gd name="T23" fmla="*/ 6 h 7"/>
              <a:gd name="T24" fmla="*/ 10 w 10"/>
              <a:gd name="T25" fmla="*/ 3 h 7"/>
              <a:gd name="T26" fmla="*/ 9 w 10"/>
              <a:gd name="T2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7">
                <a:moveTo>
                  <a:pt x="9" y="1"/>
                </a:moveTo>
                <a:cubicBezTo>
                  <a:pt x="8" y="1"/>
                  <a:pt x="8" y="1"/>
                  <a:pt x="7" y="1"/>
                </a:cubicBezTo>
                <a:cubicBezTo>
                  <a:pt x="6" y="0"/>
                  <a:pt x="6" y="0"/>
                  <a:pt x="6" y="0"/>
                </a:cubicBezTo>
                <a:cubicBezTo>
                  <a:pt x="6" y="0"/>
                  <a:pt x="6" y="0"/>
                  <a:pt x="6" y="0"/>
                </a:cubicBezTo>
                <a:cubicBezTo>
                  <a:pt x="6" y="0"/>
                  <a:pt x="5" y="0"/>
                  <a:pt x="4" y="0"/>
                </a:cubicBezTo>
                <a:cubicBezTo>
                  <a:pt x="3" y="0"/>
                  <a:pt x="3" y="0"/>
                  <a:pt x="1" y="0"/>
                </a:cubicBezTo>
                <a:cubicBezTo>
                  <a:pt x="1" y="1"/>
                  <a:pt x="1" y="1"/>
                  <a:pt x="1" y="1"/>
                </a:cubicBezTo>
                <a:cubicBezTo>
                  <a:pt x="1" y="1"/>
                  <a:pt x="0" y="1"/>
                  <a:pt x="1" y="2"/>
                </a:cubicBezTo>
                <a:cubicBezTo>
                  <a:pt x="2" y="2"/>
                  <a:pt x="3" y="2"/>
                  <a:pt x="3" y="3"/>
                </a:cubicBezTo>
                <a:cubicBezTo>
                  <a:pt x="4" y="3"/>
                  <a:pt x="5" y="3"/>
                  <a:pt x="5" y="4"/>
                </a:cubicBezTo>
                <a:cubicBezTo>
                  <a:pt x="6" y="5"/>
                  <a:pt x="5" y="7"/>
                  <a:pt x="7" y="7"/>
                </a:cubicBezTo>
                <a:cubicBezTo>
                  <a:pt x="8" y="7"/>
                  <a:pt x="9" y="7"/>
                  <a:pt x="9" y="6"/>
                </a:cubicBezTo>
                <a:cubicBezTo>
                  <a:pt x="9" y="5"/>
                  <a:pt x="9" y="3"/>
                  <a:pt x="10" y="3"/>
                </a:cubicBezTo>
                <a:lnTo>
                  <a:pt x="9" y="1"/>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77" name="Freeform 14">
            <a:extLst>
              <a:ext uri="{FF2B5EF4-FFF2-40B4-BE49-F238E27FC236}">
                <a16:creationId xmlns:a16="http://schemas.microsoft.com/office/drawing/2014/main" id="{01D292CE-6CAC-40D7-9342-BF5423CB3E5D}"/>
              </a:ext>
            </a:extLst>
          </p:cNvPr>
          <p:cNvSpPr>
            <a:spLocks/>
          </p:cNvSpPr>
          <p:nvPr/>
        </p:nvSpPr>
        <p:spPr bwMode="auto">
          <a:xfrm>
            <a:off x="8214914" y="2923244"/>
            <a:ext cx="31044" cy="44352"/>
          </a:xfrm>
          <a:custGeom>
            <a:avLst/>
            <a:gdLst>
              <a:gd name="T0" fmla="*/ 16 w 19"/>
              <a:gd name="T1" fmla="*/ 6 h 28"/>
              <a:gd name="T2" fmla="*/ 15 w 19"/>
              <a:gd name="T3" fmla="*/ 2 h 28"/>
              <a:gd name="T4" fmla="*/ 13 w 19"/>
              <a:gd name="T5" fmla="*/ 2 h 28"/>
              <a:gd name="T6" fmla="*/ 11 w 19"/>
              <a:gd name="T7" fmla="*/ 4 h 28"/>
              <a:gd name="T8" fmla="*/ 8 w 19"/>
              <a:gd name="T9" fmla="*/ 5 h 28"/>
              <a:gd name="T10" fmla="*/ 4 w 19"/>
              <a:gd name="T11" fmla="*/ 6 h 28"/>
              <a:gd name="T12" fmla="*/ 1 w 19"/>
              <a:gd name="T13" fmla="*/ 10 h 28"/>
              <a:gd name="T14" fmla="*/ 1 w 19"/>
              <a:gd name="T15" fmla="*/ 14 h 28"/>
              <a:gd name="T16" fmla="*/ 1 w 19"/>
              <a:gd name="T17" fmla="*/ 19 h 28"/>
              <a:gd name="T18" fmla="*/ 2 w 19"/>
              <a:gd name="T19" fmla="*/ 22 h 28"/>
              <a:gd name="T20" fmla="*/ 4 w 19"/>
              <a:gd name="T21" fmla="*/ 23 h 28"/>
              <a:gd name="T22" fmla="*/ 5 w 19"/>
              <a:gd name="T23" fmla="*/ 17 h 28"/>
              <a:gd name="T24" fmla="*/ 9 w 19"/>
              <a:gd name="T25" fmla="*/ 20 h 28"/>
              <a:gd name="T26" fmla="*/ 11 w 19"/>
              <a:gd name="T27" fmla="*/ 23 h 28"/>
              <a:gd name="T28" fmla="*/ 13 w 19"/>
              <a:gd name="T29" fmla="*/ 27 h 28"/>
              <a:gd name="T30" fmla="*/ 17 w 19"/>
              <a:gd name="T31" fmla="*/ 26 h 28"/>
              <a:gd name="T32" fmla="*/ 17 w 19"/>
              <a:gd name="T33" fmla="*/ 17 h 28"/>
              <a:gd name="T34" fmla="*/ 16 w 19"/>
              <a:gd name="T35" fmla="*/ 9 h 28"/>
              <a:gd name="T36" fmla="*/ 16 w 19"/>
              <a:gd name="T3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8">
                <a:moveTo>
                  <a:pt x="16" y="6"/>
                </a:moveTo>
                <a:cubicBezTo>
                  <a:pt x="16" y="5"/>
                  <a:pt x="15" y="2"/>
                  <a:pt x="15" y="2"/>
                </a:cubicBezTo>
                <a:cubicBezTo>
                  <a:pt x="15" y="0"/>
                  <a:pt x="14" y="2"/>
                  <a:pt x="13" y="2"/>
                </a:cubicBezTo>
                <a:cubicBezTo>
                  <a:pt x="13" y="3"/>
                  <a:pt x="11" y="3"/>
                  <a:pt x="11" y="4"/>
                </a:cubicBezTo>
                <a:cubicBezTo>
                  <a:pt x="10" y="6"/>
                  <a:pt x="11" y="7"/>
                  <a:pt x="8" y="5"/>
                </a:cubicBezTo>
                <a:cubicBezTo>
                  <a:pt x="5" y="4"/>
                  <a:pt x="6" y="6"/>
                  <a:pt x="4" y="6"/>
                </a:cubicBezTo>
                <a:cubicBezTo>
                  <a:pt x="4" y="8"/>
                  <a:pt x="2" y="8"/>
                  <a:pt x="1" y="10"/>
                </a:cubicBezTo>
                <a:cubicBezTo>
                  <a:pt x="0" y="11"/>
                  <a:pt x="0" y="13"/>
                  <a:pt x="1" y="14"/>
                </a:cubicBezTo>
                <a:cubicBezTo>
                  <a:pt x="2" y="15"/>
                  <a:pt x="1" y="18"/>
                  <a:pt x="1" y="19"/>
                </a:cubicBezTo>
                <a:cubicBezTo>
                  <a:pt x="1" y="20"/>
                  <a:pt x="2" y="21"/>
                  <a:pt x="2" y="22"/>
                </a:cubicBezTo>
                <a:cubicBezTo>
                  <a:pt x="2" y="26"/>
                  <a:pt x="4" y="27"/>
                  <a:pt x="4" y="23"/>
                </a:cubicBezTo>
                <a:cubicBezTo>
                  <a:pt x="4" y="21"/>
                  <a:pt x="4" y="18"/>
                  <a:pt x="5" y="17"/>
                </a:cubicBezTo>
                <a:cubicBezTo>
                  <a:pt x="6" y="13"/>
                  <a:pt x="9" y="18"/>
                  <a:pt x="9" y="20"/>
                </a:cubicBezTo>
                <a:cubicBezTo>
                  <a:pt x="10" y="21"/>
                  <a:pt x="10" y="22"/>
                  <a:pt x="11" y="23"/>
                </a:cubicBezTo>
                <a:cubicBezTo>
                  <a:pt x="12" y="24"/>
                  <a:pt x="13" y="26"/>
                  <a:pt x="13" y="27"/>
                </a:cubicBezTo>
                <a:cubicBezTo>
                  <a:pt x="15" y="27"/>
                  <a:pt x="16" y="28"/>
                  <a:pt x="17" y="26"/>
                </a:cubicBezTo>
                <a:cubicBezTo>
                  <a:pt x="19" y="24"/>
                  <a:pt x="17" y="19"/>
                  <a:pt x="17" y="17"/>
                </a:cubicBezTo>
                <a:cubicBezTo>
                  <a:pt x="16" y="15"/>
                  <a:pt x="14" y="12"/>
                  <a:pt x="16" y="9"/>
                </a:cubicBezTo>
                <a:lnTo>
                  <a:pt x="16" y="6"/>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78" name="Freeform 15">
            <a:extLst>
              <a:ext uri="{FF2B5EF4-FFF2-40B4-BE49-F238E27FC236}">
                <a16:creationId xmlns:a16="http://schemas.microsoft.com/office/drawing/2014/main" id="{73915DF2-A0D8-4954-88EB-380F396AF862}"/>
              </a:ext>
            </a:extLst>
          </p:cNvPr>
          <p:cNvSpPr>
            <a:spLocks/>
          </p:cNvSpPr>
          <p:nvPr/>
        </p:nvSpPr>
        <p:spPr bwMode="auto">
          <a:xfrm>
            <a:off x="8214914" y="2923244"/>
            <a:ext cx="31044" cy="44352"/>
          </a:xfrm>
          <a:custGeom>
            <a:avLst/>
            <a:gdLst>
              <a:gd name="T0" fmla="*/ 16 w 19"/>
              <a:gd name="T1" fmla="*/ 6 h 28"/>
              <a:gd name="T2" fmla="*/ 15 w 19"/>
              <a:gd name="T3" fmla="*/ 2 h 28"/>
              <a:gd name="T4" fmla="*/ 13 w 19"/>
              <a:gd name="T5" fmla="*/ 2 h 28"/>
              <a:gd name="T6" fmla="*/ 11 w 19"/>
              <a:gd name="T7" fmla="*/ 4 h 28"/>
              <a:gd name="T8" fmla="*/ 8 w 19"/>
              <a:gd name="T9" fmla="*/ 5 h 28"/>
              <a:gd name="T10" fmla="*/ 4 w 19"/>
              <a:gd name="T11" fmla="*/ 6 h 28"/>
              <a:gd name="T12" fmla="*/ 1 w 19"/>
              <a:gd name="T13" fmla="*/ 10 h 28"/>
              <a:gd name="T14" fmla="*/ 1 w 19"/>
              <a:gd name="T15" fmla="*/ 14 h 28"/>
              <a:gd name="T16" fmla="*/ 1 w 19"/>
              <a:gd name="T17" fmla="*/ 19 h 28"/>
              <a:gd name="T18" fmla="*/ 2 w 19"/>
              <a:gd name="T19" fmla="*/ 22 h 28"/>
              <a:gd name="T20" fmla="*/ 4 w 19"/>
              <a:gd name="T21" fmla="*/ 23 h 28"/>
              <a:gd name="T22" fmla="*/ 5 w 19"/>
              <a:gd name="T23" fmla="*/ 17 h 28"/>
              <a:gd name="T24" fmla="*/ 9 w 19"/>
              <a:gd name="T25" fmla="*/ 20 h 28"/>
              <a:gd name="T26" fmla="*/ 11 w 19"/>
              <a:gd name="T27" fmla="*/ 23 h 28"/>
              <a:gd name="T28" fmla="*/ 13 w 19"/>
              <a:gd name="T29" fmla="*/ 27 h 28"/>
              <a:gd name="T30" fmla="*/ 17 w 19"/>
              <a:gd name="T31" fmla="*/ 26 h 28"/>
              <a:gd name="T32" fmla="*/ 17 w 19"/>
              <a:gd name="T33" fmla="*/ 17 h 28"/>
              <a:gd name="T34" fmla="*/ 16 w 19"/>
              <a:gd name="T35" fmla="*/ 9 h 28"/>
              <a:gd name="T36" fmla="*/ 16 w 19"/>
              <a:gd name="T3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8">
                <a:moveTo>
                  <a:pt x="16" y="6"/>
                </a:moveTo>
                <a:cubicBezTo>
                  <a:pt x="16" y="5"/>
                  <a:pt x="15" y="2"/>
                  <a:pt x="15" y="2"/>
                </a:cubicBezTo>
                <a:cubicBezTo>
                  <a:pt x="15" y="0"/>
                  <a:pt x="14" y="2"/>
                  <a:pt x="13" y="2"/>
                </a:cubicBezTo>
                <a:cubicBezTo>
                  <a:pt x="13" y="3"/>
                  <a:pt x="11" y="3"/>
                  <a:pt x="11" y="4"/>
                </a:cubicBezTo>
                <a:cubicBezTo>
                  <a:pt x="10" y="6"/>
                  <a:pt x="11" y="7"/>
                  <a:pt x="8" y="5"/>
                </a:cubicBezTo>
                <a:cubicBezTo>
                  <a:pt x="5" y="4"/>
                  <a:pt x="6" y="6"/>
                  <a:pt x="4" y="6"/>
                </a:cubicBezTo>
                <a:cubicBezTo>
                  <a:pt x="4" y="8"/>
                  <a:pt x="2" y="8"/>
                  <a:pt x="1" y="10"/>
                </a:cubicBezTo>
                <a:cubicBezTo>
                  <a:pt x="0" y="11"/>
                  <a:pt x="0" y="13"/>
                  <a:pt x="1" y="14"/>
                </a:cubicBezTo>
                <a:cubicBezTo>
                  <a:pt x="2" y="15"/>
                  <a:pt x="1" y="18"/>
                  <a:pt x="1" y="19"/>
                </a:cubicBezTo>
                <a:cubicBezTo>
                  <a:pt x="1" y="20"/>
                  <a:pt x="2" y="21"/>
                  <a:pt x="2" y="22"/>
                </a:cubicBezTo>
                <a:cubicBezTo>
                  <a:pt x="2" y="26"/>
                  <a:pt x="4" y="27"/>
                  <a:pt x="4" y="23"/>
                </a:cubicBezTo>
                <a:cubicBezTo>
                  <a:pt x="4" y="21"/>
                  <a:pt x="4" y="18"/>
                  <a:pt x="5" y="17"/>
                </a:cubicBezTo>
                <a:cubicBezTo>
                  <a:pt x="6" y="13"/>
                  <a:pt x="9" y="18"/>
                  <a:pt x="9" y="20"/>
                </a:cubicBezTo>
                <a:cubicBezTo>
                  <a:pt x="10" y="21"/>
                  <a:pt x="10" y="22"/>
                  <a:pt x="11" y="23"/>
                </a:cubicBezTo>
                <a:cubicBezTo>
                  <a:pt x="12" y="24"/>
                  <a:pt x="13" y="26"/>
                  <a:pt x="13" y="27"/>
                </a:cubicBezTo>
                <a:cubicBezTo>
                  <a:pt x="15" y="27"/>
                  <a:pt x="16" y="28"/>
                  <a:pt x="17" y="26"/>
                </a:cubicBezTo>
                <a:cubicBezTo>
                  <a:pt x="19" y="24"/>
                  <a:pt x="17" y="19"/>
                  <a:pt x="17" y="17"/>
                </a:cubicBezTo>
                <a:cubicBezTo>
                  <a:pt x="16" y="15"/>
                  <a:pt x="14" y="12"/>
                  <a:pt x="16" y="9"/>
                </a:cubicBezTo>
                <a:lnTo>
                  <a:pt x="16" y="6"/>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79" name="Freeform 16">
            <a:extLst>
              <a:ext uri="{FF2B5EF4-FFF2-40B4-BE49-F238E27FC236}">
                <a16:creationId xmlns:a16="http://schemas.microsoft.com/office/drawing/2014/main" id="{D6A397A5-A579-4272-A01E-2059EAB20DF2}"/>
              </a:ext>
            </a:extLst>
          </p:cNvPr>
          <p:cNvSpPr>
            <a:spLocks/>
          </p:cNvSpPr>
          <p:nvPr/>
        </p:nvSpPr>
        <p:spPr bwMode="auto">
          <a:xfrm>
            <a:off x="8041949" y="2909938"/>
            <a:ext cx="168531" cy="226188"/>
          </a:xfrm>
          <a:custGeom>
            <a:avLst/>
            <a:gdLst>
              <a:gd name="T0" fmla="*/ 93 w 103"/>
              <a:gd name="T1" fmla="*/ 114 h 139"/>
              <a:gd name="T2" fmla="*/ 93 w 103"/>
              <a:gd name="T3" fmla="*/ 103 h 139"/>
              <a:gd name="T4" fmla="*/ 84 w 103"/>
              <a:gd name="T5" fmla="*/ 100 h 139"/>
              <a:gd name="T6" fmla="*/ 84 w 103"/>
              <a:gd name="T7" fmla="*/ 96 h 139"/>
              <a:gd name="T8" fmla="*/ 83 w 103"/>
              <a:gd name="T9" fmla="*/ 94 h 139"/>
              <a:gd name="T10" fmla="*/ 76 w 103"/>
              <a:gd name="T11" fmla="*/ 90 h 139"/>
              <a:gd name="T12" fmla="*/ 73 w 103"/>
              <a:gd name="T13" fmla="*/ 83 h 139"/>
              <a:gd name="T14" fmla="*/ 70 w 103"/>
              <a:gd name="T15" fmla="*/ 74 h 139"/>
              <a:gd name="T16" fmla="*/ 64 w 103"/>
              <a:gd name="T17" fmla="*/ 57 h 139"/>
              <a:gd name="T18" fmla="*/ 55 w 103"/>
              <a:gd name="T19" fmla="*/ 55 h 139"/>
              <a:gd name="T20" fmla="*/ 48 w 103"/>
              <a:gd name="T21" fmla="*/ 48 h 139"/>
              <a:gd name="T22" fmla="*/ 45 w 103"/>
              <a:gd name="T23" fmla="*/ 43 h 139"/>
              <a:gd name="T24" fmla="*/ 41 w 103"/>
              <a:gd name="T25" fmla="*/ 41 h 139"/>
              <a:gd name="T26" fmla="*/ 34 w 103"/>
              <a:gd name="T27" fmla="*/ 35 h 139"/>
              <a:gd name="T28" fmla="*/ 38 w 103"/>
              <a:gd name="T29" fmla="*/ 33 h 139"/>
              <a:gd name="T30" fmla="*/ 42 w 103"/>
              <a:gd name="T31" fmla="*/ 30 h 139"/>
              <a:gd name="T32" fmla="*/ 47 w 103"/>
              <a:gd name="T33" fmla="*/ 25 h 139"/>
              <a:gd name="T34" fmla="*/ 53 w 103"/>
              <a:gd name="T35" fmla="*/ 24 h 139"/>
              <a:gd name="T36" fmla="*/ 55 w 103"/>
              <a:gd name="T37" fmla="*/ 22 h 139"/>
              <a:gd name="T38" fmla="*/ 50 w 103"/>
              <a:gd name="T39" fmla="*/ 17 h 139"/>
              <a:gd name="T40" fmla="*/ 49 w 103"/>
              <a:gd name="T41" fmla="*/ 9 h 139"/>
              <a:gd name="T42" fmla="*/ 48 w 103"/>
              <a:gd name="T43" fmla="*/ 4 h 139"/>
              <a:gd name="T44" fmla="*/ 43 w 103"/>
              <a:gd name="T45" fmla="*/ 3 h 139"/>
              <a:gd name="T46" fmla="*/ 39 w 103"/>
              <a:gd name="T47" fmla="*/ 5 h 139"/>
              <a:gd name="T48" fmla="*/ 35 w 103"/>
              <a:gd name="T49" fmla="*/ 3 h 139"/>
              <a:gd name="T50" fmla="*/ 19 w 103"/>
              <a:gd name="T51" fmla="*/ 8 h 139"/>
              <a:gd name="T52" fmla="*/ 10 w 103"/>
              <a:gd name="T53" fmla="*/ 6 h 139"/>
              <a:gd name="T54" fmla="*/ 13 w 103"/>
              <a:gd name="T55" fmla="*/ 12 h 139"/>
              <a:gd name="T56" fmla="*/ 9 w 103"/>
              <a:gd name="T57" fmla="*/ 16 h 139"/>
              <a:gd name="T58" fmla="*/ 9 w 103"/>
              <a:gd name="T59" fmla="*/ 19 h 139"/>
              <a:gd name="T60" fmla="*/ 2 w 103"/>
              <a:gd name="T61" fmla="*/ 18 h 139"/>
              <a:gd name="T62" fmla="*/ 2 w 103"/>
              <a:gd name="T63" fmla="*/ 34 h 139"/>
              <a:gd name="T64" fmla="*/ 9 w 103"/>
              <a:gd name="T65" fmla="*/ 43 h 139"/>
              <a:gd name="T66" fmla="*/ 9 w 103"/>
              <a:gd name="T67" fmla="*/ 47 h 139"/>
              <a:gd name="T68" fmla="*/ 9 w 103"/>
              <a:gd name="T69" fmla="*/ 47 h 139"/>
              <a:gd name="T70" fmla="*/ 10 w 103"/>
              <a:gd name="T71" fmla="*/ 47 h 139"/>
              <a:gd name="T72" fmla="*/ 13 w 103"/>
              <a:gd name="T73" fmla="*/ 53 h 139"/>
              <a:gd name="T74" fmla="*/ 16 w 103"/>
              <a:gd name="T75" fmla="*/ 58 h 139"/>
              <a:gd name="T76" fmla="*/ 19 w 103"/>
              <a:gd name="T77" fmla="*/ 63 h 139"/>
              <a:gd name="T78" fmla="*/ 25 w 103"/>
              <a:gd name="T79" fmla="*/ 66 h 139"/>
              <a:gd name="T80" fmla="*/ 31 w 103"/>
              <a:gd name="T81" fmla="*/ 72 h 139"/>
              <a:gd name="T82" fmla="*/ 40 w 103"/>
              <a:gd name="T83" fmla="*/ 79 h 139"/>
              <a:gd name="T84" fmla="*/ 48 w 103"/>
              <a:gd name="T85" fmla="*/ 84 h 139"/>
              <a:gd name="T86" fmla="*/ 50 w 103"/>
              <a:gd name="T87" fmla="*/ 85 h 139"/>
              <a:gd name="T88" fmla="*/ 51 w 103"/>
              <a:gd name="T89" fmla="*/ 86 h 139"/>
              <a:gd name="T90" fmla="*/ 43 w 103"/>
              <a:gd name="T91" fmla="*/ 87 h 139"/>
              <a:gd name="T92" fmla="*/ 43 w 103"/>
              <a:gd name="T93" fmla="*/ 98 h 139"/>
              <a:gd name="T94" fmla="*/ 41 w 103"/>
              <a:gd name="T95" fmla="*/ 106 h 139"/>
              <a:gd name="T96" fmla="*/ 45 w 103"/>
              <a:gd name="T97" fmla="*/ 119 h 139"/>
              <a:gd name="T98" fmla="*/ 50 w 103"/>
              <a:gd name="T99" fmla="*/ 125 h 139"/>
              <a:gd name="T100" fmla="*/ 59 w 103"/>
              <a:gd name="T101" fmla="*/ 125 h 139"/>
              <a:gd name="T102" fmla="*/ 65 w 103"/>
              <a:gd name="T103" fmla="*/ 129 h 139"/>
              <a:gd name="T104" fmla="*/ 75 w 103"/>
              <a:gd name="T105" fmla="*/ 135 h 139"/>
              <a:gd name="T106" fmla="*/ 90 w 103"/>
              <a:gd name="T107" fmla="*/ 135 h 139"/>
              <a:gd name="T108" fmla="*/ 103 w 103"/>
              <a:gd name="T109" fmla="*/ 133 h 139"/>
              <a:gd name="T110" fmla="*/ 103 w 103"/>
              <a:gd name="T111" fmla="*/ 133 h 139"/>
              <a:gd name="T112" fmla="*/ 94 w 103"/>
              <a:gd name="T113" fmla="*/ 117 h 139"/>
              <a:gd name="T114" fmla="*/ 93 w 103"/>
              <a:gd name="T115" fmla="*/ 11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 h="139">
                <a:moveTo>
                  <a:pt x="93" y="114"/>
                </a:moveTo>
                <a:cubicBezTo>
                  <a:pt x="93" y="111"/>
                  <a:pt x="93" y="105"/>
                  <a:pt x="93" y="103"/>
                </a:cubicBezTo>
                <a:cubicBezTo>
                  <a:pt x="91" y="103"/>
                  <a:pt x="87" y="101"/>
                  <a:pt x="84" y="100"/>
                </a:cubicBezTo>
                <a:cubicBezTo>
                  <a:pt x="80" y="99"/>
                  <a:pt x="80" y="95"/>
                  <a:pt x="84" y="96"/>
                </a:cubicBezTo>
                <a:cubicBezTo>
                  <a:pt x="86" y="97"/>
                  <a:pt x="83" y="94"/>
                  <a:pt x="83" y="94"/>
                </a:cubicBezTo>
                <a:cubicBezTo>
                  <a:pt x="83" y="91"/>
                  <a:pt x="79" y="90"/>
                  <a:pt x="76" y="90"/>
                </a:cubicBezTo>
                <a:cubicBezTo>
                  <a:pt x="76" y="88"/>
                  <a:pt x="73" y="86"/>
                  <a:pt x="73" y="83"/>
                </a:cubicBezTo>
                <a:cubicBezTo>
                  <a:pt x="73" y="78"/>
                  <a:pt x="72" y="78"/>
                  <a:pt x="70" y="74"/>
                </a:cubicBezTo>
                <a:cubicBezTo>
                  <a:pt x="67" y="67"/>
                  <a:pt x="64" y="65"/>
                  <a:pt x="64" y="57"/>
                </a:cubicBezTo>
                <a:cubicBezTo>
                  <a:pt x="62" y="57"/>
                  <a:pt x="55" y="57"/>
                  <a:pt x="55" y="55"/>
                </a:cubicBezTo>
                <a:cubicBezTo>
                  <a:pt x="55" y="49"/>
                  <a:pt x="50" y="54"/>
                  <a:pt x="48" y="48"/>
                </a:cubicBezTo>
                <a:cubicBezTo>
                  <a:pt x="46" y="46"/>
                  <a:pt x="47" y="44"/>
                  <a:pt x="45" y="43"/>
                </a:cubicBezTo>
                <a:cubicBezTo>
                  <a:pt x="44" y="42"/>
                  <a:pt x="41" y="43"/>
                  <a:pt x="41" y="41"/>
                </a:cubicBezTo>
                <a:cubicBezTo>
                  <a:pt x="39" y="39"/>
                  <a:pt x="33" y="38"/>
                  <a:pt x="34" y="35"/>
                </a:cubicBezTo>
                <a:cubicBezTo>
                  <a:pt x="35" y="33"/>
                  <a:pt x="36" y="32"/>
                  <a:pt x="38" y="33"/>
                </a:cubicBezTo>
                <a:cubicBezTo>
                  <a:pt x="41" y="34"/>
                  <a:pt x="46" y="34"/>
                  <a:pt x="42" y="30"/>
                </a:cubicBezTo>
                <a:cubicBezTo>
                  <a:pt x="37" y="27"/>
                  <a:pt x="43" y="24"/>
                  <a:pt x="47" y="25"/>
                </a:cubicBezTo>
                <a:cubicBezTo>
                  <a:pt x="49" y="26"/>
                  <a:pt x="52" y="23"/>
                  <a:pt x="53" y="24"/>
                </a:cubicBezTo>
                <a:cubicBezTo>
                  <a:pt x="57" y="26"/>
                  <a:pt x="58" y="23"/>
                  <a:pt x="55" y="22"/>
                </a:cubicBezTo>
                <a:cubicBezTo>
                  <a:pt x="53" y="21"/>
                  <a:pt x="49" y="20"/>
                  <a:pt x="50" y="17"/>
                </a:cubicBezTo>
                <a:cubicBezTo>
                  <a:pt x="52" y="12"/>
                  <a:pt x="51" y="12"/>
                  <a:pt x="49" y="9"/>
                </a:cubicBezTo>
                <a:cubicBezTo>
                  <a:pt x="48" y="7"/>
                  <a:pt x="49" y="4"/>
                  <a:pt x="48" y="4"/>
                </a:cubicBezTo>
                <a:cubicBezTo>
                  <a:pt x="46" y="4"/>
                  <a:pt x="44" y="3"/>
                  <a:pt x="43" y="3"/>
                </a:cubicBezTo>
                <a:cubicBezTo>
                  <a:pt x="42" y="3"/>
                  <a:pt x="41" y="5"/>
                  <a:pt x="39" y="5"/>
                </a:cubicBezTo>
                <a:cubicBezTo>
                  <a:pt x="38" y="4"/>
                  <a:pt x="36" y="3"/>
                  <a:pt x="35" y="3"/>
                </a:cubicBezTo>
                <a:cubicBezTo>
                  <a:pt x="32" y="0"/>
                  <a:pt x="23" y="7"/>
                  <a:pt x="19" y="8"/>
                </a:cubicBezTo>
                <a:cubicBezTo>
                  <a:pt x="16" y="9"/>
                  <a:pt x="13" y="6"/>
                  <a:pt x="10" y="6"/>
                </a:cubicBezTo>
                <a:cubicBezTo>
                  <a:pt x="10" y="8"/>
                  <a:pt x="13" y="11"/>
                  <a:pt x="13" y="12"/>
                </a:cubicBezTo>
                <a:cubicBezTo>
                  <a:pt x="13" y="13"/>
                  <a:pt x="8" y="14"/>
                  <a:pt x="9" y="16"/>
                </a:cubicBezTo>
                <a:cubicBezTo>
                  <a:pt x="10" y="17"/>
                  <a:pt x="12" y="18"/>
                  <a:pt x="9" y="19"/>
                </a:cubicBezTo>
                <a:cubicBezTo>
                  <a:pt x="6" y="20"/>
                  <a:pt x="4" y="19"/>
                  <a:pt x="2" y="18"/>
                </a:cubicBezTo>
                <a:cubicBezTo>
                  <a:pt x="2" y="22"/>
                  <a:pt x="4" y="32"/>
                  <a:pt x="2" y="34"/>
                </a:cubicBezTo>
                <a:cubicBezTo>
                  <a:pt x="0" y="36"/>
                  <a:pt x="9" y="38"/>
                  <a:pt x="9" y="43"/>
                </a:cubicBezTo>
                <a:cubicBezTo>
                  <a:pt x="9" y="43"/>
                  <a:pt x="8" y="46"/>
                  <a:pt x="9" y="47"/>
                </a:cubicBezTo>
                <a:cubicBezTo>
                  <a:pt x="9" y="47"/>
                  <a:pt x="9" y="47"/>
                  <a:pt x="9" y="47"/>
                </a:cubicBezTo>
                <a:cubicBezTo>
                  <a:pt x="10" y="47"/>
                  <a:pt x="10" y="47"/>
                  <a:pt x="10" y="47"/>
                </a:cubicBezTo>
                <a:cubicBezTo>
                  <a:pt x="12" y="47"/>
                  <a:pt x="13" y="50"/>
                  <a:pt x="13" y="53"/>
                </a:cubicBezTo>
                <a:cubicBezTo>
                  <a:pt x="14" y="56"/>
                  <a:pt x="16" y="58"/>
                  <a:pt x="16" y="58"/>
                </a:cubicBezTo>
                <a:cubicBezTo>
                  <a:pt x="19" y="63"/>
                  <a:pt x="19" y="63"/>
                  <a:pt x="19" y="63"/>
                </a:cubicBezTo>
                <a:cubicBezTo>
                  <a:pt x="19" y="64"/>
                  <a:pt x="24" y="65"/>
                  <a:pt x="25" y="66"/>
                </a:cubicBezTo>
                <a:cubicBezTo>
                  <a:pt x="31" y="72"/>
                  <a:pt x="31" y="72"/>
                  <a:pt x="31" y="72"/>
                </a:cubicBezTo>
                <a:cubicBezTo>
                  <a:pt x="34" y="72"/>
                  <a:pt x="38" y="77"/>
                  <a:pt x="40" y="79"/>
                </a:cubicBezTo>
                <a:cubicBezTo>
                  <a:pt x="48" y="84"/>
                  <a:pt x="48" y="84"/>
                  <a:pt x="48" y="84"/>
                </a:cubicBezTo>
                <a:cubicBezTo>
                  <a:pt x="49" y="84"/>
                  <a:pt x="50" y="85"/>
                  <a:pt x="50" y="85"/>
                </a:cubicBezTo>
                <a:cubicBezTo>
                  <a:pt x="50" y="85"/>
                  <a:pt x="51" y="85"/>
                  <a:pt x="51" y="86"/>
                </a:cubicBezTo>
                <a:cubicBezTo>
                  <a:pt x="50" y="87"/>
                  <a:pt x="45" y="86"/>
                  <a:pt x="43" y="87"/>
                </a:cubicBezTo>
                <a:cubicBezTo>
                  <a:pt x="43" y="90"/>
                  <a:pt x="42" y="94"/>
                  <a:pt x="43" y="98"/>
                </a:cubicBezTo>
                <a:cubicBezTo>
                  <a:pt x="45" y="102"/>
                  <a:pt x="40" y="104"/>
                  <a:pt x="41" y="106"/>
                </a:cubicBezTo>
                <a:cubicBezTo>
                  <a:pt x="44" y="111"/>
                  <a:pt x="43" y="114"/>
                  <a:pt x="45" y="119"/>
                </a:cubicBezTo>
                <a:cubicBezTo>
                  <a:pt x="46" y="121"/>
                  <a:pt x="49" y="123"/>
                  <a:pt x="50" y="125"/>
                </a:cubicBezTo>
                <a:cubicBezTo>
                  <a:pt x="52" y="127"/>
                  <a:pt x="55" y="125"/>
                  <a:pt x="59" y="125"/>
                </a:cubicBezTo>
                <a:cubicBezTo>
                  <a:pt x="62" y="126"/>
                  <a:pt x="63" y="127"/>
                  <a:pt x="65" y="129"/>
                </a:cubicBezTo>
                <a:cubicBezTo>
                  <a:pt x="67" y="132"/>
                  <a:pt x="72" y="133"/>
                  <a:pt x="75" y="135"/>
                </a:cubicBezTo>
                <a:cubicBezTo>
                  <a:pt x="80" y="139"/>
                  <a:pt x="85" y="138"/>
                  <a:pt x="90" y="135"/>
                </a:cubicBezTo>
                <a:cubicBezTo>
                  <a:pt x="94" y="132"/>
                  <a:pt x="98" y="134"/>
                  <a:pt x="103" y="133"/>
                </a:cubicBezTo>
                <a:cubicBezTo>
                  <a:pt x="103" y="133"/>
                  <a:pt x="103" y="133"/>
                  <a:pt x="103" y="133"/>
                </a:cubicBezTo>
                <a:cubicBezTo>
                  <a:pt x="96" y="131"/>
                  <a:pt x="95" y="122"/>
                  <a:pt x="94" y="117"/>
                </a:cubicBezTo>
                <a:lnTo>
                  <a:pt x="93" y="114"/>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80" name="Freeform 17">
            <a:extLst>
              <a:ext uri="{FF2B5EF4-FFF2-40B4-BE49-F238E27FC236}">
                <a16:creationId xmlns:a16="http://schemas.microsoft.com/office/drawing/2014/main" id="{77CE195C-7373-4F4F-B0E7-574F0D303EB5}"/>
              </a:ext>
            </a:extLst>
          </p:cNvPr>
          <p:cNvSpPr>
            <a:spLocks/>
          </p:cNvSpPr>
          <p:nvPr/>
        </p:nvSpPr>
        <p:spPr bwMode="auto">
          <a:xfrm>
            <a:off x="8041949" y="2909938"/>
            <a:ext cx="168531" cy="226188"/>
          </a:xfrm>
          <a:custGeom>
            <a:avLst/>
            <a:gdLst>
              <a:gd name="T0" fmla="*/ 93 w 103"/>
              <a:gd name="T1" fmla="*/ 114 h 139"/>
              <a:gd name="T2" fmla="*/ 93 w 103"/>
              <a:gd name="T3" fmla="*/ 103 h 139"/>
              <a:gd name="T4" fmla="*/ 84 w 103"/>
              <a:gd name="T5" fmla="*/ 100 h 139"/>
              <a:gd name="T6" fmla="*/ 84 w 103"/>
              <a:gd name="T7" fmla="*/ 96 h 139"/>
              <a:gd name="T8" fmla="*/ 83 w 103"/>
              <a:gd name="T9" fmla="*/ 94 h 139"/>
              <a:gd name="T10" fmla="*/ 76 w 103"/>
              <a:gd name="T11" fmla="*/ 90 h 139"/>
              <a:gd name="T12" fmla="*/ 73 w 103"/>
              <a:gd name="T13" fmla="*/ 83 h 139"/>
              <a:gd name="T14" fmla="*/ 70 w 103"/>
              <a:gd name="T15" fmla="*/ 74 h 139"/>
              <a:gd name="T16" fmla="*/ 64 w 103"/>
              <a:gd name="T17" fmla="*/ 57 h 139"/>
              <a:gd name="T18" fmla="*/ 55 w 103"/>
              <a:gd name="T19" fmla="*/ 55 h 139"/>
              <a:gd name="T20" fmla="*/ 48 w 103"/>
              <a:gd name="T21" fmla="*/ 48 h 139"/>
              <a:gd name="T22" fmla="*/ 45 w 103"/>
              <a:gd name="T23" fmla="*/ 43 h 139"/>
              <a:gd name="T24" fmla="*/ 41 w 103"/>
              <a:gd name="T25" fmla="*/ 41 h 139"/>
              <a:gd name="T26" fmla="*/ 34 w 103"/>
              <a:gd name="T27" fmla="*/ 35 h 139"/>
              <a:gd name="T28" fmla="*/ 38 w 103"/>
              <a:gd name="T29" fmla="*/ 33 h 139"/>
              <a:gd name="T30" fmla="*/ 42 w 103"/>
              <a:gd name="T31" fmla="*/ 30 h 139"/>
              <a:gd name="T32" fmla="*/ 47 w 103"/>
              <a:gd name="T33" fmla="*/ 25 h 139"/>
              <a:gd name="T34" fmla="*/ 53 w 103"/>
              <a:gd name="T35" fmla="*/ 24 h 139"/>
              <a:gd name="T36" fmla="*/ 55 w 103"/>
              <a:gd name="T37" fmla="*/ 22 h 139"/>
              <a:gd name="T38" fmla="*/ 50 w 103"/>
              <a:gd name="T39" fmla="*/ 17 h 139"/>
              <a:gd name="T40" fmla="*/ 49 w 103"/>
              <a:gd name="T41" fmla="*/ 9 h 139"/>
              <a:gd name="T42" fmla="*/ 48 w 103"/>
              <a:gd name="T43" fmla="*/ 4 h 139"/>
              <a:gd name="T44" fmla="*/ 43 w 103"/>
              <a:gd name="T45" fmla="*/ 3 h 139"/>
              <a:gd name="T46" fmla="*/ 39 w 103"/>
              <a:gd name="T47" fmla="*/ 5 h 139"/>
              <a:gd name="T48" fmla="*/ 35 w 103"/>
              <a:gd name="T49" fmla="*/ 3 h 139"/>
              <a:gd name="T50" fmla="*/ 19 w 103"/>
              <a:gd name="T51" fmla="*/ 8 h 139"/>
              <a:gd name="T52" fmla="*/ 10 w 103"/>
              <a:gd name="T53" fmla="*/ 6 h 139"/>
              <a:gd name="T54" fmla="*/ 13 w 103"/>
              <a:gd name="T55" fmla="*/ 12 h 139"/>
              <a:gd name="T56" fmla="*/ 9 w 103"/>
              <a:gd name="T57" fmla="*/ 16 h 139"/>
              <a:gd name="T58" fmla="*/ 9 w 103"/>
              <a:gd name="T59" fmla="*/ 19 h 139"/>
              <a:gd name="T60" fmla="*/ 2 w 103"/>
              <a:gd name="T61" fmla="*/ 18 h 139"/>
              <a:gd name="T62" fmla="*/ 2 w 103"/>
              <a:gd name="T63" fmla="*/ 34 h 139"/>
              <a:gd name="T64" fmla="*/ 9 w 103"/>
              <a:gd name="T65" fmla="*/ 43 h 139"/>
              <a:gd name="T66" fmla="*/ 9 w 103"/>
              <a:gd name="T67" fmla="*/ 47 h 139"/>
              <a:gd name="T68" fmla="*/ 9 w 103"/>
              <a:gd name="T69" fmla="*/ 47 h 139"/>
              <a:gd name="T70" fmla="*/ 10 w 103"/>
              <a:gd name="T71" fmla="*/ 47 h 139"/>
              <a:gd name="T72" fmla="*/ 13 w 103"/>
              <a:gd name="T73" fmla="*/ 53 h 139"/>
              <a:gd name="T74" fmla="*/ 16 w 103"/>
              <a:gd name="T75" fmla="*/ 58 h 139"/>
              <a:gd name="T76" fmla="*/ 19 w 103"/>
              <a:gd name="T77" fmla="*/ 63 h 139"/>
              <a:gd name="T78" fmla="*/ 25 w 103"/>
              <a:gd name="T79" fmla="*/ 66 h 139"/>
              <a:gd name="T80" fmla="*/ 31 w 103"/>
              <a:gd name="T81" fmla="*/ 72 h 139"/>
              <a:gd name="T82" fmla="*/ 40 w 103"/>
              <a:gd name="T83" fmla="*/ 79 h 139"/>
              <a:gd name="T84" fmla="*/ 48 w 103"/>
              <a:gd name="T85" fmla="*/ 84 h 139"/>
              <a:gd name="T86" fmla="*/ 50 w 103"/>
              <a:gd name="T87" fmla="*/ 85 h 139"/>
              <a:gd name="T88" fmla="*/ 51 w 103"/>
              <a:gd name="T89" fmla="*/ 86 h 139"/>
              <a:gd name="T90" fmla="*/ 43 w 103"/>
              <a:gd name="T91" fmla="*/ 87 h 139"/>
              <a:gd name="T92" fmla="*/ 43 w 103"/>
              <a:gd name="T93" fmla="*/ 98 h 139"/>
              <a:gd name="T94" fmla="*/ 41 w 103"/>
              <a:gd name="T95" fmla="*/ 106 h 139"/>
              <a:gd name="T96" fmla="*/ 45 w 103"/>
              <a:gd name="T97" fmla="*/ 119 h 139"/>
              <a:gd name="T98" fmla="*/ 50 w 103"/>
              <a:gd name="T99" fmla="*/ 125 h 139"/>
              <a:gd name="T100" fmla="*/ 59 w 103"/>
              <a:gd name="T101" fmla="*/ 125 h 139"/>
              <a:gd name="T102" fmla="*/ 65 w 103"/>
              <a:gd name="T103" fmla="*/ 129 h 139"/>
              <a:gd name="T104" fmla="*/ 75 w 103"/>
              <a:gd name="T105" fmla="*/ 135 h 139"/>
              <a:gd name="T106" fmla="*/ 90 w 103"/>
              <a:gd name="T107" fmla="*/ 135 h 139"/>
              <a:gd name="T108" fmla="*/ 103 w 103"/>
              <a:gd name="T109" fmla="*/ 133 h 139"/>
              <a:gd name="T110" fmla="*/ 103 w 103"/>
              <a:gd name="T111" fmla="*/ 133 h 139"/>
              <a:gd name="T112" fmla="*/ 94 w 103"/>
              <a:gd name="T113" fmla="*/ 117 h 139"/>
              <a:gd name="T114" fmla="*/ 93 w 103"/>
              <a:gd name="T115" fmla="*/ 11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 h="139">
                <a:moveTo>
                  <a:pt x="93" y="114"/>
                </a:moveTo>
                <a:cubicBezTo>
                  <a:pt x="93" y="111"/>
                  <a:pt x="93" y="105"/>
                  <a:pt x="93" y="103"/>
                </a:cubicBezTo>
                <a:cubicBezTo>
                  <a:pt x="91" y="103"/>
                  <a:pt x="87" y="101"/>
                  <a:pt x="84" y="100"/>
                </a:cubicBezTo>
                <a:cubicBezTo>
                  <a:pt x="80" y="99"/>
                  <a:pt x="80" y="95"/>
                  <a:pt x="84" y="96"/>
                </a:cubicBezTo>
                <a:cubicBezTo>
                  <a:pt x="86" y="97"/>
                  <a:pt x="83" y="94"/>
                  <a:pt x="83" y="94"/>
                </a:cubicBezTo>
                <a:cubicBezTo>
                  <a:pt x="83" y="91"/>
                  <a:pt x="79" y="90"/>
                  <a:pt x="76" y="90"/>
                </a:cubicBezTo>
                <a:cubicBezTo>
                  <a:pt x="76" y="88"/>
                  <a:pt x="73" y="86"/>
                  <a:pt x="73" y="83"/>
                </a:cubicBezTo>
                <a:cubicBezTo>
                  <a:pt x="73" y="78"/>
                  <a:pt x="72" y="78"/>
                  <a:pt x="70" y="74"/>
                </a:cubicBezTo>
                <a:cubicBezTo>
                  <a:pt x="67" y="67"/>
                  <a:pt x="64" y="65"/>
                  <a:pt x="64" y="57"/>
                </a:cubicBezTo>
                <a:cubicBezTo>
                  <a:pt x="62" y="57"/>
                  <a:pt x="55" y="57"/>
                  <a:pt x="55" y="55"/>
                </a:cubicBezTo>
                <a:cubicBezTo>
                  <a:pt x="55" y="49"/>
                  <a:pt x="50" y="54"/>
                  <a:pt x="48" y="48"/>
                </a:cubicBezTo>
                <a:cubicBezTo>
                  <a:pt x="46" y="46"/>
                  <a:pt x="47" y="44"/>
                  <a:pt x="45" y="43"/>
                </a:cubicBezTo>
                <a:cubicBezTo>
                  <a:pt x="44" y="42"/>
                  <a:pt x="41" y="43"/>
                  <a:pt x="41" y="41"/>
                </a:cubicBezTo>
                <a:cubicBezTo>
                  <a:pt x="39" y="39"/>
                  <a:pt x="33" y="38"/>
                  <a:pt x="34" y="35"/>
                </a:cubicBezTo>
                <a:cubicBezTo>
                  <a:pt x="35" y="33"/>
                  <a:pt x="36" y="32"/>
                  <a:pt x="38" y="33"/>
                </a:cubicBezTo>
                <a:cubicBezTo>
                  <a:pt x="41" y="34"/>
                  <a:pt x="46" y="34"/>
                  <a:pt x="42" y="30"/>
                </a:cubicBezTo>
                <a:cubicBezTo>
                  <a:pt x="37" y="27"/>
                  <a:pt x="43" y="24"/>
                  <a:pt x="47" y="25"/>
                </a:cubicBezTo>
                <a:cubicBezTo>
                  <a:pt x="49" y="26"/>
                  <a:pt x="52" y="23"/>
                  <a:pt x="53" y="24"/>
                </a:cubicBezTo>
                <a:cubicBezTo>
                  <a:pt x="57" y="26"/>
                  <a:pt x="58" y="23"/>
                  <a:pt x="55" y="22"/>
                </a:cubicBezTo>
                <a:cubicBezTo>
                  <a:pt x="53" y="21"/>
                  <a:pt x="49" y="20"/>
                  <a:pt x="50" y="17"/>
                </a:cubicBezTo>
                <a:cubicBezTo>
                  <a:pt x="52" y="12"/>
                  <a:pt x="51" y="12"/>
                  <a:pt x="49" y="9"/>
                </a:cubicBezTo>
                <a:cubicBezTo>
                  <a:pt x="48" y="7"/>
                  <a:pt x="49" y="4"/>
                  <a:pt x="48" y="4"/>
                </a:cubicBezTo>
                <a:cubicBezTo>
                  <a:pt x="46" y="4"/>
                  <a:pt x="44" y="3"/>
                  <a:pt x="43" y="3"/>
                </a:cubicBezTo>
                <a:cubicBezTo>
                  <a:pt x="42" y="3"/>
                  <a:pt x="41" y="5"/>
                  <a:pt x="39" y="5"/>
                </a:cubicBezTo>
                <a:cubicBezTo>
                  <a:pt x="38" y="4"/>
                  <a:pt x="36" y="3"/>
                  <a:pt x="35" y="3"/>
                </a:cubicBezTo>
                <a:cubicBezTo>
                  <a:pt x="32" y="0"/>
                  <a:pt x="23" y="7"/>
                  <a:pt x="19" y="8"/>
                </a:cubicBezTo>
                <a:cubicBezTo>
                  <a:pt x="16" y="9"/>
                  <a:pt x="13" y="6"/>
                  <a:pt x="10" y="6"/>
                </a:cubicBezTo>
                <a:cubicBezTo>
                  <a:pt x="10" y="8"/>
                  <a:pt x="13" y="11"/>
                  <a:pt x="13" y="12"/>
                </a:cubicBezTo>
                <a:cubicBezTo>
                  <a:pt x="13" y="13"/>
                  <a:pt x="8" y="14"/>
                  <a:pt x="9" y="16"/>
                </a:cubicBezTo>
                <a:cubicBezTo>
                  <a:pt x="10" y="17"/>
                  <a:pt x="12" y="18"/>
                  <a:pt x="9" y="19"/>
                </a:cubicBezTo>
                <a:cubicBezTo>
                  <a:pt x="6" y="20"/>
                  <a:pt x="4" y="19"/>
                  <a:pt x="2" y="18"/>
                </a:cubicBezTo>
                <a:cubicBezTo>
                  <a:pt x="2" y="22"/>
                  <a:pt x="4" y="32"/>
                  <a:pt x="2" y="34"/>
                </a:cubicBezTo>
                <a:cubicBezTo>
                  <a:pt x="0" y="36"/>
                  <a:pt x="9" y="38"/>
                  <a:pt x="9" y="43"/>
                </a:cubicBezTo>
                <a:cubicBezTo>
                  <a:pt x="9" y="43"/>
                  <a:pt x="8" y="46"/>
                  <a:pt x="9" y="47"/>
                </a:cubicBezTo>
                <a:cubicBezTo>
                  <a:pt x="9" y="47"/>
                  <a:pt x="9" y="47"/>
                  <a:pt x="9" y="47"/>
                </a:cubicBezTo>
                <a:cubicBezTo>
                  <a:pt x="10" y="47"/>
                  <a:pt x="10" y="47"/>
                  <a:pt x="10" y="47"/>
                </a:cubicBezTo>
                <a:cubicBezTo>
                  <a:pt x="12" y="47"/>
                  <a:pt x="13" y="50"/>
                  <a:pt x="13" y="53"/>
                </a:cubicBezTo>
                <a:cubicBezTo>
                  <a:pt x="14" y="56"/>
                  <a:pt x="16" y="58"/>
                  <a:pt x="16" y="58"/>
                </a:cubicBezTo>
                <a:cubicBezTo>
                  <a:pt x="19" y="63"/>
                  <a:pt x="19" y="63"/>
                  <a:pt x="19" y="63"/>
                </a:cubicBezTo>
                <a:cubicBezTo>
                  <a:pt x="19" y="64"/>
                  <a:pt x="24" y="65"/>
                  <a:pt x="25" y="66"/>
                </a:cubicBezTo>
                <a:cubicBezTo>
                  <a:pt x="31" y="72"/>
                  <a:pt x="31" y="72"/>
                  <a:pt x="31" y="72"/>
                </a:cubicBezTo>
                <a:cubicBezTo>
                  <a:pt x="34" y="72"/>
                  <a:pt x="38" y="77"/>
                  <a:pt x="40" y="79"/>
                </a:cubicBezTo>
                <a:cubicBezTo>
                  <a:pt x="48" y="84"/>
                  <a:pt x="48" y="84"/>
                  <a:pt x="48" y="84"/>
                </a:cubicBezTo>
                <a:cubicBezTo>
                  <a:pt x="49" y="84"/>
                  <a:pt x="50" y="85"/>
                  <a:pt x="50" y="85"/>
                </a:cubicBezTo>
                <a:cubicBezTo>
                  <a:pt x="50" y="85"/>
                  <a:pt x="51" y="85"/>
                  <a:pt x="51" y="86"/>
                </a:cubicBezTo>
                <a:cubicBezTo>
                  <a:pt x="50" y="87"/>
                  <a:pt x="45" y="86"/>
                  <a:pt x="43" y="87"/>
                </a:cubicBezTo>
                <a:cubicBezTo>
                  <a:pt x="43" y="90"/>
                  <a:pt x="42" y="94"/>
                  <a:pt x="43" y="98"/>
                </a:cubicBezTo>
                <a:cubicBezTo>
                  <a:pt x="45" y="102"/>
                  <a:pt x="40" y="104"/>
                  <a:pt x="41" y="106"/>
                </a:cubicBezTo>
                <a:cubicBezTo>
                  <a:pt x="44" y="111"/>
                  <a:pt x="43" y="114"/>
                  <a:pt x="45" y="119"/>
                </a:cubicBezTo>
                <a:cubicBezTo>
                  <a:pt x="46" y="121"/>
                  <a:pt x="49" y="123"/>
                  <a:pt x="50" y="125"/>
                </a:cubicBezTo>
                <a:cubicBezTo>
                  <a:pt x="52" y="127"/>
                  <a:pt x="55" y="125"/>
                  <a:pt x="59" y="125"/>
                </a:cubicBezTo>
                <a:cubicBezTo>
                  <a:pt x="62" y="126"/>
                  <a:pt x="63" y="127"/>
                  <a:pt x="65" y="129"/>
                </a:cubicBezTo>
                <a:cubicBezTo>
                  <a:pt x="67" y="132"/>
                  <a:pt x="72" y="133"/>
                  <a:pt x="75" y="135"/>
                </a:cubicBezTo>
                <a:cubicBezTo>
                  <a:pt x="80" y="139"/>
                  <a:pt x="85" y="138"/>
                  <a:pt x="90" y="135"/>
                </a:cubicBezTo>
                <a:cubicBezTo>
                  <a:pt x="94" y="132"/>
                  <a:pt x="98" y="134"/>
                  <a:pt x="103" y="133"/>
                </a:cubicBezTo>
                <a:cubicBezTo>
                  <a:pt x="103" y="133"/>
                  <a:pt x="103" y="133"/>
                  <a:pt x="103" y="133"/>
                </a:cubicBezTo>
                <a:cubicBezTo>
                  <a:pt x="96" y="131"/>
                  <a:pt x="95" y="122"/>
                  <a:pt x="94" y="117"/>
                </a:cubicBezTo>
                <a:lnTo>
                  <a:pt x="93" y="114"/>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81" name="Freeform 18">
            <a:extLst>
              <a:ext uri="{FF2B5EF4-FFF2-40B4-BE49-F238E27FC236}">
                <a16:creationId xmlns:a16="http://schemas.microsoft.com/office/drawing/2014/main" id="{08DFE649-20C4-4BEC-9B41-063C360B334D}"/>
              </a:ext>
            </a:extLst>
          </p:cNvPr>
          <p:cNvSpPr>
            <a:spLocks/>
          </p:cNvSpPr>
          <p:nvPr/>
        </p:nvSpPr>
        <p:spPr bwMode="auto">
          <a:xfrm>
            <a:off x="8090735" y="4280375"/>
            <a:ext cx="155226" cy="314889"/>
          </a:xfrm>
          <a:custGeom>
            <a:avLst/>
            <a:gdLst>
              <a:gd name="T0" fmla="*/ 81 w 94"/>
              <a:gd name="T1" fmla="*/ 59 h 191"/>
              <a:gd name="T2" fmla="*/ 83 w 94"/>
              <a:gd name="T3" fmla="*/ 48 h 191"/>
              <a:gd name="T4" fmla="*/ 89 w 94"/>
              <a:gd name="T5" fmla="*/ 51 h 191"/>
              <a:gd name="T6" fmla="*/ 89 w 94"/>
              <a:gd name="T7" fmla="*/ 51 h 191"/>
              <a:gd name="T8" fmla="*/ 92 w 94"/>
              <a:gd name="T9" fmla="*/ 31 h 191"/>
              <a:gd name="T10" fmla="*/ 90 w 94"/>
              <a:gd name="T11" fmla="*/ 24 h 191"/>
              <a:gd name="T12" fmla="*/ 90 w 94"/>
              <a:gd name="T13" fmla="*/ 17 h 191"/>
              <a:gd name="T14" fmla="*/ 85 w 94"/>
              <a:gd name="T15" fmla="*/ 6 h 191"/>
              <a:gd name="T16" fmla="*/ 81 w 94"/>
              <a:gd name="T17" fmla="*/ 1 h 191"/>
              <a:gd name="T18" fmla="*/ 81 w 94"/>
              <a:gd name="T19" fmla="*/ 0 h 191"/>
              <a:gd name="T20" fmla="*/ 69 w 94"/>
              <a:gd name="T21" fmla="*/ 17 h 191"/>
              <a:gd name="T22" fmla="*/ 66 w 94"/>
              <a:gd name="T23" fmla="*/ 22 h 191"/>
              <a:gd name="T24" fmla="*/ 62 w 94"/>
              <a:gd name="T25" fmla="*/ 28 h 191"/>
              <a:gd name="T26" fmla="*/ 57 w 94"/>
              <a:gd name="T27" fmla="*/ 37 h 191"/>
              <a:gd name="T28" fmla="*/ 52 w 94"/>
              <a:gd name="T29" fmla="*/ 45 h 191"/>
              <a:gd name="T30" fmla="*/ 50 w 94"/>
              <a:gd name="T31" fmla="*/ 42 h 191"/>
              <a:gd name="T32" fmla="*/ 43 w 94"/>
              <a:gd name="T33" fmla="*/ 52 h 191"/>
              <a:gd name="T34" fmla="*/ 38 w 94"/>
              <a:gd name="T35" fmla="*/ 49 h 191"/>
              <a:gd name="T36" fmla="*/ 33 w 94"/>
              <a:gd name="T37" fmla="*/ 51 h 191"/>
              <a:gd name="T38" fmla="*/ 25 w 94"/>
              <a:gd name="T39" fmla="*/ 55 h 191"/>
              <a:gd name="T40" fmla="*/ 21 w 94"/>
              <a:gd name="T41" fmla="*/ 62 h 191"/>
              <a:gd name="T42" fmla="*/ 19 w 94"/>
              <a:gd name="T43" fmla="*/ 66 h 191"/>
              <a:gd name="T44" fmla="*/ 17 w 94"/>
              <a:gd name="T45" fmla="*/ 82 h 191"/>
              <a:gd name="T46" fmla="*/ 20 w 94"/>
              <a:gd name="T47" fmla="*/ 97 h 191"/>
              <a:gd name="T48" fmla="*/ 20 w 94"/>
              <a:gd name="T49" fmla="*/ 97 h 191"/>
              <a:gd name="T50" fmla="*/ 17 w 94"/>
              <a:gd name="T51" fmla="*/ 113 h 191"/>
              <a:gd name="T52" fmla="*/ 14 w 94"/>
              <a:gd name="T53" fmla="*/ 119 h 191"/>
              <a:gd name="T54" fmla="*/ 9 w 94"/>
              <a:gd name="T55" fmla="*/ 127 h 191"/>
              <a:gd name="T56" fmla="*/ 9 w 94"/>
              <a:gd name="T57" fmla="*/ 128 h 191"/>
              <a:gd name="T58" fmla="*/ 7 w 94"/>
              <a:gd name="T59" fmla="*/ 130 h 191"/>
              <a:gd name="T60" fmla="*/ 7 w 94"/>
              <a:gd name="T61" fmla="*/ 130 h 191"/>
              <a:gd name="T62" fmla="*/ 7 w 94"/>
              <a:gd name="T63" fmla="*/ 130 h 191"/>
              <a:gd name="T64" fmla="*/ 3 w 94"/>
              <a:gd name="T65" fmla="*/ 133 h 191"/>
              <a:gd name="T66" fmla="*/ 3 w 94"/>
              <a:gd name="T67" fmla="*/ 134 h 191"/>
              <a:gd name="T68" fmla="*/ 2 w 94"/>
              <a:gd name="T69" fmla="*/ 135 h 191"/>
              <a:gd name="T70" fmla="*/ 3 w 94"/>
              <a:gd name="T71" fmla="*/ 147 h 191"/>
              <a:gd name="T72" fmla="*/ 4 w 94"/>
              <a:gd name="T73" fmla="*/ 155 h 191"/>
              <a:gd name="T74" fmla="*/ 3 w 94"/>
              <a:gd name="T75" fmla="*/ 172 h 191"/>
              <a:gd name="T76" fmla="*/ 6 w 94"/>
              <a:gd name="T77" fmla="*/ 182 h 191"/>
              <a:gd name="T78" fmla="*/ 14 w 94"/>
              <a:gd name="T79" fmla="*/ 189 h 191"/>
              <a:gd name="T80" fmla="*/ 25 w 94"/>
              <a:gd name="T81" fmla="*/ 184 h 191"/>
              <a:gd name="T82" fmla="*/ 35 w 94"/>
              <a:gd name="T83" fmla="*/ 180 h 191"/>
              <a:gd name="T84" fmla="*/ 44 w 94"/>
              <a:gd name="T85" fmla="*/ 162 h 191"/>
              <a:gd name="T86" fmla="*/ 57 w 94"/>
              <a:gd name="T87" fmla="*/ 129 h 191"/>
              <a:gd name="T88" fmla="*/ 62 w 94"/>
              <a:gd name="T89" fmla="*/ 118 h 191"/>
              <a:gd name="T90" fmla="*/ 65 w 94"/>
              <a:gd name="T91" fmla="*/ 105 h 191"/>
              <a:gd name="T92" fmla="*/ 75 w 94"/>
              <a:gd name="T93" fmla="*/ 84 h 191"/>
              <a:gd name="T94" fmla="*/ 80 w 94"/>
              <a:gd name="T95" fmla="*/ 61 h 191"/>
              <a:gd name="T96" fmla="*/ 81 w 94"/>
              <a:gd name="T97"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4" h="191">
                <a:moveTo>
                  <a:pt x="81" y="59"/>
                </a:moveTo>
                <a:cubicBezTo>
                  <a:pt x="82" y="57"/>
                  <a:pt x="83" y="50"/>
                  <a:pt x="83" y="48"/>
                </a:cubicBezTo>
                <a:cubicBezTo>
                  <a:pt x="83" y="44"/>
                  <a:pt x="88" y="49"/>
                  <a:pt x="89" y="51"/>
                </a:cubicBezTo>
                <a:cubicBezTo>
                  <a:pt x="89" y="51"/>
                  <a:pt x="89" y="51"/>
                  <a:pt x="89" y="51"/>
                </a:cubicBezTo>
                <a:cubicBezTo>
                  <a:pt x="89" y="45"/>
                  <a:pt x="94" y="38"/>
                  <a:pt x="92" y="31"/>
                </a:cubicBezTo>
                <a:cubicBezTo>
                  <a:pt x="91" y="30"/>
                  <a:pt x="88" y="25"/>
                  <a:pt x="90" y="24"/>
                </a:cubicBezTo>
                <a:cubicBezTo>
                  <a:pt x="92" y="23"/>
                  <a:pt x="91" y="18"/>
                  <a:pt x="90" y="17"/>
                </a:cubicBezTo>
                <a:cubicBezTo>
                  <a:pt x="88" y="14"/>
                  <a:pt x="87" y="7"/>
                  <a:pt x="85" y="6"/>
                </a:cubicBezTo>
                <a:cubicBezTo>
                  <a:pt x="84" y="5"/>
                  <a:pt x="81" y="2"/>
                  <a:pt x="81" y="1"/>
                </a:cubicBezTo>
                <a:cubicBezTo>
                  <a:pt x="81" y="0"/>
                  <a:pt x="81" y="0"/>
                  <a:pt x="81" y="0"/>
                </a:cubicBezTo>
                <a:cubicBezTo>
                  <a:pt x="75" y="0"/>
                  <a:pt x="78" y="16"/>
                  <a:pt x="69" y="17"/>
                </a:cubicBezTo>
                <a:cubicBezTo>
                  <a:pt x="66" y="17"/>
                  <a:pt x="64" y="19"/>
                  <a:pt x="66" y="22"/>
                </a:cubicBezTo>
                <a:cubicBezTo>
                  <a:pt x="66" y="26"/>
                  <a:pt x="62" y="25"/>
                  <a:pt x="62" y="28"/>
                </a:cubicBezTo>
                <a:cubicBezTo>
                  <a:pt x="62" y="34"/>
                  <a:pt x="60" y="34"/>
                  <a:pt x="57" y="37"/>
                </a:cubicBezTo>
                <a:cubicBezTo>
                  <a:pt x="55" y="39"/>
                  <a:pt x="55" y="43"/>
                  <a:pt x="52" y="45"/>
                </a:cubicBezTo>
                <a:cubicBezTo>
                  <a:pt x="52" y="42"/>
                  <a:pt x="53" y="41"/>
                  <a:pt x="50" y="42"/>
                </a:cubicBezTo>
                <a:cubicBezTo>
                  <a:pt x="44" y="44"/>
                  <a:pt x="47" y="48"/>
                  <a:pt x="43" y="52"/>
                </a:cubicBezTo>
                <a:cubicBezTo>
                  <a:pt x="43" y="53"/>
                  <a:pt x="43" y="46"/>
                  <a:pt x="38" y="49"/>
                </a:cubicBezTo>
                <a:cubicBezTo>
                  <a:pt x="36" y="50"/>
                  <a:pt x="37" y="53"/>
                  <a:pt x="33" y="51"/>
                </a:cubicBezTo>
                <a:cubicBezTo>
                  <a:pt x="32" y="50"/>
                  <a:pt x="29" y="57"/>
                  <a:pt x="25" y="55"/>
                </a:cubicBezTo>
                <a:cubicBezTo>
                  <a:pt x="20" y="52"/>
                  <a:pt x="22" y="59"/>
                  <a:pt x="21" y="62"/>
                </a:cubicBezTo>
                <a:cubicBezTo>
                  <a:pt x="20" y="63"/>
                  <a:pt x="19" y="65"/>
                  <a:pt x="19" y="66"/>
                </a:cubicBezTo>
                <a:cubicBezTo>
                  <a:pt x="17" y="66"/>
                  <a:pt x="18" y="80"/>
                  <a:pt x="17" y="82"/>
                </a:cubicBezTo>
                <a:cubicBezTo>
                  <a:pt x="17" y="85"/>
                  <a:pt x="16" y="96"/>
                  <a:pt x="20" y="97"/>
                </a:cubicBezTo>
                <a:cubicBezTo>
                  <a:pt x="20" y="97"/>
                  <a:pt x="20" y="97"/>
                  <a:pt x="20" y="97"/>
                </a:cubicBezTo>
                <a:cubicBezTo>
                  <a:pt x="20" y="102"/>
                  <a:pt x="19" y="109"/>
                  <a:pt x="17" y="113"/>
                </a:cubicBezTo>
                <a:cubicBezTo>
                  <a:pt x="15" y="116"/>
                  <a:pt x="14" y="115"/>
                  <a:pt x="14" y="119"/>
                </a:cubicBezTo>
                <a:cubicBezTo>
                  <a:pt x="14" y="122"/>
                  <a:pt x="11" y="126"/>
                  <a:pt x="9" y="127"/>
                </a:cubicBezTo>
                <a:cubicBezTo>
                  <a:pt x="9" y="128"/>
                  <a:pt x="9" y="128"/>
                  <a:pt x="9" y="128"/>
                </a:cubicBezTo>
                <a:cubicBezTo>
                  <a:pt x="8" y="128"/>
                  <a:pt x="8" y="130"/>
                  <a:pt x="7" y="130"/>
                </a:cubicBezTo>
                <a:cubicBezTo>
                  <a:pt x="7" y="130"/>
                  <a:pt x="7" y="130"/>
                  <a:pt x="7" y="130"/>
                </a:cubicBezTo>
                <a:cubicBezTo>
                  <a:pt x="7" y="130"/>
                  <a:pt x="7" y="130"/>
                  <a:pt x="7" y="130"/>
                </a:cubicBezTo>
                <a:cubicBezTo>
                  <a:pt x="6" y="131"/>
                  <a:pt x="5" y="133"/>
                  <a:pt x="3" y="133"/>
                </a:cubicBezTo>
                <a:cubicBezTo>
                  <a:pt x="3" y="134"/>
                  <a:pt x="3" y="134"/>
                  <a:pt x="3" y="134"/>
                </a:cubicBezTo>
                <a:cubicBezTo>
                  <a:pt x="2" y="135"/>
                  <a:pt x="2" y="135"/>
                  <a:pt x="2" y="135"/>
                </a:cubicBezTo>
                <a:cubicBezTo>
                  <a:pt x="0" y="135"/>
                  <a:pt x="3" y="145"/>
                  <a:pt x="3" y="147"/>
                </a:cubicBezTo>
                <a:cubicBezTo>
                  <a:pt x="3" y="150"/>
                  <a:pt x="5" y="152"/>
                  <a:pt x="4" y="155"/>
                </a:cubicBezTo>
                <a:cubicBezTo>
                  <a:pt x="3" y="172"/>
                  <a:pt x="3" y="172"/>
                  <a:pt x="3" y="172"/>
                </a:cubicBezTo>
                <a:cubicBezTo>
                  <a:pt x="2" y="178"/>
                  <a:pt x="0" y="177"/>
                  <a:pt x="6" y="182"/>
                </a:cubicBezTo>
                <a:cubicBezTo>
                  <a:pt x="8" y="185"/>
                  <a:pt x="11" y="188"/>
                  <a:pt x="14" y="189"/>
                </a:cubicBezTo>
                <a:cubicBezTo>
                  <a:pt x="20" y="191"/>
                  <a:pt x="18" y="183"/>
                  <a:pt x="25" y="184"/>
                </a:cubicBezTo>
                <a:cubicBezTo>
                  <a:pt x="29" y="185"/>
                  <a:pt x="30" y="181"/>
                  <a:pt x="35" y="180"/>
                </a:cubicBezTo>
                <a:cubicBezTo>
                  <a:pt x="36" y="175"/>
                  <a:pt x="42" y="167"/>
                  <a:pt x="44" y="162"/>
                </a:cubicBezTo>
                <a:cubicBezTo>
                  <a:pt x="57" y="129"/>
                  <a:pt x="57" y="129"/>
                  <a:pt x="57" y="129"/>
                </a:cubicBezTo>
                <a:cubicBezTo>
                  <a:pt x="62" y="118"/>
                  <a:pt x="62" y="118"/>
                  <a:pt x="62" y="118"/>
                </a:cubicBezTo>
                <a:cubicBezTo>
                  <a:pt x="63" y="114"/>
                  <a:pt x="64" y="107"/>
                  <a:pt x="65" y="105"/>
                </a:cubicBezTo>
                <a:cubicBezTo>
                  <a:pt x="70" y="99"/>
                  <a:pt x="73" y="91"/>
                  <a:pt x="75" y="84"/>
                </a:cubicBezTo>
                <a:cubicBezTo>
                  <a:pt x="77" y="77"/>
                  <a:pt x="77" y="68"/>
                  <a:pt x="80" y="61"/>
                </a:cubicBezTo>
                <a:lnTo>
                  <a:pt x="81" y="59"/>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82" name="Freeform 80">
            <a:extLst>
              <a:ext uri="{FF2B5EF4-FFF2-40B4-BE49-F238E27FC236}">
                <a16:creationId xmlns:a16="http://schemas.microsoft.com/office/drawing/2014/main" id="{60F02669-AE32-4AE4-8CB0-837A80C980B6}"/>
              </a:ext>
            </a:extLst>
          </p:cNvPr>
          <p:cNvSpPr>
            <a:spLocks/>
          </p:cNvSpPr>
          <p:nvPr/>
        </p:nvSpPr>
        <p:spPr bwMode="auto">
          <a:xfrm>
            <a:off x="8791475" y="3748165"/>
            <a:ext cx="48785" cy="97572"/>
          </a:xfrm>
          <a:custGeom>
            <a:avLst/>
            <a:gdLst>
              <a:gd name="T0" fmla="*/ 9 w 30"/>
              <a:gd name="T1" fmla="*/ 0 h 58"/>
              <a:gd name="T2" fmla="*/ 8 w 30"/>
              <a:gd name="T3" fmla="*/ 0 h 58"/>
              <a:gd name="T4" fmla="*/ 5 w 30"/>
              <a:gd name="T5" fmla="*/ 9 h 58"/>
              <a:gd name="T6" fmla="*/ 3 w 30"/>
              <a:gd name="T7" fmla="*/ 15 h 58"/>
              <a:gd name="T8" fmla="*/ 1 w 30"/>
              <a:gd name="T9" fmla="*/ 25 h 58"/>
              <a:gd name="T10" fmla="*/ 5 w 30"/>
              <a:gd name="T11" fmla="*/ 40 h 58"/>
              <a:gd name="T12" fmla="*/ 7 w 30"/>
              <a:gd name="T13" fmla="*/ 48 h 58"/>
              <a:gd name="T14" fmla="*/ 11 w 30"/>
              <a:gd name="T15" fmla="*/ 54 h 58"/>
              <a:gd name="T16" fmla="*/ 12 w 30"/>
              <a:gd name="T17" fmla="*/ 54 h 58"/>
              <a:gd name="T18" fmla="*/ 12 w 30"/>
              <a:gd name="T19" fmla="*/ 54 h 58"/>
              <a:gd name="T20" fmla="*/ 26 w 30"/>
              <a:gd name="T21" fmla="*/ 48 h 58"/>
              <a:gd name="T22" fmla="*/ 29 w 30"/>
              <a:gd name="T23" fmla="*/ 31 h 58"/>
              <a:gd name="T24" fmla="*/ 27 w 30"/>
              <a:gd name="T25" fmla="*/ 30 h 58"/>
              <a:gd name="T26" fmla="*/ 27 w 30"/>
              <a:gd name="T27" fmla="*/ 30 h 58"/>
              <a:gd name="T28" fmla="*/ 27 w 30"/>
              <a:gd name="T29" fmla="*/ 29 h 58"/>
              <a:gd name="T30" fmla="*/ 25 w 30"/>
              <a:gd name="T31" fmla="*/ 21 h 58"/>
              <a:gd name="T32" fmla="*/ 18 w 30"/>
              <a:gd name="T33" fmla="*/ 16 h 58"/>
              <a:gd name="T34" fmla="*/ 18 w 30"/>
              <a:gd name="T35" fmla="*/ 15 h 58"/>
              <a:gd name="T36" fmla="*/ 20 w 30"/>
              <a:gd name="T37" fmla="*/ 14 h 58"/>
              <a:gd name="T38" fmla="*/ 18 w 30"/>
              <a:gd name="T39" fmla="*/ 10 h 58"/>
              <a:gd name="T40" fmla="*/ 14 w 30"/>
              <a:gd name="T41" fmla="*/ 6 h 58"/>
              <a:gd name="T42" fmla="*/ 11 w 30"/>
              <a:gd name="T43" fmla="*/ 2 h 58"/>
              <a:gd name="T44" fmla="*/ 9 w 30"/>
              <a:gd name="T4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58">
                <a:moveTo>
                  <a:pt x="9" y="0"/>
                </a:moveTo>
                <a:cubicBezTo>
                  <a:pt x="8" y="0"/>
                  <a:pt x="8" y="0"/>
                  <a:pt x="8" y="0"/>
                </a:cubicBezTo>
                <a:cubicBezTo>
                  <a:pt x="8" y="3"/>
                  <a:pt x="7" y="8"/>
                  <a:pt x="5" y="9"/>
                </a:cubicBezTo>
                <a:cubicBezTo>
                  <a:pt x="5" y="12"/>
                  <a:pt x="3" y="13"/>
                  <a:pt x="3" y="15"/>
                </a:cubicBezTo>
                <a:cubicBezTo>
                  <a:pt x="3" y="19"/>
                  <a:pt x="0" y="21"/>
                  <a:pt x="1" y="25"/>
                </a:cubicBezTo>
                <a:cubicBezTo>
                  <a:pt x="3" y="30"/>
                  <a:pt x="4" y="35"/>
                  <a:pt x="5" y="40"/>
                </a:cubicBezTo>
                <a:cubicBezTo>
                  <a:pt x="6" y="43"/>
                  <a:pt x="6" y="46"/>
                  <a:pt x="7" y="48"/>
                </a:cubicBezTo>
                <a:cubicBezTo>
                  <a:pt x="8" y="50"/>
                  <a:pt x="10" y="52"/>
                  <a:pt x="11" y="54"/>
                </a:cubicBezTo>
                <a:cubicBezTo>
                  <a:pt x="12" y="54"/>
                  <a:pt x="12" y="54"/>
                  <a:pt x="12" y="54"/>
                </a:cubicBezTo>
                <a:cubicBezTo>
                  <a:pt x="12" y="54"/>
                  <a:pt x="12" y="54"/>
                  <a:pt x="12" y="54"/>
                </a:cubicBezTo>
                <a:cubicBezTo>
                  <a:pt x="14" y="58"/>
                  <a:pt x="25" y="51"/>
                  <a:pt x="26" y="48"/>
                </a:cubicBezTo>
                <a:cubicBezTo>
                  <a:pt x="28" y="44"/>
                  <a:pt x="30" y="35"/>
                  <a:pt x="29" y="31"/>
                </a:cubicBezTo>
                <a:cubicBezTo>
                  <a:pt x="28" y="31"/>
                  <a:pt x="27" y="30"/>
                  <a:pt x="27" y="30"/>
                </a:cubicBezTo>
                <a:cubicBezTo>
                  <a:pt x="27" y="30"/>
                  <a:pt x="27" y="30"/>
                  <a:pt x="27" y="30"/>
                </a:cubicBezTo>
                <a:cubicBezTo>
                  <a:pt x="27" y="29"/>
                  <a:pt x="27" y="29"/>
                  <a:pt x="27" y="29"/>
                </a:cubicBezTo>
                <a:cubicBezTo>
                  <a:pt x="30" y="28"/>
                  <a:pt x="26" y="22"/>
                  <a:pt x="25" y="21"/>
                </a:cubicBezTo>
                <a:cubicBezTo>
                  <a:pt x="24" y="19"/>
                  <a:pt x="19" y="17"/>
                  <a:pt x="18" y="16"/>
                </a:cubicBezTo>
                <a:cubicBezTo>
                  <a:pt x="18" y="15"/>
                  <a:pt x="18" y="15"/>
                  <a:pt x="18" y="15"/>
                </a:cubicBezTo>
                <a:cubicBezTo>
                  <a:pt x="19" y="15"/>
                  <a:pt x="19" y="14"/>
                  <a:pt x="20" y="14"/>
                </a:cubicBezTo>
                <a:cubicBezTo>
                  <a:pt x="21" y="11"/>
                  <a:pt x="20" y="10"/>
                  <a:pt x="18" y="10"/>
                </a:cubicBezTo>
                <a:cubicBezTo>
                  <a:pt x="13" y="9"/>
                  <a:pt x="16" y="6"/>
                  <a:pt x="14" y="6"/>
                </a:cubicBezTo>
                <a:cubicBezTo>
                  <a:pt x="14" y="5"/>
                  <a:pt x="12" y="3"/>
                  <a:pt x="11" y="2"/>
                </a:cubicBezTo>
                <a:lnTo>
                  <a:pt x="9"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83" name="Freeform 81">
            <a:extLst>
              <a:ext uri="{FF2B5EF4-FFF2-40B4-BE49-F238E27FC236}">
                <a16:creationId xmlns:a16="http://schemas.microsoft.com/office/drawing/2014/main" id="{44FB4B20-6CC5-4B41-AE08-10ED99E73C6C}"/>
              </a:ext>
            </a:extLst>
          </p:cNvPr>
          <p:cNvSpPr>
            <a:spLocks/>
          </p:cNvSpPr>
          <p:nvPr/>
        </p:nvSpPr>
        <p:spPr bwMode="auto">
          <a:xfrm>
            <a:off x="8791475" y="3748165"/>
            <a:ext cx="48785" cy="97572"/>
          </a:xfrm>
          <a:custGeom>
            <a:avLst/>
            <a:gdLst>
              <a:gd name="T0" fmla="*/ 9 w 30"/>
              <a:gd name="T1" fmla="*/ 0 h 58"/>
              <a:gd name="T2" fmla="*/ 8 w 30"/>
              <a:gd name="T3" fmla="*/ 0 h 58"/>
              <a:gd name="T4" fmla="*/ 5 w 30"/>
              <a:gd name="T5" fmla="*/ 9 h 58"/>
              <a:gd name="T6" fmla="*/ 3 w 30"/>
              <a:gd name="T7" fmla="*/ 15 h 58"/>
              <a:gd name="T8" fmla="*/ 1 w 30"/>
              <a:gd name="T9" fmla="*/ 25 h 58"/>
              <a:gd name="T10" fmla="*/ 5 w 30"/>
              <a:gd name="T11" fmla="*/ 40 h 58"/>
              <a:gd name="T12" fmla="*/ 7 w 30"/>
              <a:gd name="T13" fmla="*/ 48 h 58"/>
              <a:gd name="T14" fmla="*/ 11 w 30"/>
              <a:gd name="T15" fmla="*/ 54 h 58"/>
              <a:gd name="T16" fmla="*/ 12 w 30"/>
              <a:gd name="T17" fmla="*/ 54 h 58"/>
              <a:gd name="T18" fmla="*/ 12 w 30"/>
              <a:gd name="T19" fmla="*/ 54 h 58"/>
              <a:gd name="T20" fmla="*/ 26 w 30"/>
              <a:gd name="T21" fmla="*/ 48 h 58"/>
              <a:gd name="T22" fmla="*/ 29 w 30"/>
              <a:gd name="T23" fmla="*/ 31 h 58"/>
              <a:gd name="T24" fmla="*/ 27 w 30"/>
              <a:gd name="T25" fmla="*/ 30 h 58"/>
              <a:gd name="T26" fmla="*/ 27 w 30"/>
              <a:gd name="T27" fmla="*/ 30 h 58"/>
              <a:gd name="T28" fmla="*/ 27 w 30"/>
              <a:gd name="T29" fmla="*/ 29 h 58"/>
              <a:gd name="T30" fmla="*/ 25 w 30"/>
              <a:gd name="T31" fmla="*/ 21 h 58"/>
              <a:gd name="T32" fmla="*/ 18 w 30"/>
              <a:gd name="T33" fmla="*/ 16 h 58"/>
              <a:gd name="T34" fmla="*/ 18 w 30"/>
              <a:gd name="T35" fmla="*/ 15 h 58"/>
              <a:gd name="T36" fmla="*/ 20 w 30"/>
              <a:gd name="T37" fmla="*/ 14 h 58"/>
              <a:gd name="T38" fmla="*/ 18 w 30"/>
              <a:gd name="T39" fmla="*/ 10 h 58"/>
              <a:gd name="T40" fmla="*/ 14 w 30"/>
              <a:gd name="T41" fmla="*/ 6 h 58"/>
              <a:gd name="T42" fmla="*/ 11 w 30"/>
              <a:gd name="T43" fmla="*/ 2 h 58"/>
              <a:gd name="T44" fmla="*/ 9 w 30"/>
              <a:gd name="T4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58">
                <a:moveTo>
                  <a:pt x="9" y="0"/>
                </a:moveTo>
                <a:cubicBezTo>
                  <a:pt x="8" y="0"/>
                  <a:pt x="8" y="0"/>
                  <a:pt x="8" y="0"/>
                </a:cubicBezTo>
                <a:cubicBezTo>
                  <a:pt x="8" y="3"/>
                  <a:pt x="7" y="8"/>
                  <a:pt x="5" y="9"/>
                </a:cubicBezTo>
                <a:cubicBezTo>
                  <a:pt x="5" y="12"/>
                  <a:pt x="3" y="13"/>
                  <a:pt x="3" y="15"/>
                </a:cubicBezTo>
                <a:cubicBezTo>
                  <a:pt x="3" y="19"/>
                  <a:pt x="0" y="21"/>
                  <a:pt x="1" y="25"/>
                </a:cubicBezTo>
                <a:cubicBezTo>
                  <a:pt x="3" y="30"/>
                  <a:pt x="4" y="35"/>
                  <a:pt x="5" y="40"/>
                </a:cubicBezTo>
                <a:cubicBezTo>
                  <a:pt x="6" y="43"/>
                  <a:pt x="6" y="46"/>
                  <a:pt x="7" y="48"/>
                </a:cubicBezTo>
                <a:cubicBezTo>
                  <a:pt x="8" y="50"/>
                  <a:pt x="10" y="52"/>
                  <a:pt x="11" y="54"/>
                </a:cubicBezTo>
                <a:cubicBezTo>
                  <a:pt x="12" y="54"/>
                  <a:pt x="12" y="54"/>
                  <a:pt x="12" y="54"/>
                </a:cubicBezTo>
                <a:cubicBezTo>
                  <a:pt x="12" y="54"/>
                  <a:pt x="12" y="54"/>
                  <a:pt x="12" y="54"/>
                </a:cubicBezTo>
                <a:cubicBezTo>
                  <a:pt x="14" y="58"/>
                  <a:pt x="25" y="51"/>
                  <a:pt x="26" y="48"/>
                </a:cubicBezTo>
                <a:cubicBezTo>
                  <a:pt x="28" y="44"/>
                  <a:pt x="30" y="35"/>
                  <a:pt x="29" y="31"/>
                </a:cubicBezTo>
                <a:cubicBezTo>
                  <a:pt x="28" y="31"/>
                  <a:pt x="27" y="30"/>
                  <a:pt x="27" y="30"/>
                </a:cubicBezTo>
                <a:cubicBezTo>
                  <a:pt x="27" y="30"/>
                  <a:pt x="27" y="30"/>
                  <a:pt x="27" y="30"/>
                </a:cubicBezTo>
                <a:cubicBezTo>
                  <a:pt x="27" y="29"/>
                  <a:pt x="27" y="29"/>
                  <a:pt x="27" y="29"/>
                </a:cubicBezTo>
                <a:cubicBezTo>
                  <a:pt x="30" y="28"/>
                  <a:pt x="26" y="22"/>
                  <a:pt x="25" y="21"/>
                </a:cubicBezTo>
                <a:cubicBezTo>
                  <a:pt x="24" y="19"/>
                  <a:pt x="19" y="17"/>
                  <a:pt x="18" y="16"/>
                </a:cubicBezTo>
                <a:cubicBezTo>
                  <a:pt x="18" y="15"/>
                  <a:pt x="18" y="15"/>
                  <a:pt x="18" y="15"/>
                </a:cubicBezTo>
                <a:cubicBezTo>
                  <a:pt x="19" y="15"/>
                  <a:pt x="19" y="14"/>
                  <a:pt x="20" y="14"/>
                </a:cubicBezTo>
                <a:cubicBezTo>
                  <a:pt x="21" y="11"/>
                  <a:pt x="20" y="10"/>
                  <a:pt x="18" y="10"/>
                </a:cubicBezTo>
                <a:cubicBezTo>
                  <a:pt x="13" y="9"/>
                  <a:pt x="16" y="6"/>
                  <a:pt x="14" y="6"/>
                </a:cubicBezTo>
                <a:cubicBezTo>
                  <a:pt x="14" y="5"/>
                  <a:pt x="12" y="3"/>
                  <a:pt x="11" y="2"/>
                </a:cubicBezTo>
                <a:lnTo>
                  <a:pt x="9"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84" name="Freeform 200">
            <a:extLst>
              <a:ext uri="{FF2B5EF4-FFF2-40B4-BE49-F238E27FC236}">
                <a16:creationId xmlns:a16="http://schemas.microsoft.com/office/drawing/2014/main" id="{353A14FE-8FA5-4095-867D-9CA6EDD49045}"/>
              </a:ext>
            </a:extLst>
          </p:cNvPr>
          <p:cNvSpPr>
            <a:spLocks/>
          </p:cNvSpPr>
          <p:nvPr/>
        </p:nvSpPr>
        <p:spPr bwMode="auto">
          <a:xfrm>
            <a:off x="7478695" y="3890087"/>
            <a:ext cx="8869" cy="13308"/>
          </a:xfrm>
          <a:custGeom>
            <a:avLst/>
            <a:gdLst>
              <a:gd name="T0" fmla="*/ 4 w 6"/>
              <a:gd name="T1" fmla="*/ 6 h 8"/>
              <a:gd name="T2" fmla="*/ 5 w 6"/>
              <a:gd name="T3" fmla="*/ 4 h 8"/>
              <a:gd name="T4" fmla="*/ 6 w 6"/>
              <a:gd name="T5" fmla="*/ 2 h 8"/>
              <a:gd name="T6" fmla="*/ 6 w 6"/>
              <a:gd name="T7" fmla="*/ 1 h 8"/>
              <a:gd name="T8" fmla="*/ 6 w 6"/>
              <a:gd name="T9" fmla="*/ 0 h 8"/>
              <a:gd name="T10" fmla="*/ 5 w 6"/>
              <a:gd name="T11" fmla="*/ 0 h 8"/>
              <a:gd name="T12" fmla="*/ 4 w 6"/>
              <a:gd name="T13" fmla="*/ 1 h 8"/>
              <a:gd name="T14" fmla="*/ 2 w 6"/>
              <a:gd name="T15" fmla="*/ 3 h 8"/>
              <a:gd name="T16" fmla="*/ 1 w 6"/>
              <a:gd name="T17" fmla="*/ 3 h 8"/>
              <a:gd name="T18" fmla="*/ 1 w 6"/>
              <a:gd name="T19" fmla="*/ 4 h 8"/>
              <a:gd name="T20" fmla="*/ 2 w 6"/>
              <a:gd name="T21" fmla="*/ 7 h 8"/>
              <a:gd name="T22" fmla="*/ 4 w 6"/>
              <a:gd name="T23"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4" y="6"/>
                </a:moveTo>
                <a:cubicBezTo>
                  <a:pt x="4" y="6"/>
                  <a:pt x="5" y="5"/>
                  <a:pt x="5" y="4"/>
                </a:cubicBezTo>
                <a:cubicBezTo>
                  <a:pt x="5" y="4"/>
                  <a:pt x="5" y="3"/>
                  <a:pt x="6" y="2"/>
                </a:cubicBezTo>
                <a:cubicBezTo>
                  <a:pt x="6" y="2"/>
                  <a:pt x="6" y="2"/>
                  <a:pt x="6" y="1"/>
                </a:cubicBezTo>
                <a:cubicBezTo>
                  <a:pt x="6" y="1"/>
                  <a:pt x="6" y="0"/>
                  <a:pt x="6" y="0"/>
                </a:cubicBezTo>
                <a:cubicBezTo>
                  <a:pt x="5" y="0"/>
                  <a:pt x="5" y="0"/>
                  <a:pt x="5" y="0"/>
                </a:cubicBezTo>
                <a:cubicBezTo>
                  <a:pt x="5" y="0"/>
                  <a:pt x="4" y="0"/>
                  <a:pt x="4" y="1"/>
                </a:cubicBezTo>
                <a:cubicBezTo>
                  <a:pt x="3" y="1"/>
                  <a:pt x="2" y="2"/>
                  <a:pt x="2" y="3"/>
                </a:cubicBezTo>
                <a:cubicBezTo>
                  <a:pt x="1" y="3"/>
                  <a:pt x="1" y="3"/>
                  <a:pt x="1" y="3"/>
                </a:cubicBezTo>
                <a:cubicBezTo>
                  <a:pt x="1" y="3"/>
                  <a:pt x="1" y="4"/>
                  <a:pt x="1" y="4"/>
                </a:cubicBezTo>
                <a:cubicBezTo>
                  <a:pt x="1" y="5"/>
                  <a:pt x="0" y="8"/>
                  <a:pt x="2" y="7"/>
                </a:cubicBezTo>
                <a:lnTo>
                  <a:pt x="4" y="6"/>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85" name="Freeform 201">
            <a:extLst>
              <a:ext uri="{FF2B5EF4-FFF2-40B4-BE49-F238E27FC236}">
                <a16:creationId xmlns:a16="http://schemas.microsoft.com/office/drawing/2014/main" id="{AF153286-E53E-4593-A6EE-8E71A33676E2}"/>
              </a:ext>
            </a:extLst>
          </p:cNvPr>
          <p:cNvSpPr>
            <a:spLocks/>
          </p:cNvSpPr>
          <p:nvPr/>
        </p:nvSpPr>
        <p:spPr bwMode="auto">
          <a:xfrm>
            <a:off x="7478695" y="3890087"/>
            <a:ext cx="8869" cy="13308"/>
          </a:xfrm>
          <a:custGeom>
            <a:avLst/>
            <a:gdLst>
              <a:gd name="T0" fmla="*/ 4 w 6"/>
              <a:gd name="T1" fmla="*/ 6 h 8"/>
              <a:gd name="T2" fmla="*/ 5 w 6"/>
              <a:gd name="T3" fmla="*/ 4 h 8"/>
              <a:gd name="T4" fmla="*/ 6 w 6"/>
              <a:gd name="T5" fmla="*/ 2 h 8"/>
              <a:gd name="T6" fmla="*/ 6 w 6"/>
              <a:gd name="T7" fmla="*/ 1 h 8"/>
              <a:gd name="T8" fmla="*/ 6 w 6"/>
              <a:gd name="T9" fmla="*/ 0 h 8"/>
              <a:gd name="T10" fmla="*/ 5 w 6"/>
              <a:gd name="T11" fmla="*/ 0 h 8"/>
              <a:gd name="T12" fmla="*/ 4 w 6"/>
              <a:gd name="T13" fmla="*/ 1 h 8"/>
              <a:gd name="T14" fmla="*/ 2 w 6"/>
              <a:gd name="T15" fmla="*/ 3 h 8"/>
              <a:gd name="T16" fmla="*/ 1 w 6"/>
              <a:gd name="T17" fmla="*/ 3 h 8"/>
              <a:gd name="T18" fmla="*/ 1 w 6"/>
              <a:gd name="T19" fmla="*/ 4 h 8"/>
              <a:gd name="T20" fmla="*/ 2 w 6"/>
              <a:gd name="T21" fmla="*/ 7 h 8"/>
              <a:gd name="T22" fmla="*/ 4 w 6"/>
              <a:gd name="T23"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4" y="6"/>
                </a:moveTo>
                <a:cubicBezTo>
                  <a:pt x="4" y="6"/>
                  <a:pt x="5" y="5"/>
                  <a:pt x="5" y="4"/>
                </a:cubicBezTo>
                <a:cubicBezTo>
                  <a:pt x="5" y="4"/>
                  <a:pt x="5" y="3"/>
                  <a:pt x="6" y="2"/>
                </a:cubicBezTo>
                <a:cubicBezTo>
                  <a:pt x="6" y="2"/>
                  <a:pt x="6" y="2"/>
                  <a:pt x="6" y="1"/>
                </a:cubicBezTo>
                <a:cubicBezTo>
                  <a:pt x="6" y="1"/>
                  <a:pt x="6" y="0"/>
                  <a:pt x="6" y="0"/>
                </a:cubicBezTo>
                <a:cubicBezTo>
                  <a:pt x="5" y="0"/>
                  <a:pt x="5" y="0"/>
                  <a:pt x="5" y="0"/>
                </a:cubicBezTo>
                <a:cubicBezTo>
                  <a:pt x="5" y="0"/>
                  <a:pt x="4" y="0"/>
                  <a:pt x="4" y="1"/>
                </a:cubicBezTo>
                <a:cubicBezTo>
                  <a:pt x="3" y="1"/>
                  <a:pt x="2" y="2"/>
                  <a:pt x="2" y="3"/>
                </a:cubicBezTo>
                <a:cubicBezTo>
                  <a:pt x="1" y="3"/>
                  <a:pt x="1" y="3"/>
                  <a:pt x="1" y="3"/>
                </a:cubicBezTo>
                <a:cubicBezTo>
                  <a:pt x="1" y="3"/>
                  <a:pt x="1" y="4"/>
                  <a:pt x="1" y="4"/>
                </a:cubicBezTo>
                <a:cubicBezTo>
                  <a:pt x="1" y="5"/>
                  <a:pt x="0" y="8"/>
                  <a:pt x="2" y="7"/>
                </a:cubicBezTo>
                <a:lnTo>
                  <a:pt x="4" y="6"/>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86" name="Freeform 202">
            <a:extLst>
              <a:ext uri="{FF2B5EF4-FFF2-40B4-BE49-F238E27FC236}">
                <a16:creationId xmlns:a16="http://schemas.microsoft.com/office/drawing/2014/main" id="{1E483BAD-B273-4BA7-83AF-C4DF6C193825}"/>
              </a:ext>
            </a:extLst>
          </p:cNvPr>
          <p:cNvSpPr>
            <a:spLocks/>
          </p:cNvSpPr>
          <p:nvPr/>
        </p:nvSpPr>
        <p:spPr bwMode="auto">
          <a:xfrm>
            <a:off x="7075108" y="3313527"/>
            <a:ext cx="8869" cy="13308"/>
          </a:xfrm>
          <a:custGeom>
            <a:avLst/>
            <a:gdLst>
              <a:gd name="T0" fmla="*/ 5 w 5"/>
              <a:gd name="T1" fmla="*/ 7 h 10"/>
              <a:gd name="T2" fmla="*/ 5 w 5"/>
              <a:gd name="T3" fmla="*/ 4 h 10"/>
              <a:gd name="T4" fmla="*/ 5 w 5"/>
              <a:gd name="T5" fmla="*/ 3 h 10"/>
              <a:gd name="T6" fmla="*/ 5 w 5"/>
              <a:gd name="T7" fmla="*/ 2 h 10"/>
              <a:gd name="T8" fmla="*/ 5 w 5"/>
              <a:gd name="T9" fmla="*/ 2 h 10"/>
              <a:gd name="T10" fmla="*/ 3 w 5"/>
              <a:gd name="T11" fmla="*/ 3 h 10"/>
              <a:gd name="T12" fmla="*/ 1 w 5"/>
              <a:gd name="T13" fmla="*/ 7 h 10"/>
              <a:gd name="T14" fmla="*/ 0 w 5"/>
              <a:gd name="T15" fmla="*/ 9 h 10"/>
              <a:gd name="T16" fmla="*/ 3 w 5"/>
              <a:gd name="T17" fmla="*/ 9 h 10"/>
              <a:gd name="T18" fmla="*/ 5 w 5"/>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5" y="7"/>
                </a:moveTo>
                <a:cubicBezTo>
                  <a:pt x="5" y="6"/>
                  <a:pt x="5" y="5"/>
                  <a:pt x="5" y="4"/>
                </a:cubicBezTo>
                <a:cubicBezTo>
                  <a:pt x="5" y="4"/>
                  <a:pt x="5" y="4"/>
                  <a:pt x="5" y="3"/>
                </a:cubicBezTo>
                <a:cubicBezTo>
                  <a:pt x="5" y="3"/>
                  <a:pt x="5" y="2"/>
                  <a:pt x="5" y="2"/>
                </a:cubicBezTo>
                <a:cubicBezTo>
                  <a:pt x="5" y="2"/>
                  <a:pt x="5" y="2"/>
                  <a:pt x="5" y="2"/>
                </a:cubicBezTo>
                <a:cubicBezTo>
                  <a:pt x="4" y="0"/>
                  <a:pt x="3" y="3"/>
                  <a:pt x="3" y="3"/>
                </a:cubicBezTo>
                <a:cubicBezTo>
                  <a:pt x="3" y="4"/>
                  <a:pt x="1" y="6"/>
                  <a:pt x="1" y="7"/>
                </a:cubicBezTo>
                <a:cubicBezTo>
                  <a:pt x="0" y="7"/>
                  <a:pt x="0" y="8"/>
                  <a:pt x="0" y="9"/>
                </a:cubicBezTo>
                <a:cubicBezTo>
                  <a:pt x="0" y="10"/>
                  <a:pt x="2" y="9"/>
                  <a:pt x="3" y="9"/>
                </a:cubicBezTo>
                <a:lnTo>
                  <a:pt x="5" y="7"/>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87" name="Freeform 203">
            <a:extLst>
              <a:ext uri="{FF2B5EF4-FFF2-40B4-BE49-F238E27FC236}">
                <a16:creationId xmlns:a16="http://schemas.microsoft.com/office/drawing/2014/main" id="{C408A28D-C85A-4286-8212-C7AA4B487FEF}"/>
              </a:ext>
            </a:extLst>
          </p:cNvPr>
          <p:cNvSpPr>
            <a:spLocks/>
          </p:cNvSpPr>
          <p:nvPr/>
        </p:nvSpPr>
        <p:spPr bwMode="auto">
          <a:xfrm>
            <a:off x="7075108" y="3313527"/>
            <a:ext cx="8869" cy="13308"/>
          </a:xfrm>
          <a:custGeom>
            <a:avLst/>
            <a:gdLst>
              <a:gd name="T0" fmla="*/ 5 w 5"/>
              <a:gd name="T1" fmla="*/ 7 h 10"/>
              <a:gd name="T2" fmla="*/ 5 w 5"/>
              <a:gd name="T3" fmla="*/ 4 h 10"/>
              <a:gd name="T4" fmla="*/ 5 w 5"/>
              <a:gd name="T5" fmla="*/ 3 h 10"/>
              <a:gd name="T6" fmla="*/ 5 w 5"/>
              <a:gd name="T7" fmla="*/ 2 h 10"/>
              <a:gd name="T8" fmla="*/ 5 w 5"/>
              <a:gd name="T9" fmla="*/ 2 h 10"/>
              <a:gd name="T10" fmla="*/ 3 w 5"/>
              <a:gd name="T11" fmla="*/ 3 h 10"/>
              <a:gd name="T12" fmla="*/ 1 w 5"/>
              <a:gd name="T13" fmla="*/ 7 h 10"/>
              <a:gd name="T14" fmla="*/ 0 w 5"/>
              <a:gd name="T15" fmla="*/ 9 h 10"/>
              <a:gd name="T16" fmla="*/ 3 w 5"/>
              <a:gd name="T17" fmla="*/ 9 h 10"/>
              <a:gd name="T18" fmla="*/ 5 w 5"/>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5" y="7"/>
                </a:moveTo>
                <a:cubicBezTo>
                  <a:pt x="5" y="6"/>
                  <a:pt x="5" y="5"/>
                  <a:pt x="5" y="4"/>
                </a:cubicBezTo>
                <a:cubicBezTo>
                  <a:pt x="5" y="4"/>
                  <a:pt x="5" y="4"/>
                  <a:pt x="5" y="3"/>
                </a:cubicBezTo>
                <a:cubicBezTo>
                  <a:pt x="5" y="3"/>
                  <a:pt x="5" y="2"/>
                  <a:pt x="5" y="2"/>
                </a:cubicBezTo>
                <a:cubicBezTo>
                  <a:pt x="5" y="2"/>
                  <a:pt x="5" y="2"/>
                  <a:pt x="5" y="2"/>
                </a:cubicBezTo>
                <a:cubicBezTo>
                  <a:pt x="4" y="0"/>
                  <a:pt x="3" y="3"/>
                  <a:pt x="3" y="3"/>
                </a:cubicBezTo>
                <a:cubicBezTo>
                  <a:pt x="3" y="4"/>
                  <a:pt x="1" y="6"/>
                  <a:pt x="1" y="7"/>
                </a:cubicBezTo>
                <a:cubicBezTo>
                  <a:pt x="0" y="7"/>
                  <a:pt x="0" y="8"/>
                  <a:pt x="0" y="9"/>
                </a:cubicBezTo>
                <a:cubicBezTo>
                  <a:pt x="0" y="10"/>
                  <a:pt x="2" y="9"/>
                  <a:pt x="3" y="9"/>
                </a:cubicBezTo>
                <a:lnTo>
                  <a:pt x="5" y="7"/>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88" name="Freeform 204">
            <a:extLst>
              <a:ext uri="{FF2B5EF4-FFF2-40B4-BE49-F238E27FC236}">
                <a16:creationId xmlns:a16="http://schemas.microsoft.com/office/drawing/2014/main" id="{48D9653C-B523-412E-8258-E5478B402881}"/>
              </a:ext>
            </a:extLst>
          </p:cNvPr>
          <p:cNvSpPr>
            <a:spLocks/>
          </p:cNvSpPr>
          <p:nvPr/>
        </p:nvSpPr>
        <p:spPr bwMode="auto">
          <a:xfrm>
            <a:off x="7048499" y="3326832"/>
            <a:ext cx="8869" cy="8869"/>
          </a:xfrm>
          <a:custGeom>
            <a:avLst/>
            <a:gdLst>
              <a:gd name="T0" fmla="*/ 3 w 3"/>
              <a:gd name="T1" fmla="*/ 0 h 5"/>
              <a:gd name="T2" fmla="*/ 2 w 3"/>
              <a:gd name="T3" fmla="*/ 1 h 5"/>
              <a:gd name="T4" fmla="*/ 1 w 3"/>
              <a:gd name="T5" fmla="*/ 1 h 5"/>
              <a:gd name="T6" fmla="*/ 0 w 3"/>
              <a:gd name="T7" fmla="*/ 4 h 5"/>
              <a:gd name="T8" fmla="*/ 0 w 3"/>
              <a:gd name="T9" fmla="*/ 5 h 5"/>
              <a:gd name="T10" fmla="*/ 2 w 3"/>
              <a:gd name="T11" fmla="*/ 4 h 5"/>
              <a:gd name="T12" fmla="*/ 3 w 3"/>
              <a:gd name="T13" fmla="*/ 3 h 5"/>
              <a:gd name="T14" fmla="*/ 3 w 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0"/>
                </a:moveTo>
                <a:cubicBezTo>
                  <a:pt x="2" y="1"/>
                  <a:pt x="2" y="1"/>
                  <a:pt x="2" y="1"/>
                </a:cubicBezTo>
                <a:cubicBezTo>
                  <a:pt x="1" y="1"/>
                  <a:pt x="1" y="1"/>
                  <a:pt x="1" y="1"/>
                </a:cubicBezTo>
                <a:cubicBezTo>
                  <a:pt x="1" y="2"/>
                  <a:pt x="0" y="3"/>
                  <a:pt x="0" y="4"/>
                </a:cubicBezTo>
                <a:cubicBezTo>
                  <a:pt x="0" y="4"/>
                  <a:pt x="0" y="5"/>
                  <a:pt x="0" y="5"/>
                </a:cubicBezTo>
                <a:cubicBezTo>
                  <a:pt x="1" y="5"/>
                  <a:pt x="1" y="5"/>
                  <a:pt x="2" y="4"/>
                </a:cubicBezTo>
                <a:cubicBezTo>
                  <a:pt x="2" y="4"/>
                  <a:pt x="2" y="4"/>
                  <a:pt x="3" y="3"/>
                </a:cubicBezTo>
                <a:lnTo>
                  <a:pt x="3"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89" name="Freeform 206">
            <a:extLst>
              <a:ext uri="{FF2B5EF4-FFF2-40B4-BE49-F238E27FC236}">
                <a16:creationId xmlns:a16="http://schemas.microsoft.com/office/drawing/2014/main" id="{0481FE7D-C3AF-4B3C-9707-ACD1E5D523B4}"/>
              </a:ext>
            </a:extLst>
          </p:cNvPr>
          <p:cNvSpPr>
            <a:spLocks/>
          </p:cNvSpPr>
          <p:nvPr/>
        </p:nvSpPr>
        <p:spPr bwMode="auto">
          <a:xfrm>
            <a:off x="7048497" y="3326832"/>
            <a:ext cx="8869" cy="8869"/>
          </a:xfrm>
          <a:custGeom>
            <a:avLst/>
            <a:gdLst>
              <a:gd name="T0" fmla="*/ 3 w 3"/>
              <a:gd name="T1" fmla="*/ 0 h 5"/>
              <a:gd name="T2" fmla="*/ 2 w 3"/>
              <a:gd name="T3" fmla="*/ 1 h 5"/>
              <a:gd name="T4" fmla="*/ 1 w 3"/>
              <a:gd name="T5" fmla="*/ 1 h 5"/>
              <a:gd name="T6" fmla="*/ 0 w 3"/>
              <a:gd name="T7" fmla="*/ 4 h 5"/>
              <a:gd name="T8" fmla="*/ 0 w 3"/>
              <a:gd name="T9" fmla="*/ 5 h 5"/>
              <a:gd name="T10" fmla="*/ 2 w 3"/>
              <a:gd name="T11" fmla="*/ 4 h 5"/>
              <a:gd name="T12" fmla="*/ 3 w 3"/>
              <a:gd name="T13" fmla="*/ 3 h 5"/>
              <a:gd name="T14" fmla="*/ 3 w 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0"/>
                </a:moveTo>
                <a:cubicBezTo>
                  <a:pt x="2" y="1"/>
                  <a:pt x="2" y="1"/>
                  <a:pt x="2" y="1"/>
                </a:cubicBezTo>
                <a:cubicBezTo>
                  <a:pt x="1" y="1"/>
                  <a:pt x="1" y="1"/>
                  <a:pt x="1" y="1"/>
                </a:cubicBezTo>
                <a:cubicBezTo>
                  <a:pt x="1" y="2"/>
                  <a:pt x="0" y="3"/>
                  <a:pt x="0" y="4"/>
                </a:cubicBezTo>
                <a:cubicBezTo>
                  <a:pt x="0" y="4"/>
                  <a:pt x="0" y="5"/>
                  <a:pt x="0" y="5"/>
                </a:cubicBezTo>
                <a:cubicBezTo>
                  <a:pt x="1" y="5"/>
                  <a:pt x="1" y="5"/>
                  <a:pt x="2" y="4"/>
                </a:cubicBezTo>
                <a:cubicBezTo>
                  <a:pt x="2" y="4"/>
                  <a:pt x="2" y="4"/>
                  <a:pt x="3" y="3"/>
                </a:cubicBezTo>
                <a:lnTo>
                  <a:pt x="3"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90" name="Freeform 207">
            <a:extLst>
              <a:ext uri="{FF2B5EF4-FFF2-40B4-BE49-F238E27FC236}">
                <a16:creationId xmlns:a16="http://schemas.microsoft.com/office/drawing/2014/main" id="{8944F9DE-5B3E-42BC-A42B-3D823DA82A7C}"/>
              </a:ext>
            </a:extLst>
          </p:cNvPr>
          <p:cNvSpPr>
            <a:spLocks/>
          </p:cNvSpPr>
          <p:nvPr/>
        </p:nvSpPr>
        <p:spPr bwMode="auto">
          <a:xfrm>
            <a:off x="7035191" y="3322401"/>
            <a:ext cx="4432" cy="4436"/>
          </a:xfrm>
          <a:custGeom>
            <a:avLst/>
            <a:gdLst>
              <a:gd name="T0" fmla="*/ 3 w 3"/>
              <a:gd name="T1" fmla="*/ 0 h 4"/>
              <a:gd name="T2" fmla="*/ 1 w 3"/>
              <a:gd name="T3" fmla="*/ 0 h 4"/>
              <a:gd name="T4" fmla="*/ 0 w 3"/>
              <a:gd name="T5" fmla="*/ 2 h 4"/>
              <a:gd name="T6" fmla="*/ 0 w 3"/>
              <a:gd name="T7" fmla="*/ 3 h 4"/>
              <a:gd name="T8" fmla="*/ 0 w 3"/>
              <a:gd name="T9" fmla="*/ 4 h 4"/>
              <a:gd name="T10" fmla="*/ 1 w 3"/>
              <a:gd name="T11" fmla="*/ 4 h 4"/>
              <a:gd name="T12" fmla="*/ 3 w 3"/>
              <a:gd name="T13" fmla="*/ 3 h 4"/>
              <a:gd name="T14" fmla="*/ 3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0"/>
                </a:moveTo>
                <a:cubicBezTo>
                  <a:pt x="2" y="0"/>
                  <a:pt x="2" y="0"/>
                  <a:pt x="1" y="0"/>
                </a:cubicBezTo>
                <a:cubicBezTo>
                  <a:pt x="1" y="0"/>
                  <a:pt x="0" y="1"/>
                  <a:pt x="0" y="2"/>
                </a:cubicBezTo>
                <a:cubicBezTo>
                  <a:pt x="0" y="2"/>
                  <a:pt x="0" y="2"/>
                  <a:pt x="0" y="3"/>
                </a:cubicBezTo>
                <a:cubicBezTo>
                  <a:pt x="0" y="4"/>
                  <a:pt x="0" y="4"/>
                  <a:pt x="0" y="4"/>
                </a:cubicBezTo>
                <a:cubicBezTo>
                  <a:pt x="0" y="4"/>
                  <a:pt x="1" y="4"/>
                  <a:pt x="1" y="4"/>
                </a:cubicBezTo>
                <a:cubicBezTo>
                  <a:pt x="2" y="4"/>
                  <a:pt x="3" y="4"/>
                  <a:pt x="3" y="3"/>
                </a:cubicBezTo>
                <a:lnTo>
                  <a:pt x="3"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91" name="Freeform 208">
            <a:extLst>
              <a:ext uri="{FF2B5EF4-FFF2-40B4-BE49-F238E27FC236}">
                <a16:creationId xmlns:a16="http://schemas.microsoft.com/office/drawing/2014/main" id="{6C5E564C-32A7-4FAA-9DAB-8C46C731AEA8}"/>
              </a:ext>
            </a:extLst>
          </p:cNvPr>
          <p:cNvSpPr>
            <a:spLocks/>
          </p:cNvSpPr>
          <p:nvPr/>
        </p:nvSpPr>
        <p:spPr bwMode="auto">
          <a:xfrm>
            <a:off x="7035191" y="3322401"/>
            <a:ext cx="4432" cy="4436"/>
          </a:xfrm>
          <a:custGeom>
            <a:avLst/>
            <a:gdLst>
              <a:gd name="T0" fmla="*/ 3 w 3"/>
              <a:gd name="T1" fmla="*/ 0 h 4"/>
              <a:gd name="T2" fmla="*/ 1 w 3"/>
              <a:gd name="T3" fmla="*/ 0 h 4"/>
              <a:gd name="T4" fmla="*/ 0 w 3"/>
              <a:gd name="T5" fmla="*/ 2 h 4"/>
              <a:gd name="T6" fmla="*/ 0 w 3"/>
              <a:gd name="T7" fmla="*/ 3 h 4"/>
              <a:gd name="T8" fmla="*/ 0 w 3"/>
              <a:gd name="T9" fmla="*/ 4 h 4"/>
              <a:gd name="T10" fmla="*/ 1 w 3"/>
              <a:gd name="T11" fmla="*/ 4 h 4"/>
              <a:gd name="T12" fmla="*/ 3 w 3"/>
              <a:gd name="T13" fmla="*/ 3 h 4"/>
              <a:gd name="T14" fmla="*/ 3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0"/>
                </a:moveTo>
                <a:cubicBezTo>
                  <a:pt x="2" y="0"/>
                  <a:pt x="2" y="0"/>
                  <a:pt x="1" y="0"/>
                </a:cubicBezTo>
                <a:cubicBezTo>
                  <a:pt x="1" y="0"/>
                  <a:pt x="0" y="1"/>
                  <a:pt x="0" y="2"/>
                </a:cubicBezTo>
                <a:cubicBezTo>
                  <a:pt x="0" y="2"/>
                  <a:pt x="0" y="2"/>
                  <a:pt x="0" y="3"/>
                </a:cubicBezTo>
                <a:cubicBezTo>
                  <a:pt x="0" y="4"/>
                  <a:pt x="0" y="4"/>
                  <a:pt x="0" y="4"/>
                </a:cubicBezTo>
                <a:cubicBezTo>
                  <a:pt x="0" y="4"/>
                  <a:pt x="1" y="4"/>
                  <a:pt x="1" y="4"/>
                </a:cubicBezTo>
                <a:cubicBezTo>
                  <a:pt x="2" y="4"/>
                  <a:pt x="3" y="4"/>
                  <a:pt x="3" y="3"/>
                </a:cubicBezTo>
                <a:lnTo>
                  <a:pt x="3"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92" name="Freeform 209">
            <a:extLst>
              <a:ext uri="{FF2B5EF4-FFF2-40B4-BE49-F238E27FC236}">
                <a16:creationId xmlns:a16="http://schemas.microsoft.com/office/drawing/2014/main" id="{004689EA-3BE1-498D-B36F-9DE177D5868D}"/>
              </a:ext>
            </a:extLst>
          </p:cNvPr>
          <p:cNvSpPr>
            <a:spLocks/>
          </p:cNvSpPr>
          <p:nvPr/>
        </p:nvSpPr>
        <p:spPr bwMode="auto">
          <a:xfrm>
            <a:off x="7860114" y="3158304"/>
            <a:ext cx="35480" cy="22176"/>
          </a:xfrm>
          <a:custGeom>
            <a:avLst/>
            <a:gdLst>
              <a:gd name="T0" fmla="*/ 11 w 21"/>
              <a:gd name="T1" fmla="*/ 4 h 15"/>
              <a:gd name="T2" fmla="*/ 17 w 21"/>
              <a:gd name="T3" fmla="*/ 3 h 15"/>
              <a:gd name="T4" fmla="*/ 19 w 21"/>
              <a:gd name="T5" fmla="*/ 2 h 15"/>
              <a:gd name="T6" fmla="*/ 21 w 21"/>
              <a:gd name="T7" fmla="*/ 0 h 15"/>
              <a:gd name="T8" fmla="*/ 20 w 21"/>
              <a:gd name="T9" fmla="*/ 4 h 15"/>
              <a:gd name="T10" fmla="*/ 17 w 21"/>
              <a:gd name="T11" fmla="*/ 8 h 15"/>
              <a:gd name="T12" fmla="*/ 13 w 21"/>
              <a:gd name="T13" fmla="*/ 14 h 15"/>
              <a:gd name="T14" fmla="*/ 11 w 21"/>
              <a:gd name="T15" fmla="*/ 14 h 15"/>
              <a:gd name="T16" fmla="*/ 6 w 21"/>
              <a:gd name="T17" fmla="*/ 15 h 15"/>
              <a:gd name="T18" fmla="*/ 2 w 21"/>
              <a:gd name="T19" fmla="*/ 9 h 15"/>
              <a:gd name="T20" fmla="*/ 5 w 21"/>
              <a:gd name="T21" fmla="*/ 8 h 15"/>
              <a:gd name="T22" fmla="*/ 6 w 21"/>
              <a:gd name="T23" fmla="*/ 6 h 15"/>
              <a:gd name="T24" fmla="*/ 9 w 21"/>
              <a:gd name="T25" fmla="*/ 5 h 15"/>
              <a:gd name="T26" fmla="*/ 11 w 21"/>
              <a:gd name="T2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5">
                <a:moveTo>
                  <a:pt x="11" y="4"/>
                </a:moveTo>
                <a:cubicBezTo>
                  <a:pt x="13" y="4"/>
                  <a:pt x="16" y="5"/>
                  <a:pt x="17" y="3"/>
                </a:cubicBezTo>
                <a:cubicBezTo>
                  <a:pt x="17" y="3"/>
                  <a:pt x="19" y="2"/>
                  <a:pt x="19" y="2"/>
                </a:cubicBezTo>
                <a:cubicBezTo>
                  <a:pt x="20" y="1"/>
                  <a:pt x="21" y="0"/>
                  <a:pt x="21" y="0"/>
                </a:cubicBezTo>
                <a:cubicBezTo>
                  <a:pt x="21" y="1"/>
                  <a:pt x="20" y="3"/>
                  <a:pt x="20" y="4"/>
                </a:cubicBezTo>
                <a:cubicBezTo>
                  <a:pt x="19" y="5"/>
                  <a:pt x="18" y="7"/>
                  <a:pt x="17" y="8"/>
                </a:cubicBezTo>
                <a:cubicBezTo>
                  <a:pt x="16" y="10"/>
                  <a:pt x="15" y="13"/>
                  <a:pt x="13" y="14"/>
                </a:cubicBezTo>
                <a:cubicBezTo>
                  <a:pt x="12" y="14"/>
                  <a:pt x="11" y="13"/>
                  <a:pt x="11" y="14"/>
                </a:cubicBezTo>
                <a:cubicBezTo>
                  <a:pt x="9" y="15"/>
                  <a:pt x="7" y="15"/>
                  <a:pt x="6" y="15"/>
                </a:cubicBezTo>
                <a:cubicBezTo>
                  <a:pt x="5" y="14"/>
                  <a:pt x="0" y="10"/>
                  <a:pt x="2" y="9"/>
                </a:cubicBezTo>
                <a:cubicBezTo>
                  <a:pt x="3" y="8"/>
                  <a:pt x="4" y="9"/>
                  <a:pt x="5" y="8"/>
                </a:cubicBezTo>
                <a:cubicBezTo>
                  <a:pt x="6" y="7"/>
                  <a:pt x="6" y="6"/>
                  <a:pt x="6" y="6"/>
                </a:cubicBezTo>
                <a:cubicBezTo>
                  <a:pt x="7" y="5"/>
                  <a:pt x="8" y="5"/>
                  <a:pt x="9" y="5"/>
                </a:cubicBezTo>
                <a:lnTo>
                  <a:pt x="11" y="4"/>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93" name="Freeform 210">
            <a:extLst>
              <a:ext uri="{FF2B5EF4-FFF2-40B4-BE49-F238E27FC236}">
                <a16:creationId xmlns:a16="http://schemas.microsoft.com/office/drawing/2014/main" id="{E3F25A4B-F014-4A6C-BDCD-4588F0E1C541}"/>
              </a:ext>
            </a:extLst>
          </p:cNvPr>
          <p:cNvSpPr>
            <a:spLocks/>
          </p:cNvSpPr>
          <p:nvPr/>
        </p:nvSpPr>
        <p:spPr bwMode="auto">
          <a:xfrm>
            <a:off x="7860114" y="3158304"/>
            <a:ext cx="35480" cy="22176"/>
          </a:xfrm>
          <a:custGeom>
            <a:avLst/>
            <a:gdLst>
              <a:gd name="T0" fmla="*/ 11 w 21"/>
              <a:gd name="T1" fmla="*/ 4 h 15"/>
              <a:gd name="T2" fmla="*/ 17 w 21"/>
              <a:gd name="T3" fmla="*/ 3 h 15"/>
              <a:gd name="T4" fmla="*/ 19 w 21"/>
              <a:gd name="T5" fmla="*/ 2 h 15"/>
              <a:gd name="T6" fmla="*/ 21 w 21"/>
              <a:gd name="T7" fmla="*/ 0 h 15"/>
              <a:gd name="T8" fmla="*/ 20 w 21"/>
              <a:gd name="T9" fmla="*/ 4 h 15"/>
              <a:gd name="T10" fmla="*/ 17 w 21"/>
              <a:gd name="T11" fmla="*/ 8 h 15"/>
              <a:gd name="T12" fmla="*/ 13 w 21"/>
              <a:gd name="T13" fmla="*/ 14 h 15"/>
              <a:gd name="T14" fmla="*/ 11 w 21"/>
              <a:gd name="T15" fmla="*/ 14 h 15"/>
              <a:gd name="T16" fmla="*/ 6 w 21"/>
              <a:gd name="T17" fmla="*/ 15 h 15"/>
              <a:gd name="T18" fmla="*/ 2 w 21"/>
              <a:gd name="T19" fmla="*/ 9 h 15"/>
              <a:gd name="T20" fmla="*/ 5 w 21"/>
              <a:gd name="T21" fmla="*/ 8 h 15"/>
              <a:gd name="T22" fmla="*/ 6 w 21"/>
              <a:gd name="T23" fmla="*/ 6 h 15"/>
              <a:gd name="T24" fmla="*/ 9 w 21"/>
              <a:gd name="T25" fmla="*/ 5 h 15"/>
              <a:gd name="T26" fmla="*/ 11 w 21"/>
              <a:gd name="T2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5">
                <a:moveTo>
                  <a:pt x="11" y="4"/>
                </a:moveTo>
                <a:cubicBezTo>
                  <a:pt x="13" y="4"/>
                  <a:pt x="16" y="5"/>
                  <a:pt x="17" y="3"/>
                </a:cubicBezTo>
                <a:cubicBezTo>
                  <a:pt x="17" y="3"/>
                  <a:pt x="19" y="2"/>
                  <a:pt x="19" y="2"/>
                </a:cubicBezTo>
                <a:cubicBezTo>
                  <a:pt x="20" y="1"/>
                  <a:pt x="21" y="0"/>
                  <a:pt x="21" y="0"/>
                </a:cubicBezTo>
                <a:cubicBezTo>
                  <a:pt x="21" y="1"/>
                  <a:pt x="20" y="3"/>
                  <a:pt x="20" y="4"/>
                </a:cubicBezTo>
                <a:cubicBezTo>
                  <a:pt x="19" y="5"/>
                  <a:pt x="18" y="7"/>
                  <a:pt x="17" y="8"/>
                </a:cubicBezTo>
                <a:cubicBezTo>
                  <a:pt x="16" y="10"/>
                  <a:pt x="15" y="13"/>
                  <a:pt x="13" y="14"/>
                </a:cubicBezTo>
                <a:cubicBezTo>
                  <a:pt x="12" y="14"/>
                  <a:pt x="11" y="13"/>
                  <a:pt x="11" y="14"/>
                </a:cubicBezTo>
                <a:cubicBezTo>
                  <a:pt x="9" y="15"/>
                  <a:pt x="7" y="15"/>
                  <a:pt x="6" y="15"/>
                </a:cubicBezTo>
                <a:cubicBezTo>
                  <a:pt x="5" y="14"/>
                  <a:pt x="0" y="10"/>
                  <a:pt x="2" y="9"/>
                </a:cubicBezTo>
                <a:cubicBezTo>
                  <a:pt x="3" y="8"/>
                  <a:pt x="4" y="9"/>
                  <a:pt x="5" y="8"/>
                </a:cubicBezTo>
                <a:cubicBezTo>
                  <a:pt x="6" y="7"/>
                  <a:pt x="6" y="6"/>
                  <a:pt x="6" y="6"/>
                </a:cubicBezTo>
                <a:cubicBezTo>
                  <a:pt x="7" y="5"/>
                  <a:pt x="8" y="5"/>
                  <a:pt x="9" y="5"/>
                </a:cubicBezTo>
                <a:lnTo>
                  <a:pt x="11" y="4"/>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94" name="Freeform 211">
            <a:extLst>
              <a:ext uri="{FF2B5EF4-FFF2-40B4-BE49-F238E27FC236}">
                <a16:creationId xmlns:a16="http://schemas.microsoft.com/office/drawing/2014/main" id="{62BA92CE-E849-4181-BFE0-362F68BED4DA}"/>
              </a:ext>
            </a:extLst>
          </p:cNvPr>
          <p:cNvSpPr>
            <a:spLocks/>
          </p:cNvSpPr>
          <p:nvPr/>
        </p:nvSpPr>
        <p:spPr bwMode="auto">
          <a:xfrm>
            <a:off x="7784712" y="3144997"/>
            <a:ext cx="8869" cy="8869"/>
          </a:xfrm>
          <a:custGeom>
            <a:avLst/>
            <a:gdLst>
              <a:gd name="T0" fmla="*/ 3 w 7"/>
              <a:gd name="T1" fmla="*/ 6 h 6"/>
              <a:gd name="T2" fmla="*/ 5 w 7"/>
              <a:gd name="T3" fmla="*/ 4 h 6"/>
              <a:gd name="T4" fmla="*/ 7 w 7"/>
              <a:gd name="T5" fmla="*/ 0 h 6"/>
              <a:gd name="T6" fmla="*/ 4 w 7"/>
              <a:gd name="T7" fmla="*/ 1 h 6"/>
              <a:gd name="T8" fmla="*/ 1 w 7"/>
              <a:gd name="T9" fmla="*/ 2 h 6"/>
              <a:gd name="T10" fmla="*/ 1 w 7"/>
              <a:gd name="T11" fmla="*/ 2 h 6"/>
              <a:gd name="T12" fmla="*/ 1 w 7"/>
              <a:gd name="T13" fmla="*/ 4 h 6"/>
              <a:gd name="T14" fmla="*/ 2 w 7"/>
              <a:gd name="T15" fmla="*/ 6 h 6"/>
              <a:gd name="T16" fmla="*/ 3 w 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3" y="6"/>
                </a:moveTo>
                <a:cubicBezTo>
                  <a:pt x="3" y="6"/>
                  <a:pt x="4" y="5"/>
                  <a:pt x="5" y="4"/>
                </a:cubicBezTo>
                <a:cubicBezTo>
                  <a:pt x="5" y="3"/>
                  <a:pt x="7" y="2"/>
                  <a:pt x="7" y="0"/>
                </a:cubicBezTo>
                <a:cubicBezTo>
                  <a:pt x="5" y="0"/>
                  <a:pt x="5" y="1"/>
                  <a:pt x="4" y="1"/>
                </a:cubicBezTo>
                <a:cubicBezTo>
                  <a:pt x="3" y="1"/>
                  <a:pt x="0" y="0"/>
                  <a:pt x="1" y="2"/>
                </a:cubicBezTo>
                <a:cubicBezTo>
                  <a:pt x="1" y="2"/>
                  <a:pt x="1" y="2"/>
                  <a:pt x="1" y="2"/>
                </a:cubicBezTo>
                <a:cubicBezTo>
                  <a:pt x="1" y="3"/>
                  <a:pt x="1" y="3"/>
                  <a:pt x="1" y="4"/>
                </a:cubicBezTo>
                <a:cubicBezTo>
                  <a:pt x="1" y="5"/>
                  <a:pt x="2" y="6"/>
                  <a:pt x="2" y="6"/>
                </a:cubicBezTo>
                <a:lnTo>
                  <a:pt x="3" y="6"/>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95" name="Freeform 212">
            <a:extLst>
              <a:ext uri="{FF2B5EF4-FFF2-40B4-BE49-F238E27FC236}">
                <a16:creationId xmlns:a16="http://schemas.microsoft.com/office/drawing/2014/main" id="{21A1797F-4E6A-4642-BBF0-0802467E5E6A}"/>
              </a:ext>
            </a:extLst>
          </p:cNvPr>
          <p:cNvSpPr>
            <a:spLocks/>
          </p:cNvSpPr>
          <p:nvPr/>
        </p:nvSpPr>
        <p:spPr bwMode="auto">
          <a:xfrm>
            <a:off x="7784712" y="3144997"/>
            <a:ext cx="8869" cy="8869"/>
          </a:xfrm>
          <a:custGeom>
            <a:avLst/>
            <a:gdLst>
              <a:gd name="T0" fmla="*/ 3 w 7"/>
              <a:gd name="T1" fmla="*/ 6 h 6"/>
              <a:gd name="T2" fmla="*/ 5 w 7"/>
              <a:gd name="T3" fmla="*/ 4 h 6"/>
              <a:gd name="T4" fmla="*/ 7 w 7"/>
              <a:gd name="T5" fmla="*/ 0 h 6"/>
              <a:gd name="T6" fmla="*/ 4 w 7"/>
              <a:gd name="T7" fmla="*/ 1 h 6"/>
              <a:gd name="T8" fmla="*/ 1 w 7"/>
              <a:gd name="T9" fmla="*/ 2 h 6"/>
              <a:gd name="T10" fmla="*/ 1 w 7"/>
              <a:gd name="T11" fmla="*/ 2 h 6"/>
              <a:gd name="T12" fmla="*/ 1 w 7"/>
              <a:gd name="T13" fmla="*/ 4 h 6"/>
              <a:gd name="T14" fmla="*/ 2 w 7"/>
              <a:gd name="T15" fmla="*/ 6 h 6"/>
              <a:gd name="T16" fmla="*/ 3 w 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3" y="6"/>
                </a:moveTo>
                <a:cubicBezTo>
                  <a:pt x="3" y="6"/>
                  <a:pt x="4" y="5"/>
                  <a:pt x="5" y="4"/>
                </a:cubicBezTo>
                <a:cubicBezTo>
                  <a:pt x="5" y="3"/>
                  <a:pt x="7" y="2"/>
                  <a:pt x="7" y="0"/>
                </a:cubicBezTo>
                <a:cubicBezTo>
                  <a:pt x="5" y="0"/>
                  <a:pt x="5" y="1"/>
                  <a:pt x="4" y="1"/>
                </a:cubicBezTo>
                <a:cubicBezTo>
                  <a:pt x="3" y="1"/>
                  <a:pt x="0" y="0"/>
                  <a:pt x="1" y="2"/>
                </a:cubicBezTo>
                <a:cubicBezTo>
                  <a:pt x="1" y="2"/>
                  <a:pt x="1" y="2"/>
                  <a:pt x="1" y="2"/>
                </a:cubicBezTo>
                <a:cubicBezTo>
                  <a:pt x="1" y="3"/>
                  <a:pt x="1" y="3"/>
                  <a:pt x="1" y="4"/>
                </a:cubicBezTo>
                <a:cubicBezTo>
                  <a:pt x="1" y="5"/>
                  <a:pt x="2" y="6"/>
                  <a:pt x="2" y="6"/>
                </a:cubicBezTo>
                <a:lnTo>
                  <a:pt x="3" y="6"/>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96" name="Freeform 213">
            <a:extLst>
              <a:ext uri="{FF2B5EF4-FFF2-40B4-BE49-F238E27FC236}">
                <a16:creationId xmlns:a16="http://schemas.microsoft.com/office/drawing/2014/main" id="{4C1F9A66-0923-4E08-BFA1-AC9B4F2D5431}"/>
              </a:ext>
            </a:extLst>
          </p:cNvPr>
          <p:cNvSpPr>
            <a:spLocks/>
          </p:cNvSpPr>
          <p:nvPr/>
        </p:nvSpPr>
        <p:spPr bwMode="auto">
          <a:xfrm>
            <a:off x="7718189" y="3162734"/>
            <a:ext cx="44352" cy="13308"/>
          </a:xfrm>
          <a:custGeom>
            <a:avLst/>
            <a:gdLst>
              <a:gd name="T0" fmla="*/ 6 w 29"/>
              <a:gd name="T1" fmla="*/ 0 h 10"/>
              <a:gd name="T2" fmla="*/ 8 w 29"/>
              <a:gd name="T3" fmla="*/ 2 h 10"/>
              <a:gd name="T4" fmla="*/ 13 w 29"/>
              <a:gd name="T5" fmla="*/ 2 h 10"/>
              <a:gd name="T6" fmla="*/ 29 w 29"/>
              <a:gd name="T7" fmla="*/ 5 h 10"/>
              <a:gd name="T8" fmla="*/ 22 w 29"/>
              <a:gd name="T9" fmla="*/ 7 h 10"/>
              <a:gd name="T10" fmla="*/ 15 w 29"/>
              <a:gd name="T11" fmla="*/ 9 h 10"/>
              <a:gd name="T12" fmla="*/ 12 w 29"/>
              <a:gd name="T13" fmla="*/ 6 h 10"/>
              <a:gd name="T14" fmla="*/ 4 w 29"/>
              <a:gd name="T15" fmla="*/ 4 h 10"/>
              <a:gd name="T16" fmla="*/ 1 w 29"/>
              <a:gd name="T17" fmla="*/ 2 h 10"/>
              <a:gd name="T18" fmla="*/ 3 w 29"/>
              <a:gd name="T19" fmla="*/ 0 h 10"/>
              <a:gd name="T20" fmla="*/ 6 w 29"/>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0">
                <a:moveTo>
                  <a:pt x="6" y="0"/>
                </a:moveTo>
                <a:cubicBezTo>
                  <a:pt x="8" y="0"/>
                  <a:pt x="7" y="1"/>
                  <a:pt x="8" y="2"/>
                </a:cubicBezTo>
                <a:cubicBezTo>
                  <a:pt x="8" y="3"/>
                  <a:pt x="12" y="1"/>
                  <a:pt x="13" y="2"/>
                </a:cubicBezTo>
                <a:cubicBezTo>
                  <a:pt x="18" y="4"/>
                  <a:pt x="24" y="5"/>
                  <a:pt x="29" y="5"/>
                </a:cubicBezTo>
                <a:cubicBezTo>
                  <a:pt x="29" y="8"/>
                  <a:pt x="24" y="7"/>
                  <a:pt x="22" y="7"/>
                </a:cubicBezTo>
                <a:cubicBezTo>
                  <a:pt x="20" y="7"/>
                  <a:pt x="18" y="10"/>
                  <a:pt x="15" y="9"/>
                </a:cubicBezTo>
                <a:cubicBezTo>
                  <a:pt x="14" y="9"/>
                  <a:pt x="14" y="6"/>
                  <a:pt x="12" y="6"/>
                </a:cubicBezTo>
                <a:cubicBezTo>
                  <a:pt x="9" y="5"/>
                  <a:pt x="7" y="5"/>
                  <a:pt x="4" y="4"/>
                </a:cubicBezTo>
                <a:cubicBezTo>
                  <a:pt x="3" y="4"/>
                  <a:pt x="2" y="3"/>
                  <a:pt x="1" y="2"/>
                </a:cubicBezTo>
                <a:cubicBezTo>
                  <a:pt x="0" y="1"/>
                  <a:pt x="2" y="0"/>
                  <a:pt x="3" y="0"/>
                </a:cubicBezTo>
                <a:lnTo>
                  <a:pt x="6"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97" name="Freeform 214">
            <a:extLst>
              <a:ext uri="{FF2B5EF4-FFF2-40B4-BE49-F238E27FC236}">
                <a16:creationId xmlns:a16="http://schemas.microsoft.com/office/drawing/2014/main" id="{86AC5073-4DD8-4A39-A7E5-5FD900C13360}"/>
              </a:ext>
            </a:extLst>
          </p:cNvPr>
          <p:cNvSpPr>
            <a:spLocks/>
          </p:cNvSpPr>
          <p:nvPr/>
        </p:nvSpPr>
        <p:spPr bwMode="auto">
          <a:xfrm>
            <a:off x="7718189" y="3162734"/>
            <a:ext cx="44352" cy="13308"/>
          </a:xfrm>
          <a:custGeom>
            <a:avLst/>
            <a:gdLst>
              <a:gd name="T0" fmla="*/ 6 w 29"/>
              <a:gd name="T1" fmla="*/ 0 h 10"/>
              <a:gd name="T2" fmla="*/ 8 w 29"/>
              <a:gd name="T3" fmla="*/ 2 h 10"/>
              <a:gd name="T4" fmla="*/ 13 w 29"/>
              <a:gd name="T5" fmla="*/ 2 h 10"/>
              <a:gd name="T6" fmla="*/ 29 w 29"/>
              <a:gd name="T7" fmla="*/ 5 h 10"/>
              <a:gd name="T8" fmla="*/ 22 w 29"/>
              <a:gd name="T9" fmla="*/ 7 h 10"/>
              <a:gd name="T10" fmla="*/ 15 w 29"/>
              <a:gd name="T11" fmla="*/ 9 h 10"/>
              <a:gd name="T12" fmla="*/ 12 w 29"/>
              <a:gd name="T13" fmla="*/ 6 h 10"/>
              <a:gd name="T14" fmla="*/ 4 w 29"/>
              <a:gd name="T15" fmla="*/ 4 h 10"/>
              <a:gd name="T16" fmla="*/ 1 w 29"/>
              <a:gd name="T17" fmla="*/ 2 h 10"/>
              <a:gd name="T18" fmla="*/ 3 w 29"/>
              <a:gd name="T19" fmla="*/ 0 h 10"/>
              <a:gd name="T20" fmla="*/ 6 w 29"/>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0">
                <a:moveTo>
                  <a:pt x="6" y="0"/>
                </a:moveTo>
                <a:cubicBezTo>
                  <a:pt x="8" y="0"/>
                  <a:pt x="7" y="1"/>
                  <a:pt x="8" y="2"/>
                </a:cubicBezTo>
                <a:cubicBezTo>
                  <a:pt x="8" y="3"/>
                  <a:pt x="12" y="1"/>
                  <a:pt x="13" y="2"/>
                </a:cubicBezTo>
                <a:cubicBezTo>
                  <a:pt x="18" y="4"/>
                  <a:pt x="24" y="5"/>
                  <a:pt x="29" y="5"/>
                </a:cubicBezTo>
                <a:cubicBezTo>
                  <a:pt x="29" y="8"/>
                  <a:pt x="24" y="7"/>
                  <a:pt x="22" y="7"/>
                </a:cubicBezTo>
                <a:cubicBezTo>
                  <a:pt x="20" y="7"/>
                  <a:pt x="18" y="10"/>
                  <a:pt x="15" y="9"/>
                </a:cubicBezTo>
                <a:cubicBezTo>
                  <a:pt x="14" y="9"/>
                  <a:pt x="14" y="6"/>
                  <a:pt x="12" y="6"/>
                </a:cubicBezTo>
                <a:cubicBezTo>
                  <a:pt x="9" y="5"/>
                  <a:pt x="7" y="5"/>
                  <a:pt x="4" y="4"/>
                </a:cubicBezTo>
                <a:cubicBezTo>
                  <a:pt x="3" y="4"/>
                  <a:pt x="2" y="3"/>
                  <a:pt x="1" y="2"/>
                </a:cubicBezTo>
                <a:cubicBezTo>
                  <a:pt x="0" y="1"/>
                  <a:pt x="2" y="0"/>
                  <a:pt x="3" y="0"/>
                </a:cubicBezTo>
                <a:lnTo>
                  <a:pt x="6"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98" name="Freeform 215">
            <a:extLst>
              <a:ext uri="{FF2B5EF4-FFF2-40B4-BE49-F238E27FC236}">
                <a16:creationId xmlns:a16="http://schemas.microsoft.com/office/drawing/2014/main" id="{8239AC3B-3706-4233-AADA-70B90715D9C6}"/>
              </a:ext>
            </a:extLst>
          </p:cNvPr>
          <p:cNvSpPr>
            <a:spLocks/>
          </p:cNvSpPr>
          <p:nvPr/>
        </p:nvSpPr>
        <p:spPr bwMode="auto">
          <a:xfrm>
            <a:off x="7704884" y="3091777"/>
            <a:ext cx="22174" cy="17741"/>
          </a:xfrm>
          <a:custGeom>
            <a:avLst/>
            <a:gdLst>
              <a:gd name="T0" fmla="*/ 8 w 12"/>
              <a:gd name="T1" fmla="*/ 4 h 11"/>
              <a:gd name="T2" fmla="*/ 3 w 12"/>
              <a:gd name="T3" fmla="*/ 1 h 11"/>
              <a:gd name="T4" fmla="*/ 0 w 12"/>
              <a:gd name="T5" fmla="*/ 0 h 11"/>
              <a:gd name="T6" fmla="*/ 6 w 12"/>
              <a:gd name="T7" fmla="*/ 7 h 11"/>
              <a:gd name="T8" fmla="*/ 9 w 12"/>
              <a:gd name="T9" fmla="*/ 9 h 11"/>
              <a:gd name="T10" fmla="*/ 11 w 12"/>
              <a:gd name="T11" fmla="*/ 11 h 11"/>
              <a:gd name="T12" fmla="*/ 9 w 12"/>
              <a:gd name="T13" fmla="*/ 6 h 11"/>
              <a:gd name="T14" fmla="*/ 8 w 12"/>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8" y="4"/>
                </a:moveTo>
                <a:cubicBezTo>
                  <a:pt x="6" y="3"/>
                  <a:pt x="5" y="2"/>
                  <a:pt x="3" y="1"/>
                </a:cubicBezTo>
                <a:cubicBezTo>
                  <a:pt x="2" y="1"/>
                  <a:pt x="1" y="0"/>
                  <a:pt x="0" y="0"/>
                </a:cubicBezTo>
                <a:cubicBezTo>
                  <a:pt x="0" y="3"/>
                  <a:pt x="4" y="5"/>
                  <a:pt x="6" y="7"/>
                </a:cubicBezTo>
                <a:cubicBezTo>
                  <a:pt x="7" y="8"/>
                  <a:pt x="8" y="8"/>
                  <a:pt x="9" y="9"/>
                </a:cubicBezTo>
                <a:cubicBezTo>
                  <a:pt x="10" y="10"/>
                  <a:pt x="10" y="11"/>
                  <a:pt x="11" y="11"/>
                </a:cubicBezTo>
                <a:cubicBezTo>
                  <a:pt x="12" y="9"/>
                  <a:pt x="11" y="8"/>
                  <a:pt x="9" y="6"/>
                </a:cubicBezTo>
                <a:lnTo>
                  <a:pt x="8" y="4"/>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899" name="Freeform 216">
            <a:extLst>
              <a:ext uri="{FF2B5EF4-FFF2-40B4-BE49-F238E27FC236}">
                <a16:creationId xmlns:a16="http://schemas.microsoft.com/office/drawing/2014/main" id="{E608D03C-39F8-472F-BEE1-B68347A84475}"/>
              </a:ext>
            </a:extLst>
          </p:cNvPr>
          <p:cNvSpPr>
            <a:spLocks/>
          </p:cNvSpPr>
          <p:nvPr/>
        </p:nvSpPr>
        <p:spPr bwMode="auto">
          <a:xfrm>
            <a:off x="7704884" y="3091777"/>
            <a:ext cx="22174" cy="17741"/>
          </a:xfrm>
          <a:custGeom>
            <a:avLst/>
            <a:gdLst>
              <a:gd name="T0" fmla="*/ 8 w 12"/>
              <a:gd name="T1" fmla="*/ 4 h 11"/>
              <a:gd name="T2" fmla="*/ 3 w 12"/>
              <a:gd name="T3" fmla="*/ 1 h 11"/>
              <a:gd name="T4" fmla="*/ 0 w 12"/>
              <a:gd name="T5" fmla="*/ 0 h 11"/>
              <a:gd name="T6" fmla="*/ 6 w 12"/>
              <a:gd name="T7" fmla="*/ 7 h 11"/>
              <a:gd name="T8" fmla="*/ 9 w 12"/>
              <a:gd name="T9" fmla="*/ 9 h 11"/>
              <a:gd name="T10" fmla="*/ 11 w 12"/>
              <a:gd name="T11" fmla="*/ 11 h 11"/>
              <a:gd name="T12" fmla="*/ 9 w 12"/>
              <a:gd name="T13" fmla="*/ 6 h 11"/>
              <a:gd name="T14" fmla="*/ 8 w 12"/>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8" y="4"/>
                </a:moveTo>
                <a:cubicBezTo>
                  <a:pt x="6" y="3"/>
                  <a:pt x="5" y="2"/>
                  <a:pt x="3" y="1"/>
                </a:cubicBezTo>
                <a:cubicBezTo>
                  <a:pt x="2" y="1"/>
                  <a:pt x="1" y="0"/>
                  <a:pt x="0" y="0"/>
                </a:cubicBezTo>
                <a:cubicBezTo>
                  <a:pt x="0" y="3"/>
                  <a:pt x="4" y="5"/>
                  <a:pt x="6" y="7"/>
                </a:cubicBezTo>
                <a:cubicBezTo>
                  <a:pt x="7" y="8"/>
                  <a:pt x="8" y="8"/>
                  <a:pt x="9" y="9"/>
                </a:cubicBezTo>
                <a:cubicBezTo>
                  <a:pt x="10" y="10"/>
                  <a:pt x="10" y="11"/>
                  <a:pt x="11" y="11"/>
                </a:cubicBezTo>
                <a:cubicBezTo>
                  <a:pt x="12" y="9"/>
                  <a:pt x="11" y="8"/>
                  <a:pt x="9" y="6"/>
                </a:cubicBezTo>
                <a:lnTo>
                  <a:pt x="8" y="4"/>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00" name="Freeform 217">
            <a:extLst>
              <a:ext uri="{FF2B5EF4-FFF2-40B4-BE49-F238E27FC236}">
                <a16:creationId xmlns:a16="http://schemas.microsoft.com/office/drawing/2014/main" id="{2831A1D8-42F8-49F4-BEA6-BD678DCD8397}"/>
              </a:ext>
            </a:extLst>
          </p:cNvPr>
          <p:cNvSpPr>
            <a:spLocks/>
          </p:cNvSpPr>
          <p:nvPr/>
        </p:nvSpPr>
        <p:spPr bwMode="auto">
          <a:xfrm>
            <a:off x="7744802" y="3082902"/>
            <a:ext cx="8869" cy="4436"/>
          </a:xfrm>
          <a:custGeom>
            <a:avLst/>
            <a:gdLst>
              <a:gd name="T0" fmla="*/ 5 w 6"/>
              <a:gd name="T1" fmla="*/ 0 h 2"/>
              <a:gd name="T2" fmla="*/ 2 w 6"/>
              <a:gd name="T3" fmla="*/ 0 h 2"/>
              <a:gd name="T4" fmla="*/ 0 w 6"/>
              <a:gd name="T5" fmla="*/ 0 h 2"/>
              <a:gd name="T6" fmla="*/ 1 w 6"/>
              <a:gd name="T7" fmla="*/ 1 h 2"/>
              <a:gd name="T8" fmla="*/ 1 w 6"/>
              <a:gd name="T9" fmla="*/ 2 h 2"/>
              <a:gd name="T10" fmla="*/ 2 w 6"/>
              <a:gd name="T11" fmla="*/ 2 h 2"/>
              <a:gd name="T12" fmla="*/ 4 w 6"/>
              <a:gd name="T13" fmla="*/ 2 h 2"/>
              <a:gd name="T14" fmla="*/ 6 w 6"/>
              <a:gd name="T15" fmla="*/ 1 h 2"/>
              <a:gd name="T16" fmla="*/ 5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5" y="0"/>
                </a:moveTo>
                <a:cubicBezTo>
                  <a:pt x="4" y="0"/>
                  <a:pt x="3" y="0"/>
                  <a:pt x="2" y="0"/>
                </a:cubicBezTo>
                <a:cubicBezTo>
                  <a:pt x="2" y="0"/>
                  <a:pt x="1" y="0"/>
                  <a:pt x="0" y="0"/>
                </a:cubicBezTo>
                <a:cubicBezTo>
                  <a:pt x="1" y="1"/>
                  <a:pt x="1" y="1"/>
                  <a:pt x="1" y="1"/>
                </a:cubicBezTo>
                <a:cubicBezTo>
                  <a:pt x="1" y="2"/>
                  <a:pt x="1" y="2"/>
                  <a:pt x="1" y="2"/>
                </a:cubicBezTo>
                <a:cubicBezTo>
                  <a:pt x="2" y="2"/>
                  <a:pt x="2" y="2"/>
                  <a:pt x="2" y="2"/>
                </a:cubicBezTo>
                <a:cubicBezTo>
                  <a:pt x="3" y="2"/>
                  <a:pt x="3" y="2"/>
                  <a:pt x="4" y="2"/>
                </a:cubicBezTo>
                <a:cubicBezTo>
                  <a:pt x="5" y="2"/>
                  <a:pt x="5" y="2"/>
                  <a:pt x="6" y="1"/>
                </a:cubicBezTo>
                <a:lnTo>
                  <a:pt x="5"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01" name="Freeform 218">
            <a:extLst>
              <a:ext uri="{FF2B5EF4-FFF2-40B4-BE49-F238E27FC236}">
                <a16:creationId xmlns:a16="http://schemas.microsoft.com/office/drawing/2014/main" id="{EB4675E9-9691-4732-AC0C-F181C4857299}"/>
              </a:ext>
            </a:extLst>
          </p:cNvPr>
          <p:cNvSpPr>
            <a:spLocks/>
          </p:cNvSpPr>
          <p:nvPr/>
        </p:nvSpPr>
        <p:spPr bwMode="auto">
          <a:xfrm>
            <a:off x="7744802" y="3082902"/>
            <a:ext cx="8869" cy="4436"/>
          </a:xfrm>
          <a:custGeom>
            <a:avLst/>
            <a:gdLst>
              <a:gd name="T0" fmla="*/ 5 w 6"/>
              <a:gd name="T1" fmla="*/ 0 h 2"/>
              <a:gd name="T2" fmla="*/ 2 w 6"/>
              <a:gd name="T3" fmla="*/ 0 h 2"/>
              <a:gd name="T4" fmla="*/ 0 w 6"/>
              <a:gd name="T5" fmla="*/ 0 h 2"/>
              <a:gd name="T6" fmla="*/ 1 w 6"/>
              <a:gd name="T7" fmla="*/ 1 h 2"/>
              <a:gd name="T8" fmla="*/ 1 w 6"/>
              <a:gd name="T9" fmla="*/ 2 h 2"/>
              <a:gd name="T10" fmla="*/ 2 w 6"/>
              <a:gd name="T11" fmla="*/ 2 h 2"/>
              <a:gd name="T12" fmla="*/ 4 w 6"/>
              <a:gd name="T13" fmla="*/ 2 h 2"/>
              <a:gd name="T14" fmla="*/ 6 w 6"/>
              <a:gd name="T15" fmla="*/ 1 h 2"/>
              <a:gd name="T16" fmla="*/ 5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5" y="0"/>
                </a:moveTo>
                <a:cubicBezTo>
                  <a:pt x="4" y="0"/>
                  <a:pt x="3" y="0"/>
                  <a:pt x="2" y="0"/>
                </a:cubicBezTo>
                <a:cubicBezTo>
                  <a:pt x="2" y="0"/>
                  <a:pt x="1" y="0"/>
                  <a:pt x="0" y="0"/>
                </a:cubicBezTo>
                <a:cubicBezTo>
                  <a:pt x="1" y="1"/>
                  <a:pt x="1" y="1"/>
                  <a:pt x="1" y="1"/>
                </a:cubicBezTo>
                <a:cubicBezTo>
                  <a:pt x="1" y="2"/>
                  <a:pt x="1" y="2"/>
                  <a:pt x="1" y="2"/>
                </a:cubicBezTo>
                <a:cubicBezTo>
                  <a:pt x="2" y="2"/>
                  <a:pt x="2" y="2"/>
                  <a:pt x="2" y="2"/>
                </a:cubicBezTo>
                <a:cubicBezTo>
                  <a:pt x="3" y="2"/>
                  <a:pt x="3" y="2"/>
                  <a:pt x="4" y="2"/>
                </a:cubicBezTo>
                <a:cubicBezTo>
                  <a:pt x="5" y="2"/>
                  <a:pt x="5" y="2"/>
                  <a:pt x="6" y="1"/>
                </a:cubicBezTo>
                <a:lnTo>
                  <a:pt x="5"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02" name="Freeform 219">
            <a:extLst>
              <a:ext uri="{FF2B5EF4-FFF2-40B4-BE49-F238E27FC236}">
                <a16:creationId xmlns:a16="http://schemas.microsoft.com/office/drawing/2014/main" id="{FF9DCB70-CDDC-481A-B862-DEEA035D759E}"/>
              </a:ext>
            </a:extLst>
          </p:cNvPr>
          <p:cNvSpPr>
            <a:spLocks/>
          </p:cNvSpPr>
          <p:nvPr/>
        </p:nvSpPr>
        <p:spPr bwMode="auto">
          <a:xfrm>
            <a:off x="7531917" y="3100644"/>
            <a:ext cx="48785" cy="39919"/>
          </a:xfrm>
          <a:custGeom>
            <a:avLst/>
            <a:gdLst>
              <a:gd name="T0" fmla="*/ 27 w 30"/>
              <a:gd name="T1" fmla="*/ 2 h 22"/>
              <a:gd name="T2" fmla="*/ 20 w 30"/>
              <a:gd name="T3" fmla="*/ 3 h 22"/>
              <a:gd name="T4" fmla="*/ 9 w 30"/>
              <a:gd name="T5" fmla="*/ 3 h 22"/>
              <a:gd name="T6" fmla="*/ 0 w 30"/>
              <a:gd name="T7" fmla="*/ 5 h 22"/>
              <a:gd name="T8" fmla="*/ 3 w 30"/>
              <a:gd name="T9" fmla="*/ 10 h 22"/>
              <a:gd name="T10" fmla="*/ 15 w 30"/>
              <a:gd name="T11" fmla="*/ 15 h 22"/>
              <a:gd name="T12" fmla="*/ 19 w 30"/>
              <a:gd name="T13" fmla="*/ 17 h 22"/>
              <a:gd name="T14" fmla="*/ 23 w 30"/>
              <a:gd name="T15" fmla="*/ 21 h 22"/>
              <a:gd name="T16" fmla="*/ 26 w 30"/>
              <a:gd name="T17" fmla="*/ 10 h 22"/>
              <a:gd name="T18" fmla="*/ 28 w 30"/>
              <a:gd name="T19" fmla="*/ 0 h 22"/>
              <a:gd name="T20" fmla="*/ 27 w 30"/>
              <a:gd name="T2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2">
                <a:moveTo>
                  <a:pt x="27" y="2"/>
                </a:moveTo>
                <a:cubicBezTo>
                  <a:pt x="26" y="5"/>
                  <a:pt x="22" y="3"/>
                  <a:pt x="20" y="3"/>
                </a:cubicBezTo>
                <a:cubicBezTo>
                  <a:pt x="17" y="1"/>
                  <a:pt x="12" y="7"/>
                  <a:pt x="9" y="3"/>
                </a:cubicBezTo>
                <a:cubicBezTo>
                  <a:pt x="7" y="1"/>
                  <a:pt x="0" y="4"/>
                  <a:pt x="0" y="5"/>
                </a:cubicBezTo>
                <a:cubicBezTo>
                  <a:pt x="1" y="5"/>
                  <a:pt x="1" y="9"/>
                  <a:pt x="3" y="10"/>
                </a:cubicBezTo>
                <a:cubicBezTo>
                  <a:pt x="6" y="12"/>
                  <a:pt x="11" y="13"/>
                  <a:pt x="15" y="15"/>
                </a:cubicBezTo>
                <a:cubicBezTo>
                  <a:pt x="16" y="15"/>
                  <a:pt x="18" y="16"/>
                  <a:pt x="19" y="17"/>
                </a:cubicBezTo>
                <a:cubicBezTo>
                  <a:pt x="19" y="18"/>
                  <a:pt x="22" y="22"/>
                  <a:pt x="23" y="21"/>
                </a:cubicBezTo>
                <a:cubicBezTo>
                  <a:pt x="30" y="19"/>
                  <a:pt x="26" y="16"/>
                  <a:pt x="26" y="10"/>
                </a:cubicBezTo>
                <a:cubicBezTo>
                  <a:pt x="26" y="8"/>
                  <a:pt x="30" y="2"/>
                  <a:pt x="28" y="0"/>
                </a:cubicBezTo>
                <a:lnTo>
                  <a:pt x="27" y="2"/>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03" name="Freeform 220">
            <a:extLst>
              <a:ext uri="{FF2B5EF4-FFF2-40B4-BE49-F238E27FC236}">
                <a16:creationId xmlns:a16="http://schemas.microsoft.com/office/drawing/2014/main" id="{C251D27D-C546-47D3-9B9D-15852F0C5455}"/>
              </a:ext>
            </a:extLst>
          </p:cNvPr>
          <p:cNvSpPr>
            <a:spLocks/>
          </p:cNvSpPr>
          <p:nvPr/>
        </p:nvSpPr>
        <p:spPr bwMode="auto">
          <a:xfrm>
            <a:off x="7531917" y="3100644"/>
            <a:ext cx="48785" cy="39919"/>
          </a:xfrm>
          <a:custGeom>
            <a:avLst/>
            <a:gdLst>
              <a:gd name="T0" fmla="*/ 27 w 30"/>
              <a:gd name="T1" fmla="*/ 2 h 22"/>
              <a:gd name="T2" fmla="*/ 20 w 30"/>
              <a:gd name="T3" fmla="*/ 3 h 22"/>
              <a:gd name="T4" fmla="*/ 9 w 30"/>
              <a:gd name="T5" fmla="*/ 3 h 22"/>
              <a:gd name="T6" fmla="*/ 0 w 30"/>
              <a:gd name="T7" fmla="*/ 5 h 22"/>
              <a:gd name="T8" fmla="*/ 3 w 30"/>
              <a:gd name="T9" fmla="*/ 10 h 22"/>
              <a:gd name="T10" fmla="*/ 15 w 30"/>
              <a:gd name="T11" fmla="*/ 15 h 22"/>
              <a:gd name="T12" fmla="*/ 19 w 30"/>
              <a:gd name="T13" fmla="*/ 17 h 22"/>
              <a:gd name="T14" fmla="*/ 23 w 30"/>
              <a:gd name="T15" fmla="*/ 21 h 22"/>
              <a:gd name="T16" fmla="*/ 26 w 30"/>
              <a:gd name="T17" fmla="*/ 10 h 22"/>
              <a:gd name="T18" fmla="*/ 28 w 30"/>
              <a:gd name="T19" fmla="*/ 0 h 22"/>
              <a:gd name="T20" fmla="*/ 27 w 30"/>
              <a:gd name="T2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2">
                <a:moveTo>
                  <a:pt x="27" y="2"/>
                </a:moveTo>
                <a:cubicBezTo>
                  <a:pt x="26" y="5"/>
                  <a:pt x="22" y="3"/>
                  <a:pt x="20" y="3"/>
                </a:cubicBezTo>
                <a:cubicBezTo>
                  <a:pt x="17" y="1"/>
                  <a:pt x="12" y="7"/>
                  <a:pt x="9" y="3"/>
                </a:cubicBezTo>
                <a:cubicBezTo>
                  <a:pt x="7" y="1"/>
                  <a:pt x="0" y="4"/>
                  <a:pt x="0" y="5"/>
                </a:cubicBezTo>
                <a:cubicBezTo>
                  <a:pt x="1" y="5"/>
                  <a:pt x="1" y="9"/>
                  <a:pt x="3" y="10"/>
                </a:cubicBezTo>
                <a:cubicBezTo>
                  <a:pt x="6" y="12"/>
                  <a:pt x="11" y="13"/>
                  <a:pt x="15" y="15"/>
                </a:cubicBezTo>
                <a:cubicBezTo>
                  <a:pt x="16" y="15"/>
                  <a:pt x="18" y="16"/>
                  <a:pt x="19" y="17"/>
                </a:cubicBezTo>
                <a:cubicBezTo>
                  <a:pt x="19" y="18"/>
                  <a:pt x="22" y="22"/>
                  <a:pt x="23" y="21"/>
                </a:cubicBezTo>
                <a:cubicBezTo>
                  <a:pt x="30" y="19"/>
                  <a:pt x="26" y="16"/>
                  <a:pt x="26" y="10"/>
                </a:cubicBezTo>
                <a:cubicBezTo>
                  <a:pt x="26" y="8"/>
                  <a:pt x="30" y="2"/>
                  <a:pt x="28" y="0"/>
                </a:cubicBezTo>
                <a:lnTo>
                  <a:pt x="27" y="2"/>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04" name="Freeform 221">
            <a:extLst>
              <a:ext uri="{FF2B5EF4-FFF2-40B4-BE49-F238E27FC236}">
                <a16:creationId xmlns:a16="http://schemas.microsoft.com/office/drawing/2014/main" id="{3A847615-1BB5-4DDE-9A78-2A4A5BCD35E9}"/>
              </a:ext>
            </a:extLst>
          </p:cNvPr>
          <p:cNvSpPr>
            <a:spLocks/>
          </p:cNvSpPr>
          <p:nvPr/>
        </p:nvSpPr>
        <p:spPr bwMode="auto">
          <a:xfrm>
            <a:off x="7452086" y="3038557"/>
            <a:ext cx="26610" cy="53221"/>
          </a:xfrm>
          <a:custGeom>
            <a:avLst/>
            <a:gdLst>
              <a:gd name="T0" fmla="*/ 11 w 17"/>
              <a:gd name="T1" fmla="*/ 0 h 33"/>
              <a:gd name="T2" fmla="*/ 8 w 17"/>
              <a:gd name="T3" fmla="*/ 5 h 33"/>
              <a:gd name="T4" fmla="*/ 7 w 17"/>
              <a:gd name="T5" fmla="*/ 6 h 33"/>
              <a:gd name="T6" fmla="*/ 6 w 17"/>
              <a:gd name="T7" fmla="*/ 7 h 33"/>
              <a:gd name="T8" fmla="*/ 6 w 17"/>
              <a:gd name="T9" fmla="*/ 7 h 33"/>
              <a:gd name="T10" fmla="*/ 0 w 17"/>
              <a:gd name="T11" fmla="*/ 9 h 33"/>
              <a:gd name="T12" fmla="*/ 0 w 17"/>
              <a:gd name="T13" fmla="*/ 9 h 33"/>
              <a:gd name="T14" fmla="*/ 2 w 17"/>
              <a:gd name="T15" fmla="*/ 11 h 33"/>
              <a:gd name="T16" fmla="*/ 2 w 17"/>
              <a:gd name="T17" fmla="*/ 23 h 33"/>
              <a:gd name="T18" fmla="*/ 5 w 17"/>
              <a:gd name="T19" fmla="*/ 33 h 33"/>
              <a:gd name="T20" fmla="*/ 8 w 17"/>
              <a:gd name="T21" fmla="*/ 32 h 33"/>
              <a:gd name="T22" fmla="*/ 10 w 17"/>
              <a:gd name="T23" fmla="*/ 28 h 33"/>
              <a:gd name="T24" fmla="*/ 14 w 17"/>
              <a:gd name="T25" fmla="*/ 29 h 33"/>
              <a:gd name="T26" fmla="*/ 16 w 17"/>
              <a:gd name="T27" fmla="*/ 18 h 33"/>
              <a:gd name="T28" fmla="*/ 13 w 17"/>
              <a:gd name="T29" fmla="*/ 6 h 33"/>
              <a:gd name="T30" fmla="*/ 13 w 17"/>
              <a:gd name="T31" fmla="*/ 5 h 33"/>
              <a:gd name="T32" fmla="*/ 12 w 17"/>
              <a:gd name="T33" fmla="*/ 1 h 33"/>
              <a:gd name="T34" fmla="*/ 11 w 17"/>
              <a:gd name="T3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33">
                <a:moveTo>
                  <a:pt x="11" y="0"/>
                </a:moveTo>
                <a:cubicBezTo>
                  <a:pt x="8" y="1"/>
                  <a:pt x="10" y="4"/>
                  <a:pt x="8" y="5"/>
                </a:cubicBezTo>
                <a:cubicBezTo>
                  <a:pt x="8" y="6"/>
                  <a:pt x="7" y="6"/>
                  <a:pt x="7" y="6"/>
                </a:cubicBezTo>
                <a:cubicBezTo>
                  <a:pt x="7" y="7"/>
                  <a:pt x="7" y="7"/>
                  <a:pt x="6" y="7"/>
                </a:cubicBezTo>
                <a:cubicBezTo>
                  <a:pt x="6" y="7"/>
                  <a:pt x="6" y="7"/>
                  <a:pt x="6" y="7"/>
                </a:cubicBezTo>
                <a:cubicBezTo>
                  <a:pt x="6" y="7"/>
                  <a:pt x="1" y="8"/>
                  <a:pt x="0" y="9"/>
                </a:cubicBezTo>
                <a:cubicBezTo>
                  <a:pt x="0" y="9"/>
                  <a:pt x="0" y="9"/>
                  <a:pt x="0" y="9"/>
                </a:cubicBezTo>
                <a:cubicBezTo>
                  <a:pt x="0" y="9"/>
                  <a:pt x="2" y="11"/>
                  <a:pt x="2" y="11"/>
                </a:cubicBezTo>
                <a:cubicBezTo>
                  <a:pt x="3" y="15"/>
                  <a:pt x="2" y="19"/>
                  <a:pt x="2" y="23"/>
                </a:cubicBezTo>
                <a:cubicBezTo>
                  <a:pt x="2" y="24"/>
                  <a:pt x="4" y="32"/>
                  <a:pt x="5" y="33"/>
                </a:cubicBezTo>
                <a:cubicBezTo>
                  <a:pt x="5" y="33"/>
                  <a:pt x="7" y="33"/>
                  <a:pt x="8" y="32"/>
                </a:cubicBezTo>
                <a:cubicBezTo>
                  <a:pt x="8" y="31"/>
                  <a:pt x="8" y="28"/>
                  <a:pt x="10" y="28"/>
                </a:cubicBezTo>
                <a:cubicBezTo>
                  <a:pt x="11" y="27"/>
                  <a:pt x="13" y="29"/>
                  <a:pt x="14" y="29"/>
                </a:cubicBezTo>
                <a:cubicBezTo>
                  <a:pt x="15" y="26"/>
                  <a:pt x="17" y="20"/>
                  <a:pt x="16" y="18"/>
                </a:cubicBezTo>
                <a:cubicBezTo>
                  <a:pt x="12" y="17"/>
                  <a:pt x="16" y="8"/>
                  <a:pt x="13" y="6"/>
                </a:cubicBezTo>
                <a:cubicBezTo>
                  <a:pt x="13" y="6"/>
                  <a:pt x="13" y="5"/>
                  <a:pt x="13" y="5"/>
                </a:cubicBezTo>
                <a:cubicBezTo>
                  <a:pt x="13" y="5"/>
                  <a:pt x="12" y="2"/>
                  <a:pt x="12" y="1"/>
                </a:cubicBezTo>
                <a:lnTo>
                  <a:pt x="11"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05" name="Freeform 222">
            <a:extLst>
              <a:ext uri="{FF2B5EF4-FFF2-40B4-BE49-F238E27FC236}">
                <a16:creationId xmlns:a16="http://schemas.microsoft.com/office/drawing/2014/main" id="{306D236E-1811-49A8-9DD7-40C2C8F15406}"/>
              </a:ext>
            </a:extLst>
          </p:cNvPr>
          <p:cNvSpPr>
            <a:spLocks/>
          </p:cNvSpPr>
          <p:nvPr/>
        </p:nvSpPr>
        <p:spPr bwMode="auto">
          <a:xfrm>
            <a:off x="7452086" y="3038557"/>
            <a:ext cx="26610" cy="53221"/>
          </a:xfrm>
          <a:custGeom>
            <a:avLst/>
            <a:gdLst>
              <a:gd name="T0" fmla="*/ 11 w 17"/>
              <a:gd name="T1" fmla="*/ 0 h 33"/>
              <a:gd name="T2" fmla="*/ 8 w 17"/>
              <a:gd name="T3" fmla="*/ 5 h 33"/>
              <a:gd name="T4" fmla="*/ 7 w 17"/>
              <a:gd name="T5" fmla="*/ 6 h 33"/>
              <a:gd name="T6" fmla="*/ 6 w 17"/>
              <a:gd name="T7" fmla="*/ 7 h 33"/>
              <a:gd name="T8" fmla="*/ 6 w 17"/>
              <a:gd name="T9" fmla="*/ 7 h 33"/>
              <a:gd name="T10" fmla="*/ 0 w 17"/>
              <a:gd name="T11" fmla="*/ 9 h 33"/>
              <a:gd name="T12" fmla="*/ 0 w 17"/>
              <a:gd name="T13" fmla="*/ 9 h 33"/>
              <a:gd name="T14" fmla="*/ 2 w 17"/>
              <a:gd name="T15" fmla="*/ 11 h 33"/>
              <a:gd name="T16" fmla="*/ 2 w 17"/>
              <a:gd name="T17" fmla="*/ 23 h 33"/>
              <a:gd name="T18" fmla="*/ 5 w 17"/>
              <a:gd name="T19" fmla="*/ 33 h 33"/>
              <a:gd name="T20" fmla="*/ 8 w 17"/>
              <a:gd name="T21" fmla="*/ 32 h 33"/>
              <a:gd name="T22" fmla="*/ 10 w 17"/>
              <a:gd name="T23" fmla="*/ 28 h 33"/>
              <a:gd name="T24" fmla="*/ 14 w 17"/>
              <a:gd name="T25" fmla="*/ 29 h 33"/>
              <a:gd name="T26" fmla="*/ 16 w 17"/>
              <a:gd name="T27" fmla="*/ 18 h 33"/>
              <a:gd name="T28" fmla="*/ 13 w 17"/>
              <a:gd name="T29" fmla="*/ 6 h 33"/>
              <a:gd name="T30" fmla="*/ 13 w 17"/>
              <a:gd name="T31" fmla="*/ 5 h 33"/>
              <a:gd name="T32" fmla="*/ 12 w 17"/>
              <a:gd name="T33" fmla="*/ 1 h 33"/>
              <a:gd name="T34" fmla="*/ 11 w 17"/>
              <a:gd name="T3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33">
                <a:moveTo>
                  <a:pt x="11" y="0"/>
                </a:moveTo>
                <a:cubicBezTo>
                  <a:pt x="8" y="1"/>
                  <a:pt x="10" y="4"/>
                  <a:pt x="8" y="5"/>
                </a:cubicBezTo>
                <a:cubicBezTo>
                  <a:pt x="8" y="6"/>
                  <a:pt x="7" y="6"/>
                  <a:pt x="7" y="6"/>
                </a:cubicBezTo>
                <a:cubicBezTo>
                  <a:pt x="7" y="7"/>
                  <a:pt x="7" y="7"/>
                  <a:pt x="6" y="7"/>
                </a:cubicBezTo>
                <a:cubicBezTo>
                  <a:pt x="6" y="7"/>
                  <a:pt x="6" y="7"/>
                  <a:pt x="6" y="7"/>
                </a:cubicBezTo>
                <a:cubicBezTo>
                  <a:pt x="6" y="7"/>
                  <a:pt x="1" y="8"/>
                  <a:pt x="0" y="9"/>
                </a:cubicBezTo>
                <a:cubicBezTo>
                  <a:pt x="0" y="9"/>
                  <a:pt x="0" y="9"/>
                  <a:pt x="0" y="9"/>
                </a:cubicBezTo>
                <a:cubicBezTo>
                  <a:pt x="0" y="9"/>
                  <a:pt x="2" y="11"/>
                  <a:pt x="2" y="11"/>
                </a:cubicBezTo>
                <a:cubicBezTo>
                  <a:pt x="3" y="15"/>
                  <a:pt x="2" y="19"/>
                  <a:pt x="2" y="23"/>
                </a:cubicBezTo>
                <a:cubicBezTo>
                  <a:pt x="2" y="24"/>
                  <a:pt x="4" y="32"/>
                  <a:pt x="5" y="33"/>
                </a:cubicBezTo>
                <a:cubicBezTo>
                  <a:pt x="5" y="33"/>
                  <a:pt x="7" y="33"/>
                  <a:pt x="8" y="32"/>
                </a:cubicBezTo>
                <a:cubicBezTo>
                  <a:pt x="8" y="31"/>
                  <a:pt x="8" y="28"/>
                  <a:pt x="10" y="28"/>
                </a:cubicBezTo>
                <a:cubicBezTo>
                  <a:pt x="11" y="27"/>
                  <a:pt x="13" y="29"/>
                  <a:pt x="14" y="29"/>
                </a:cubicBezTo>
                <a:cubicBezTo>
                  <a:pt x="15" y="26"/>
                  <a:pt x="17" y="20"/>
                  <a:pt x="16" y="18"/>
                </a:cubicBezTo>
                <a:cubicBezTo>
                  <a:pt x="12" y="17"/>
                  <a:pt x="16" y="8"/>
                  <a:pt x="13" y="6"/>
                </a:cubicBezTo>
                <a:cubicBezTo>
                  <a:pt x="13" y="6"/>
                  <a:pt x="13" y="5"/>
                  <a:pt x="13" y="5"/>
                </a:cubicBezTo>
                <a:cubicBezTo>
                  <a:pt x="13" y="5"/>
                  <a:pt x="12" y="2"/>
                  <a:pt x="12" y="1"/>
                </a:cubicBezTo>
                <a:lnTo>
                  <a:pt x="11"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06" name="Freeform 223">
            <a:extLst>
              <a:ext uri="{FF2B5EF4-FFF2-40B4-BE49-F238E27FC236}">
                <a16:creationId xmlns:a16="http://schemas.microsoft.com/office/drawing/2014/main" id="{9DF3E6D8-249A-4E6B-AD7B-B4FBEECD7CF5}"/>
              </a:ext>
            </a:extLst>
          </p:cNvPr>
          <p:cNvSpPr>
            <a:spLocks/>
          </p:cNvSpPr>
          <p:nvPr/>
        </p:nvSpPr>
        <p:spPr bwMode="auto">
          <a:xfrm>
            <a:off x="7456520" y="3007514"/>
            <a:ext cx="13303" cy="26610"/>
          </a:xfrm>
          <a:custGeom>
            <a:avLst/>
            <a:gdLst>
              <a:gd name="T0" fmla="*/ 6 w 9"/>
              <a:gd name="T1" fmla="*/ 0 h 18"/>
              <a:gd name="T2" fmla="*/ 5 w 9"/>
              <a:gd name="T3" fmla="*/ 4 h 18"/>
              <a:gd name="T4" fmla="*/ 4 w 9"/>
              <a:gd name="T5" fmla="*/ 5 h 18"/>
              <a:gd name="T6" fmla="*/ 2 w 9"/>
              <a:gd name="T7" fmla="*/ 6 h 18"/>
              <a:gd name="T8" fmla="*/ 1 w 9"/>
              <a:gd name="T9" fmla="*/ 6 h 18"/>
              <a:gd name="T10" fmla="*/ 1 w 9"/>
              <a:gd name="T11" fmla="*/ 10 h 18"/>
              <a:gd name="T12" fmla="*/ 2 w 9"/>
              <a:gd name="T13" fmla="*/ 12 h 18"/>
              <a:gd name="T14" fmla="*/ 2 w 9"/>
              <a:gd name="T15" fmla="*/ 13 h 18"/>
              <a:gd name="T16" fmla="*/ 2 w 9"/>
              <a:gd name="T17" fmla="*/ 13 h 18"/>
              <a:gd name="T18" fmla="*/ 2 w 9"/>
              <a:gd name="T19" fmla="*/ 15 h 18"/>
              <a:gd name="T20" fmla="*/ 3 w 9"/>
              <a:gd name="T21" fmla="*/ 16 h 18"/>
              <a:gd name="T22" fmla="*/ 4 w 9"/>
              <a:gd name="T23" fmla="*/ 16 h 18"/>
              <a:gd name="T24" fmla="*/ 6 w 9"/>
              <a:gd name="T25" fmla="*/ 17 h 18"/>
              <a:gd name="T26" fmla="*/ 6 w 9"/>
              <a:gd name="T27" fmla="*/ 17 h 18"/>
              <a:gd name="T28" fmla="*/ 7 w 9"/>
              <a:gd name="T29" fmla="*/ 18 h 18"/>
              <a:gd name="T30" fmla="*/ 8 w 9"/>
              <a:gd name="T31" fmla="*/ 18 h 18"/>
              <a:gd name="T32" fmla="*/ 8 w 9"/>
              <a:gd name="T33" fmla="*/ 18 h 18"/>
              <a:gd name="T34" fmla="*/ 8 w 9"/>
              <a:gd name="T35" fmla="*/ 17 h 18"/>
              <a:gd name="T36" fmla="*/ 8 w 9"/>
              <a:gd name="T37" fmla="*/ 17 h 18"/>
              <a:gd name="T38" fmla="*/ 8 w 9"/>
              <a:gd name="T39" fmla="*/ 12 h 18"/>
              <a:gd name="T40" fmla="*/ 8 w 9"/>
              <a:gd name="T41" fmla="*/ 11 h 18"/>
              <a:gd name="T42" fmla="*/ 8 w 9"/>
              <a:gd name="T43" fmla="*/ 8 h 18"/>
              <a:gd name="T44" fmla="*/ 8 w 9"/>
              <a:gd name="T45" fmla="*/ 5 h 18"/>
              <a:gd name="T46" fmla="*/ 8 w 9"/>
              <a:gd name="T47" fmla="*/ 4 h 18"/>
              <a:gd name="T48" fmla="*/ 7 w 9"/>
              <a:gd name="T49" fmla="*/ 3 h 18"/>
              <a:gd name="T50" fmla="*/ 7 w 9"/>
              <a:gd name="T51" fmla="*/ 0 h 18"/>
              <a:gd name="T52" fmla="*/ 6 w 9"/>
              <a:gd name="T5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 h="18">
                <a:moveTo>
                  <a:pt x="6" y="0"/>
                </a:moveTo>
                <a:cubicBezTo>
                  <a:pt x="5" y="1"/>
                  <a:pt x="5" y="3"/>
                  <a:pt x="5" y="4"/>
                </a:cubicBezTo>
                <a:cubicBezTo>
                  <a:pt x="4" y="5"/>
                  <a:pt x="4" y="5"/>
                  <a:pt x="4" y="5"/>
                </a:cubicBezTo>
                <a:cubicBezTo>
                  <a:pt x="4" y="5"/>
                  <a:pt x="3" y="6"/>
                  <a:pt x="2" y="6"/>
                </a:cubicBezTo>
                <a:cubicBezTo>
                  <a:pt x="2" y="6"/>
                  <a:pt x="1" y="6"/>
                  <a:pt x="1" y="6"/>
                </a:cubicBezTo>
                <a:cubicBezTo>
                  <a:pt x="0" y="8"/>
                  <a:pt x="1" y="9"/>
                  <a:pt x="1" y="10"/>
                </a:cubicBezTo>
                <a:cubicBezTo>
                  <a:pt x="1" y="11"/>
                  <a:pt x="2" y="12"/>
                  <a:pt x="2" y="12"/>
                </a:cubicBezTo>
                <a:cubicBezTo>
                  <a:pt x="2" y="13"/>
                  <a:pt x="2" y="13"/>
                  <a:pt x="2" y="13"/>
                </a:cubicBezTo>
                <a:cubicBezTo>
                  <a:pt x="2" y="13"/>
                  <a:pt x="2" y="13"/>
                  <a:pt x="2" y="13"/>
                </a:cubicBezTo>
                <a:cubicBezTo>
                  <a:pt x="2" y="15"/>
                  <a:pt x="2" y="15"/>
                  <a:pt x="2" y="15"/>
                </a:cubicBezTo>
                <a:cubicBezTo>
                  <a:pt x="2" y="15"/>
                  <a:pt x="3" y="16"/>
                  <a:pt x="3" y="16"/>
                </a:cubicBezTo>
                <a:cubicBezTo>
                  <a:pt x="4" y="16"/>
                  <a:pt x="4" y="16"/>
                  <a:pt x="4" y="16"/>
                </a:cubicBezTo>
                <a:cubicBezTo>
                  <a:pt x="4" y="16"/>
                  <a:pt x="5" y="17"/>
                  <a:pt x="6" y="17"/>
                </a:cubicBezTo>
                <a:cubicBezTo>
                  <a:pt x="6" y="17"/>
                  <a:pt x="6" y="17"/>
                  <a:pt x="6" y="17"/>
                </a:cubicBezTo>
                <a:cubicBezTo>
                  <a:pt x="7" y="18"/>
                  <a:pt x="7" y="18"/>
                  <a:pt x="7" y="18"/>
                </a:cubicBezTo>
                <a:cubicBezTo>
                  <a:pt x="8" y="18"/>
                  <a:pt x="8" y="18"/>
                  <a:pt x="8" y="18"/>
                </a:cubicBezTo>
                <a:cubicBezTo>
                  <a:pt x="8" y="18"/>
                  <a:pt x="8" y="18"/>
                  <a:pt x="8" y="18"/>
                </a:cubicBezTo>
                <a:cubicBezTo>
                  <a:pt x="8" y="17"/>
                  <a:pt x="8" y="17"/>
                  <a:pt x="8" y="17"/>
                </a:cubicBezTo>
                <a:cubicBezTo>
                  <a:pt x="8" y="17"/>
                  <a:pt x="8" y="17"/>
                  <a:pt x="8" y="17"/>
                </a:cubicBezTo>
                <a:cubicBezTo>
                  <a:pt x="9" y="17"/>
                  <a:pt x="8" y="12"/>
                  <a:pt x="8" y="12"/>
                </a:cubicBezTo>
                <a:cubicBezTo>
                  <a:pt x="8" y="11"/>
                  <a:pt x="8" y="11"/>
                  <a:pt x="8" y="11"/>
                </a:cubicBezTo>
                <a:cubicBezTo>
                  <a:pt x="8" y="10"/>
                  <a:pt x="8" y="9"/>
                  <a:pt x="8" y="8"/>
                </a:cubicBezTo>
                <a:cubicBezTo>
                  <a:pt x="8" y="7"/>
                  <a:pt x="8" y="5"/>
                  <a:pt x="8" y="5"/>
                </a:cubicBezTo>
                <a:cubicBezTo>
                  <a:pt x="8" y="4"/>
                  <a:pt x="8" y="4"/>
                  <a:pt x="8" y="4"/>
                </a:cubicBezTo>
                <a:cubicBezTo>
                  <a:pt x="7" y="3"/>
                  <a:pt x="7" y="3"/>
                  <a:pt x="7" y="3"/>
                </a:cubicBezTo>
                <a:cubicBezTo>
                  <a:pt x="7" y="2"/>
                  <a:pt x="7" y="1"/>
                  <a:pt x="7" y="0"/>
                </a:cubicBezTo>
                <a:lnTo>
                  <a:pt x="6"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08" name="Freeform 224">
            <a:extLst>
              <a:ext uri="{FF2B5EF4-FFF2-40B4-BE49-F238E27FC236}">
                <a16:creationId xmlns:a16="http://schemas.microsoft.com/office/drawing/2014/main" id="{AE6635FC-A6B5-44B9-BEA3-447F147F00CE}"/>
              </a:ext>
            </a:extLst>
          </p:cNvPr>
          <p:cNvSpPr>
            <a:spLocks/>
          </p:cNvSpPr>
          <p:nvPr/>
        </p:nvSpPr>
        <p:spPr bwMode="auto">
          <a:xfrm>
            <a:off x="7456520" y="3007514"/>
            <a:ext cx="13303" cy="26610"/>
          </a:xfrm>
          <a:custGeom>
            <a:avLst/>
            <a:gdLst>
              <a:gd name="T0" fmla="*/ 6 w 9"/>
              <a:gd name="T1" fmla="*/ 0 h 18"/>
              <a:gd name="T2" fmla="*/ 5 w 9"/>
              <a:gd name="T3" fmla="*/ 4 h 18"/>
              <a:gd name="T4" fmla="*/ 4 w 9"/>
              <a:gd name="T5" fmla="*/ 5 h 18"/>
              <a:gd name="T6" fmla="*/ 2 w 9"/>
              <a:gd name="T7" fmla="*/ 6 h 18"/>
              <a:gd name="T8" fmla="*/ 1 w 9"/>
              <a:gd name="T9" fmla="*/ 6 h 18"/>
              <a:gd name="T10" fmla="*/ 1 w 9"/>
              <a:gd name="T11" fmla="*/ 10 h 18"/>
              <a:gd name="T12" fmla="*/ 2 w 9"/>
              <a:gd name="T13" fmla="*/ 12 h 18"/>
              <a:gd name="T14" fmla="*/ 2 w 9"/>
              <a:gd name="T15" fmla="*/ 13 h 18"/>
              <a:gd name="T16" fmla="*/ 2 w 9"/>
              <a:gd name="T17" fmla="*/ 13 h 18"/>
              <a:gd name="T18" fmla="*/ 2 w 9"/>
              <a:gd name="T19" fmla="*/ 15 h 18"/>
              <a:gd name="T20" fmla="*/ 3 w 9"/>
              <a:gd name="T21" fmla="*/ 16 h 18"/>
              <a:gd name="T22" fmla="*/ 4 w 9"/>
              <a:gd name="T23" fmla="*/ 16 h 18"/>
              <a:gd name="T24" fmla="*/ 6 w 9"/>
              <a:gd name="T25" fmla="*/ 17 h 18"/>
              <a:gd name="T26" fmla="*/ 6 w 9"/>
              <a:gd name="T27" fmla="*/ 17 h 18"/>
              <a:gd name="T28" fmla="*/ 7 w 9"/>
              <a:gd name="T29" fmla="*/ 18 h 18"/>
              <a:gd name="T30" fmla="*/ 8 w 9"/>
              <a:gd name="T31" fmla="*/ 18 h 18"/>
              <a:gd name="T32" fmla="*/ 8 w 9"/>
              <a:gd name="T33" fmla="*/ 18 h 18"/>
              <a:gd name="T34" fmla="*/ 8 w 9"/>
              <a:gd name="T35" fmla="*/ 17 h 18"/>
              <a:gd name="T36" fmla="*/ 8 w 9"/>
              <a:gd name="T37" fmla="*/ 17 h 18"/>
              <a:gd name="T38" fmla="*/ 8 w 9"/>
              <a:gd name="T39" fmla="*/ 12 h 18"/>
              <a:gd name="T40" fmla="*/ 8 w 9"/>
              <a:gd name="T41" fmla="*/ 11 h 18"/>
              <a:gd name="T42" fmla="*/ 8 w 9"/>
              <a:gd name="T43" fmla="*/ 8 h 18"/>
              <a:gd name="T44" fmla="*/ 8 w 9"/>
              <a:gd name="T45" fmla="*/ 5 h 18"/>
              <a:gd name="T46" fmla="*/ 8 w 9"/>
              <a:gd name="T47" fmla="*/ 4 h 18"/>
              <a:gd name="T48" fmla="*/ 7 w 9"/>
              <a:gd name="T49" fmla="*/ 3 h 18"/>
              <a:gd name="T50" fmla="*/ 7 w 9"/>
              <a:gd name="T51" fmla="*/ 0 h 18"/>
              <a:gd name="T52" fmla="*/ 6 w 9"/>
              <a:gd name="T5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 h="18">
                <a:moveTo>
                  <a:pt x="6" y="0"/>
                </a:moveTo>
                <a:cubicBezTo>
                  <a:pt x="5" y="1"/>
                  <a:pt x="5" y="3"/>
                  <a:pt x="5" y="4"/>
                </a:cubicBezTo>
                <a:cubicBezTo>
                  <a:pt x="4" y="5"/>
                  <a:pt x="4" y="5"/>
                  <a:pt x="4" y="5"/>
                </a:cubicBezTo>
                <a:cubicBezTo>
                  <a:pt x="4" y="5"/>
                  <a:pt x="3" y="6"/>
                  <a:pt x="2" y="6"/>
                </a:cubicBezTo>
                <a:cubicBezTo>
                  <a:pt x="2" y="6"/>
                  <a:pt x="1" y="6"/>
                  <a:pt x="1" y="6"/>
                </a:cubicBezTo>
                <a:cubicBezTo>
                  <a:pt x="0" y="8"/>
                  <a:pt x="1" y="9"/>
                  <a:pt x="1" y="10"/>
                </a:cubicBezTo>
                <a:cubicBezTo>
                  <a:pt x="1" y="11"/>
                  <a:pt x="2" y="12"/>
                  <a:pt x="2" y="12"/>
                </a:cubicBezTo>
                <a:cubicBezTo>
                  <a:pt x="2" y="13"/>
                  <a:pt x="2" y="13"/>
                  <a:pt x="2" y="13"/>
                </a:cubicBezTo>
                <a:cubicBezTo>
                  <a:pt x="2" y="13"/>
                  <a:pt x="2" y="13"/>
                  <a:pt x="2" y="13"/>
                </a:cubicBezTo>
                <a:cubicBezTo>
                  <a:pt x="2" y="15"/>
                  <a:pt x="2" y="15"/>
                  <a:pt x="2" y="15"/>
                </a:cubicBezTo>
                <a:cubicBezTo>
                  <a:pt x="2" y="15"/>
                  <a:pt x="3" y="16"/>
                  <a:pt x="3" y="16"/>
                </a:cubicBezTo>
                <a:cubicBezTo>
                  <a:pt x="4" y="16"/>
                  <a:pt x="4" y="16"/>
                  <a:pt x="4" y="16"/>
                </a:cubicBezTo>
                <a:cubicBezTo>
                  <a:pt x="4" y="16"/>
                  <a:pt x="5" y="17"/>
                  <a:pt x="6" y="17"/>
                </a:cubicBezTo>
                <a:cubicBezTo>
                  <a:pt x="6" y="17"/>
                  <a:pt x="6" y="17"/>
                  <a:pt x="6" y="17"/>
                </a:cubicBezTo>
                <a:cubicBezTo>
                  <a:pt x="7" y="18"/>
                  <a:pt x="7" y="18"/>
                  <a:pt x="7" y="18"/>
                </a:cubicBezTo>
                <a:cubicBezTo>
                  <a:pt x="8" y="18"/>
                  <a:pt x="8" y="18"/>
                  <a:pt x="8" y="18"/>
                </a:cubicBezTo>
                <a:cubicBezTo>
                  <a:pt x="8" y="18"/>
                  <a:pt x="8" y="18"/>
                  <a:pt x="8" y="18"/>
                </a:cubicBezTo>
                <a:cubicBezTo>
                  <a:pt x="8" y="17"/>
                  <a:pt x="8" y="17"/>
                  <a:pt x="8" y="17"/>
                </a:cubicBezTo>
                <a:cubicBezTo>
                  <a:pt x="8" y="17"/>
                  <a:pt x="8" y="17"/>
                  <a:pt x="8" y="17"/>
                </a:cubicBezTo>
                <a:cubicBezTo>
                  <a:pt x="9" y="17"/>
                  <a:pt x="8" y="12"/>
                  <a:pt x="8" y="12"/>
                </a:cubicBezTo>
                <a:cubicBezTo>
                  <a:pt x="8" y="11"/>
                  <a:pt x="8" y="11"/>
                  <a:pt x="8" y="11"/>
                </a:cubicBezTo>
                <a:cubicBezTo>
                  <a:pt x="8" y="10"/>
                  <a:pt x="8" y="9"/>
                  <a:pt x="8" y="8"/>
                </a:cubicBezTo>
                <a:cubicBezTo>
                  <a:pt x="8" y="7"/>
                  <a:pt x="8" y="5"/>
                  <a:pt x="8" y="5"/>
                </a:cubicBezTo>
                <a:cubicBezTo>
                  <a:pt x="8" y="4"/>
                  <a:pt x="8" y="4"/>
                  <a:pt x="8" y="4"/>
                </a:cubicBezTo>
                <a:cubicBezTo>
                  <a:pt x="7" y="3"/>
                  <a:pt x="7" y="3"/>
                  <a:pt x="7" y="3"/>
                </a:cubicBezTo>
                <a:cubicBezTo>
                  <a:pt x="7" y="2"/>
                  <a:pt x="7" y="1"/>
                  <a:pt x="7" y="0"/>
                </a:cubicBezTo>
                <a:lnTo>
                  <a:pt x="6"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09" name="Freeform 225">
            <a:extLst>
              <a:ext uri="{FF2B5EF4-FFF2-40B4-BE49-F238E27FC236}">
                <a16:creationId xmlns:a16="http://schemas.microsoft.com/office/drawing/2014/main" id="{495CC285-51B8-4A90-8574-C6E3CA1B1450}"/>
              </a:ext>
            </a:extLst>
          </p:cNvPr>
          <p:cNvSpPr>
            <a:spLocks/>
          </p:cNvSpPr>
          <p:nvPr/>
        </p:nvSpPr>
        <p:spPr bwMode="auto">
          <a:xfrm>
            <a:off x="7358946" y="3069600"/>
            <a:ext cx="13303" cy="13308"/>
          </a:xfrm>
          <a:custGeom>
            <a:avLst/>
            <a:gdLst>
              <a:gd name="T0" fmla="*/ 8 w 8"/>
              <a:gd name="T1" fmla="*/ 3 h 7"/>
              <a:gd name="T2" fmla="*/ 6 w 8"/>
              <a:gd name="T3" fmla="*/ 0 h 7"/>
              <a:gd name="T4" fmla="*/ 5 w 8"/>
              <a:gd name="T5" fmla="*/ 1 h 7"/>
              <a:gd name="T6" fmla="*/ 2 w 8"/>
              <a:gd name="T7" fmla="*/ 2 h 7"/>
              <a:gd name="T8" fmla="*/ 3 w 8"/>
              <a:gd name="T9" fmla="*/ 5 h 7"/>
              <a:gd name="T10" fmla="*/ 5 w 8"/>
              <a:gd name="T11" fmla="*/ 6 h 7"/>
              <a:gd name="T12" fmla="*/ 8 w 8"/>
              <a:gd name="T13" fmla="*/ 5 h 7"/>
              <a:gd name="T14" fmla="*/ 8 w 8"/>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8" y="3"/>
                </a:moveTo>
                <a:cubicBezTo>
                  <a:pt x="7" y="3"/>
                  <a:pt x="7" y="0"/>
                  <a:pt x="6" y="0"/>
                </a:cubicBezTo>
                <a:cubicBezTo>
                  <a:pt x="5" y="0"/>
                  <a:pt x="5" y="1"/>
                  <a:pt x="5" y="1"/>
                </a:cubicBezTo>
                <a:cubicBezTo>
                  <a:pt x="4" y="1"/>
                  <a:pt x="3" y="1"/>
                  <a:pt x="2" y="2"/>
                </a:cubicBezTo>
                <a:cubicBezTo>
                  <a:pt x="0" y="3"/>
                  <a:pt x="3" y="4"/>
                  <a:pt x="3" y="5"/>
                </a:cubicBezTo>
                <a:cubicBezTo>
                  <a:pt x="4" y="5"/>
                  <a:pt x="4" y="6"/>
                  <a:pt x="5" y="6"/>
                </a:cubicBezTo>
                <a:cubicBezTo>
                  <a:pt x="5" y="7"/>
                  <a:pt x="7" y="5"/>
                  <a:pt x="8" y="5"/>
                </a:cubicBezTo>
                <a:lnTo>
                  <a:pt x="8" y="3"/>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10" name="Freeform 226">
            <a:extLst>
              <a:ext uri="{FF2B5EF4-FFF2-40B4-BE49-F238E27FC236}">
                <a16:creationId xmlns:a16="http://schemas.microsoft.com/office/drawing/2014/main" id="{E6CD8668-848E-4477-AEAE-1735B7E37465}"/>
              </a:ext>
            </a:extLst>
          </p:cNvPr>
          <p:cNvSpPr>
            <a:spLocks/>
          </p:cNvSpPr>
          <p:nvPr/>
        </p:nvSpPr>
        <p:spPr bwMode="auto">
          <a:xfrm>
            <a:off x="7358946" y="3069600"/>
            <a:ext cx="13303" cy="13308"/>
          </a:xfrm>
          <a:custGeom>
            <a:avLst/>
            <a:gdLst>
              <a:gd name="T0" fmla="*/ 8 w 8"/>
              <a:gd name="T1" fmla="*/ 3 h 7"/>
              <a:gd name="T2" fmla="*/ 6 w 8"/>
              <a:gd name="T3" fmla="*/ 0 h 7"/>
              <a:gd name="T4" fmla="*/ 5 w 8"/>
              <a:gd name="T5" fmla="*/ 1 h 7"/>
              <a:gd name="T6" fmla="*/ 2 w 8"/>
              <a:gd name="T7" fmla="*/ 2 h 7"/>
              <a:gd name="T8" fmla="*/ 3 w 8"/>
              <a:gd name="T9" fmla="*/ 5 h 7"/>
              <a:gd name="T10" fmla="*/ 5 w 8"/>
              <a:gd name="T11" fmla="*/ 6 h 7"/>
              <a:gd name="T12" fmla="*/ 8 w 8"/>
              <a:gd name="T13" fmla="*/ 5 h 7"/>
              <a:gd name="T14" fmla="*/ 8 w 8"/>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8" y="3"/>
                </a:moveTo>
                <a:cubicBezTo>
                  <a:pt x="7" y="3"/>
                  <a:pt x="7" y="0"/>
                  <a:pt x="6" y="0"/>
                </a:cubicBezTo>
                <a:cubicBezTo>
                  <a:pt x="5" y="0"/>
                  <a:pt x="5" y="1"/>
                  <a:pt x="5" y="1"/>
                </a:cubicBezTo>
                <a:cubicBezTo>
                  <a:pt x="4" y="1"/>
                  <a:pt x="3" y="1"/>
                  <a:pt x="2" y="2"/>
                </a:cubicBezTo>
                <a:cubicBezTo>
                  <a:pt x="0" y="3"/>
                  <a:pt x="3" y="4"/>
                  <a:pt x="3" y="5"/>
                </a:cubicBezTo>
                <a:cubicBezTo>
                  <a:pt x="4" y="5"/>
                  <a:pt x="4" y="6"/>
                  <a:pt x="5" y="6"/>
                </a:cubicBezTo>
                <a:cubicBezTo>
                  <a:pt x="5" y="7"/>
                  <a:pt x="7" y="5"/>
                  <a:pt x="8" y="5"/>
                </a:cubicBezTo>
                <a:lnTo>
                  <a:pt x="8" y="3"/>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11" name="Freeform 227">
            <a:extLst>
              <a:ext uri="{FF2B5EF4-FFF2-40B4-BE49-F238E27FC236}">
                <a16:creationId xmlns:a16="http://schemas.microsoft.com/office/drawing/2014/main" id="{BFF2D171-449C-4D5B-9708-568CFE879215}"/>
              </a:ext>
            </a:extLst>
          </p:cNvPr>
          <p:cNvSpPr>
            <a:spLocks/>
          </p:cNvSpPr>
          <p:nvPr/>
        </p:nvSpPr>
        <p:spPr bwMode="auto">
          <a:xfrm>
            <a:off x="7341206" y="3087343"/>
            <a:ext cx="8869" cy="8869"/>
          </a:xfrm>
          <a:custGeom>
            <a:avLst/>
            <a:gdLst>
              <a:gd name="T0" fmla="*/ 4 w 4"/>
              <a:gd name="T1" fmla="*/ 0 h 4"/>
              <a:gd name="T2" fmla="*/ 0 w 4"/>
              <a:gd name="T3" fmla="*/ 2 h 4"/>
              <a:gd name="T4" fmla="*/ 1 w 4"/>
              <a:gd name="T5" fmla="*/ 4 h 4"/>
              <a:gd name="T6" fmla="*/ 4 w 4"/>
              <a:gd name="T7" fmla="*/ 2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cubicBezTo>
                  <a:pt x="2" y="0"/>
                  <a:pt x="1" y="1"/>
                  <a:pt x="0" y="2"/>
                </a:cubicBezTo>
                <a:cubicBezTo>
                  <a:pt x="0" y="3"/>
                  <a:pt x="0" y="4"/>
                  <a:pt x="1" y="4"/>
                </a:cubicBezTo>
                <a:cubicBezTo>
                  <a:pt x="2" y="4"/>
                  <a:pt x="3" y="3"/>
                  <a:pt x="4" y="2"/>
                </a:cubicBezTo>
                <a:lnTo>
                  <a:pt x="4"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12" name="Freeform 228">
            <a:extLst>
              <a:ext uri="{FF2B5EF4-FFF2-40B4-BE49-F238E27FC236}">
                <a16:creationId xmlns:a16="http://schemas.microsoft.com/office/drawing/2014/main" id="{E2713B9A-D0D5-440E-AEB5-802ABCAED86C}"/>
              </a:ext>
            </a:extLst>
          </p:cNvPr>
          <p:cNvSpPr>
            <a:spLocks/>
          </p:cNvSpPr>
          <p:nvPr/>
        </p:nvSpPr>
        <p:spPr bwMode="auto">
          <a:xfrm>
            <a:off x="7341206" y="3087343"/>
            <a:ext cx="8869" cy="8869"/>
          </a:xfrm>
          <a:custGeom>
            <a:avLst/>
            <a:gdLst>
              <a:gd name="T0" fmla="*/ 4 w 4"/>
              <a:gd name="T1" fmla="*/ 0 h 4"/>
              <a:gd name="T2" fmla="*/ 0 w 4"/>
              <a:gd name="T3" fmla="*/ 2 h 4"/>
              <a:gd name="T4" fmla="*/ 1 w 4"/>
              <a:gd name="T5" fmla="*/ 4 h 4"/>
              <a:gd name="T6" fmla="*/ 4 w 4"/>
              <a:gd name="T7" fmla="*/ 2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cubicBezTo>
                  <a:pt x="2" y="0"/>
                  <a:pt x="1" y="1"/>
                  <a:pt x="0" y="2"/>
                </a:cubicBezTo>
                <a:cubicBezTo>
                  <a:pt x="0" y="3"/>
                  <a:pt x="0" y="4"/>
                  <a:pt x="1" y="4"/>
                </a:cubicBezTo>
                <a:cubicBezTo>
                  <a:pt x="2" y="4"/>
                  <a:pt x="3" y="3"/>
                  <a:pt x="4" y="2"/>
                </a:cubicBezTo>
                <a:lnTo>
                  <a:pt x="4"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13" name="Freeform 229">
            <a:extLst>
              <a:ext uri="{FF2B5EF4-FFF2-40B4-BE49-F238E27FC236}">
                <a16:creationId xmlns:a16="http://schemas.microsoft.com/office/drawing/2014/main" id="{760501EE-7DEF-49AB-B419-39FA1BE76CAD}"/>
              </a:ext>
            </a:extLst>
          </p:cNvPr>
          <p:cNvSpPr>
            <a:spLocks/>
          </p:cNvSpPr>
          <p:nvPr/>
        </p:nvSpPr>
        <p:spPr bwMode="auto">
          <a:xfrm>
            <a:off x="7177115" y="2763581"/>
            <a:ext cx="79831" cy="75398"/>
          </a:xfrm>
          <a:custGeom>
            <a:avLst/>
            <a:gdLst>
              <a:gd name="T0" fmla="*/ 40 w 46"/>
              <a:gd name="T1" fmla="*/ 2 h 45"/>
              <a:gd name="T2" fmla="*/ 34 w 46"/>
              <a:gd name="T3" fmla="*/ 2 h 45"/>
              <a:gd name="T4" fmla="*/ 29 w 46"/>
              <a:gd name="T5" fmla="*/ 1 h 45"/>
              <a:gd name="T6" fmla="*/ 21 w 46"/>
              <a:gd name="T7" fmla="*/ 5 h 45"/>
              <a:gd name="T8" fmla="*/ 21 w 46"/>
              <a:gd name="T9" fmla="*/ 10 h 45"/>
              <a:gd name="T10" fmla="*/ 10 w 46"/>
              <a:gd name="T11" fmla="*/ 12 h 45"/>
              <a:gd name="T12" fmla="*/ 10 w 46"/>
              <a:gd name="T13" fmla="*/ 15 h 45"/>
              <a:gd name="T14" fmla="*/ 7 w 46"/>
              <a:gd name="T15" fmla="*/ 19 h 45"/>
              <a:gd name="T16" fmla="*/ 8 w 46"/>
              <a:gd name="T17" fmla="*/ 21 h 45"/>
              <a:gd name="T18" fmla="*/ 14 w 46"/>
              <a:gd name="T19" fmla="*/ 22 h 45"/>
              <a:gd name="T20" fmla="*/ 9 w 46"/>
              <a:gd name="T21" fmla="*/ 27 h 45"/>
              <a:gd name="T22" fmla="*/ 6 w 46"/>
              <a:gd name="T23" fmla="*/ 34 h 45"/>
              <a:gd name="T24" fmla="*/ 0 w 46"/>
              <a:gd name="T25" fmla="*/ 41 h 45"/>
              <a:gd name="T26" fmla="*/ 8 w 46"/>
              <a:gd name="T27" fmla="*/ 41 h 45"/>
              <a:gd name="T28" fmla="*/ 8 w 46"/>
              <a:gd name="T29" fmla="*/ 45 h 45"/>
              <a:gd name="T30" fmla="*/ 23 w 46"/>
              <a:gd name="T31" fmla="*/ 40 h 45"/>
              <a:gd name="T32" fmla="*/ 27 w 46"/>
              <a:gd name="T33" fmla="*/ 36 h 45"/>
              <a:gd name="T34" fmla="*/ 40 w 46"/>
              <a:gd name="T35" fmla="*/ 15 h 45"/>
              <a:gd name="T36" fmla="*/ 46 w 46"/>
              <a:gd name="T37" fmla="*/ 9 h 45"/>
              <a:gd name="T38" fmla="*/ 42 w 46"/>
              <a:gd name="T39" fmla="*/ 5 h 45"/>
              <a:gd name="T40" fmla="*/ 40 w 46"/>
              <a:gd name="T41" fmla="*/ 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45">
                <a:moveTo>
                  <a:pt x="40" y="2"/>
                </a:moveTo>
                <a:cubicBezTo>
                  <a:pt x="38" y="2"/>
                  <a:pt x="36" y="4"/>
                  <a:pt x="34" y="2"/>
                </a:cubicBezTo>
                <a:cubicBezTo>
                  <a:pt x="31" y="0"/>
                  <a:pt x="32" y="0"/>
                  <a:pt x="29" y="1"/>
                </a:cubicBezTo>
                <a:cubicBezTo>
                  <a:pt x="25" y="4"/>
                  <a:pt x="25" y="1"/>
                  <a:pt x="21" y="5"/>
                </a:cubicBezTo>
                <a:cubicBezTo>
                  <a:pt x="18" y="8"/>
                  <a:pt x="23" y="7"/>
                  <a:pt x="21" y="10"/>
                </a:cubicBezTo>
                <a:cubicBezTo>
                  <a:pt x="20" y="13"/>
                  <a:pt x="13" y="12"/>
                  <a:pt x="10" y="12"/>
                </a:cubicBezTo>
                <a:cubicBezTo>
                  <a:pt x="6" y="12"/>
                  <a:pt x="9" y="14"/>
                  <a:pt x="10" y="15"/>
                </a:cubicBezTo>
                <a:cubicBezTo>
                  <a:pt x="10" y="17"/>
                  <a:pt x="7" y="17"/>
                  <a:pt x="7" y="19"/>
                </a:cubicBezTo>
                <a:cubicBezTo>
                  <a:pt x="6" y="19"/>
                  <a:pt x="6" y="21"/>
                  <a:pt x="8" y="21"/>
                </a:cubicBezTo>
                <a:cubicBezTo>
                  <a:pt x="10" y="21"/>
                  <a:pt x="16" y="19"/>
                  <a:pt x="14" y="22"/>
                </a:cubicBezTo>
                <a:cubicBezTo>
                  <a:pt x="12" y="24"/>
                  <a:pt x="11" y="25"/>
                  <a:pt x="9" y="27"/>
                </a:cubicBezTo>
                <a:cubicBezTo>
                  <a:pt x="7" y="29"/>
                  <a:pt x="10" y="31"/>
                  <a:pt x="6" y="34"/>
                </a:cubicBezTo>
                <a:cubicBezTo>
                  <a:pt x="5" y="35"/>
                  <a:pt x="0" y="40"/>
                  <a:pt x="0" y="41"/>
                </a:cubicBezTo>
                <a:cubicBezTo>
                  <a:pt x="1" y="41"/>
                  <a:pt x="8" y="40"/>
                  <a:pt x="8" y="41"/>
                </a:cubicBezTo>
                <a:cubicBezTo>
                  <a:pt x="8" y="42"/>
                  <a:pt x="6" y="45"/>
                  <a:pt x="8" y="45"/>
                </a:cubicBezTo>
                <a:cubicBezTo>
                  <a:pt x="13" y="45"/>
                  <a:pt x="18" y="41"/>
                  <a:pt x="23" y="40"/>
                </a:cubicBezTo>
                <a:cubicBezTo>
                  <a:pt x="27" y="39"/>
                  <a:pt x="25" y="36"/>
                  <a:pt x="27" y="36"/>
                </a:cubicBezTo>
                <a:cubicBezTo>
                  <a:pt x="42" y="35"/>
                  <a:pt x="38" y="25"/>
                  <a:pt x="40" y="15"/>
                </a:cubicBezTo>
                <a:cubicBezTo>
                  <a:pt x="42" y="14"/>
                  <a:pt x="46" y="11"/>
                  <a:pt x="46" y="9"/>
                </a:cubicBezTo>
                <a:cubicBezTo>
                  <a:pt x="43" y="8"/>
                  <a:pt x="43" y="9"/>
                  <a:pt x="42" y="5"/>
                </a:cubicBezTo>
                <a:lnTo>
                  <a:pt x="40" y="2"/>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14" name="Freeform 230">
            <a:extLst>
              <a:ext uri="{FF2B5EF4-FFF2-40B4-BE49-F238E27FC236}">
                <a16:creationId xmlns:a16="http://schemas.microsoft.com/office/drawing/2014/main" id="{FA04C461-5E61-4402-96F1-63CBF2883F7C}"/>
              </a:ext>
            </a:extLst>
          </p:cNvPr>
          <p:cNvSpPr>
            <a:spLocks/>
          </p:cNvSpPr>
          <p:nvPr/>
        </p:nvSpPr>
        <p:spPr bwMode="auto">
          <a:xfrm>
            <a:off x="7177115" y="2763581"/>
            <a:ext cx="79831" cy="75398"/>
          </a:xfrm>
          <a:custGeom>
            <a:avLst/>
            <a:gdLst>
              <a:gd name="T0" fmla="*/ 40 w 46"/>
              <a:gd name="T1" fmla="*/ 2 h 45"/>
              <a:gd name="T2" fmla="*/ 34 w 46"/>
              <a:gd name="T3" fmla="*/ 2 h 45"/>
              <a:gd name="T4" fmla="*/ 29 w 46"/>
              <a:gd name="T5" fmla="*/ 1 h 45"/>
              <a:gd name="T6" fmla="*/ 21 w 46"/>
              <a:gd name="T7" fmla="*/ 5 h 45"/>
              <a:gd name="T8" fmla="*/ 21 w 46"/>
              <a:gd name="T9" fmla="*/ 10 h 45"/>
              <a:gd name="T10" fmla="*/ 10 w 46"/>
              <a:gd name="T11" fmla="*/ 12 h 45"/>
              <a:gd name="T12" fmla="*/ 10 w 46"/>
              <a:gd name="T13" fmla="*/ 15 h 45"/>
              <a:gd name="T14" fmla="*/ 7 w 46"/>
              <a:gd name="T15" fmla="*/ 19 h 45"/>
              <a:gd name="T16" fmla="*/ 8 w 46"/>
              <a:gd name="T17" fmla="*/ 21 h 45"/>
              <a:gd name="T18" fmla="*/ 14 w 46"/>
              <a:gd name="T19" fmla="*/ 22 h 45"/>
              <a:gd name="T20" fmla="*/ 9 w 46"/>
              <a:gd name="T21" fmla="*/ 27 h 45"/>
              <a:gd name="T22" fmla="*/ 6 w 46"/>
              <a:gd name="T23" fmla="*/ 34 h 45"/>
              <a:gd name="T24" fmla="*/ 0 w 46"/>
              <a:gd name="T25" fmla="*/ 41 h 45"/>
              <a:gd name="T26" fmla="*/ 8 w 46"/>
              <a:gd name="T27" fmla="*/ 41 h 45"/>
              <a:gd name="T28" fmla="*/ 8 w 46"/>
              <a:gd name="T29" fmla="*/ 45 h 45"/>
              <a:gd name="T30" fmla="*/ 23 w 46"/>
              <a:gd name="T31" fmla="*/ 40 h 45"/>
              <a:gd name="T32" fmla="*/ 27 w 46"/>
              <a:gd name="T33" fmla="*/ 36 h 45"/>
              <a:gd name="T34" fmla="*/ 40 w 46"/>
              <a:gd name="T35" fmla="*/ 15 h 45"/>
              <a:gd name="T36" fmla="*/ 46 w 46"/>
              <a:gd name="T37" fmla="*/ 9 h 45"/>
              <a:gd name="T38" fmla="*/ 42 w 46"/>
              <a:gd name="T39" fmla="*/ 5 h 45"/>
              <a:gd name="T40" fmla="*/ 40 w 46"/>
              <a:gd name="T41" fmla="*/ 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45">
                <a:moveTo>
                  <a:pt x="40" y="2"/>
                </a:moveTo>
                <a:cubicBezTo>
                  <a:pt x="38" y="2"/>
                  <a:pt x="36" y="4"/>
                  <a:pt x="34" y="2"/>
                </a:cubicBezTo>
                <a:cubicBezTo>
                  <a:pt x="31" y="0"/>
                  <a:pt x="32" y="0"/>
                  <a:pt x="29" y="1"/>
                </a:cubicBezTo>
                <a:cubicBezTo>
                  <a:pt x="25" y="4"/>
                  <a:pt x="25" y="1"/>
                  <a:pt x="21" y="5"/>
                </a:cubicBezTo>
                <a:cubicBezTo>
                  <a:pt x="18" y="8"/>
                  <a:pt x="23" y="7"/>
                  <a:pt x="21" y="10"/>
                </a:cubicBezTo>
                <a:cubicBezTo>
                  <a:pt x="20" y="13"/>
                  <a:pt x="13" y="12"/>
                  <a:pt x="10" y="12"/>
                </a:cubicBezTo>
                <a:cubicBezTo>
                  <a:pt x="6" y="12"/>
                  <a:pt x="9" y="14"/>
                  <a:pt x="10" y="15"/>
                </a:cubicBezTo>
                <a:cubicBezTo>
                  <a:pt x="10" y="17"/>
                  <a:pt x="7" y="17"/>
                  <a:pt x="7" y="19"/>
                </a:cubicBezTo>
                <a:cubicBezTo>
                  <a:pt x="6" y="19"/>
                  <a:pt x="6" y="21"/>
                  <a:pt x="8" y="21"/>
                </a:cubicBezTo>
                <a:cubicBezTo>
                  <a:pt x="10" y="21"/>
                  <a:pt x="16" y="19"/>
                  <a:pt x="14" y="22"/>
                </a:cubicBezTo>
                <a:cubicBezTo>
                  <a:pt x="12" y="24"/>
                  <a:pt x="11" y="25"/>
                  <a:pt x="9" y="27"/>
                </a:cubicBezTo>
                <a:cubicBezTo>
                  <a:pt x="7" y="29"/>
                  <a:pt x="10" y="31"/>
                  <a:pt x="6" y="34"/>
                </a:cubicBezTo>
                <a:cubicBezTo>
                  <a:pt x="5" y="35"/>
                  <a:pt x="0" y="40"/>
                  <a:pt x="0" y="41"/>
                </a:cubicBezTo>
                <a:cubicBezTo>
                  <a:pt x="1" y="41"/>
                  <a:pt x="8" y="40"/>
                  <a:pt x="8" y="41"/>
                </a:cubicBezTo>
                <a:cubicBezTo>
                  <a:pt x="8" y="42"/>
                  <a:pt x="6" y="45"/>
                  <a:pt x="8" y="45"/>
                </a:cubicBezTo>
                <a:cubicBezTo>
                  <a:pt x="13" y="45"/>
                  <a:pt x="18" y="41"/>
                  <a:pt x="23" y="40"/>
                </a:cubicBezTo>
                <a:cubicBezTo>
                  <a:pt x="27" y="39"/>
                  <a:pt x="25" y="36"/>
                  <a:pt x="27" y="36"/>
                </a:cubicBezTo>
                <a:cubicBezTo>
                  <a:pt x="42" y="35"/>
                  <a:pt x="38" y="25"/>
                  <a:pt x="40" y="15"/>
                </a:cubicBezTo>
                <a:cubicBezTo>
                  <a:pt x="42" y="14"/>
                  <a:pt x="46" y="11"/>
                  <a:pt x="46" y="9"/>
                </a:cubicBezTo>
                <a:cubicBezTo>
                  <a:pt x="43" y="8"/>
                  <a:pt x="43" y="9"/>
                  <a:pt x="42" y="5"/>
                </a:cubicBezTo>
                <a:lnTo>
                  <a:pt x="40" y="2"/>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15" name="Freeform 231">
            <a:extLst>
              <a:ext uri="{FF2B5EF4-FFF2-40B4-BE49-F238E27FC236}">
                <a16:creationId xmlns:a16="http://schemas.microsoft.com/office/drawing/2014/main" id="{5CA8B52F-0296-49DC-9B49-C8B5130627C5}"/>
              </a:ext>
            </a:extLst>
          </p:cNvPr>
          <p:cNvSpPr>
            <a:spLocks/>
          </p:cNvSpPr>
          <p:nvPr/>
        </p:nvSpPr>
        <p:spPr bwMode="auto">
          <a:xfrm>
            <a:off x="7248074" y="2697057"/>
            <a:ext cx="106442" cy="164098"/>
          </a:xfrm>
          <a:custGeom>
            <a:avLst/>
            <a:gdLst>
              <a:gd name="T0" fmla="*/ 45 w 65"/>
              <a:gd name="T1" fmla="*/ 49 h 99"/>
              <a:gd name="T2" fmla="*/ 37 w 65"/>
              <a:gd name="T3" fmla="*/ 42 h 99"/>
              <a:gd name="T4" fmla="*/ 29 w 65"/>
              <a:gd name="T5" fmla="*/ 33 h 99"/>
              <a:gd name="T6" fmla="*/ 23 w 65"/>
              <a:gd name="T7" fmla="*/ 30 h 99"/>
              <a:gd name="T8" fmla="*/ 30 w 65"/>
              <a:gd name="T9" fmla="*/ 24 h 99"/>
              <a:gd name="T10" fmla="*/ 37 w 65"/>
              <a:gd name="T11" fmla="*/ 14 h 99"/>
              <a:gd name="T12" fmla="*/ 27 w 65"/>
              <a:gd name="T13" fmla="*/ 13 h 99"/>
              <a:gd name="T14" fmla="*/ 16 w 65"/>
              <a:gd name="T15" fmla="*/ 15 h 99"/>
              <a:gd name="T16" fmla="*/ 25 w 65"/>
              <a:gd name="T17" fmla="*/ 1 h 99"/>
              <a:gd name="T18" fmla="*/ 17 w 65"/>
              <a:gd name="T19" fmla="*/ 3 h 99"/>
              <a:gd name="T20" fmla="*/ 10 w 65"/>
              <a:gd name="T21" fmla="*/ 9 h 99"/>
              <a:gd name="T22" fmla="*/ 1 w 65"/>
              <a:gd name="T23" fmla="*/ 9 h 99"/>
              <a:gd name="T24" fmla="*/ 5 w 65"/>
              <a:gd name="T25" fmla="*/ 18 h 99"/>
              <a:gd name="T26" fmla="*/ 3 w 65"/>
              <a:gd name="T27" fmla="*/ 25 h 99"/>
              <a:gd name="T28" fmla="*/ 8 w 65"/>
              <a:gd name="T29" fmla="*/ 27 h 99"/>
              <a:gd name="T30" fmla="*/ 9 w 65"/>
              <a:gd name="T31" fmla="*/ 32 h 99"/>
              <a:gd name="T32" fmla="*/ 10 w 65"/>
              <a:gd name="T33" fmla="*/ 39 h 99"/>
              <a:gd name="T34" fmla="*/ 10 w 65"/>
              <a:gd name="T35" fmla="*/ 45 h 99"/>
              <a:gd name="T36" fmla="*/ 21 w 65"/>
              <a:gd name="T37" fmla="*/ 45 h 99"/>
              <a:gd name="T38" fmla="*/ 21 w 65"/>
              <a:gd name="T39" fmla="*/ 50 h 99"/>
              <a:gd name="T40" fmla="*/ 25 w 65"/>
              <a:gd name="T41" fmla="*/ 50 h 99"/>
              <a:gd name="T42" fmla="*/ 25 w 65"/>
              <a:gd name="T43" fmla="*/ 56 h 99"/>
              <a:gd name="T44" fmla="*/ 19 w 65"/>
              <a:gd name="T45" fmla="*/ 61 h 99"/>
              <a:gd name="T46" fmla="*/ 11 w 65"/>
              <a:gd name="T47" fmla="*/ 65 h 99"/>
              <a:gd name="T48" fmla="*/ 14 w 65"/>
              <a:gd name="T49" fmla="*/ 66 h 99"/>
              <a:gd name="T50" fmla="*/ 8 w 65"/>
              <a:gd name="T51" fmla="*/ 78 h 99"/>
              <a:gd name="T52" fmla="*/ 17 w 65"/>
              <a:gd name="T53" fmla="*/ 83 h 99"/>
              <a:gd name="T54" fmla="*/ 27 w 65"/>
              <a:gd name="T55" fmla="*/ 83 h 99"/>
              <a:gd name="T56" fmla="*/ 16 w 65"/>
              <a:gd name="T57" fmla="*/ 86 h 99"/>
              <a:gd name="T58" fmla="*/ 7 w 65"/>
              <a:gd name="T59" fmla="*/ 92 h 99"/>
              <a:gd name="T60" fmla="*/ 1 w 65"/>
              <a:gd name="T61" fmla="*/ 96 h 99"/>
              <a:gd name="T62" fmla="*/ 8 w 65"/>
              <a:gd name="T63" fmla="*/ 95 h 99"/>
              <a:gd name="T64" fmla="*/ 14 w 65"/>
              <a:gd name="T65" fmla="*/ 95 h 99"/>
              <a:gd name="T66" fmla="*/ 25 w 65"/>
              <a:gd name="T67" fmla="*/ 91 h 99"/>
              <a:gd name="T68" fmla="*/ 41 w 65"/>
              <a:gd name="T69" fmla="*/ 90 h 99"/>
              <a:gd name="T70" fmla="*/ 57 w 65"/>
              <a:gd name="T71" fmla="*/ 86 h 99"/>
              <a:gd name="T72" fmla="*/ 50 w 65"/>
              <a:gd name="T73" fmla="*/ 84 h 99"/>
              <a:gd name="T74" fmla="*/ 50 w 65"/>
              <a:gd name="T75" fmla="*/ 83 h 99"/>
              <a:gd name="T76" fmla="*/ 55 w 65"/>
              <a:gd name="T77" fmla="*/ 68 h 99"/>
              <a:gd name="T78" fmla="*/ 50 w 65"/>
              <a:gd name="T79" fmla="*/ 62 h 99"/>
              <a:gd name="T80" fmla="*/ 47 w 65"/>
              <a:gd name="T81" fmla="*/ 51 h 99"/>
              <a:gd name="T82" fmla="*/ 45 w 65"/>
              <a:gd name="T83" fmla="*/ 4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5" h="99">
                <a:moveTo>
                  <a:pt x="45" y="49"/>
                </a:moveTo>
                <a:cubicBezTo>
                  <a:pt x="41" y="46"/>
                  <a:pt x="37" y="48"/>
                  <a:pt x="37" y="42"/>
                </a:cubicBezTo>
                <a:cubicBezTo>
                  <a:pt x="36" y="38"/>
                  <a:pt x="34" y="31"/>
                  <a:pt x="29" y="33"/>
                </a:cubicBezTo>
                <a:cubicBezTo>
                  <a:pt x="26" y="34"/>
                  <a:pt x="22" y="34"/>
                  <a:pt x="23" y="30"/>
                </a:cubicBezTo>
                <a:cubicBezTo>
                  <a:pt x="29" y="29"/>
                  <a:pt x="27" y="29"/>
                  <a:pt x="30" y="24"/>
                </a:cubicBezTo>
                <a:cubicBezTo>
                  <a:pt x="31" y="22"/>
                  <a:pt x="37" y="17"/>
                  <a:pt x="37" y="14"/>
                </a:cubicBezTo>
                <a:cubicBezTo>
                  <a:pt x="34" y="14"/>
                  <a:pt x="30" y="13"/>
                  <a:pt x="27" y="13"/>
                </a:cubicBezTo>
                <a:cubicBezTo>
                  <a:pt x="24" y="13"/>
                  <a:pt x="19" y="16"/>
                  <a:pt x="16" y="15"/>
                </a:cubicBezTo>
                <a:cubicBezTo>
                  <a:pt x="16" y="11"/>
                  <a:pt x="27" y="4"/>
                  <a:pt x="25" y="1"/>
                </a:cubicBezTo>
                <a:cubicBezTo>
                  <a:pt x="22" y="3"/>
                  <a:pt x="20" y="4"/>
                  <a:pt x="17" y="3"/>
                </a:cubicBezTo>
                <a:cubicBezTo>
                  <a:pt x="8" y="0"/>
                  <a:pt x="12" y="4"/>
                  <a:pt x="10" y="9"/>
                </a:cubicBezTo>
                <a:cubicBezTo>
                  <a:pt x="7" y="13"/>
                  <a:pt x="4" y="9"/>
                  <a:pt x="1" y="9"/>
                </a:cubicBezTo>
                <a:cubicBezTo>
                  <a:pt x="2" y="12"/>
                  <a:pt x="5" y="15"/>
                  <a:pt x="5" y="18"/>
                </a:cubicBezTo>
                <a:cubicBezTo>
                  <a:pt x="6" y="21"/>
                  <a:pt x="3" y="22"/>
                  <a:pt x="3" y="25"/>
                </a:cubicBezTo>
                <a:cubicBezTo>
                  <a:pt x="3" y="28"/>
                  <a:pt x="8" y="23"/>
                  <a:pt x="8" y="27"/>
                </a:cubicBezTo>
                <a:cubicBezTo>
                  <a:pt x="8" y="28"/>
                  <a:pt x="7" y="31"/>
                  <a:pt x="9" y="32"/>
                </a:cubicBezTo>
                <a:cubicBezTo>
                  <a:pt x="11" y="33"/>
                  <a:pt x="11" y="36"/>
                  <a:pt x="10" y="39"/>
                </a:cubicBezTo>
                <a:cubicBezTo>
                  <a:pt x="8" y="41"/>
                  <a:pt x="9" y="44"/>
                  <a:pt x="10" y="45"/>
                </a:cubicBezTo>
                <a:cubicBezTo>
                  <a:pt x="11" y="47"/>
                  <a:pt x="20" y="44"/>
                  <a:pt x="21" y="45"/>
                </a:cubicBezTo>
                <a:cubicBezTo>
                  <a:pt x="22" y="45"/>
                  <a:pt x="21" y="48"/>
                  <a:pt x="21" y="50"/>
                </a:cubicBezTo>
                <a:cubicBezTo>
                  <a:pt x="21" y="53"/>
                  <a:pt x="24" y="52"/>
                  <a:pt x="25" y="50"/>
                </a:cubicBezTo>
                <a:cubicBezTo>
                  <a:pt x="26" y="51"/>
                  <a:pt x="25" y="55"/>
                  <a:pt x="25" y="56"/>
                </a:cubicBezTo>
                <a:cubicBezTo>
                  <a:pt x="25" y="60"/>
                  <a:pt x="23" y="61"/>
                  <a:pt x="19" y="61"/>
                </a:cubicBezTo>
                <a:cubicBezTo>
                  <a:pt x="18" y="64"/>
                  <a:pt x="14" y="63"/>
                  <a:pt x="11" y="65"/>
                </a:cubicBezTo>
                <a:cubicBezTo>
                  <a:pt x="6" y="67"/>
                  <a:pt x="12" y="66"/>
                  <a:pt x="14" y="66"/>
                </a:cubicBezTo>
                <a:cubicBezTo>
                  <a:pt x="21" y="66"/>
                  <a:pt x="9" y="77"/>
                  <a:pt x="8" y="78"/>
                </a:cubicBezTo>
                <a:cubicBezTo>
                  <a:pt x="2" y="83"/>
                  <a:pt x="13" y="83"/>
                  <a:pt x="17" y="83"/>
                </a:cubicBezTo>
                <a:cubicBezTo>
                  <a:pt x="19" y="83"/>
                  <a:pt x="31" y="81"/>
                  <a:pt x="27" y="83"/>
                </a:cubicBezTo>
                <a:cubicBezTo>
                  <a:pt x="24" y="86"/>
                  <a:pt x="19" y="85"/>
                  <a:pt x="16" y="86"/>
                </a:cubicBezTo>
                <a:cubicBezTo>
                  <a:pt x="12" y="88"/>
                  <a:pt x="10" y="90"/>
                  <a:pt x="7" y="92"/>
                </a:cubicBezTo>
                <a:cubicBezTo>
                  <a:pt x="6" y="92"/>
                  <a:pt x="2" y="95"/>
                  <a:pt x="1" y="96"/>
                </a:cubicBezTo>
                <a:cubicBezTo>
                  <a:pt x="0" y="99"/>
                  <a:pt x="8" y="95"/>
                  <a:pt x="8" y="95"/>
                </a:cubicBezTo>
                <a:cubicBezTo>
                  <a:pt x="11" y="94"/>
                  <a:pt x="12" y="94"/>
                  <a:pt x="14" y="95"/>
                </a:cubicBezTo>
                <a:cubicBezTo>
                  <a:pt x="18" y="96"/>
                  <a:pt x="21" y="90"/>
                  <a:pt x="25" y="91"/>
                </a:cubicBezTo>
                <a:cubicBezTo>
                  <a:pt x="31" y="92"/>
                  <a:pt x="37" y="88"/>
                  <a:pt x="41" y="90"/>
                </a:cubicBezTo>
                <a:cubicBezTo>
                  <a:pt x="47" y="93"/>
                  <a:pt x="53" y="90"/>
                  <a:pt x="57" y="86"/>
                </a:cubicBezTo>
                <a:cubicBezTo>
                  <a:pt x="50" y="84"/>
                  <a:pt x="50" y="84"/>
                  <a:pt x="50" y="84"/>
                </a:cubicBezTo>
                <a:cubicBezTo>
                  <a:pt x="47" y="84"/>
                  <a:pt x="47" y="84"/>
                  <a:pt x="50" y="83"/>
                </a:cubicBezTo>
                <a:cubicBezTo>
                  <a:pt x="54" y="81"/>
                  <a:pt x="65" y="69"/>
                  <a:pt x="55" y="68"/>
                </a:cubicBezTo>
                <a:cubicBezTo>
                  <a:pt x="49" y="68"/>
                  <a:pt x="50" y="68"/>
                  <a:pt x="50" y="62"/>
                </a:cubicBezTo>
                <a:cubicBezTo>
                  <a:pt x="50" y="58"/>
                  <a:pt x="50" y="55"/>
                  <a:pt x="47" y="51"/>
                </a:cubicBezTo>
                <a:lnTo>
                  <a:pt x="45" y="49"/>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16" name="Freeform 232">
            <a:extLst>
              <a:ext uri="{FF2B5EF4-FFF2-40B4-BE49-F238E27FC236}">
                <a16:creationId xmlns:a16="http://schemas.microsoft.com/office/drawing/2014/main" id="{93AA8B2A-2035-4F4D-B0CD-11E63C722360}"/>
              </a:ext>
            </a:extLst>
          </p:cNvPr>
          <p:cNvSpPr>
            <a:spLocks/>
          </p:cNvSpPr>
          <p:nvPr/>
        </p:nvSpPr>
        <p:spPr bwMode="auto">
          <a:xfrm>
            <a:off x="7248074" y="2697057"/>
            <a:ext cx="106442" cy="164098"/>
          </a:xfrm>
          <a:custGeom>
            <a:avLst/>
            <a:gdLst>
              <a:gd name="T0" fmla="*/ 45 w 65"/>
              <a:gd name="T1" fmla="*/ 49 h 99"/>
              <a:gd name="T2" fmla="*/ 37 w 65"/>
              <a:gd name="T3" fmla="*/ 42 h 99"/>
              <a:gd name="T4" fmla="*/ 29 w 65"/>
              <a:gd name="T5" fmla="*/ 33 h 99"/>
              <a:gd name="T6" fmla="*/ 23 w 65"/>
              <a:gd name="T7" fmla="*/ 30 h 99"/>
              <a:gd name="T8" fmla="*/ 30 w 65"/>
              <a:gd name="T9" fmla="*/ 24 h 99"/>
              <a:gd name="T10" fmla="*/ 37 w 65"/>
              <a:gd name="T11" fmla="*/ 14 h 99"/>
              <a:gd name="T12" fmla="*/ 27 w 65"/>
              <a:gd name="T13" fmla="*/ 13 h 99"/>
              <a:gd name="T14" fmla="*/ 16 w 65"/>
              <a:gd name="T15" fmla="*/ 15 h 99"/>
              <a:gd name="T16" fmla="*/ 25 w 65"/>
              <a:gd name="T17" fmla="*/ 1 h 99"/>
              <a:gd name="T18" fmla="*/ 17 w 65"/>
              <a:gd name="T19" fmla="*/ 3 h 99"/>
              <a:gd name="T20" fmla="*/ 10 w 65"/>
              <a:gd name="T21" fmla="*/ 9 h 99"/>
              <a:gd name="T22" fmla="*/ 1 w 65"/>
              <a:gd name="T23" fmla="*/ 9 h 99"/>
              <a:gd name="T24" fmla="*/ 5 w 65"/>
              <a:gd name="T25" fmla="*/ 18 h 99"/>
              <a:gd name="T26" fmla="*/ 3 w 65"/>
              <a:gd name="T27" fmla="*/ 25 h 99"/>
              <a:gd name="T28" fmla="*/ 8 w 65"/>
              <a:gd name="T29" fmla="*/ 27 h 99"/>
              <a:gd name="T30" fmla="*/ 9 w 65"/>
              <a:gd name="T31" fmla="*/ 32 h 99"/>
              <a:gd name="T32" fmla="*/ 10 w 65"/>
              <a:gd name="T33" fmla="*/ 39 h 99"/>
              <a:gd name="T34" fmla="*/ 10 w 65"/>
              <a:gd name="T35" fmla="*/ 45 h 99"/>
              <a:gd name="T36" fmla="*/ 21 w 65"/>
              <a:gd name="T37" fmla="*/ 45 h 99"/>
              <a:gd name="T38" fmla="*/ 21 w 65"/>
              <a:gd name="T39" fmla="*/ 50 h 99"/>
              <a:gd name="T40" fmla="*/ 25 w 65"/>
              <a:gd name="T41" fmla="*/ 50 h 99"/>
              <a:gd name="T42" fmla="*/ 25 w 65"/>
              <a:gd name="T43" fmla="*/ 56 h 99"/>
              <a:gd name="T44" fmla="*/ 19 w 65"/>
              <a:gd name="T45" fmla="*/ 61 h 99"/>
              <a:gd name="T46" fmla="*/ 11 w 65"/>
              <a:gd name="T47" fmla="*/ 65 h 99"/>
              <a:gd name="T48" fmla="*/ 14 w 65"/>
              <a:gd name="T49" fmla="*/ 66 h 99"/>
              <a:gd name="T50" fmla="*/ 8 w 65"/>
              <a:gd name="T51" fmla="*/ 78 h 99"/>
              <a:gd name="T52" fmla="*/ 17 w 65"/>
              <a:gd name="T53" fmla="*/ 83 h 99"/>
              <a:gd name="T54" fmla="*/ 27 w 65"/>
              <a:gd name="T55" fmla="*/ 83 h 99"/>
              <a:gd name="T56" fmla="*/ 16 w 65"/>
              <a:gd name="T57" fmla="*/ 86 h 99"/>
              <a:gd name="T58" fmla="*/ 7 w 65"/>
              <a:gd name="T59" fmla="*/ 92 h 99"/>
              <a:gd name="T60" fmla="*/ 1 w 65"/>
              <a:gd name="T61" fmla="*/ 96 h 99"/>
              <a:gd name="T62" fmla="*/ 8 w 65"/>
              <a:gd name="T63" fmla="*/ 95 h 99"/>
              <a:gd name="T64" fmla="*/ 14 w 65"/>
              <a:gd name="T65" fmla="*/ 95 h 99"/>
              <a:gd name="T66" fmla="*/ 25 w 65"/>
              <a:gd name="T67" fmla="*/ 91 h 99"/>
              <a:gd name="T68" fmla="*/ 41 w 65"/>
              <a:gd name="T69" fmla="*/ 90 h 99"/>
              <a:gd name="T70" fmla="*/ 57 w 65"/>
              <a:gd name="T71" fmla="*/ 86 h 99"/>
              <a:gd name="T72" fmla="*/ 50 w 65"/>
              <a:gd name="T73" fmla="*/ 84 h 99"/>
              <a:gd name="T74" fmla="*/ 50 w 65"/>
              <a:gd name="T75" fmla="*/ 83 h 99"/>
              <a:gd name="T76" fmla="*/ 55 w 65"/>
              <a:gd name="T77" fmla="*/ 68 h 99"/>
              <a:gd name="T78" fmla="*/ 50 w 65"/>
              <a:gd name="T79" fmla="*/ 62 h 99"/>
              <a:gd name="T80" fmla="*/ 47 w 65"/>
              <a:gd name="T81" fmla="*/ 51 h 99"/>
              <a:gd name="T82" fmla="*/ 45 w 65"/>
              <a:gd name="T83" fmla="*/ 4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5" h="99">
                <a:moveTo>
                  <a:pt x="45" y="49"/>
                </a:moveTo>
                <a:cubicBezTo>
                  <a:pt x="41" y="46"/>
                  <a:pt x="37" y="48"/>
                  <a:pt x="37" y="42"/>
                </a:cubicBezTo>
                <a:cubicBezTo>
                  <a:pt x="36" y="38"/>
                  <a:pt x="34" y="31"/>
                  <a:pt x="29" y="33"/>
                </a:cubicBezTo>
                <a:cubicBezTo>
                  <a:pt x="26" y="34"/>
                  <a:pt x="22" y="34"/>
                  <a:pt x="23" y="30"/>
                </a:cubicBezTo>
                <a:cubicBezTo>
                  <a:pt x="29" y="29"/>
                  <a:pt x="27" y="29"/>
                  <a:pt x="30" y="24"/>
                </a:cubicBezTo>
                <a:cubicBezTo>
                  <a:pt x="31" y="22"/>
                  <a:pt x="37" y="17"/>
                  <a:pt x="37" y="14"/>
                </a:cubicBezTo>
                <a:cubicBezTo>
                  <a:pt x="34" y="14"/>
                  <a:pt x="30" y="13"/>
                  <a:pt x="27" y="13"/>
                </a:cubicBezTo>
                <a:cubicBezTo>
                  <a:pt x="24" y="13"/>
                  <a:pt x="19" y="16"/>
                  <a:pt x="16" y="15"/>
                </a:cubicBezTo>
                <a:cubicBezTo>
                  <a:pt x="16" y="11"/>
                  <a:pt x="27" y="4"/>
                  <a:pt x="25" y="1"/>
                </a:cubicBezTo>
                <a:cubicBezTo>
                  <a:pt x="22" y="3"/>
                  <a:pt x="20" y="4"/>
                  <a:pt x="17" y="3"/>
                </a:cubicBezTo>
                <a:cubicBezTo>
                  <a:pt x="8" y="0"/>
                  <a:pt x="12" y="4"/>
                  <a:pt x="10" y="9"/>
                </a:cubicBezTo>
                <a:cubicBezTo>
                  <a:pt x="7" y="13"/>
                  <a:pt x="4" y="9"/>
                  <a:pt x="1" y="9"/>
                </a:cubicBezTo>
                <a:cubicBezTo>
                  <a:pt x="2" y="12"/>
                  <a:pt x="5" y="15"/>
                  <a:pt x="5" y="18"/>
                </a:cubicBezTo>
                <a:cubicBezTo>
                  <a:pt x="6" y="21"/>
                  <a:pt x="3" y="22"/>
                  <a:pt x="3" y="25"/>
                </a:cubicBezTo>
                <a:cubicBezTo>
                  <a:pt x="3" y="28"/>
                  <a:pt x="8" y="23"/>
                  <a:pt x="8" y="27"/>
                </a:cubicBezTo>
                <a:cubicBezTo>
                  <a:pt x="8" y="28"/>
                  <a:pt x="7" y="31"/>
                  <a:pt x="9" y="32"/>
                </a:cubicBezTo>
                <a:cubicBezTo>
                  <a:pt x="11" y="33"/>
                  <a:pt x="11" y="36"/>
                  <a:pt x="10" y="39"/>
                </a:cubicBezTo>
                <a:cubicBezTo>
                  <a:pt x="8" y="41"/>
                  <a:pt x="9" y="44"/>
                  <a:pt x="10" y="45"/>
                </a:cubicBezTo>
                <a:cubicBezTo>
                  <a:pt x="11" y="47"/>
                  <a:pt x="20" y="44"/>
                  <a:pt x="21" y="45"/>
                </a:cubicBezTo>
                <a:cubicBezTo>
                  <a:pt x="22" y="45"/>
                  <a:pt x="21" y="48"/>
                  <a:pt x="21" y="50"/>
                </a:cubicBezTo>
                <a:cubicBezTo>
                  <a:pt x="21" y="53"/>
                  <a:pt x="24" y="52"/>
                  <a:pt x="25" y="50"/>
                </a:cubicBezTo>
                <a:cubicBezTo>
                  <a:pt x="26" y="51"/>
                  <a:pt x="25" y="55"/>
                  <a:pt x="25" y="56"/>
                </a:cubicBezTo>
                <a:cubicBezTo>
                  <a:pt x="25" y="60"/>
                  <a:pt x="23" y="61"/>
                  <a:pt x="19" y="61"/>
                </a:cubicBezTo>
                <a:cubicBezTo>
                  <a:pt x="18" y="64"/>
                  <a:pt x="14" y="63"/>
                  <a:pt x="11" y="65"/>
                </a:cubicBezTo>
                <a:cubicBezTo>
                  <a:pt x="6" y="67"/>
                  <a:pt x="12" y="66"/>
                  <a:pt x="14" y="66"/>
                </a:cubicBezTo>
                <a:cubicBezTo>
                  <a:pt x="21" y="66"/>
                  <a:pt x="9" y="77"/>
                  <a:pt x="8" y="78"/>
                </a:cubicBezTo>
                <a:cubicBezTo>
                  <a:pt x="2" y="83"/>
                  <a:pt x="13" y="83"/>
                  <a:pt x="17" y="83"/>
                </a:cubicBezTo>
                <a:cubicBezTo>
                  <a:pt x="19" y="83"/>
                  <a:pt x="31" y="81"/>
                  <a:pt x="27" y="83"/>
                </a:cubicBezTo>
                <a:cubicBezTo>
                  <a:pt x="24" y="86"/>
                  <a:pt x="19" y="85"/>
                  <a:pt x="16" y="86"/>
                </a:cubicBezTo>
                <a:cubicBezTo>
                  <a:pt x="12" y="88"/>
                  <a:pt x="10" y="90"/>
                  <a:pt x="7" y="92"/>
                </a:cubicBezTo>
                <a:cubicBezTo>
                  <a:pt x="6" y="92"/>
                  <a:pt x="2" y="95"/>
                  <a:pt x="1" y="96"/>
                </a:cubicBezTo>
                <a:cubicBezTo>
                  <a:pt x="0" y="99"/>
                  <a:pt x="8" y="95"/>
                  <a:pt x="8" y="95"/>
                </a:cubicBezTo>
                <a:cubicBezTo>
                  <a:pt x="11" y="94"/>
                  <a:pt x="12" y="94"/>
                  <a:pt x="14" y="95"/>
                </a:cubicBezTo>
                <a:cubicBezTo>
                  <a:pt x="18" y="96"/>
                  <a:pt x="21" y="90"/>
                  <a:pt x="25" y="91"/>
                </a:cubicBezTo>
                <a:cubicBezTo>
                  <a:pt x="31" y="92"/>
                  <a:pt x="37" y="88"/>
                  <a:pt x="41" y="90"/>
                </a:cubicBezTo>
                <a:cubicBezTo>
                  <a:pt x="47" y="93"/>
                  <a:pt x="53" y="90"/>
                  <a:pt x="57" y="86"/>
                </a:cubicBezTo>
                <a:cubicBezTo>
                  <a:pt x="50" y="84"/>
                  <a:pt x="50" y="84"/>
                  <a:pt x="50" y="84"/>
                </a:cubicBezTo>
                <a:cubicBezTo>
                  <a:pt x="47" y="84"/>
                  <a:pt x="47" y="84"/>
                  <a:pt x="50" y="83"/>
                </a:cubicBezTo>
                <a:cubicBezTo>
                  <a:pt x="54" y="81"/>
                  <a:pt x="65" y="69"/>
                  <a:pt x="55" y="68"/>
                </a:cubicBezTo>
                <a:cubicBezTo>
                  <a:pt x="49" y="68"/>
                  <a:pt x="50" y="68"/>
                  <a:pt x="50" y="62"/>
                </a:cubicBezTo>
                <a:cubicBezTo>
                  <a:pt x="50" y="58"/>
                  <a:pt x="50" y="55"/>
                  <a:pt x="47" y="51"/>
                </a:cubicBezTo>
                <a:lnTo>
                  <a:pt x="45" y="49"/>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17" name="Freeform 233">
            <a:extLst>
              <a:ext uri="{FF2B5EF4-FFF2-40B4-BE49-F238E27FC236}">
                <a16:creationId xmlns:a16="http://schemas.microsoft.com/office/drawing/2014/main" id="{E9FC9E78-8BA1-42F2-86A2-BAF158FA0D3F}"/>
              </a:ext>
            </a:extLst>
          </p:cNvPr>
          <p:cNvSpPr>
            <a:spLocks/>
          </p:cNvSpPr>
          <p:nvPr/>
        </p:nvSpPr>
        <p:spPr bwMode="auto">
          <a:xfrm>
            <a:off x="7243635" y="2634964"/>
            <a:ext cx="4432" cy="13308"/>
          </a:xfrm>
          <a:custGeom>
            <a:avLst/>
            <a:gdLst>
              <a:gd name="T0" fmla="*/ 4 w 4"/>
              <a:gd name="T1" fmla="*/ 4 h 7"/>
              <a:gd name="T2" fmla="*/ 3 w 4"/>
              <a:gd name="T3" fmla="*/ 3 h 7"/>
              <a:gd name="T4" fmla="*/ 2 w 4"/>
              <a:gd name="T5" fmla="*/ 1 h 7"/>
              <a:gd name="T6" fmla="*/ 2 w 4"/>
              <a:gd name="T7" fmla="*/ 1 h 7"/>
              <a:gd name="T8" fmla="*/ 0 w 4"/>
              <a:gd name="T9" fmla="*/ 0 h 7"/>
              <a:gd name="T10" fmla="*/ 0 w 4"/>
              <a:gd name="T11" fmla="*/ 1 h 7"/>
              <a:gd name="T12" fmla="*/ 0 w 4"/>
              <a:gd name="T13" fmla="*/ 2 h 7"/>
              <a:gd name="T14" fmla="*/ 0 w 4"/>
              <a:gd name="T15" fmla="*/ 3 h 7"/>
              <a:gd name="T16" fmla="*/ 1 w 4"/>
              <a:gd name="T17" fmla="*/ 5 h 7"/>
              <a:gd name="T18" fmla="*/ 2 w 4"/>
              <a:gd name="T19" fmla="*/ 7 h 7"/>
              <a:gd name="T20" fmla="*/ 4 w 4"/>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7">
                <a:moveTo>
                  <a:pt x="4" y="4"/>
                </a:moveTo>
                <a:cubicBezTo>
                  <a:pt x="3" y="3"/>
                  <a:pt x="3" y="3"/>
                  <a:pt x="3" y="3"/>
                </a:cubicBezTo>
                <a:cubicBezTo>
                  <a:pt x="3" y="2"/>
                  <a:pt x="3" y="2"/>
                  <a:pt x="2" y="1"/>
                </a:cubicBezTo>
                <a:cubicBezTo>
                  <a:pt x="2" y="1"/>
                  <a:pt x="2" y="1"/>
                  <a:pt x="2" y="1"/>
                </a:cubicBezTo>
                <a:cubicBezTo>
                  <a:pt x="2" y="0"/>
                  <a:pt x="1" y="0"/>
                  <a:pt x="0" y="0"/>
                </a:cubicBezTo>
                <a:cubicBezTo>
                  <a:pt x="0" y="1"/>
                  <a:pt x="0" y="1"/>
                  <a:pt x="0" y="1"/>
                </a:cubicBezTo>
                <a:cubicBezTo>
                  <a:pt x="0" y="1"/>
                  <a:pt x="0" y="1"/>
                  <a:pt x="0" y="2"/>
                </a:cubicBezTo>
                <a:cubicBezTo>
                  <a:pt x="0" y="2"/>
                  <a:pt x="0" y="2"/>
                  <a:pt x="0" y="3"/>
                </a:cubicBezTo>
                <a:cubicBezTo>
                  <a:pt x="0" y="3"/>
                  <a:pt x="0" y="4"/>
                  <a:pt x="1" y="5"/>
                </a:cubicBezTo>
                <a:cubicBezTo>
                  <a:pt x="1" y="5"/>
                  <a:pt x="1" y="6"/>
                  <a:pt x="2" y="7"/>
                </a:cubicBezTo>
                <a:lnTo>
                  <a:pt x="4" y="4"/>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18" name="Freeform 234">
            <a:extLst>
              <a:ext uri="{FF2B5EF4-FFF2-40B4-BE49-F238E27FC236}">
                <a16:creationId xmlns:a16="http://schemas.microsoft.com/office/drawing/2014/main" id="{39E16D2D-8E25-47C1-94DB-2551FE2583B2}"/>
              </a:ext>
            </a:extLst>
          </p:cNvPr>
          <p:cNvSpPr>
            <a:spLocks/>
          </p:cNvSpPr>
          <p:nvPr/>
        </p:nvSpPr>
        <p:spPr bwMode="auto">
          <a:xfrm>
            <a:off x="7243635" y="2634964"/>
            <a:ext cx="4432" cy="13308"/>
          </a:xfrm>
          <a:custGeom>
            <a:avLst/>
            <a:gdLst>
              <a:gd name="T0" fmla="*/ 4 w 4"/>
              <a:gd name="T1" fmla="*/ 4 h 7"/>
              <a:gd name="T2" fmla="*/ 3 w 4"/>
              <a:gd name="T3" fmla="*/ 3 h 7"/>
              <a:gd name="T4" fmla="*/ 2 w 4"/>
              <a:gd name="T5" fmla="*/ 1 h 7"/>
              <a:gd name="T6" fmla="*/ 2 w 4"/>
              <a:gd name="T7" fmla="*/ 1 h 7"/>
              <a:gd name="T8" fmla="*/ 0 w 4"/>
              <a:gd name="T9" fmla="*/ 0 h 7"/>
              <a:gd name="T10" fmla="*/ 0 w 4"/>
              <a:gd name="T11" fmla="*/ 1 h 7"/>
              <a:gd name="T12" fmla="*/ 0 w 4"/>
              <a:gd name="T13" fmla="*/ 2 h 7"/>
              <a:gd name="T14" fmla="*/ 0 w 4"/>
              <a:gd name="T15" fmla="*/ 3 h 7"/>
              <a:gd name="T16" fmla="*/ 1 w 4"/>
              <a:gd name="T17" fmla="*/ 5 h 7"/>
              <a:gd name="T18" fmla="*/ 2 w 4"/>
              <a:gd name="T19" fmla="*/ 7 h 7"/>
              <a:gd name="T20" fmla="*/ 4 w 4"/>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7">
                <a:moveTo>
                  <a:pt x="4" y="4"/>
                </a:moveTo>
                <a:cubicBezTo>
                  <a:pt x="3" y="3"/>
                  <a:pt x="3" y="3"/>
                  <a:pt x="3" y="3"/>
                </a:cubicBezTo>
                <a:cubicBezTo>
                  <a:pt x="3" y="2"/>
                  <a:pt x="3" y="2"/>
                  <a:pt x="2" y="1"/>
                </a:cubicBezTo>
                <a:cubicBezTo>
                  <a:pt x="2" y="1"/>
                  <a:pt x="2" y="1"/>
                  <a:pt x="2" y="1"/>
                </a:cubicBezTo>
                <a:cubicBezTo>
                  <a:pt x="2" y="0"/>
                  <a:pt x="1" y="0"/>
                  <a:pt x="0" y="0"/>
                </a:cubicBezTo>
                <a:cubicBezTo>
                  <a:pt x="0" y="1"/>
                  <a:pt x="0" y="1"/>
                  <a:pt x="0" y="1"/>
                </a:cubicBezTo>
                <a:cubicBezTo>
                  <a:pt x="0" y="1"/>
                  <a:pt x="0" y="1"/>
                  <a:pt x="0" y="2"/>
                </a:cubicBezTo>
                <a:cubicBezTo>
                  <a:pt x="0" y="2"/>
                  <a:pt x="0" y="2"/>
                  <a:pt x="0" y="3"/>
                </a:cubicBezTo>
                <a:cubicBezTo>
                  <a:pt x="0" y="3"/>
                  <a:pt x="0" y="4"/>
                  <a:pt x="1" y="5"/>
                </a:cubicBezTo>
                <a:cubicBezTo>
                  <a:pt x="1" y="5"/>
                  <a:pt x="1" y="6"/>
                  <a:pt x="2" y="7"/>
                </a:cubicBezTo>
                <a:lnTo>
                  <a:pt x="4" y="4"/>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19" name="Freeform 243">
            <a:extLst>
              <a:ext uri="{FF2B5EF4-FFF2-40B4-BE49-F238E27FC236}">
                <a16:creationId xmlns:a16="http://schemas.microsoft.com/office/drawing/2014/main" id="{6A9572DF-8F9D-4DFB-A430-0490DA8FB1CB}"/>
              </a:ext>
            </a:extLst>
          </p:cNvPr>
          <p:cNvSpPr>
            <a:spLocks/>
          </p:cNvSpPr>
          <p:nvPr/>
        </p:nvSpPr>
        <p:spPr bwMode="auto">
          <a:xfrm>
            <a:off x="7469826" y="2736970"/>
            <a:ext cx="26610" cy="35480"/>
          </a:xfrm>
          <a:custGeom>
            <a:avLst/>
            <a:gdLst>
              <a:gd name="T0" fmla="*/ 16 w 16"/>
              <a:gd name="T1" fmla="*/ 12 h 22"/>
              <a:gd name="T2" fmla="*/ 14 w 16"/>
              <a:gd name="T3" fmla="*/ 8 h 22"/>
              <a:gd name="T4" fmla="*/ 10 w 16"/>
              <a:gd name="T5" fmla="*/ 3 h 22"/>
              <a:gd name="T6" fmla="*/ 6 w 16"/>
              <a:gd name="T7" fmla="*/ 8 h 22"/>
              <a:gd name="T8" fmla="*/ 5 w 16"/>
              <a:gd name="T9" fmla="*/ 15 h 22"/>
              <a:gd name="T10" fmla="*/ 8 w 16"/>
              <a:gd name="T11" fmla="*/ 20 h 22"/>
              <a:gd name="T12" fmla="*/ 13 w 16"/>
              <a:gd name="T13" fmla="*/ 16 h 22"/>
              <a:gd name="T14" fmla="*/ 16 w 16"/>
              <a:gd name="T15" fmla="*/ 1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2">
                <a:moveTo>
                  <a:pt x="16" y="12"/>
                </a:moveTo>
                <a:cubicBezTo>
                  <a:pt x="15" y="11"/>
                  <a:pt x="14" y="9"/>
                  <a:pt x="14" y="8"/>
                </a:cubicBezTo>
                <a:cubicBezTo>
                  <a:pt x="14" y="5"/>
                  <a:pt x="13" y="0"/>
                  <a:pt x="10" y="3"/>
                </a:cubicBezTo>
                <a:cubicBezTo>
                  <a:pt x="8" y="4"/>
                  <a:pt x="7" y="7"/>
                  <a:pt x="6" y="8"/>
                </a:cubicBezTo>
                <a:cubicBezTo>
                  <a:pt x="4" y="11"/>
                  <a:pt x="0" y="12"/>
                  <a:pt x="5" y="15"/>
                </a:cubicBezTo>
                <a:cubicBezTo>
                  <a:pt x="7" y="17"/>
                  <a:pt x="7" y="19"/>
                  <a:pt x="8" y="20"/>
                </a:cubicBezTo>
                <a:cubicBezTo>
                  <a:pt x="10" y="22"/>
                  <a:pt x="12" y="17"/>
                  <a:pt x="13" y="16"/>
                </a:cubicBezTo>
                <a:lnTo>
                  <a:pt x="16" y="12"/>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20" name="Freeform 244">
            <a:extLst>
              <a:ext uri="{FF2B5EF4-FFF2-40B4-BE49-F238E27FC236}">
                <a16:creationId xmlns:a16="http://schemas.microsoft.com/office/drawing/2014/main" id="{E80C5FD8-BADA-429E-853B-DF6C24C07156}"/>
              </a:ext>
            </a:extLst>
          </p:cNvPr>
          <p:cNvSpPr>
            <a:spLocks/>
          </p:cNvSpPr>
          <p:nvPr/>
        </p:nvSpPr>
        <p:spPr bwMode="auto">
          <a:xfrm>
            <a:off x="7469826" y="2736970"/>
            <a:ext cx="26610" cy="35480"/>
          </a:xfrm>
          <a:custGeom>
            <a:avLst/>
            <a:gdLst>
              <a:gd name="T0" fmla="*/ 16 w 16"/>
              <a:gd name="T1" fmla="*/ 12 h 22"/>
              <a:gd name="T2" fmla="*/ 14 w 16"/>
              <a:gd name="T3" fmla="*/ 8 h 22"/>
              <a:gd name="T4" fmla="*/ 10 w 16"/>
              <a:gd name="T5" fmla="*/ 3 h 22"/>
              <a:gd name="T6" fmla="*/ 6 w 16"/>
              <a:gd name="T7" fmla="*/ 8 h 22"/>
              <a:gd name="T8" fmla="*/ 5 w 16"/>
              <a:gd name="T9" fmla="*/ 15 h 22"/>
              <a:gd name="T10" fmla="*/ 8 w 16"/>
              <a:gd name="T11" fmla="*/ 20 h 22"/>
              <a:gd name="T12" fmla="*/ 13 w 16"/>
              <a:gd name="T13" fmla="*/ 16 h 22"/>
              <a:gd name="T14" fmla="*/ 16 w 16"/>
              <a:gd name="T15" fmla="*/ 1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2">
                <a:moveTo>
                  <a:pt x="16" y="12"/>
                </a:moveTo>
                <a:cubicBezTo>
                  <a:pt x="15" y="11"/>
                  <a:pt x="14" y="9"/>
                  <a:pt x="14" y="8"/>
                </a:cubicBezTo>
                <a:cubicBezTo>
                  <a:pt x="14" y="5"/>
                  <a:pt x="13" y="0"/>
                  <a:pt x="10" y="3"/>
                </a:cubicBezTo>
                <a:cubicBezTo>
                  <a:pt x="8" y="4"/>
                  <a:pt x="7" y="7"/>
                  <a:pt x="6" y="8"/>
                </a:cubicBezTo>
                <a:cubicBezTo>
                  <a:pt x="4" y="11"/>
                  <a:pt x="0" y="12"/>
                  <a:pt x="5" y="15"/>
                </a:cubicBezTo>
                <a:cubicBezTo>
                  <a:pt x="7" y="17"/>
                  <a:pt x="7" y="19"/>
                  <a:pt x="8" y="20"/>
                </a:cubicBezTo>
                <a:cubicBezTo>
                  <a:pt x="10" y="22"/>
                  <a:pt x="12" y="17"/>
                  <a:pt x="13" y="16"/>
                </a:cubicBezTo>
                <a:lnTo>
                  <a:pt x="16" y="12"/>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21" name="Freeform 245">
            <a:extLst>
              <a:ext uri="{FF2B5EF4-FFF2-40B4-BE49-F238E27FC236}">
                <a16:creationId xmlns:a16="http://schemas.microsoft.com/office/drawing/2014/main" id="{4D09948C-D58E-44FE-9668-5F921BFEBE10}"/>
              </a:ext>
            </a:extLst>
          </p:cNvPr>
          <p:cNvSpPr>
            <a:spLocks/>
          </p:cNvSpPr>
          <p:nvPr/>
        </p:nvSpPr>
        <p:spPr bwMode="auto">
          <a:xfrm>
            <a:off x="7527480" y="2763582"/>
            <a:ext cx="8869" cy="8869"/>
          </a:xfrm>
          <a:custGeom>
            <a:avLst/>
            <a:gdLst>
              <a:gd name="T0" fmla="*/ 4 w 5"/>
              <a:gd name="T1" fmla="*/ 2 h 6"/>
              <a:gd name="T2" fmla="*/ 3 w 5"/>
              <a:gd name="T3" fmla="*/ 1 h 6"/>
              <a:gd name="T4" fmla="*/ 2 w 5"/>
              <a:gd name="T5" fmla="*/ 0 h 6"/>
              <a:gd name="T6" fmla="*/ 1 w 5"/>
              <a:gd name="T7" fmla="*/ 0 h 6"/>
              <a:gd name="T8" fmla="*/ 0 w 5"/>
              <a:gd name="T9" fmla="*/ 2 h 6"/>
              <a:gd name="T10" fmla="*/ 0 w 5"/>
              <a:gd name="T11" fmla="*/ 3 h 6"/>
              <a:gd name="T12" fmla="*/ 1 w 5"/>
              <a:gd name="T13" fmla="*/ 4 h 6"/>
              <a:gd name="T14" fmla="*/ 5 w 5"/>
              <a:gd name="T15" fmla="*/ 4 h 6"/>
              <a:gd name="T16" fmla="*/ 4 w 5"/>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6">
                <a:moveTo>
                  <a:pt x="4" y="2"/>
                </a:moveTo>
                <a:cubicBezTo>
                  <a:pt x="4" y="1"/>
                  <a:pt x="3" y="1"/>
                  <a:pt x="3" y="1"/>
                </a:cubicBezTo>
                <a:cubicBezTo>
                  <a:pt x="2" y="0"/>
                  <a:pt x="2" y="0"/>
                  <a:pt x="2" y="0"/>
                </a:cubicBezTo>
                <a:cubicBezTo>
                  <a:pt x="1" y="0"/>
                  <a:pt x="1" y="0"/>
                  <a:pt x="1" y="0"/>
                </a:cubicBezTo>
                <a:cubicBezTo>
                  <a:pt x="0" y="0"/>
                  <a:pt x="0" y="1"/>
                  <a:pt x="0" y="2"/>
                </a:cubicBezTo>
                <a:cubicBezTo>
                  <a:pt x="0" y="2"/>
                  <a:pt x="0" y="2"/>
                  <a:pt x="0" y="3"/>
                </a:cubicBezTo>
                <a:cubicBezTo>
                  <a:pt x="1" y="4"/>
                  <a:pt x="1" y="4"/>
                  <a:pt x="1" y="4"/>
                </a:cubicBezTo>
                <a:cubicBezTo>
                  <a:pt x="2" y="4"/>
                  <a:pt x="3" y="6"/>
                  <a:pt x="5" y="4"/>
                </a:cubicBezTo>
                <a:lnTo>
                  <a:pt x="4" y="2"/>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22" name="Freeform 246">
            <a:extLst>
              <a:ext uri="{FF2B5EF4-FFF2-40B4-BE49-F238E27FC236}">
                <a16:creationId xmlns:a16="http://schemas.microsoft.com/office/drawing/2014/main" id="{480F2250-57BE-4A58-AA97-A2265CFC2E81}"/>
              </a:ext>
            </a:extLst>
          </p:cNvPr>
          <p:cNvSpPr>
            <a:spLocks/>
          </p:cNvSpPr>
          <p:nvPr/>
        </p:nvSpPr>
        <p:spPr bwMode="auto">
          <a:xfrm>
            <a:off x="7527480" y="2763582"/>
            <a:ext cx="8869" cy="8869"/>
          </a:xfrm>
          <a:custGeom>
            <a:avLst/>
            <a:gdLst>
              <a:gd name="T0" fmla="*/ 4 w 5"/>
              <a:gd name="T1" fmla="*/ 2 h 6"/>
              <a:gd name="T2" fmla="*/ 3 w 5"/>
              <a:gd name="T3" fmla="*/ 1 h 6"/>
              <a:gd name="T4" fmla="*/ 2 w 5"/>
              <a:gd name="T5" fmla="*/ 0 h 6"/>
              <a:gd name="T6" fmla="*/ 1 w 5"/>
              <a:gd name="T7" fmla="*/ 0 h 6"/>
              <a:gd name="T8" fmla="*/ 0 w 5"/>
              <a:gd name="T9" fmla="*/ 2 h 6"/>
              <a:gd name="T10" fmla="*/ 0 w 5"/>
              <a:gd name="T11" fmla="*/ 3 h 6"/>
              <a:gd name="T12" fmla="*/ 1 w 5"/>
              <a:gd name="T13" fmla="*/ 4 h 6"/>
              <a:gd name="T14" fmla="*/ 5 w 5"/>
              <a:gd name="T15" fmla="*/ 4 h 6"/>
              <a:gd name="T16" fmla="*/ 4 w 5"/>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6">
                <a:moveTo>
                  <a:pt x="4" y="2"/>
                </a:moveTo>
                <a:cubicBezTo>
                  <a:pt x="4" y="1"/>
                  <a:pt x="3" y="1"/>
                  <a:pt x="3" y="1"/>
                </a:cubicBezTo>
                <a:cubicBezTo>
                  <a:pt x="2" y="0"/>
                  <a:pt x="2" y="0"/>
                  <a:pt x="2" y="0"/>
                </a:cubicBezTo>
                <a:cubicBezTo>
                  <a:pt x="1" y="0"/>
                  <a:pt x="1" y="0"/>
                  <a:pt x="1" y="0"/>
                </a:cubicBezTo>
                <a:cubicBezTo>
                  <a:pt x="0" y="0"/>
                  <a:pt x="0" y="1"/>
                  <a:pt x="0" y="2"/>
                </a:cubicBezTo>
                <a:cubicBezTo>
                  <a:pt x="0" y="2"/>
                  <a:pt x="0" y="2"/>
                  <a:pt x="0" y="3"/>
                </a:cubicBezTo>
                <a:cubicBezTo>
                  <a:pt x="1" y="4"/>
                  <a:pt x="1" y="4"/>
                  <a:pt x="1" y="4"/>
                </a:cubicBezTo>
                <a:cubicBezTo>
                  <a:pt x="2" y="4"/>
                  <a:pt x="3" y="6"/>
                  <a:pt x="5" y="4"/>
                </a:cubicBezTo>
                <a:lnTo>
                  <a:pt x="4" y="2"/>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23" name="Freeform 247">
            <a:extLst>
              <a:ext uri="{FF2B5EF4-FFF2-40B4-BE49-F238E27FC236}">
                <a16:creationId xmlns:a16="http://schemas.microsoft.com/office/drawing/2014/main" id="{122EA5EA-F607-4814-8545-8E78301908F3}"/>
              </a:ext>
            </a:extLst>
          </p:cNvPr>
          <p:cNvSpPr>
            <a:spLocks/>
          </p:cNvSpPr>
          <p:nvPr/>
        </p:nvSpPr>
        <p:spPr bwMode="auto">
          <a:xfrm>
            <a:off x="7567401" y="2714797"/>
            <a:ext cx="8869" cy="17741"/>
          </a:xfrm>
          <a:custGeom>
            <a:avLst/>
            <a:gdLst>
              <a:gd name="T0" fmla="*/ 5 w 6"/>
              <a:gd name="T1" fmla="*/ 8 h 12"/>
              <a:gd name="T2" fmla="*/ 6 w 6"/>
              <a:gd name="T3" fmla="*/ 2 h 12"/>
              <a:gd name="T4" fmla="*/ 1 w 6"/>
              <a:gd name="T5" fmla="*/ 6 h 12"/>
              <a:gd name="T6" fmla="*/ 1 w 6"/>
              <a:gd name="T7" fmla="*/ 10 h 12"/>
              <a:gd name="T8" fmla="*/ 2 w 6"/>
              <a:gd name="T9" fmla="*/ 12 h 12"/>
              <a:gd name="T10" fmla="*/ 3 w 6"/>
              <a:gd name="T11" fmla="*/ 12 h 12"/>
              <a:gd name="T12" fmla="*/ 4 w 6"/>
              <a:gd name="T13" fmla="*/ 11 h 12"/>
              <a:gd name="T14" fmla="*/ 5 w 6"/>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5" y="8"/>
                </a:moveTo>
                <a:cubicBezTo>
                  <a:pt x="6" y="6"/>
                  <a:pt x="6" y="4"/>
                  <a:pt x="6" y="2"/>
                </a:cubicBezTo>
                <a:cubicBezTo>
                  <a:pt x="5" y="0"/>
                  <a:pt x="0" y="3"/>
                  <a:pt x="1" y="6"/>
                </a:cubicBezTo>
                <a:cubicBezTo>
                  <a:pt x="2" y="6"/>
                  <a:pt x="1" y="9"/>
                  <a:pt x="1" y="10"/>
                </a:cubicBezTo>
                <a:cubicBezTo>
                  <a:pt x="1" y="10"/>
                  <a:pt x="2" y="11"/>
                  <a:pt x="2" y="12"/>
                </a:cubicBezTo>
                <a:cubicBezTo>
                  <a:pt x="3" y="12"/>
                  <a:pt x="3" y="12"/>
                  <a:pt x="3" y="12"/>
                </a:cubicBezTo>
                <a:cubicBezTo>
                  <a:pt x="3" y="12"/>
                  <a:pt x="4" y="12"/>
                  <a:pt x="4" y="11"/>
                </a:cubicBezTo>
                <a:lnTo>
                  <a:pt x="5" y="8"/>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24" name="Freeform 248">
            <a:extLst>
              <a:ext uri="{FF2B5EF4-FFF2-40B4-BE49-F238E27FC236}">
                <a16:creationId xmlns:a16="http://schemas.microsoft.com/office/drawing/2014/main" id="{045428EE-35A0-49F2-B3E7-F22F7A1E543C}"/>
              </a:ext>
            </a:extLst>
          </p:cNvPr>
          <p:cNvSpPr>
            <a:spLocks/>
          </p:cNvSpPr>
          <p:nvPr/>
        </p:nvSpPr>
        <p:spPr bwMode="auto">
          <a:xfrm>
            <a:off x="7567401" y="2714797"/>
            <a:ext cx="8869" cy="17741"/>
          </a:xfrm>
          <a:custGeom>
            <a:avLst/>
            <a:gdLst>
              <a:gd name="T0" fmla="*/ 5 w 6"/>
              <a:gd name="T1" fmla="*/ 8 h 12"/>
              <a:gd name="T2" fmla="*/ 6 w 6"/>
              <a:gd name="T3" fmla="*/ 2 h 12"/>
              <a:gd name="T4" fmla="*/ 1 w 6"/>
              <a:gd name="T5" fmla="*/ 6 h 12"/>
              <a:gd name="T6" fmla="*/ 1 w 6"/>
              <a:gd name="T7" fmla="*/ 10 h 12"/>
              <a:gd name="T8" fmla="*/ 2 w 6"/>
              <a:gd name="T9" fmla="*/ 12 h 12"/>
              <a:gd name="T10" fmla="*/ 3 w 6"/>
              <a:gd name="T11" fmla="*/ 12 h 12"/>
              <a:gd name="T12" fmla="*/ 4 w 6"/>
              <a:gd name="T13" fmla="*/ 11 h 12"/>
              <a:gd name="T14" fmla="*/ 5 w 6"/>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5" y="8"/>
                </a:moveTo>
                <a:cubicBezTo>
                  <a:pt x="6" y="6"/>
                  <a:pt x="6" y="4"/>
                  <a:pt x="6" y="2"/>
                </a:cubicBezTo>
                <a:cubicBezTo>
                  <a:pt x="5" y="0"/>
                  <a:pt x="0" y="3"/>
                  <a:pt x="1" y="6"/>
                </a:cubicBezTo>
                <a:cubicBezTo>
                  <a:pt x="2" y="6"/>
                  <a:pt x="1" y="9"/>
                  <a:pt x="1" y="10"/>
                </a:cubicBezTo>
                <a:cubicBezTo>
                  <a:pt x="1" y="10"/>
                  <a:pt x="2" y="11"/>
                  <a:pt x="2" y="12"/>
                </a:cubicBezTo>
                <a:cubicBezTo>
                  <a:pt x="3" y="12"/>
                  <a:pt x="3" y="12"/>
                  <a:pt x="3" y="12"/>
                </a:cubicBezTo>
                <a:cubicBezTo>
                  <a:pt x="3" y="12"/>
                  <a:pt x="4" y="12"/>
                  <a:pt x="4" y="11"/>
                </a:cubicBezTo>
                <a:lnTo>
                  <a:pt x="5" y="8"/>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25" name="Freeform 249">
            <a:extLst>
              <a:ext uri="{FF2B5EF4-FFF2-40B4-BE49-F238E27FC236}">
                <a16:creationId xmlns:a16="http://schemas.microsoft.com/office/drawing/2014/main" id="{7CA1AB5A-CDD4-47D2-9847-29238A973F1B}"/>
              </a:ext>
            </a:extLst>
          </p:cNvPr>
          <p:cNvSpPr>
            <a:spLocks/>
          </p:cNvSpPr>
          <p:nvPr/>
        </p:nvSpPr>
        <p:spPr bwMode="auto">
          <a:xfrm>
            <a:off x="7616181" y="2697058"/>
            <a:ext cx="13303" cy="13308"/>
          </a:xfrm>
          <a:custGeom>
            <a:avLst/>
            <a:gdLst>
              <a:gd name="T0" fmla="*/ 9 w 9"/>
              <a:gd name="T1" fmla="*/ 0 h 7"/>
              <a:gd name="T2" fmla="*/ 8 w 9"/>
              <a:gd name="T3" fmla="*/ 1 h 7"/>
              <a:gd name="T4" fmla="*/ 7 w 9"/>
              <a:gd name="T5" fmla="*/ 2 h 7"/>
              <a:gd name="T6" fmla="*/ 3 w 9"/>
              <a:gd name="T7" fmla="*/ 2 h 7"/>
              <a:gd name="T8" fmla="*/ 1 w 9"/>
              <a:gd name="T9" fmla="*/ 3 h 7"/>
              <a:gd name="T10" fmla="*/ 3 w 9"/>
              <a:gd name="T11" fmla="*/ 6 h 7"/>
              <a:gd name="T12" fmla="*/ 9 w 9"/>
              <a:gd name="T13" fmla="*/ 3 h 7"/>
              <a:gd name="T14" fmla="*/ 9 w 9"/>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9" y="0"/>
                </a:moveTo>
                <a:cubicBezTo>
                  <a:pt x="8" y="1"/>
                  <a:pt x="8" y="1"/>
                  <a:pt x="8" y="1"/>
                </a:cubicBezTo>
                <a:cubicBezTo>
                  <a:pt x="8" y="1"/>
                  <a:pt x="7" y="2"/>
                  <a:pt x="7" y="2"/>
                </a:cubicBezTo>
                <a:cubicBezTo>
                  <a:pt x="5" y="2"/>
                  <a:pt x="4" y="3"/>
                  <a:pt x="3" y="2"/>
                </a:cubicBezTo>
                <a:cubicBezTo>
                  <a:pt x="2" y="2"/>
                  <a:pt x="1" y="2"/>
                  <a:pt x="1" y="3"/>
                </a:cubicBezTo>
                <a:cubicBezTo>
                  <a:pt x="0" y="4"/>
                  <a:pt x="2" y="6"/>
                  <a:pt x="3" y="6"/>
                </a:cubicBezTo>
                <a:cubicBezTo>
                  <a:pt x="6" y="7"/>
                  <a:pt x="8" y="5"/>
                  <a:pt x="9" y="3"/>
                </a:cubicBezTo>
                <a:lnTo>
                  <a:pt x="9"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26" name="Freeform 250">
            <a:extLst>
              <a:ext uri="{FF2B5EF4-FFF2-40B4-BE49-F238E27FC236}">
                <a16:creationId xmlns:a16="http://schemas.microsoft.com/office/drawing/2014/main" id="{41F44210-6059-4E1B-89FA-BDB99602D1A2}"/>
              </a:ext>
            </a:extLst>
          </p:cNvPr>
          <p:cNvSpPr>
            <a:spLocks/>
          </p:cNvSpPr>
          <p:nvPr/>
        </p:nvSpPr>
        <p:spPr bwMode="auto">
          <a:xfrm>
            <a:off x="7616181" y="2697058"/>
            <a:ext cx="13303" cy="13308"/>
          </a:xfrm>
          <a:custGeom>
            <a:avLst/>
            <a:gdLst>
              <a:gd name="T0" fmla="*/ 9 w 9"/>
              <a:gd name="T1" fmla="*/ 0 h 7"/>
              <a:gd name="T2" fmla="*/ 8 w 9"/>
              <a:gd name="T3" fmla="*/ 1 h 7"/>
              <a:gd name="T4" fmla="*/ 7 w 9"/>
              <a:gd name="T5" fmla="*/ 2 h 7"/>
              <a:gd name="T6" fmla="*/ 3 w 9"/>
              <a:gd name="T7" fmla="*/ 2 h 7"/>
              <a:gd name="T8" fmla="*/ 1 w 9"/>
              <a:gd name="T9" fmla="*/ 3 h 7"/>
              <a:gd name="T10" fmla="*/ 3 w 9"/>
              <a:gd name="T11" fmla="*/ 6 h 7"/>
              <a:gd name="T12" fmla="*/ 9 w 9"/>
              <a:gd name="T13" fmla="*/ 3 h 7"/>
              <a:gd name="T14" fmla="*/ 9 w 9"/>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9" y="0"/>
                </a:moveTo>
                <a:cubicBezTo>
                  <a:pt x="8" y="1"/>
                  <a:pt x="8" y="1"/>
                  <a:pt x="8" y="1"/>
                </a:cubicBezTo>
                <a:cubicBezTo>
                  <a:pt x="8" y="1"/>
                  <a:pt x="7" y="2"/>
                  <a:pt x="7" y="2"/>
                </a:cubicBezTo>
                <a:cubicBezTo>
                  <a:pt x="5" y="2"/>
                  <a:pt x="4" y="3"/>
                  <a:pt x="3" y="2"/>
                </a:cubicBezTo>
                <a:cubicBezTo>
                  <a:pt x="2" y="2"/>
                  <a:pt x="1" y="2"/>
                  <a:pt x="1" y="3"/>
                </a:cubicBezTo>
                <a:cubicBezTo>
                  <a:pt x="0" y="4"/>
                  <a:pt x="2" y="6"/>
                  <a:pt x="3" y="6"/>
                </a:cubicBezTo>
                <a:cubicBezTo>
                  <a:pt x="6" y="7"/>
                  <a:pt x="8" y="5"/>
                  <a:pt x="9" y="3"/>
                </a:cubicBezTo>
                <a:lnTo>
                  <a:pt x="9"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27" name="Freeform 325">
            <a:extLst>
              <a:ext uri="{FF2B5EF4-FFF2-40B4-BE49-F238E27FC236}">
                <a16:creationId xmlns:a16="http://schemas.microsoft.com/office/drawing/2014/main" id="{32C70B2C-53B2-41E5-B36F-5E06D04E002C}"/>
              </a:ext>
            </a:extLst>
          </p:cNvPr>
          <p:cNvSpPr>
            <a:spLocks/>
          </p:cNvSpPr>
          <p:nvPr/>
        </p:nvSpPr>
        <p:spPr bwMode="auto">
          <a:xfrm>
            <a:off x="6188092" y="3717122"/>
            <a:ext cx="13303" cy="13308"/>
          </a:xfrm>
          <a:custGeom>
            <a:avLst/>
            <a:gdLst>
              <a:gd name="T0" fmla="*/ 8 w 8"/>
              <a:gd name="T1" fmla="*/ 8 h 9"/>
              <a:gd name="T2" fmla="*/ 8 w 8"/>
              <a:gd name="T3" fmla="*/ 6 h 9"/>
              <a:gd name="T4" fmla="*/ 8 w 8"/>
              <a:gd name="T5" fmla="*/ 3 h 9"/>
              <a:gd name="T6" fmla="*/ 8 w 8"/>
              <a:gd name="T7" fmla="*/ 0 h 9"/>
              <a:gd name="T8" fmla="*/ 6 w 8"/>
              <a:gd name="T9" fmla="*/ 2 h 9"/>
              <a:gd name="T10" fmla="*/ 3 w 8"/>
              <a:gd name="T11" fmla="*/ 2 h 9"/>
              <a:gd name="T12" fmla="*/ 3 w 8"/>
              <a:gd name="T13" fmla="*/ 4 h 9"/>
              <a:gd name="T14" fmla="*/ 1 w 8"/>
              <a:gd name="T15" fmla="*/ 6 h 9"/>
              <a:gd name="T16" fmla="*/ 0 w 8"/>
              <a:gd name="T17" fmla="*/ 8 h 9"/>
              <a:gd name="T18" fmla="*/ 6 w 8"/>
              <a:gd name="T19" fmla="*/ 9 h 9"/>
              <a:gd name="T20" fmla="*/ 8 w 8"/>
              <a:gd name="T2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8" y="8"/>
                </a:moveTo>
                <a:cubicBezTo>
                  <a:pt x="8" y="7"/>
                  <a:pt x="7" y="7"/>
                  <a:pt x="8" y="6"/>
                </a:cubicBezTo>
                <a:cubicBezTo>
                  <a:pt x="8" y="5"/>
                  <a:pt x="8" y="4"/>
                  <a:pt x="8" y="3"/>
                </a:cubicBezTo>
                <a:cubicBezTo>
                  <a:pt x="8" y="2"/>
                  <a:pt x="8" y="1"/>
                  <a:pt x="8" y="0"/>
                </a:cubicBezTo>
                <a:cubicBezTo>
                  <a:pt x="7" y="0"/>
                  <a:pt x="7" y="2"/>
                  <a:pt x="6" y="2"/>
                </a:cubicBezTo>
                <a:cubicBezTo>
                  <a:pt x="5" y="2"/>
                  <a:pt x="4" y="2"/>
                  <a:pt x="3" y="2"/>
                </a:cubicBezTo>
                <a:cubicBezTo>
                  <a:pt x="3" y="3"/>
                  <a:pt x="3" y="3"/>
                  <a:pt x="3" y="4"/>
                </a:cubicBezTo>
                <a:cubicBezTo>
                  <a:pt x="3" y="5"/>
                  <a:pt x="2" y="6"/>
                  <a:pt x="1" y="6"/>
                </a:cubicBezTo>
                <a:cubicBezTo>
                  <a:pt x="0" y="7"/>
                  <a:pt x="0" y="7"/>
                  <a:pt x="0" y="8"/>
                </a:cubicBezTo>
                <a:cubicBezTo>
                  <a:pt x="1" y="9"/>
                  <a:pt x="4" y="9"/>
                  <a:pt x="6" y="9"/>
                </a:cubicBezTo>
                <a:lnTo>
                  <a:pt x="8" y="8"/>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28" name="Freeform 326">
            <a:extLst>
              <a:ext uri="{FF2B5EF4-FFF2-40B4-BE49-F238E27FC236}">
                <a16:creationId xmlns:a16="http://schemas.microsoft.com/office/drawing/2014/main" id="{682F9C5E-B5A7-402F-9DBF-13CB48FBAFB7}"/>
              </a:ext>
            </a:extLst>
          </p:cNvPr>
          <p:cNvSpPr>
            <a:spLocks/>
          </p:cNvSpPr>
          <p:nvPr/>
        </p:nvSpPr>
        <p:spPr bwMode="auto">
          <a:xfrm>
            <a:off x="6188092" y="3717122"/>
            <a:ext cx="13303" cy="13308"/>
          </a:xfrm>
          <a:custGeom>
            <a:avLst/>
            <a:gdLst>
              <a:gd name="T0" fmla="*/ 8 w 8"/>
              <a:gd name="T1" fmla="*/ 8 h 9"/>
              <a:gd name="T2" fmla="*/ 8 w 8"/>
              <a:gd name="T3" fmla="*/ 6 h 9"/>
              <a:gd name="T4" fmla="*/ 8 w 8"/>
              <a:gd name="T5" fmla="*/ 3 h 9"/>
              <a:gd name="T6" fmla="*/ 8 w 8"/>
              <a:gd name="T7" fmla="*/ 0 h 9"/>
              <a:gd name="T8" fmla="*/ 6 w 8"/>
              <a:gd name="T9" fmla="*/ 2 h 9"/>
              <a:gd name="T10" fmla="*/ 3 w 8"/>
              <a:gd name="T11" fmla="*/ 2 h 9"/>
              <a:gd name="T12" fmla="*/ 3 w 8"/>
              <a:gd name="T13" fmla="*/ 4 h 9"/>
              <a:gd name="T14" fmla="*/ 1 w 8"/>
              <a:gd name="T15" fmla="*/ 6 h 9"/>
              <a:gd name="T16" fmla="*/ 0 w 8"/>
              <a:gd name="T17" fmla="*/ 8 h 9"/>
              <a:gd name="T18" fmla="*/ 6 w 8"/>
              <a:gd name="T19" fmla="*/ 9 h 9"/>
              <a:gd name="T20" fmla="*/ 8 w 8"/>
              <a:gd name="T2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8" y="8"/>
                </a:moveTo>
                <a:cubicBezTo>
                  <a:pt x="8" y="7"/>
                  <a:pt x="7" y="7"/>
                  <a:pt x="8" y="6"/>
                </a:cubicBezTo>
                <a:cubicBezTo>
                  <a:pt x="8" y="5"/>
                  <a:pt x="8" y="4"/>
                  <a:pt x="8" y="3"/>
                </a:cubicBezTo>
                <a:cubicBezTo>
                  <a:pt x="8" y="2"/>
                  <a:pt x="8" y="1"/>
                  <a:pt x="8" y="0"/>
                </a:cubicBezTo>
                <a:cubicBezTo>
                  <a:pt x="7" y="0"/>
                  <a:pt x="7" y="2"/>
                  <a:pt x="6" y="2"/>
                </a:cubicBezTo>
                <a:cubicBezTo>
                  <a:pt x="5" y="2"/>
                  <a:pt x="4" y="2"/>
                  <a:pt x="3" y="2"/>
                </a:cubicBezTo>
                <a:cubicBezTo>
                  <a:pt x="3" y="3"/>
                  <a:pt x="3" y="3"/>
                  <a:pt x="3" y="4"/>
                </a:cubicBezTo>
                <a:cubicBezTo>
                  <a:pt x="3" y="5"/>
                  <a:pt x="2" y="6"/>
                  <a:pt x="1" y="6"/>
                </a:cubicBezTo>
                <a:cubicBezTo>
                  <a:pt x="0" y="7"/>
                  <a:pt x="0" y="7"/>
                  <a:pt x="0" y="8"/>
                </a:cubicBezTo>
                <a:cubicBezTo>
                  <a:pt x="1" y="9"/>
                  <a:pt x="4" y="9"/>
                  <a:pt x="6" y="9"/>
                </a:cubicBezTo>
                <a:lnTo>
                  <a:pt x="8" y="8"/>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29" name="Freeform 327">
            <a:extLst>
              <a:ext uri="{FF2B5EF4-FFF2-40B4-BE49-F238E27FC236}">
                <a16:creationId xmlns:a16="http://schemas.microsoft.com/office/drawing/2014/main" id="{7AFD8777-8865-4C0D-9958-1C6C0E2C11D9}"/>
              </a:ext>
            </a:extLst>
          </p:cNvPr>
          <p:cNvSpPr>
            <a:spLocks/>
          </p:cNvSpPr>
          <p:nvPr/>
        </p:nvSpPr>
        <p:spPr bwMode="auto">
          <a:xfrm>
            <a:off x="6112698" y="3539719"/>
            <a:ext cx="31044" cy="13308"/>
          </a:xfrm>
          <a:custGeom>
            <a:avLst/>
            <a:gdLst>
              <a:gd name="T0" fmla="*/ 15 w 17"/>
              <a:gd name="T1" fmla="*/ 2 h 9"/>
              <a:gd name="T2" fmla="*/ 11 w 17"/>
              <a:gd name="T3" fmla="*/ 0 h 9"/>
              <a:gd name="T4" fmla="*/ 3 w 17"/>
              <a:gd name="T5" fmla="*/ 1 h 9"/>
              <a:gd name="T6" fmla="*/ 1 w 17"/>
              <a:gd name="T7" fmla="*/ 2 h 9"/>
              <a:gd name="T8" fmla="*/ 0 w 17"/>
              <a:gd name="T9" fmla="*/ 5 h 9"/>
              <a:gd name="T10" fmla="*/ 2 w 17"/>
              <a:gd name="T11" fmla="*/ 6 h 9"/>
              <a:gd name="T12" fmla="*/ 5 w 17"/>
              <a:gd name="T13" fmla="*/ 8 h 9"/>
              <a:gd name="T14" fmla="*/ 9 w 17"/>
              <a:gd name="T15" fmla="*/ 7 h 9"/>
              <a:gd name="T16" fmla="*/ 17 w 17"/>
              <a:gd name="T17" fmla="*/ 5 h 9"/>
              <a:gd name="T18" fmla="*/ 15 w 17"/>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2"/>
                </a:moveTo>
                <a:cubicBezTo>
                  <a:pt x="14" y="1"/>
                  <a:pt x="13" y="0"/>
                  <a:pt x="11" y="0"/>
                </a:cubicBezTo>
                <a:cubicBezTo>
                  <a:pt x="9" y="0"/>
                  <a:pt x="6" y="1"/>
                  <a:pt x="3" y="1"/>
                </a:cubicBezTo>
                <a:cubicBezTo>
                  <a:pt x="2" y="0"/>
                  <a:pt x="2" y="0"/>
                  <a:pt x="1" y="2"/>
                </a:cubicBezTo>
                <a:cubicBezTo>
                  <a:pt x="1" y="3"/>
                  <a:pt x="0" y="4"/>
                  <a:pt x="0" y="5"/>
                </a:cubicBezTo>
                <a:cubicBezTo>
                  <a:pt x="1" y="5"/>
                  <a:pt x="1" y="6"/>
                  <a:pt x="2" y="6"/>
                </a:cubicBezTo>
                <a:cubicBezTo>
                  <a:pt x="3" y="7"/>
                  <a:pt x="5" y="8"/>
                  <a:pt x="5" y="8"/>
                </a:cubicBezTo>
                <a:cubicBezTo>
                  <a:pt x="7" y="9"/>
                  <a:pt x="8" y="8"/>
                  <a:pt x="9" y="7"/>
                </a:cubicBezTo>
                <a:cubicBezTo>
                  <a:pt x="11" y="6"/>
                  <a:pt x="16" y="8"/>
                  <a:pt x="17" y="5"/>
                </a:cubicBezTo>
                <a:lnTo>
                  <a:pt x="15" y="2"/>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30" name="Freeform 328">
            <a:extLst>
              <a:ext uri="{FF2B5EF4-FFF2-40B4-BE49-F238E27FC236}">
                <a16:creationId xmlns:a16="http://schemas.microsoft.com/office/drawing/2014/main" id="{C7E86C7A-AC4C-4B87-BE61-40D6DD9C2B13}"/>
              </a:ext>
            </a:extLst>
          </p:cNvPr>
          <p:cNvSpPr>
            <a:spLocks/>
          </p:cNvSpPr>
          <p:nvPr/>
        </p:nvSpPr>
        <p:spPr bwMode="auto">
          <a:xfrm>
            <a:off x="6112698" y="3539719"/>
            <a:ext cx="31044" cy="13308"/>
          </a:xfrm>
          <a:custGeom>
            <a:avLst/>
            <a:gdLst>
              <a:gd name="T0" fmla="*/ 15 w 17"/>
              <a:gd name="T1" fmla="*/ 2 h 9"/>
              <a:gd name="T2" fmla="*/ 11 w 17"/>
              <a:gd name="T3" fmla="*/ 0 h 9"/>
              <a:gd name="T4" fmla="*/ 3 w 17"/>
              <a:gd name="T5" fmla="*/ 1 h 9"/>
              <a:gd name="T6" fmla="*/ 1 w 17"/>
              <a:gd name="T7" fmla="*/ 2 h 9"/>
              <a:gd name="T8" fmla="*/ 0 w 17"/>
              <a:gd name="T9" fmla="*/ 5 h 9"/>
              <a:gd name="T10" fmla="*/ 2 w 17"/>
              <a:gd name="T11" fmla="*/ 6 h 9"/>
              <a:gd name="T12" fmla="*/ 5 w 17"/>
              <a:gd name="T13" fmla="*/ 8 h 9"/>
              <a:gd name="T14" fmla="*/ 9 w 17"/>
              <a:gd name="T15" fmla="*/ 7 h 9"/>
              <a:gd name="T16" fmla="*/ 17 w 17"/>
              <a:gd name="T17" fmla="*/ 5 h 9"/>
              <a:gd name="T18" fmla="*/ 15 w 17"/>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2"/>
                </a:moveTo>
                <a:cubicBezTo>
                  <a:pt x="14" y="1"/>
                  <a:pt x="13" y="0"/>
                  <a:pt x="11" y="0"/>
                </a:cubicBezTo>
                <a:cubicBezTo>
                  <a:pt x="9" y="0"/>
                  <a:pt x="6" y="1"/>
                  <a:pt x="3" y="1"/>
                </a:cubicBezTo>
                <a:cubicBezTo>
                  <a:pt x="2" y="0"/>
                  <a:pt x="2" y="0"/>
                  <a:pt x="1" y="2"/>
                </a:cubicBezTo>
                <a:cubicBezTo>
                  <a:pt x="1" y="3"/>
                  <a:pt x="0" y="4"/>
                  <a:pt x="0" y="5"/>
                </a:cubicBezTo>
                <a:cubicBezTo>
                  <a:pt x="1" y="5"/>
                  <a:pt x="1" y="6"/>
                  <a:pt x="2" y="6"/>
                </a:cubicBezTo>
                <a:cubicBezTo>
                  <a:pt x="3" y="7"/>
                  <a:pt x="5" y="8"/>
                  <a:pt x="5" y="8"/>
                </a:cubicBezTo>
                <a:cubicBezTo>
                  <a:pt x="7" y="9"/>
                  <a:pt x="8" y="8"/>
                  <a:pt x="9" y="7"/>
                </a:cubicBezTo>
                <a:cubicBezTo>
                  <a:pt x="11" y="6"/>
                  <a:pt x="16" y="8"/>
                  <a:pt x="17" y="5"/>
                </a:cubicBezTo>
                <a:lnTo>
                  <a:pt x="15" y="2"/>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31" name="Freeform 329">
            <a:extLst>
              <a:ext uri="{FF2B5EF4-FFF2-40B4-BE49-F238E27FC236}">
                <a16:creationId xmlns:a16="http://schemas.microsoft.com/office/drawing/2014/main" id="{800E8540-D06F-4284-9207-1A7E8BDE7BA2}"/>
              </a:ext>
            </a:extLst>
          </p:cNvPr>
          <p:cNvSpPr>
            <a:spLocks/>
          </p:cNvSpPr>
          <p:nvPr/>
        </p:nvSpPr>
        <p:spPr bwMode="auto">
          <a:xfrm>
            <a:off x="5988518" y="3495367"/>
            <a:ext cx="115311" cy="57657"/>
          </a:xfrm>
          <a:custGeom>
            <a:avLst/>
            <a:gdLst>
              <a:gd name="T0" fmla="*/ 15 w 69"/>
              <a:gd name="T1" fmla="*/ 24 h 36"/>
              <a:gd name="T2" fmla="*/ 23 w 69"/>
              <a:gd name="T3" fmla="*/ 16 h 36"/>
              <a:gd name="T4" fmla="*/ 18 w 69"/>
              <a:gd name="T5" fmla="*/ 10 h 36"/>
              <a:gd name="T6" fmla="*/ 24 w 69"/>
              <a:gd name="T7" fmla="*/ 5 h 36"/>
              <a:gd name="T8" fmla="*/ 41 w 69"/>
              <a:gd name="T9" fmla="*/ 6 h 36"/>
              <a:gd name="T10" fmla="*/ 53 w 69"/>
              <a:gd name="T11" fmla="*/ 9 h 36"/>
              <a:gd name="T12" fmla="*/ 60 w 69"/>
              <a:gd name="T13" fmla="*/ 17 h 36"/>
              <a:gd name="T14" fmla="*/ 65 w 69"/>
              <a:gd name="T15" fmla="*/ 22 h 36"/>
              <a:gd name="T16" fmla="*/ 62 w 69"/>
              <a:gd name="T17" fmla="*/ 24 h 36"/>
              <a:gd name="T18" fmla="*/ 43 w 69"/>
              <a:gd name="T19" fmla="*/ 23 h 36"/>
              <a:gd name="T20" fmla="*/ 37 w 69"/>
              <a:gd name="T21" fmla="*/ 25 h 36"/>
              <a:gd name="T22" fmla="*/ 35 w 69"/>
              <a:gd name="T23" fmla="*/ 29 h 36"/>
              <a:gd name="T24" fmla="*/ 31 w 69"/>
              <a:gd name="T25" fmla="*/ 35 h 36"/>
              <a:gd name="T26" fmla="*/ 28 w 69"/>
              <a:gd name="T27" fmla="*/ 34 h 36"/>
              <a:gd name="T28" fmla="*/ 26 w 69"/>
              <a:gd name="T29" fmla="*/ 27 h 36"/>
              <a:gd name="T30" fmla="*/ 17 w 69"/>
              <a:gd name="T31" fmla="*/ 28 h 36"/>
              <a:gd name="T32" fmla="*/ 7 w 69"/>
              <a:gd name="T33" fmla="*/ 26 h 36"/>
              <a:gd name="T34" fmla="*/ 1 w 69"/>
              <a:gd name="T35" fmla="*/ 25 h 36"/>
              <a:gd name="T36" fmla="*/ 14 w 69"/>
              <a:gd name="T37" fmla="*/ 24 h 36"/>
              <a:gd name="T38" fmla="*/ 15 w 69"/>
              <a:gd name="T39"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36">
                <a:moveTo>
                  <a:pt x="15" y="24"/>
                </a:moveTo>
                <a:cubicBezTo>
                  <a:pt x="17" y="22"/>
                  <a:pt x="23" y="17"/>
                  <a:pt x="23" y="16"/>
                </a:cubicBezTo>
                <a:cubicBezTo>
                  <a:pt x="23" y="13"/>
                  <a:pt x="18" y="13"/>
                  <a:pt x="18" y="10"/>
                </a:cubicBezTo>
                <a:cubicBezTo>
                  <a:pt x="11" y="10"/>
                  <a:pt x="13" y="0"/>
                  <a:pt x="24" y="5"/>
                </a:cubicBezTo>
                <a:cubicBezTo>
                  <a:pt x="31" y="9"/>
                  <a:pt x="36" y="2"/>
                  <a:pt x="41" y="6"/>
                </a:cubicBezTo>
                <a:cubicBezTo>
                  <a:pt x="45" y="9"/>
                  <a:pt x="53" y="6"/>
                  <a:pt x="53" y="9"/>
                </a:cubicBezTo>
                <a:cubicBezTo>
                  <a:pt x="53" y="14"/>
                  <a:pt x="55" y="16"/>
                  <a:pt x="60" y="17"/>
                </a:cubicBezTo>
                <a:cubicBezTo>
                  <a:pt x="61" y="17"/>
                  <a:pt x="69" y="20"/>
                  <a:pt x="65" y="22"/>
                </a:cubicBezTo>
                <a:cubicBezTo>
                  <a:pt x="64" y="22"/>
                  <a:pt x="61" y="22"/>
                  <a:pt x="62" y="24"/>
                </a:cubicBezTo>
                <a:cubicBezTo>
                  <a:pt x="65" y="30"/>
                  <a:pt x="46" y="23"/>
                  <a:pt x="43" y="23"/>
                </a:cubicBezTo>
                <a:cubicBezTo>
                  <a:pt x="41" y="23"/>
                  <a:pt x="39" y="25"/>
                  <a:pt x="37" y="25"/>
                </a:cubicBezTo>
                <a:cubicBezTo>
                  <a:pt x="34" y="26"/>
                  <a:pt x="36" y="27"/>
                  <a:pt x="35" y="29"/>
                </a:cubicBezTo>
                <a:cubicBezTo>
                  <a:pt x="31" y="35"/>
                  <a:pt x="31" y="35"/>
                  <a:pt x="31" y="35"/>
                </a:cubicBezTo>
                <a:cubicBezTo>
                  <a:pt x="30" y="36"/>
                  <a:pt x="28" y="35"/>
                  <a:pt x="28" y="34"/>
                </a:cubicBezTo>
                <a:cubicBezTo>
                  <a:pt x="28" y="30"/>
                  <a:pt x="30" y="31"/>
                  <a:pt x="26" y="27"/>
                </a:cubicBezTo>
                <a:cubicBezTo>
                  <a:pt x="24" y="24"/>
                  <a:pt x="20" y="28"/>
                  <a:pt x="17" y="28"/>
                </a:cubicBezTo>
                <a:cubicBezTo>
                  <a:pt x="14" y="28"/>
                  <a:pt x="11" y="26"/>
                  <a:pt x="7" y="26"/>
                </a:cubicBezTo>
                <a:cubicBezTo>
                  <a:pt x="7" y="36"/>
                  <a:pt x="0" y="27"/>
                  <a:pt x="1" y="25"/>
                </a:cubicBezTo>
                <a:cubicBezTo>
                  <a:pt x="6" y="17"/>
                  <a:pt x="6" y="22"/>
                  <a:pt x="14" y="24"/>
                </a:cubicBezTo>
                <a:lnTo>
                  <a:pt x="15" y="24"/>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32" name="Freeform 331">
            <a:extLst>
              <a:ext uri="{FF2B5EF4-FFF2-40B4-BE49-F238E27FC236}">
                <a16:creationId xmlns:a16="http://schemas.microsoft.com/office/drawing/2014/main" id="{FCBD8843-722C-4E1E-8000-152D45CFF2E8}"/>
              </a:ext>
            </a:extLst>
          </p:cNvPr>
          <p:cNvSpPr>
            <a:spLocks/>
          </p:cNvSpPr>
          <p:nvPr/>
        </p:nvSpPr>
        <p:spPr bwMode="auto">
          <a:xfrm>
            <a:off x="6015128" y="3464321"/>
            <a:ext cx="13303" cy="13308"/>
          </a:xfrm>
          <a:custGeom>
            <a:avLst/>
            <a:gdLst>
              <a:gd name="T0" fmla="*/ 9 w 9"/>
              <a:gd name="T1" fmla="*/ 0 h 7"/>
              <a:gd name="T2" fmla="*/ 7 w 9"/>
              <a:gd name="T3" fmla="*/ 1 h 7"/>
              <a:gd name="T4" fmla="*/ 3 w 9"/>
              <a:gd name="T5" fmla="*/ 2 h 7"/>
              <a:gd name="T6" fmla="*/ 0 w 9"/>
              <a:gd name="T7" fmla="*/ 3 h 7"/>
              <a:gd name="T8" fmla="*/ 0 w 9"/>
              <a:gd name="T9" fmla="*/ 5 h 7"/>
              <a:gd name="T10" fmla="*/ 3 w 9"/>
              <a:gd name="T11" fmla="*/ 6 h 7"/>
              <a:gd name="T12" fmla="*/ 8 w 9"/>
              <a:gd name="T13" fmla="*/ 2 h 7"/>
              <a:gd name="T14" fmla="*/ 9 w 9"/>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9" y="0"/>
                </a:moveTo>
                <a:cubicBezTo>
                  <a:pt x="8" y="0"/>
                  <a:pt x="8" y="1"/>
                  <a:pt x="7" y="1"/>
                </a:cubicBezTo>
                <a:cubicBezTo>
                  <a:pt x="5" y="1"/>
                  <a:pt x="4" y="1"/>
                  <a:pt x="3" y="2"/>
                </a:cubicBezTo>
                <a:cubicBezTo>
                  <a:pt x="1" y="2"/>
                  <a:pt x="0" y="2"/>
                  <a:pt x="0" y="3"/>
                </a:cubicBezTo>
                <a:cubicBezTo>
                  <a:pt x="0" y="4"/>
                  <a:pt x="0" y="5"/>
                  <a:pt x="0" y="5"/>
                </a:cubicBezTo>
                <a:cubicBezTo>
                  <a:pt x="0" y="7"/>
                  <a:pt x="2" y="6"/>
                  <a:pt x="3" y="6"/>
                </a:cubicBezTo>
                <a:cubicBezTo>
                  <a:pt x="5" y="5"/>
                  <a:pt x="7" y="4"/>
                  <a:pt x="8" y="2"/>
                </a:cubicBezTo>
                <a:lnTo>
                  <a:pt x="9"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33" name="Freeform 332">
            <a:extLst>
              <a:ext uri="{FF2B5EF4-FFF2-40B4-BE49-F238E27FC236}">
                <a16:creationId xmlns:a16="http://schemas.microsoft.com/office/drawing/2014/main" id="{35209DAE-1A5C-44A7-BBD5-2AC33F3D26DC}"/>
              </a:ext>
            </a:extLst>
          </p:cNvPr>
          <p:cNvSpPr>
            <a:spLocks/>
          </p:cNvSpPr>
          <p:nvPr/>
        </p:nvSpPr>
        <p:spPr bwMode="auto">
          <a:xfrm>
            <a:off x="6015128" y="3464321"/>
            <a:ext cx="13303" cy="13308"/>
          </a:xfrm>
          <a:custGeom>
            <a:avLst/>
            <a:gdLst>
              <a:gd name="T0" fmla="*/ 9 w 9"/>
              <a:gd name="T1" fmla="*/ 0 h 7"/>
              <a:gd name="T2" fmla="*/ 7 w 9"/>
              <a:gd name="T3" fmla="*/ 1 h 7"/>
              <a:gd name="T4" fmla="*/ 3 w 9"/>
              <a:gd name="T5" fmla="*/ 2 h 7"/>
              <a:gd name="T6" fmla="*/ 0 w 9"/>
              <a:gd name="T7" fmla="*/ 3 h 7"/>
              <a:gd name="T8" fmla="*/ 0 w 9"/>
              <a:gd name="T9" fmla="*/ 5 h 7"/>
              <a:gd name="T10" fmla="*/ 3 w 9"/>
              <a:gd name="T11" fmla="*/ 6 h 7"/>
              <a:gd name="T12" fmla="*/ 8 w 9"/>
              <a:gd name="T13" fmla="*/ 2 h 7"/>
              <a:gd name="T14" fmla="*/ 9 w 9"/>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9" y="0"/>
                </a:moveTo>
                <a:cubicBezTo>
                  <a:pt x="8" y="0"/>
                  <a:pt x="8" y="1"/>
                  <a:pt x="7" y="1"/>
                </a:cubicBezTo>
                <a:cubicBezTo>
                  <a:pt x="5" y="1"/>
                  <a:pt x="4" y="1"/>
                  <a:pt x="3" y="2"/>
                </a:cubicBezTo>
                <a:cubicBezTo>
                  <a:pt x="1" y="2"/>
                  <a:pt x="0" y="2"/>
                  <a:pt x="0" y="3"/>
                </a:cubicBezTo>
                <a:cubicBezTo>
                  <a:pt x="0" y="4"/>
                  <a:pt x="0" y="5"/>
                  <a:pt x="0" y="5"/>
                </a:cubicBezTo>
                <a:cubicBezTo>
                  <a:pt x="0" y="7"/>
                  <a:pt x="2" y="6"/>
                  <a:pt x="3" y="6"/>
                </a:cubicBezTo>
                <a:cubicBezTo>
                  <a:pt x="5" y="5"/>
                  <a:pt x="7" y="4"/>
                  <a:pt x="8" y="2"/>
                </a:cubicBezTo>
                <a:lnTo>
                  <a:pt x="9"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36" name="Freeform 333">
            <a:extLst>
              <a:ext uri="{FF2B5EF4-FFF2-40B4-BE49-F238E27FC236}">
                <a16:creationId xmlns:a16="http://schemas.microsoft.com/office/drawing/2014/main" id="{0AC74A10-2B9A-4D41-AFCA-133EE9B33BB5}"/>
              </a:ext>
            </a:extLst>
          </p:cNvPr>
          <p:cNvSpPr>
            <a:spLocks/>
          </p:cNvSpPr>
          <p:nvPr/>
        </p:nvSpPr>
        <p:spPr bwMode="auto">
          <a:xfrm>
            <a:off x="6006260" y="3437712"/>
            <a:ext cx="13303" cy="13308"/>
          </a:xfrm>
          <a:custGeom>
            <a:avLst/>
            <a:gdLst>
              <a:gd name="T0" fmla="*/ 5 w 7"/>
              <a:gd name="T1" fmla="*/ 0 h 7"/>
              <a:gd name="T2" fmla="*/ 2 w 7"/>
              <a:gd name="T3" fmla="*/ 3 h 7"/>
              <a:gd name="T4" fmla="*/ 0 w 7"/>
              <a:gd name="T5" fmla="*/ 7 h 7"/>
              <a:gd name="T6" fmla="*/ 2 w 7"/>
              <a:gd name="T7" fmla="*/ 6 h 7"/>
              <a:gd name="T8" fmla="*/ 5 w 7"/>
              <a:gd name="T9" fmla="*/ 5 h 7"/>
              <a:gd name="T10" fmla="*/ 7 w 7"/>
              <a:gd name="T11" fmla="*/ 2 h 7"/>
              <a:gd name="T12" fmla="*/ 5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5" y="0"/>
                </a:moveTo>
                <a:cubicBezTo>
                  <a:pt x="4" y="1"/>
                  <a:pt x="3" y="2"/>
                  <a:pt x="2" y="3"/>
                </a:cubicBezTo>
                <a:cubicBezTo>
                  <a:pt x="1" y="4"/>
                  <a:pt x="0" y="5"/>
                  <a:pt x="0" y="7"/>
                </a:cubicBezTo>
                <a:cubicBezTo>
                  <a:pt x="1" y="7"/>
                  <a:pt x="1" y="7"/>
                  <a:pt x="2" y="6"/>
                </a:cubicBezTo>
                <a:cubicBezTo>
                  <a:pt x="3" y="6"/>
                  <a:pt x="4" y="5"/>
                  <a:pt x="5" y="5"/>
                </a:cubicBezTo>
                <a:cubicBezTo>
                  <a:pt x="6" y="4"/>
                  <a:pt x="7" y="4"/>
                  <a:pt x="7" y="2"/>
                </a:cubicBezTo>
                <a:lnTo>
                  <a:pt x="5"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40" name="Freeform 334">
            <a:extLst>
              <a:ext uri="{FF2B5EF4-FFF2-40B4-BE49-F238E27FC236}">
                <a16:creationId xmlns:a16="http://schemas.microsoft.com/office/drawing/2014/main" id="{42A1EEF3-7899-4089-9596-06EF1B5E61DF}"/>
              </a:ext>
            </a:extLst>
          </p:cNvPr>
          <p:cNvSpPr>
            <a:spLocks/>
          </p:cNvSpPr>
          <p:nvPr/>
        </p:nvSpPr>
        <p:spPr bwMode="auto">
          <a:xfrm>
            <a:off x="6006260" y="3437712"/>
            <a:ext cx="13303" cy="13308"/>
          </a:xfrm>
          <a:custGeom>
            <a:avLst/>
            <a:gdLst>
              <a:gd name="T0" fmla="*/ 5 w 7"/>
              <a:gd name="T1" fmla="*/ 0 h 7"/>
              <a:gd name="T2" fmla="*/ 2 w 7"/>
              <a:gd name="T3" fmla="*/ 3 h 7"/>
              <a:gd name="T4" fmla="*/ 0 w 7"/>
              <a:gd name="T5" fmla="*/ 7 h 7"/>
              <a:gd name="T6" fmla="*/ 2 w 7"/>
              <a:gd name="T7" fmla="*/ 6 h 7"/>
              <a:gd name="T8" fmla="*/ 5 w 7"/>
              <a:gd name="T9" fmla="*/ 5 h 7"/>
              <a:gd name="T10" fmla="*/ 7 w 7"/>
              <a:gd name="T11" fmla="*/ 2 h 7"/>
              <a:gd name="T12" fmla="*/ 5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5" y="0"/>
                </a:moveTo>
                <a:cubicBezTo>
                  <a:pt x="4" y="1"/>
                  <a:pt x="3" y="2"/>
                  <a:pt x="2" y="3"/>
                </a:cubicBezTo>
                <a:cubicBezTo>
                  <a:pt x="1" y="4"/>
                  <a:pt x="0" y="5"/>
                  <a:pt x="0" y="7"/>
                </a:cubicBezTo>
                <a:cubicBezTo>
                  <a:pt x="1" y="7"/>
                  <a:pt x="1" y="7"/>
                  <a:pt x="2" y="6"/>
                </a:cubicBezTo>
                <a:cubicBezTo>
                  <a:pt x="3" y="6"/>
                  <a:pt x="4" y="5"/>
                  <a:pt x="5" y="5"/>
                </a:cubicBezTo>
                <a:cubicBezTo>
                  <a:pt x="6" y="4"/>
                  <a:pt x="7" y="4"/>
                  <a:pt x="7" y="2"/>
                </a:cubicBezTo>
                <a:lnTo>
                  <a:pt x="5"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41" name="Freeform 335">
            <a:extLst>
              <a:ext uri="{FF2B5EF4-FFF2-40B4-BE49-F238E27FC236}">
                <a16:creationId xmlns:a16="http://schemas.microsoft.com/office/drawing/2014/main" id="{01F2833F-474E-488B-8BCE-AA4A34325E9F}"/>
              </a:ext>
            </a:extLst>
          </p:cNvPr>
          <p:cNvSpPr>
            <a:spLocks/>
          </p:cNvSpPr>
          <p:nvPr/>
        </p:nvSpPr>
        <p:spPr bwMode="auto">
          <a:xfrm>
            <a:off x="5988519" y="3366751"/>
            <a:ext cx="8869" cy="17741"/>
          </a:xfrm>
          <a:custGeom>
            <a:avLst/>
            <a:gdLst>
              <a:gd name="T0" fmla="*/ 4 w 5"/>
              <a:gd name="T1" fmla="*/ 8 h 11"/>
              <a:gd name="T2" fmla="*/ 5 w 5"/>
              <a:gd name="T3" fmla="*/ 6 h 11"/>
              <a:gd name="T4" fmla="*/ 4 w 5"/>
              <a:gd name="T5" fmla="*/ 3 h 11"/>
              <a:gd name="T6" fmla="*/ 3 w 5"/>
              <a:gd name="T7" fmla="*/ 0 h 11"/>
              <a:gd name="T8" fmla="*/ 3 w 5"/>
              <a:gd name="T9" fmla="*/ 0 h 11"/>
              <a:gd name="T10" fmla="*/ 2 w 5"/>
              <a:gd name="T11" fmla="*/ 2 h 11"/>
              <a:gd name="T12" fmla="*/ 1 w 5"/>
              <a:gd name="T13" fmla="*/ 7 h 11"/>
              <a:gd name="T14" fmla="*/ 1 w 5"/>
              <a:gd name="T15" fmla="*/ 11 h 11"/>
              <a:gd name="T16" fmla="*/ 3 w 5"/>
              <a:gd name="T17" fmla="*/ 10 h 11"/>
              <a:gd name="T18" fmla="*/ 4 w 5"/>
              <a:gd name="T19"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4" y="8"/>
                </a:moveTo>
                <a:cubicBezTo>
                  <a:pt x="5" y="7"/>
                  <a:pt x="5" y="6"/>
                  <a:pt x="5" y="6"/>
                </a:cubicBezTo>
                <a:cubicBezTo>
                  <a:pt x="5" y="5"/>
                  <a:pt x="5" y="4"/>
                  <a:pt x="4" y="3"/>
                </a:cubicBezTo>
                <a:cubicBezTo>
                  <a:pt x="4" y="2"/>
                  <a:pt x="3" y="1"/>
                  <a:pt x="3" y="0"/>
                </a:cubicBezTo>
                <a:cubicBezTo>
                  <a:pt x="3" y="0"/>
                  <a:pt x="3" y="0"/>
                  <a:pt x="3" y="0"/>
                </a:cubicBezTo>
                <a:cubicBezTo>
                  <a:pt x="2" y="0"/>
                  <a:pt x="2" y="2"/>
                  <a:pt x="2" y="2"/>
                </a:cubicBezTo>
                <a:cubicBezTo>
                  <a:pt x="2" y="4"/>
                  <a:pt x="1" y="5"/>
                  <a:pt x="1" y="7"/>
                </a:cubicBezTo>
                <a:cubicBezTo>
                  <a:pt x="0" y="8"/>
                  <a:pt x="1" y="9"/>
                  <a:pt x="1" y="11"/>
                </a:cubicBezTo>
                <a:cubicBezTo>
                  <a:pt x="2" y="11"/>
                  <a:pt x="2" y="11"/>
                  <a:pt x="3" y="10"/>
                </a:cubicBezTo>
                <a:lnTo>
                  <a:pt x="4" y="8"/>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44" name="Freeform 336">
            <a:extLst>
              <a:ext uri="{FF2B5EF4-FFF2-40B4-BE49-F238E27FC236}">
                <a16:creationId xmlns:a16="http://schemas.microsoft.com/office/drawing/2014/main" id="{DC7BF4ED-C77F-43ED-8E72-4CFE82CB0CFC}"/>
              </a:ext>
            </a:extLst>
          </p:cNvPr>
          <p:cNvSpPr>
            <a:spLocks/>
          </p:cNvSpPr>
          <p:nvPr/>
        </p:nvSpPr>
        <p:spPr bwMode="auto">
          <a:xfrm>
            <a:off x="5988519" y="3366751"/>
            <a:ext cx="8869" cy="17741"/>
          </a:xfrm>
          <a:custGeom>
            <a:avLst/>
            <a:gdLst>
              <a:gd name="T0" fmla="*/ 4 w 5"/>
              <a:gd name="T1" fmla="*/ 8 h 11"/>
              <a:gd name="T2" fmla="*/ 5 w 5"/>
              <a:gd name="T3" fmla="*/ 6 h 11"/>
              <a:gd name="T4" fmla="*/ 4 w 5"/>
              <a:gd name="T5" fmla="*/ 3 h 11"/>
              <a:gd name="T6" fmla="*/ 3 w 5"/>
              <a:gd name="T7" fmla="*/ 0 h 11"/>
              <a:gd name="T8" fmla="*/ 3 w 5"/>
              <a:gd name="T9" fmla="*/ 0 h 11"/>
              <a:gd name="T10" fmla="*/ 2 w 5"/>
              <a:gd name="T11" fmla="*/ 2 h 11"/>
              <a:gd name="T12" fmla="*/ 1 w 5"/>
              <a:gd name="T13" fmla="*/ 7 h 11"/>
              <a:gd name="T14" fmla="*/ 1 w 5"/>
              <a:gd name="T15" fmla="*/ 11 h 11"/>
              <a:gd name="T16" fmla="*/ 3 w 5"/>
              <a:gd name="T17" fmla="*/ 10 h 11"/>
              <a:gd name="T18" fmla="*/ 4 w 5"/>
              <a:gd name="T19"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4" y="8"/>
                </a:moveTo>
                <a:cubicBezTo>
                  <a:pt x="5" y="7"/>
                  <a:pt x="5" y="6"/>
                  <a:pt x="5" y="6"/>
                </a:cubicBezTo>
                <a:cubicBezTo>
                  <a:pt x="5" y="5"/>
                  <a:pt x="5" y="4"/>
                  <a:pt x="4" y="3"/>
                </a:cubicBezTo>
                <a:cubicBezTo>
                  <a:pt x="4" y="2"/>
                  <a:pt x="3" y="1"/>
                  <a:pt x="3" y="0"/>
                </a:cubicBezTo>
                <a:cubicBezTo>
                  <a:pt x="3" y="0"/>
                  <a:pt x="3" y="0"/>
                  <a:pt x="3" y="0"/>
                </a:cubicBezTo>
                <a:cubicBezTo>
                  <a:pt x="2" y="0"/>
                  <a:pt x="2" y="2"/>
                  <a:pt x="2" y="2"/>
                </a:cubicBezTo>
                <a:cubicBezTo>
                  <a:pt x="2" y="4"/>
                  <a:pt x="1" y="5"/>
                  <a:pt x="1" y="7"/>
                </a:cubicBezTo>
                <a:cubicBezTo>
                  <a:pt x="0" y="8"/>
                  <a:pt x="1" y="9"/>
                  <a:pt x="1" y="11"/>
                </a:cubicBezTo>
                <a:cubicBezTo>
                  <a:pt x="2" y="11"/>
                  <a:pt x="2" y="11"/>
                  <a:pt x="3" y="10"/>
                </a:cubicBezTo>
                <a:lnTo>
                  <a:pt x="4" y="8"/>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47" name="Freeform 337">
            <a:extLst>
              <a:ext uri="{FF2B5EF4-FFF2-40B4-BE49-F238E27FC236}">
                <a16:creationId xmlns:a16="http://schemas.microsoft.com/office/drawing/2014/main" id="{6D08F311-E827-4EDA-9D61-951785B794F9}"/>
              </a:ext>
            </a:extLst>
          </p:cNvPr>
          <p:cNvSpPr>
            <a:spLocks/>
          </p:cNvSpPr>
          <p:nvPr/>
        </p:nvSpPr>
        <p:spPr bwMode="auto">
          <a:xfrm>
            <a:off x="5944167" y="3353445"/>
            <a:ext cx="8869" cy="17741"/>
          </a:xfrm>
          <a:custGeom>
            <a:avLst/>
            <a:gdLst>
              <a:gd name="T0" fmla="*/ 5 w 6"/>
              <a:gd name="T1" fmla="*/ 9 h 11"/>
              <a:gd name="T2" fmla="*/ 6 w 6"/>
              <a:gd name="T3" fmla="*/ 8 h 11"/>
              <a:gd name="T4" fmla="*/ 6 w 6"/>
              <a:gd name="T5" fmla="*/ 6 h 11"/>
              <a:gd name="T6" fmla="*/ 6 w 6"/>
              <a:gd name="T7" fmla="*/ 3 h 11"/>
              <a:gd name="T8" fmla="*/ 5 w 6"/>
              <a:gd name="T9" fmla="*/ 2 h 11"/>
              <a:gd name="T10" fmla="*/ 5 w 6"/>
              <a:gd name="T11" fmla="*/ 0 h 11"/>
              <a:gd name="T12" fmla="*/ 5 w 6"/>
              <a:gd name="T13" fmla="*/ 0 h 11"/>
              <a:gd name="T14" fmla="*/ 3 w 6"/>
              <a:gd name="T15" fmla="*/ 3 h 11"/>
              <a:gd name="T16" fmla="*/ 1 w 6"/>
              <a:gd name="T17" fmla="*/ 5 h 11"/>
              <a:gd name="T18" fmla="*/ 1 w 6"/>
              <a:gd name="T19" fmla="*/ 8 h 11"/>
              <a:gd name="T20" fmla="*/ 1 w 6"/>
              <a:gd name="T21" fmla="*/ 9 h 11"/>
              <a:gd name="T22" fmla="*/ 4 w 6"/>
              <a:gd name="T23" fmla="*/ 11 h 11"/>
              <a:gd name="T24" fmla="*/ 5 w 6"/>
              <a:gd name="T2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1">
                <a:moveTo>
                  <a:pt x="5" y="9"/>
                </a:moveTo>
                <a:cubicBezTo>
                  <a:pt x="6" y="9"/>
                  <a:pt x="6" y="9"/>
                  <a:pt x="6" y="8"/>
                </a:cubicBezTo>
                <a:cubicBezTo>
                  <a:pt x="6" y="7"/>
                  <a:pt x="6" y="7"/>
                  <a:pt x="6" y="6"/>
                </a:cubicBezTo>
                <a:cubicBezTo>
                  <a:pt x="6" y="6"/>
                  <a:pt x="6" y="4"/>
                  <a:pt x="6" y="3"/>
                </a:cubicBezTo>
                <a:cubicBezTo>
                  <a:pt x="6" y="3"/>
                  <a:pt x="5" y="2"/>
                  <a:pt x="5" y="2"/>
                </a:cubicBezTo>
                <a:cubicBezTo>
                  <a:pt x="5" y="1"/>
                  <a:pt x="5" y="1"/>
                  <a:pt x="5" y="0"/>
                </a:cubicBezTo>
                <a:cubicBezTo>
                  <a:pt x="5" y="0"/>
                  <a:pt x="5" y="0"/>
                  <a:pt x="5" y="0"/>
                </a:cubicBezTo>
                <a:cubicBezTo>
                  <a:pt x="4" y="0"/>
                  <a:pt x="3" y="2"/>
                  <a:pt x="3" y="3"/>
                </a:cubicBezTo>
                <a:cubicBezTo>
                  <a:pt x="3" y="3"/>
                  <a:pt x="1" y="4"/>
                  <a:pt x="1" y="5"/>
                </a:cubicBezTo>
                <a:cubicBezTo>
                  <a:pt x="0" y="5"/>
                  <a:pt x="1" y="7"/>
                  <a:pt x="1" y="8"/>
                </a:cubicBezTo>
                <a:cubicBezTo>
                  <a:pt x="1" y="8"/>
                  <a:pt x="1" y="9"/>
                  <a:pt x="1" y="9"/>
                </a:cubicBezTo>
                <a:cubicBezTo>
                  <a:pt x="2" y="11"/>
                  <a:pt x="3" y="11"/>
                  <a:pt x="4" y="11"/>
                </a:cubicBezTo>
                <a:lnTo>
                  <a:pt x="5" y="9"/>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53" name="Freeform 338">
            <a:extLst>
              <a:ext uri="{FF2B5EF4-FFF2-40B4-BE49-F238E27FC236}">
                <a16:creationId xmlns:a16="http://schemas.microsoft.com/office/drawing/2014/main" id="{CD820280-0F8C-408E-9C56-A14D8BAAC97B}"/>
              </a:ext>
            </a:extLst>
          </p:cNvPr>
          <p:cNvSpPr>
            <a:spLocks/>
          </p:cNvSpPr>
          <p:nvPr/>
        </p:nvSpPr>
        <p:spPr bwMode="auto">
          <a:xfrm>
            <a:off x="5944167" y="3353445"/>
            <a:ext cx="8869" cy="17741"/>
          </a:xfrm>
          <a:custGeom>
            <a:avLst/>
            <a:gdLst>
              <a:gd name="T0" fmla="*/ 5 w 6"/>
              <a:gd name="T1" fmla="*/ 9 h 11"/>
              <a:gd name="T2" fmla="*/ 6 w 6"/>
              <a:gd name="T3" fmla="*/ 8 h 11"/>
              <a:gd name="T4" fmla="*/ 6 w 6"/>
              <a:gd name="T5" fmla="*/ 6 h 11"/>
              <a:gd name="T6" fmla="*/ 6 w 6"/>
              <a:gd name="T7" fmla="*/ 3 h 11"/>
              <a:gd name="T8" fmla="*/ 5 w 6"/>
              <a:gd name="T9" fmla="*/ 2 h 11"/>
              <a:gd name="T10" fmla="*/ 5 w 6"/>
              <a:gd name="T11" fmla="*/ 0 h 11"/>
              <a:gd name="T12" fmla="*/ 5 w 6"/>
              <a:gd name="T13" fmla="*/ 0 h 11"/>
              <a:gd name="T14" fmla="*/ 3 w 6"/>
              <a:gd name="T15" fmla="*/ 3 h 11"/>
              <a:gd name="T16" fmla="*/ 1 w 6"/>
              <a:gd name="T17" fmla="*/ 5 h 11"/>
              <a:gd name="T18" fmla="*/ 1 w 6"/>
              <a:gd name="T19" fmla="*/ 8 h 11"/>
              <a:gd name="T20" fmla="*/ 1 w 6"/>
              <a:gd name="T21" fmla="*/ 9 h 11"/>
              <a:gd name="T22" fmla="*/ 4 w 6"/>
              <a:gd name="T23" fmla="*/ 11 h 11"/>
              <a:gd name="T24" fmla="*/ 5 w 6"/>
              <a:gd name="T2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1">
                <a:moveTo>
                  <a:pt x="5" y="9"/>
                </a:moveTo>
                <a:cubicBezTo>
                  <a:pt x="6" y="9"/>
                  <a:pt x="6" y="9"/>
                  <a:pt x="6" y="8"/>
                </a:cubicBezTo>
                <a:cubicBezTo>
                  <a:pt x="6" y="7"/>
                  <a:pt x="6" y="7"/>
                  <a:pt x="6" y="6"/>
                </a:cubicBezTo>
                <a:cubicBezTo>
                  <a:pt x="6" y="6"/>
                  <a:pt x="6" y="4"/>
                  <a:pt x="6" y="3"/>
                </a:cubicBezTo>
                <a:cubicBezTo>
                  <a:pt x="6" y="3"/>
                  <a:pt x="5" y="2"/>
                  <a:pt x="5" y="2"/>
                </a:cubicBezTo>
                <a:cubicBezTo>
                  <a:pt x="5" y="1"/>
                  <a:pt x="5" y="1"/>
                  <a:pt x="5" y="0"/>
                </a:cubicBezTo>
                <a:cubicBezTo>
                  <a:pt x="5" y="0"/>
                  <a:pt x="5" y="0"/>
                  <a:pt x="5" y="0"/>
                </a:cubicBezTo>
                <a:cubicBezTo>
                  <a:pt x="4" y="0"/>
                  <a:pt x="3" y="2"/>
                  <a:pt x="3" y="3"/>
                </a:cubicBezTo>
                <a:cubicBezTo>
                  <a:pt x="3" y="3"/>
                  <a:pt x="1" y="4"/>
                  <a:pt x="1" y="5"/>
                </a:cubicBezTo>
                <a:cubicBezTo>
                  <a:pt x="0" y="5"/>
                  <a:pt x="1" y="7"/>
                  <a:pt x="1" y="8"/>
                </a:cubicBezTo>
                <a:cubicBezTo>
                  <a:pt x="1" y="8"/>
                  <a:pt x="1" y="9"/>
                  <a:pt x="1" y="9"/>
                </a:cubicBezTo>
                <a:cubicBezTo>
                  <a:pt x="2" y="11"/>
                  <a:pt x="3" y="11"/>
                  <a:pt x="4" y="11"/>
                </a:cubicBezTo>
                <a:lnTo>
                  <a:pt x="5" y="9"/>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56" name="Freeform 339">
            <a:extLst>
              <a:ext uri="{FF2B5EF4-FFF2-40B4-BE49-F238E27FC236}">
                <a16:creationId xmlns:a16="http://schemas.microsoft.com/office/drawing/2014/main" id="{7505DCCB-1CDB-4717-A84D-CD6112B8BCC7}"/>
              </a:ext>
            </a:extLst>
          </p:cNvPr>
          <p:cNvSpPr>
            <a:spLocks/>
          </p:cNvSpPr>
          <p:nvPr/>
        </p:nvSpPr>
        <p:spPr bwMode="auto">
          <a:xfrm>
            <a:off x="5961907" y="3353445"/>
            <a:ext cx="8869" cy="8869"/>
          </a:xfrm>
          <a:custGeom>
            <a:avLst/>
            <a:gdLst>
              <a:gd name="T0" fmla="*/ 5 w 5"/>
              <a:gd name="T1" fmla="*/ 1 h 5"/>
              <a:gd name="T2" fmla="*/ 2 w 5"/>
              <a:gd name="T3" fmla="*/ 0 h 5"/>
              <a:gd name="T4" fmla="*/ 1 w 5"/>
              <a:gd name="T5" fmla="*/ 1 h 5"/>
              <a:gd name="T6" fmla="*/ 0 w 5"/>
              <a:gd name="T7" fmla="*/ 2 h 5"/>
              <a:gd name="T8" fmla="*/ 2 w 5"/>
              <a:gd name="T9" fmla="*/ 3 h 5"/>
              <a:gd name="T10" fmla="*/ 3 w 5"/>
              <a:gd name="T11" fmla="*/ 5 h 5"/>
              <a:gd name="T12" fmla="*/ 5 w 5"/>
              <a:gd name="T13" fmla="*/ 4 h 5"/>
              <a:gd name="T14" fmla="*/ 5 w 5"/>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5" y="1"/>
                </a:moveTo>
                <a:cubicBezTo>
                  <a:pt x="4" y="0"/>
                  <a:pt x="4" y="0"/>
                  <a:pt x="2" y="0"/>
                </a:cubicBezTo>
                <a:cubicBezTo>
                  <a:pt x="1" y="0"/>
                  <a:pt x="1" y="0"/>
                  <a:pt x="1" y="1"/>
                </a:cubicBezTo>
                <a:cubicBezTo>
                  <a:pt x="0" y="1"/>
                  <a:pt x="0" y="2"/>
                  <a:pt x="0" y="2"/>
                </a:cubicBezTo>
                <a:cubicBezTo>
                  <a:pt x="0" y="3"/>
                  <a:pt x="2" y="3"/>
                  <a:pt x="2" y="3"/>
                </a:cubicBezTo>
                <a:cubicBezTo>
                  <a:pt x="3" y="5"/>
                  <a:pt x="3" y="5"/>
                  <a:pt x="3" y="5"/>
                </a:cubicBezTo>
                <a:cubicBezTo>
                  <a:pt x="4" y="5"/>
                  <a:pt x="5" y="4"/>
                  <a:pt x="5" y="4"/>
                </a:cubicBezTo>
                <a:lnTo>
                  <a:pt x="5" y="1"/>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58" name="Freeform 340">
            <a:extLst>
              <a:ext uri="{FF2B5EF4-FFF2-40B4-BE49-F238E27FC236}">
                <a16:creationId xmlns:a16="http://schemas.microsoft.com/office/drawing/2014/main" id="{CA3554FE-039D-48C8-BEBD-DD0D7D4CA1EB}"/>
              </a:ext>
            </a:extLst>
          </p:cNvPr>
          <p:cNvSpPr>
            <a:spLocks/>
          </p:cNvSpPr>
          <p:nvPr/>
        </p:nvSpPr>
        <p:spPr bwMode="auto">
          <a:xfrm>
            <a:off x="5961907" y="3353445"/>
            <a:ext cx="8869" cy="8869"/>
          </a:xfrm>
          <a:custGeom>
            <a:avLst/>
            <a:gdLst>
              <a:gd name="T0" fmla="*/ 5 w 5"/>
              <a:gd name="T1" fmla="*/ 1 h 5"/>
              <a:gd name="T2" fmla="*/ 2 w 5"/>
              <a:gd name="T3" fmla="*/ 0 h 5"/>
              <a:gd name="T4" fmla="*/ 1 w 5"/>
              <a:gd name="T5" fmla="*/ 1 h 5"/>
              <a:gd name="T6" fmla="*/ 0 w 5"/>
              <a:gd name="T7" fmla="*/ 2 h 5"/>
              <a:gd name="T8" fmla="*/ 2 w 5"/>
              <a:gd name="T9" fmla="*/ 3 h 5"/>
              <a:gd name="T10" fmla="*/ 3 w 5"/>
              <a:gd name="T11" fmla="*/ 5 h 5"/>
              <a:gd name="T12" fmla="*/ 5 w 5"/>
              <a:gd name="T13" fmla="*/ 4 h 5"/>
              <a:gd name="T14" fmla="*/ 5 w 5"/>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5" y="1"/>
                </a:moveTo>
                <a:cubicBezTo>
                  <a:pt x="4" y="0"/>
                  <a:pt x="4" y="0"/>
                  <a:pt x="2" y="0"/>
                </a:cubicBezTo>
                <a:cubicBezTo>
                  <a:pt x="1" y="0"/>
                  <a:pt x="1" y="0"/>
                  <a:pt x="1" y="1"/>
                </a:cubicBezTo>
                <a:cubicBezTo>
                  <a:pt x="0" y="1"/>
                  <a:pt x="0" y="2"/>
                  <a:pt x="0" y="2"/>
                </a:cubicBezTo>
                <a:cubicBezTo>
                  <a:pt x="0" y="3"/>
                  <a:pt x="2" y="3"/>
                  <a:pt x="2" y="3"/>
                </a:cubicBezTo>
                <a:cubicBezTo>
                  <a:pt x="3" y="5"/>
                  <a:pt x="3" y="5"/>
                  <a:pt x="3" y="5"/>
                </a:cubicBezTo>
                <a:cubicBezTo>
                  <a:pt x="4" y="5"/>
                  <a:pt x="5" y="4"/>
                  <a:pt x="5" y="4"/>
                </a:cubicBezTo>
                <a:lnTo>
                  <a:pt x="5" y="1"/>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59" name="Freeform 341">
            <a:extLst>
              <a:ext uri="{FF2B5EF4-FFF2-40B4-BE49-F238E27FC236}">
                <a16:creationId xmlns:a16="http://schemas.microsoft.com/office/drawing/2014/main" id="{EC978202-B519-4441-B617-241F950AB9CC}"/>
              </a:ext>
            </a:extLst>
          </p:cNvPr>
          <p:cNvSpPr>
            <a:spLocks/>
          </p:cNvSpPr>
          <p:nvPr/>
        </p:nvSpPr>
        <p:spPr bwMode="auto">
          <a:xfrm>
            <a:off x="5984078" y="3340143"/>
            <a:ext cx="4432" cy="13308"/>
          </a:xfrm>
          <a:custGeom>
            <a:avLst/>
            <a:gdLst>
              <a:gd name="T0" fmla="*/ 3 w 3"/>
              <a:gd name="T1" fmla="*/ 7 h 8"/>
              <a:gd name="T2" fmla="*/ 3 w 3"/>
              <a:gd name="T3" fmla="*/ 5 h 8"/>
              <a:gd name="T4" fmla="*/ 3 w 3"/>
              <a:gd name="T5" fmla="*/ 1 h 8"/>
              <a:gd name="T6" fmla="*/ 2 w 3"/>
              <a:gd name="T7" fmla="*/ 0 h 8"/>
              <a:gd name="T8" fmla="*/ 1 w 3"/>
              <a:gd name="T9" fmla="*/ 1 h 8"/>
              <a:gd name="T10" fmla="*/ 0 w 3"/>
              <a:gd name="T11" fmla="*/ 4 h 8"/>
              <a:gd name="T12" fmla="*/ 1 w 3"/>
              <a:gd name="T13" fmla="*/ 6 h 8"/>
              <a:gd name="T14" fmla="*/ 1 w 3"/>
              <a:gd name="T15" fmla="*/ 8 h 8"/>
              <a:gd name="T16" fmla="*/ 3 w 3"/>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3" y="7"/>
                </a:moveTo>
                <a:cubicBezTo>
                  <a:pt x="3" y="6"/>
                  <a:pt x="3" y="5"/>
                  <a:pt x="3" y="5"/>
                </a:cubicBezTo>
                <a:cubicBezTo>
                  <a:pt x="3" y="4"/>
                  <a:pt x="3" y="2"/>
                  <a:pt x="3" y="1"/>
                </a:cubicBezTo>
                <a:cubicBezTo>
                  <a:pt x="2" y="1"/>
                  <a:pt x="2" y="0"/>
                  <a:pt x="2" y="0"/>
                </a:cubicBezTo>
                <a:cubicBezTo>
                  <a:pt x="1" y="1"/>
                  <a:pt x="1" y="1"/>
                  <a:pt x="1" y="1"/>
                </a:cubicBezTo>
                <a:cubicBezTo>
                  <a:pt x="0" y="2"/>
                  <a:pt x="0" y="3"/>
                  <a:pt x="0" y="4"/>
                </a:cubicBezTo>
                <a:cubicBezTo>
                  <a:pt x="1" y="5"/>
                  <a:pt x="1" y="6"/>
                  <a:pt x="1" y="6"/>
                </a:cubicBezTo>
                <a:cubicBezTo>
                  <a:pt x="0" y="7"/>
                  <a:pt x="0" y="7"/>
                  <a:pt x="1" y="8"/>
                </a:cubicBezTo>
                <a:lnTo>
                  <a:pt x="3" y="7"/>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78" name="Freeform 342">
            <a:extLst>
              <a:ext uri="{FF2B5EF4-FFF2-40B4-BE49-F238E27FC236}">
                <a16:creationId xmlns:a16="http://schemas.microsoft.com/office/drawing/2014/main" id="{B425D3C8-EA71-4B2A-92EC-1675AC69AFE0}"/>
              </a:ext>
            </a:extLst>
          </p:cNvPr>
          <p:cNvSpPr>
            <a:spLocks/>
          </p:cNvSpPr>
          <p:nvPr/>
        </p:nvSpPr>
        <p:spPr bwMode="auto">
          <a:xfrm>
            <a:off x="5984078" y="3340143"/>
            <a:ext cx="4432" cy="13308"/>
          </a:xfrm>
          <a:custGeom>
            <a:avLst/>
            <a:gdLst>
              <a:gd name="T0" fmla="*/ 3 w 3"/>
              <a:gd name="T1" fmla="*/ 7 h 8"/>
              <a:gd name="T2" fmla="*/ 3 w 3"/>
              <a:gd name="T3" fmla="*/ 5 h 8"/>
              <a:gd name="T4" fmla="*/ 3 w 3"/>
              <a:gd name="T5" fmla="*/ 1 h 8"/>
              <a:gd name="T6" fmla="*/ 2 w 3"/>
              <a:gd name="T7" fmla="*/ 0 h 8"/>
              <a:gd name="T8" fmla="*/ 1 w 3"/>
              <a:gd name="T9" fmla="*/ 1 h 8"/>
              <a:gd name="T10" fmla="*/ 0 w 3"/>
              <a:gd name="T11" fmla="*/ 4 h 8"/>
              <a:gd name="T12" fmla="*/ 1 w 3"/>
              <a:gd name="T13" fmla="*/ 6 h 8"/>
              <a:gd name="T14" fmla="*/ 1 w 3"/>
              <a:gd name="T15" fmla="*/ 8 h 8"/>
              <a:gd name="T16" fmla="*/ 3 w 3"/>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3" y="7"/>
                </a:moveTo>
                <a:cubicBezTo>
                  <a:pt x="3" y="6"/>
                  <a:pt x="3" y="5"/>
                  <a:pt x="3" y="5"/>
                </a:cubicBezTo>
                <a:cubicBezTo>
                  <a:pt x="3" y="4"/>
                  <a:pt x="3" y="2"/>
                  <a:pt x="3" y="1"/>
                </a:cubicBezTo>
                <a:cubicBezTo>
                  <a:pt x="2" y="1"/>
                  <a:pt x="2" y="0"/>
                  <a:pt x="2" y="0"/>
                </a:cubicBezTo>
                <a:cubicBezTo>
                  <a:pt x="1" y="1"/>
                  <a:pt x="1" y="1"/>
                  <a:pt x="1" y="1"/>
                </a:cubicBezTo>
                <a:cubicBezTo>
                  <a:pt x="0" y="2"/>
                  <a:pt x="0" y="3"/>
                  <a:pt x="0" y="4"/>
                </a:cubicBezTo>
                <a:cubicBezTo>
                  <a:pt x="1" y="5"/>
                  <a:pt x="1" y="6"/>
                  <a:pt x="1" y="6"/>
                </a:cubicBezTo>
                <a:cubicBezTo>
                  <a:pt x="0" y="7"/>
                  <a:pt x="0" y="7"/>
                  <a:pt x="1" y="8"/>
                </a:cubicBezTo>
                <a:lnTo>
                  <a:pt x="3" y="7"/>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79" name="Freeform 343">
            <a:extLst>
              <a:ext uri="{FF2B5EF4-FFF2-40B4-BE49-F238E27FC236}">
                <a16:creationId xmlns:a16="http://schemas.microsoft.com/office/drawing/2014/main" id="{946BDF47-FEE0-4709-ACDA-5A294AAA9AEA}"/>
              </a:ext>
            </a:extLst>
          </p:cNvPr>
          <p:cNvSpPr>
            <a:spLocks/>
          </p:cNvSpPr>
          <p:nvPr/>
        </p:nvSpPr>
        <p:spPr bwMode="auto">
          <a:xfrm>
            <a:off x="5917556" y="3530848"/>
            <a:ext cx="39913" cy="17741"/>
          </a:xfrm>
          <a:custGeom>
            <a:avLst/>
            <a:gdLst>
              <a:gd name="T0" fmla="*/ 14 w 25"/>
              <a:gd name="T1" fmla="*/ 2 h 10"/>
              <a:gd name="T2" fmla="*/ 7 w 25"/>
              <a:gd name="T3" fmla="*/ 1 h 10"/>
              <a:gd name="T4" fmla="*/ 4 w 25"/>
              <a:gd name="T5" fmla="*/ 1 h 10"/>
              <a:gd name="T6" fmla="*/ 0 w 25"/>
              <a:gd name="T7" fmla="*/ 2 h 10"/>
              <a:gd name="T8" fmla="*/ 5 w 25"/>
              <a:gd name="T9" fmla="*/ 6 h 10"/>
              <a:gd name="T10" fmla="*/ 6 w 25"/>
              <a:gd name="T11" fmla="*/ 8 h 10"/>
              <a:gd name="T12" fmla="*/ 11 w 25"/>
              <a:gd name="T13" fmla="*/ 10 h 10"/>
              <a:gd name="T14" fmla="*/ 19 w 25"/>
              <a:gd name="T15" fmla="*/ 10 h 10"/>
              <a:gd name="T16" fmla="*/ 18 w 25"/>
              <a:gd name="T17" fmla="*/ 4 h 10"/>
              <a:gd name="T18" fmla="*/ 14 w 25"/>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0">
                <a:moveTo>
                  <a:pt x="14" y="2"/>
                </a:moveTo>
                <a:cubicBezTo>
                  <a:pt x="12" y="1"/>
                  <a:pt x="9" y="0"/>
                  <a:pt x="7" y="1"/>
                </a:cubicBezTo>
                <a:cubicBezTo>
                  <a:pt x="6" y="1"/>
                  <a:pt x="5" y="1"/>
                  <a:pt x="4" y="1"/>
                </a:cubicBezTo>
                <a:cubicBezTo>
                  <a:pt x="3" y="1"/>
                  <a:pt x="1" y="2"/>
                  <a:pt x="0" y="2"/>
                </a:cubicBezTo>
                <a:cubicBezTo>
                  <a:pt x="1" y="4"/>
                  <a:pt x="5" y="5"/>
                  <a:pt x="5" y="6"/>
                </a:cubicBezTo>
                <a:cubicBezTo>
                  <a:pt x="5" y="7"/>
                  <a:pt x="6" y="8"/>
                  <a:pt x="6" y="8"/>
                </a:cubicBezTo>
                <a:cubicBezTo>
                  <a:pt x="8" y="9"/>
                  <a:pt x="9" y="10"/>
                  <a:pt x="11" y="10"/>
                </a:cubicBezTo>
                <a:cubicBezTo>
                  <a:pt x="14" y="10"/>
                  <a:pt x="17" y="10"/>
                  <a:pt x="19" y="10"/>
                </a:cubicBezTo>
                <a:cubicBezTo>
                  <a:pt x="25" y="10"/>
                  <a:pt x="18" y="5"/>
                  <a:pt x="18" y="4"/>
                </a:cubicBezTo>
                <a:lnTo>
                  <a:pt x="14" y="2"/>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80" name="Freeform 344">
            <a:extLst>
              <a:ext uri="{FF2B5EF4-FFF2-40B4-BE49-F238E27FC236}">
                <a16:creationId xmlns:a16="http://schemas.microsoft.com/office/drawing/2014/main" id="{EC5A9D14-D437-40EC-B888-DEB87D272087}"/>
              </a:ext>
            </a:extLst>
          </p:cNvPr>
          <p:cNvSpPr>
            <a:spLocks/>
          </p:cNvSpPr>
          <p:nvPr/>
        </p:nvSpPr>
        <p:spPr bwMode="auto">
          <a:xfrm>
            <a:off x="5917556" y="3530848"/>
            <a:ext cx="39913" cy="17741"/>
          </a:xfrm>
          <a:custGeom>
            <a:avLst/>
            <a:gdLst>
              <a:gd name="T0" fmla="*/ 14 w 25"/>
              <a:gd name="T1" fmla="*/ 2 h 10"/>
              <a:gd name="T2" fmla="*/ 7 w 25"/>
              <a:gd name="T3" fmla="*/ 1 h 10"/>
              <a:gd name="T4" fmla="*/ 4 w 25"/>
              <a:gd name="T5" fmla="*/ 1 h 10"/>
              <a:gd name="T6" fmla="*/ 0 w 25"/>
              <a:gd name="T7" fmla="*/ 2 h 10"/>
              <a:gd name="T8" fmla="*/ 5 w 25"/>
              <a:gd name="T9" fmla="*/ 6 h 10"/>
              <a:gd name="T10" fmla="*/ 6 w 25"/>
              <a:gd name="T11" fmla="*/ 8 h 10"/>
              <a:gd name="T12" fmla="*/ 11 w 25"/>
              <a:gd name="T13" fmla="*/ 10 h 10"/>
              <a:gd name="T14" fmla="*/ 19 w 25"/>
              <a:gd name="T15" fmla="*/ 10 h 10"/>
              <a:gd name="T16" fmla="*/ 18 w 25"/>
              <a:gd name="T17" fmla="*/ 4 h 10"/>
              <a:gd name="T18" fmla="*/ 14 w 25"/>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0">
                <a:moveTo>
                  <a:pt x="14" y="2"/>
                </a:moveTo>
                <a:cubicBezTo>
                  <a:pt x="12" y="1"/>
                  <a:pt x="9" y="0"/>
                  <a:pt x="7" y="1"/>
                </a:cubicBezTo>
                <a:cubicBezTo>
                  <a:pt x="6" y="1"/>
                  <a:pt x="5" y="1"/>
                  <a:pt x="4" y="1"/>
                </a:cubicBezTo>
                <a:cubicBezTo>
                  <a:pt x="3" y="1"/>
                  <a:pt x="1" y="2"/>
                  <a:pt x="0" y="2"/>
                </a:cubicBezTo>
                <a:cubicBezTo>
                  <a:pt x="1" y="4"/>
                  <a:pt x="5" y="5"/>
                  <a:pt x="5" y="6"/>
                </a:cubicBezTo>
                <a:cubicBezTo>
                  <a:pt x="5" y="7"/>
                  <a:pt x="6" y="8"/>
                  <a:pt x="6" y="8"/>
                </a:cubicBezTo>
                <a:cubicBezTo>
                  <a:pt x="8" y="9"/>
                  <a:pt x="9" y="10"/>
                  <a:pt x="11" y="10"/>
                </a:cubicBezTo>
                <a:cubicBezTo>
                  <a:pt x="14" y="10"/>
                  <a:pt x="17" y="10"/>
                  <a:pt x="19" y="10"/>
                </a:cubicBezTo>
                <a:cubicBezTo>
                  <a:pt x="25" y="10"/>
                  <a:pt x="18" y="5"/>
                  <a:pt x="18" y="4"/>
                </a:cubicBezTo>
                <a:lnTo>
                  <a:pt x="14" y="2"/>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81" name="Freeform 345">
            <a:extLst>
              <a:ext uri="{FF2B5EF4-FFF2-40B4-BE49-F238E27FC236}">
                <a16:creationId xmlns:a16="http://schemas.microsoft.com/office/drawing/2014/main" id="{90C8286B-25FD-49A8-BAB4-89D238517588}"/>
              </a:ext>
            </a:extLst>
          </p:cNvPr>
          <p:cNvSpPr>
            <a:spLocks/>
          </p:cNvSpPr>
          <p:nvPr/>
        </p:nvSpPr>
        <p:spPr bwMode="auto">
          <a:xfrm>
            <a:off x="5851028" y="3451020"/>
            <a:ext cx="8869" cy="13308"/>
          </a:xfrm>
          <a:custGeom>
            <a:avLst/>
            <a:gdLst>
              <a:gd name="T0" fmla="*/ 5 w 5"/>
              <a:gd name="T1" fmla="*/ 4 h 6"/>
              <a:gd name="T2" fmla="*/ 4 w 5"/>
              <a:gd name="T3" fmla="*/ 0 h 6"/>
              <a:gd name="T4" fmla="*/ 3 w 5"/>
              <a:gd name="T5" fmla="*/ 0 h 6"/>
              <a:gd name="T6" fmla="*/ 2 w 5"/>
              <a:gd name="T7" fmla="*/ 0 h 6"/>
              <a:gd name="T8" fmla="*/ 1 w 5"/>
              <a:gd name="T9" fmla="*/ 1 h 6"/>
              <a:gd name="T10" fmla="*/ 0 w 5"/>
              <a:gd name="T11" fmla="*/ 1 h 6"/>
              <a:gd name="T12" fmla="*/ 0 w 5"/>
              <a:gd name="T13" fmla="*/ 2 h 6"/>
              <a:gd name="T14" fmla="*/ 0 w 5"/>
              <a:gd name="T15" fmla="*/ 3 h 6"/>
              <a:gd name="T16" fmla="*/ 0 w 5"/>
              <a:gd name="T17" fmla="*/ 5 h 6"/>
              <a:gd name="T18" fmla="*/ 3 w 5"/>
              <a:gd name="T19" fmla="*/ 5 h 6"/>
              <a:gd name="T20" fmla="*/ 5 w 5"/>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6">
                <a:moveTo>
                  <a:pt x="5" y="4"/>
                </a:moveTo>
                <a:cubicBezTo>
                  <a:pt x="5" y="3"/>
                  <a:pt x="5" y="1"/>
                  <a:pt x="4" y="0"/>
                </a:cubicBezTo>
                <a:cubicBezTo>
                  <a:pt x="4" y="0"/>
                  <a:pt x="3" y="0"/>
                  <a:pt x="3" y="0"/>
                </a:cubicBezTo>
                <a:cubicBezTo>
                  <a:pt x="2" y="0"/>
                  <a:pt x="2" y="0"/>
                  <a:pt x="2" y="0"/>
                </a:cubicBezTo>
                <a:cubicBezTo>
                  <a:pt x="1" y="1"/>
                  <a:pt x="1" y="1"/>
                  <a:pt x="1" y="1"/>
                </a:cubicBezTo>
                <a:cubicBezTo>
                  <a:pt x="0" y="1"/>
                  <a:pt x="0" y="1"/>
                  <a:pt x="0" y="1"/>
                </a:cubicBezTo>
                <a:cubicBezTo>
                  <a:pt x="0" y="2"/>
                  <a:pt x="0" y="2"/>
                  <a:pt x="0" y="2"/>
                </a:cubicBezTo>
                <a:cubicBezTo>
                  <a:pt x="0" y="3"/>
                  <a:pt x="0" y="3"/>
                  <a:pt x="0" y="3"/>
                </a:cubicBezTo>
                <a:cubicBezTo>
                  <a:pt x="0" y="4"/>
                  <a:pt x="0" y="4"/>
                  <a:pt x="0" y="5"/>
                </a:cubicBezTo>
                <a:cubicBezTo>
                  <a:pt x="0" y="6"/>
                  <a:pt x="2" y="5"/>
                  <a:pt x="3" y="5"/>
                </a:cubicBezTo>
                <a:lnTo>
                  <a:pt x="5" y="4"/>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82" name="Freeform 346">
            <a:extLst>
              <a:ext uri="{FF2B5EF4-FFF2-40B4-BE49-F238E27FC236}">
                <a16:creationId xmlns:a16="http://schemas.microsoft.com/office/drawing/2014/main" id="{795005AB-A429-4852-8890-3738491BC94D}"/>
              </a:ext>
            </a:extLst>
          </p:cNvPr>
          <p:cNvSpPr>
            <a:spLocks/>
          </p:cNvSpPr>
          <p:nvPr/>
        </p:nvSpPr>
        <p:spPr bwMode="auto">
          <a:xfrm>
            <a:off x="5851028" y="3451020"/>
            <a:ext cx="8869" cy="13308"/>
          </a:xfrm>
          <a:custGeom>
            <a:avLst/>
            <a:gdLst>
              <a:gd name="T0" fmla="*/ 5 w 5"/>
              <a:gd name="T1" fmla="*/ 4 h 6"/>
              <a:gd name="T2" fmla="*/ 4 w 5"/>
              <a:gd name="T3" fmla="*/ 0 h 6"/>
              <a:gd name="T4" fmla="*/ 3 w 5"/>
              <a:gd name="T5" fmla="*/ 0 h 6"/>
              <a:gd name="T6" fmla="*/ 2 w 5"/>
              <a:gd name="T7" fmla="*/ 0 h 6"/>
              <a:gd name="T8" fmla="*/ 1 w 5"/>
              <a:gd name="T9" fmla="*/ 1 h 6"/>
              <a:gd name="T10" fmla="*/ 0 w 5"/>
              <a:gd name="T11" fmla="*/ 1 h 6"/>
              <a:gd name="T12" fmla="*/ 0 w 5"/>
              <a:gd name="T13" fmla="*/ 2 h 6"/>
              <a:gd name="T14" fmla="*/ 0 w 5"/>
              <a:gd name="T15" fmla="*/ 3 h 6"/>
              <a:gd name="T16" fmla="*/ 0 w 5"/>
              <a:gd name="T17" fmla="*/ 5 h 6"/>
              <a:gd name="T18" fmla="*/ 3 w 5"/>
              <a:gd name="T19" fmla="*/ 5 h 6"/>
              <a:gd name="T20" fmla="*/ 5 w 5"/>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6">
                <a:moveTo>
                  <a:pt x="5" y="4"/>
                </a:moveTo>
                <a:cubicBezTo>
                  <a:pt x="5" y="3"/>
                  <a:pt x="5" y="1"/>
                  <a:pt x="4" y="0"/>
                </a:cubicBezTo>
                <a:cubicBezTo>
                  <a:pt x="4" y="0"/>
                  <a:pt x="3" y="0"/>
                  <a:pt x="3" y="0"/>
                </a:cubicBezTo>
                <a:cubicBezTo>
                  <a:pt x="2" y="0"/>
                  <a:pt x="2" y="0"/>
                  <a:pt x="2" y="0"/>
                </a:cubicBezTo>
                <a:cubicBezTo>
                  <a:pt x="1" y="1"/>
                  <a:pt x="1" y="1"/>
                  <a:pt x="1" y="1"/>
                </a:cubicBezTo>
                <a:cubicBezTo>
                  <a:pt x="0" y="1"/>
                  <a:pt x="0" y="1"/>
                  <a:pt x="0" y="1"/>
                </a:cubicBezTo>
                <a:cubicBezTo>
                  <a:pt x="0" y="2"/>
                  <a:pt x="0" y="2"/>
                  <a:pt x="0" y="2"/>
                </a:cubicBezTo>
                <a:cubicBezTo>
                  <a:pt x="0" y="3"/>
                  <a:pt x="0" y="3"/>
                  <a:pt x="0" y="3"/>
                </a:cubicBezTo>
                <a:cubicBezTo>
                  <a:pt x="0" y="4"/>
                  <a:pt x="0" y="4"/>
                  <a:pt x="0" y="5"/>
                </a:cubicBezTo>
                <a:cubicBezTo>
                  <a:pt x="0" y="6"/>
                  <a:pt x="2" y="5"/>
                  <a:pt x="3" y="5"/>
                </a:cubicBezTo>
                <a:lnTo>
                  <a:pt x="5" y="4"/>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83" name="Freeform 347">
            <a:extLst>
              <a:ext uri="{FF2B5EF4-FFF2-40B4-BE49-F238E27FC236}">
                <a16:creationId xmlns:a16="http://schemas.microsoft.com/office/drawing/2014/main" id="{8899BAD0-A928-4C8D-A6A3-30A153D900C2}"/>
              </a:ext>
            </a:extLst>
          </p:cNvPr>
          <p:cNvSpPr>
            <a:spLocks/>
          </p:cNvSpPr>
          <p:nvPr/>
        </p:nvSpPr>
        <p:spPr bwMode="auto">
          <a:xfrm>
            <a:off x="5828858" y="3419974"/>
            <a:ext cx="168531" cy="79832"/>
          </a:xfrm>
          <a:custGeom>
            <a:avLst/>
            <a:gdLst>
              <a:gd name="T0" fmla="*/ 69 w 102"/>
              <a:gd name="T1" fmla="*/ 46 h 48"/>
              <a:gd name="T2" fmla="*/ 65 w 102"/>
              <a:gd name="T3" fmla="*/ 47 h 48"/>
              <a:gd name="T4" fmla="*/ 71 w 102"/>
              <a:gd name="T5" fmla="*/ 37 h 48"/>
              <a:gd name="T6" fmla="*/ 63 w 102"/>
              <a:gd name="T7" fmla="*/ 30 h 48"/>
              <a:gd name="T8" fmla="*/ 62 w 102"/>
              <a:gd name="T9" fmla="*/ 21 h 48"/>
              <a:gd name="T10" fmla="*/ 61 w 102"/>
              <a:gd name="T11" fmla="*/ 20 h 48"/>
              <a:gd name="T12" fmla="*/ 51 w 102"/>
              <a:gd name="T13" fmla="*/ 20 h 48"/>
              <a:gd name="T14" fmla="*/ 44 w 102"/>
              <a:gd name="T15" fmla="*/ 15 h 48"/>
              <a:gd name="T16" fmla="*/ 28 w 102"/>
              <a:gd name="T17" fmla="*/ 12 h 48"/>
              <a:gd name="T18" fmla="*/ 31 w 102"/>
              <a:gd name="T19" fmla="*/ 8 h 48"/>
              <a:gd name="T20" fmla="*/ 31 w 102"/>
              <a:gd name="T21" fmla="*/ 8 h 48"/>
              <a:gd name="T22" fmla="*/ 31 w 102"/>
              <a:gd name="T23" fmla="*/ 8 h 48"/>
              <a:gd name="T24" fmla="*/ 30 w 102"/>
              <a:gd name="T25" fmla="*/ 8 h 48"/>
              <a:gd name="T26" fmla="*/ 17 w 102"/>
              <a:gd name="T27" fmla="*/ 12 h 48"/>
              <a:gd name="T28" fmla="*/ 0 w 102"/>
              <a:gd name="T29" fmla="*/ 19 h 48"/>
              <a:gd name="T30" fmla="*/ 0 w 102"/>
              <a:gd name="T31" fmla="*/ 19 h 48"/>
              <a:gd name="T32" fmla="*/ 1 w 102"/>
              <a:gd name="T33" fmla="*/ 16 h 48"/>
              <a:gd name="T34" fmla="*/ 2 w 102"/>
              <a:gd name="T35" fmla="*/ 15 h 48"/>
              <a:gd name="T36" fmla="*/ 3 w 102"/>
              <a:gd name="T37" fmla="*/ 14 h 48"/>
              <a:gd name="T38" fmla="*/ 3 w 102"/>
              <a:gd name="T39" fmla="*/ 13 h 48"/>
              <a:gd name="T40" fmla="*/ 7 w 102"/>
              <a:gd name="T41" fmla="*/ 8 h 48"/>
              <a:gd name="T42" fmla="*/ 21 w 102"/>
              <a:gd name="T43" fmla="*/ 2 h 48"/>
              <a:gd name="T44" fmla="*/ 38 w 102"/>
              <a:gd name="T45" fmla="*/ 2 h 48"/>
              <a:gd name="T46" fmla="*/ 49 w 102"/>
              <a:gd name="T47" fmla="*/ 4 h 48"/>
              <a:gd name="T48" fmla="*/ 53 w 102"/>
              <a:gd name="T49" fmla="*/ 10 h 48"/>
              <a:gd name="T50" fmla="*/ 64 w 102"/>
              <a:gd name="T51" fmla="*/ 13 h 48"/>
              <a:gd name="T52" fmla="*/ 72 w 102"/>
              <a:gd name="T53" fmla="*/ 16 h 48"/>
              <a:gd name="T54" fmla="*/ 70 w 102"/>
              <a:gd name="T55" fmla="*/ 13 h 48"/>
              <a:gd name="T56" fmla="*/ 67 w 102"/>
              <a:gd name="T57" fmla="*/ 10 h 48"/>
              <a:gd name="T58" fmla="*/ 66 w 102"/>
              <a:gd name="T59" fmla="*/ 9 h 48"/>
              <a:gd name="T60" fmla="*/ 64 w 102"/>
              <a:gd name="T61" fmla="*/ 6 h 48"/>
              <a:gd name="T62" fmla="*/ 71 w 102"/>
              <a:gd name="T63" fmla="*/ 11 h 48"/>
              <a:gd name="T64" fmla="*/ 71 w 102"/>
              <a:gd name="T65" fmla="*/ 12 h 48"/>
              <a:gd name="T66" fmla="*/ 75 w 102"/>
              <a:gd name="T67" fmla="*/ 17 h 48"/>
              <a:gd name="T68" fmla="*/ 79 w 102"/>
              <a:gd name="T69" fmla="*/ 24 h 48"/>
              <a:gd name="T70" fmla="*/ 81 w 102"/>
              <a:gd name="T71" fmla="*/ 25 h 48"/>
              <a:gd name="T72" fmla="*/ 87 w 102"/>
              <a:gd name="T73" fmla="*/ 37 h 48"/>
              <a:gd name="T74" fmla="*/ 102 w 102"/>
              <a:gd name="T75" fmla="*/ 41 h 48"/>
              <a:gd name="T76" fmla="*/ 102 w 102"/>
              <a:gd name="T77" fmla="*/ 42 h 48"/>
              <a:gd name="T78" fmla="*/ 89 w 102"/>
              <a:gd name="T79" fmla="*/ 48 h 48"/>
              <a:gd name="T80" fmla="*/ 82 w 102"/>
              <a:gd name="T81" fmla="*/ 46 h 48"/>
              <a:gd name="T82" fmla="*/ 73 w 102"/>
              <a:gd name="T83" fmla="*/ 47 h 48"/>
              <a:gd name="T84" fmla="*/ 69 w 102"/>
              <a:gd name="T85" fmla="*/ 4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2" h="48">
                <a:moveTo>
                  <a:pt x="69" y="46"/>
                </a:moveTo>
                <a:cubicBezTo>
                  <a:pt x="68" y="47"/>
                  <a:pt x="67" y="47"/>
                  <a:pt x="65" y="47"/>
                </a:cubicBezTo>
                <a:cubicBezTo>
                  <a:pt x="65" y="44"/>
                  <a:pt x="72" y="40"/>
                  <a:pt x="71" y="37"/>
                </a:cubicBezTo>
                <a:cubicBezTo>
                  <a:pt x="70" y="33"/>
                  <a:pt x="68" y="30"/>
                  <a:pt x="63" y="30"/>
                </a:cubicBezTo>
                <a:cubicBezTo>
                  <a:pt x="63" y="29"/>
                  <a:pt x="63" y="21"/>
                  <a:pt x="62" y="21"/>
                </a:cubicBezTo>
                <a:cubicBezTo>
                  <a:pt x="62" y="20"/>
                  <a:pt x="61" y="20"/>
                  <a:pt x="61" y="20"/>
                </a:cubicBezTo>
                <a:cubicBezTo>
                  <a:pt x="58" y="20"/>
                  <a:pt x="55" y="21"/>
                  <a:pt x="51" y="20"/>
                </a:cubicBezTo>
                <a:cubicBezTo>
                  <a:pt x="46" y="19"/>
                  <a:pt x="47" y="17"/>
                  <a:pt x="44" y="15"/>
                </a:cubicBezTo>
                <a:cubicBezTo>
                  <a:pt x="42" y="13"/>
                  <a:pt x="28" y="15"/>
                  <a:pt x="28" y="12"/>
                </a:cubicBezTo>
                <a:cubicBezTo>
                  <a:pt x="28" y="10"/>
                  <a:pt x="31" y="10"/>
                  <a:pt x="31" y="8"/>
                </a:cubicBezTo>
                <a:cubicBezTo>
                  <a:pt x="31" y="8"/>
                  <a:pt x="31" y="8"/>
                  <a:pt x="31" y="8"/>
                </a:cubicBezTo>
                <a:cubicBezTo>
                  <a:pt x="31" y="8"/>
                  <a:pt x="31" y="8"/>
                  <a:pt x="31" y="8"/>
                </a:cubicBezTo>
                <a:cubicBezTo>
                  <a:pt x="30" y="8"/>
                  <a:pt x="30" y="8"/>
                  <a:pt x="30" y="8"/>
                </a:cubicBezTo>
                <a:cubicBezTo>
                  <a:pt x="24" y="8"/>
                  <a:pt x="22" y="9"/>
                  <a:pt x="17" y="12"/>
                </a:cubicBezTo>
                <a:cubicBezTo>
                  <a:pt x="12" y="14"/>
                  <a:pt x="6" y="19"/>
                  <a:pt x="0" y="19"/>
                </a:cubicBezTo>
                <a:cubicBezTo>
                  <a:pt x="0" y="19"/>
                  <a:pt x="0" y="19"/>
                  <a:pt x="0" y="19"/>
                </a:cubicBezTo>
                <a:cubicBezTo>
                  <a:pt x="0" y="18"/>
                  <a:pt x="1" y="17"/>
                  <a:pt x="1" y="16"/>
                </a:cubicBezTo>
                <a:cubicBezTo>
                  <a:pt x="2" y="16"/>
                  <a:pt x="2" y="15"/>
                  <a:pt x="2" y="15"/>
                </a:cubicBezTo>
                <a:cubicBezTo>
                  <a:pt x="2" y="15"/>
                  <a:pt x="3" y="15"/>
                  <a:pt x="3" y="14"/>
                </a:cubicBezTo>
                <a:cubicBezTo>
                  <a:pt x="3" y="13"/>
                  <a:pt x="3" y="13"/>
                  <a:pt x="3" y="13"/>
                </a:cubicBezTo>
                <a:cubicBezTo>
                  <a:pt x="1" y="10"/>
                  <a:pt x="5" y="10"/>
                  <a:pt x="7" y="8"/>
                </a:cubicBezTo>
                <a:cubicBezTo>
                  <a:pt x="13" y="8"/>
                  <a:pt x="16" y="2"/>
                  <a:pt x="21" y="2"/>
                </a:cubicBezTo>
                <a:cubicBezTo>
                  <a:pt x="27" y="2"/>
                  <a:pt x="33" y="0"/>
                  <a:pt x="38" y="2"/>
                </a:cubicBezTo>
                <a:cubicBezTo>
                  <a:pt x="41" y="2"/>
                  <a:pt x="45" y="3"/>
                  <a:pt x="49" y="4"/>
                </a:cubicBezTo>
                <a:cubicBezTo>
                  <a:pt x="51" y="5"/>
                  <a:pt x="51" y="8"/>
                  <a:pt x="53" y="10"/>
                </a:cubicBezTo>
                <a:cubicBezTo>
                  <a:pt x="56" y="12"/>
                  <a:pt x="61" y="10"/>
                  <a:pt x="64" y="13"/>
                </a:cubicBezTo>
                <a:cubicBezTo>
                  <a:pt x="65" y="13"/>
                  <a:pt x="71" y="20"/>
                  <a:pt x="72" y="16"/>
                </a:cubicBezTo>
                <a:cubicBezTo>
                  <a:pt x="71" y="15"/>
                  <a:pt x="71" y="14"/>
                  <a:pt x="70" y="13"/>
                </a:cubicBezTo>
                <a:cubicBezTo>
                  <a:pt x="69" y="12"/>
                  <a:pt x="68" y="11"/>
                  <a:pt x="67" y="10"/>
                </a:cubicBezTo>
                <a:cubicBezTo>
                  <a:pt x="66" y="9"/>
                  <a:pt x="66" y="9"/>
                  <a:pt x="66" y="9"/>
                </a:cubicBezTo>
                <a:cubicBezTo>
                  <a:pt x="65" y="9"/>
                  <a:pt x="64" y="7"/>
                  <a:pt x="64" y="6"/>
                </a:cubicBezTo>
                <a:cubicBezTo>
                  <a:pt x="69" y="6"/>
                  <a:pt x="68" y="10"/>
                  <a:pt x="71" y="11"/>
                </a:cubicBezTo>
                <a:cubicBezTo>
                  <a:pt x="71" y="12"/>
                  <a:pt x="71" y="12"/>
                  <a:pt x="71" y="12"/>
                </a:cubicBezTo>
                <a:cubicBezTo>
                  <a:pt x="71" y="12"/>
                  <a:pt x="75" y="16"/>
                  <a:pt x="75" y="17"/>
                </a:cubicBezTo>
                <a:cubicBezTo>
                  <a:pt x="76" y="19"/>
                  <a:pt x="78" y="22"/>
                  <a:pt x="79" y="24"/>
                </a:cubicBezTo>
                <a:cubicBezTo>
                  <a:pt x="81" y="25"/>
                  <a:pt x="81" y="25"/>
                  <a:pt x="81" y="25"/>
                </a:cubicBezTo>
                <a:cubicBezTo>
                  <a:pt x="86" y="26"/>
                  <a:pt x="83" y="35"/>
                  <a:pt x="87" y="37"/>
                </a:cubicBezTo>
                <a:cubicBezTo>
                  <a:pt x="90" y="37"/>
                  <a:pt x="101" y="38"/>
                  <a:pt x="102" y="41"/>
                </a:cubicBezTo>
                <a:cubicBezTo>
                  <a:pt x="102" y="41"/>
                  <a:pt x="102" y="42"/>
                  <a:pt x="102" y="42"/>
                </a:cubicBezTo>
                <a:cubicBezTo>
                  <a:pt x="98" y="44"/>
                  <a:pt x="93" y="47"/>
                  <a:pt x="89" y="48"/>
                </a:cubicBezTo>
                <a:cubicBezTo>
                  <a:pt x="86" y="48"/>
                  <a:pt x="85" y="46"/>
                  <a:pt x="82" y="46"/>
                </a:cubicBezTo>
                <a:cubicBezTo>
                  <a:pt x="79" y="46"/>
                  <a:pt x="76" y="48"/>
                  <a:pt x="73" y="47"/>
                </a:cubicBezTo>
                <a:lnTo>
                  <a:pt x="69" y="46"/>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92" name="Freeform 349">
            <a:extLst>
              <a:ext uri="{FF2B5EF4-FFF2-40B4-BE49-F238E27FC236}">
                <a16:creationId xmlns:a16="http://schemas.microsoft.com/office/drawing/2014/main" id="{1B8B151C-6D5A-4CEF-B774-F638D4F61FFD}"/>
              </a:ext>
            </a:extLst>
          </p:cNvPr>
          <p:cNvSpPr>
            <a:spLocks/>
          </p:cNvSpPr>
          <p:nvPr/>
        </p:nvSpPr>
        <p:spPr bwMode="auto">
          <a:xfrm>
            <a:off x="6165920" y="3025251"/>
            <a:ext cx="31044" cy="8869"/>
          </a:xfrm>
          <a:custGeom>
            <a:avLst/>
            <a:gdLst>
              <a:gd name="T0" fmla="*/ 18 w 20"/>
              <a:gd name="T1" fmla="*/ 0 h 6"/>
              <a:gd name="T2" fmla="*/ 3 w 20"/>
              <a:gd name="T3" fmla="*/ 3 h 6"/>
              <a:gd name="T4" fmla="*/ 3 w 20"/>
              <a:gd name="T5" fmla="*/ 6 h 6"/>
              <a:gd name="T6" fmla="*/ 11 w 20"/>
              <a:gd name="T7" fmla="*/ 4 h 6"/>
              <a:gd name="T8" fmla="*/ 20 w 20"/>
              <a:gd name="T9" fmla="*/ 0 h 6"/>
              <a:gd name="T10" fmla="*/ 18 w 20"/>
              <a:gd name="T11" fmla="*/ 0 h 6"/>
            </a:gdLst>
            <a:ahLst/>
            <a:cxnLst>
              <a:cxn ang="0">
                <a:pos x="T0" y="T1"/>
              </a:cxn>
              <a:cxn ang="0">
                <a:pos x="T2" y="T3"/>
              </a:cxn>
              <a:cxn ang="0">
                <a:pos x="T4" y="T5"/>
              </a:cxn>
              <a:cxn ang="0">
                <a:pos x="T6" y="T7"/>
              </a:cxn>
              <a:cxn ang="0">
                <a:pos x="T8" y="T9"/>
              </a:cxn>
              <a:cxn ang="0">
                <a:pos x="T10" y="T11"/>
              </a:cxn>
            </a:cxnLst>
            <a:rect l="0" t="0" r="r" b="b"/>
            <a:pathLst>
              <a:path w="20" h="6">
                <a:moveTo>
                  <a:pt x="18" y="0"/>
                </a:moveTo>
                <a:cubicBezTo>
                  <a:pt x="13" y="1"/>
                  <a:pt x="8" y="2"/>
                  <a:pt x="3" y="3"/>
                </a:cubicBezTo>
                <a:cubicBezTo>
                  <a:pt x="2" y="4"/>
                  <a:pt x="0" y="6"/>
                  <a:pt x="3" y="6"/>
                </a:cubicBezTo>
                <a:cubicBezTo>
                  <a:pt x="5" y="6"/>
                  <a:pt x="9" y="4"/>
                  <a:pt x="11" y="4"/>
                </a:cubicBezTo>
                <a:cubicBezTo>
                  <a:pt x="14" y="3"/>
                  <a:pt x="17" y="3"/>
                  <a:pt x="20" y="0"/>
                </a:cubicBezTo>
                <a:lnTo>
                  <a:pt x="18" y="0"/>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1994" name="Freeform 350">
            <a:extLst>
              <a:ext uri="{FF2B5EF4-FFF2-40B4-BE49-F238E27FC236}">
                <a16:creationId xmlns:a16="http://schemas.microsoft.com/office/drawing/2014/main" id="{65E3F7CF-107F-492F-A1EA-95C7D8BB2B9B}"/>
              </a:ext>
            </a:extLst>
          </p:cNvPr>
          <p:cNvSpPr>
            <a:spLocks/>
          </p:cNvSpPr>
          <p:nvPr/>
        </p:nvSpPr>
        <p:spPr bwMode="auto">
          <a:xfrm>
            <a:off x="6165920" y="3025251"/>
            <a:ext cx="31044" cy="8869"/>
          </a:xfrm>
          <a:custGeom>
            <a:avLst/>
            <a:gdLst>
              <a:gd name="T0" fmla="*/ 18 w 20"/>
              <a:gd name="T1" fmla="*/ 0 h 6"/>
              <a:gd name="T2" fmla="*/ 3 w 20"/>
              <a:gd name="T3" fmla="*/ 3 h 6"/>
              <a:gd name="T4" fmla="*/ 3 w 20"/>
              <a:gd name="T5" fmla="*/ 6 h 6"/>
              <a:gd name="T6" fmla="*/ 11 w 20"/>
              <a:gd name="T7" fmla="*/ 4 h 6"/>
              <a:gd name="T8" fmla="*/ 20 w 20"/>
              <a:gd name="T9" fmla="*/ 0 h 6"/>
              <a:gd name="T10" fmla="*/ 18 w 20"/>
              <a:gd name="T11" fmla="*/ 0 h 6"/>
            </a:gdLst>
            <a:ahLst/>
            <a:cxnLst>
              <a:cxn ang="0">
                <a:pos x="T0" y="T1"/>
              </a:cxn>
              <a:cxn ang="0">
                <a:pos x="T2" y="T3"/>
              </a:cxn>
              <a:cxn ang="0">
                <a:pos x="T4" y="T5"/>
              </a:cxn>
              <a:cxn ang="0">
                <a:pos x="T6" y="T7"/>
              </a:cxn>
              <a:cxn ang="0">
                <a:pos x="T8" y="T9"/>
              </a:cxn>
              <a:cxn ang="0">
                <a:pos x="T10" y="T11"/>
              </a:cxn>
            </a:cxnLst>
            <a:rect l="0" t="0" r="r" b="b"/>
            <a:pathLst>
              <a:path w="20" h="6">
                <a:moveTo>
                  <a:pt x="18" y="0"/>
                </a:moveTo>
                <a:cubicBezTo>
                  <a:pt x="13" y="1"/>
                  <a:pt x="8" y="2"/>
                  <a:pt x="3" y="3"/>
                </a:cubicBezTo>
                <a:cubicBezTo>
                  <a:pt x="2" y="4"/>
                  <a:pt x="0" y="6"/>
                  <a:pt x="3" y="6"/>
                </a:cubicBezTo>
                <a:cubicBezTo>
                  <a:pt x="5" y="6"/>
                  <a:pt x="9" y="4"/>
                  <a:pt x="11" y="4"/>
                </a:cubicBezTo>
                <a:cubicBezTo>
                  <a:pt x="14" y="3"/>
                  <a:pt x="17" y="3"/>
                  <a:pt x="20" y="0"/>
                </a:cubicBezTo>
                <a:lnTo>
                  <a:pt x="18" y="0"/>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19" name="Freeform 351">
            <a:extLst>
              <a:ext uri="{FF2B5EF4-FFF2-40B4-BE49-F238E27FC236}">
                <a16:creationId xmlns:a16="http://schemas.microsoft.com/office/drawing/2014/main" id="{EFE00229-83CF-4C5D-98F5-EBADD3C56B93}"/>
              </a:ext>
            </a:extLst>
          </p:cNvPr>
          <p:cNvSpPr>
            <a:spLocks/>
          </p:cNvSpPr>
          <p:nvPr/>
        </p:nvSpPr>
        <p:spPr bwMode="auto">
          <a:xfrm>
            <a:off x="6400974" y="2909939"/>
            <a:ext cx="26610" cy="26610"/>
          </a:xfrm>
          <a:custGeom>
            <a:avLst/>
            <a:gdLst>
              <a:gd name="T0" fmla="*/ 11 w 17"/>
              <a:gd name="T1" fmla="*/ 7 h 18"/>
              <a:gd name="T2" fmla="*/ 13 w 17"/>
              <a:gd name="T3" fmla="*/ 5 h 18"/>
              <a:gd name="T4" fmla="*/ 14 w 17"/>
              <a:gd name="T5" fmla="*/ 3 h 18"/>
              <a:gd name="T6" fmla="*/ 13 w 17"/>
              <a:gd name="T7" fmla="*/ 0 h 18"/>
              <a:gd name="T8" fmla="*/ 10 w 17"/>
              <a:gd name="T9" fmla="*/ 2 h 18"/>
              <a:gd name="T10" fmla="*/ 2 w 17"/>
              <a:gd name="T11" fmla="*/ 13 h 18"/>
              <a:gd name="T12" fmla="*/ 4 w 17"/>
              <a:gd name="T13" fmla="*/ 16 h 18"/>
              <a:gd name="T14" fmla="*/ 15 w 17"/>
              <a:gd name="T15" fmla="*/ 13 h 18"/>
              <a:gd name="T16" fmla="*/ 16 w 17"/>
              <a:gd name="T17" fmla="*/ 11 h 18"/>
              <a:gd name="T18" fmla="*/ 17 w 17"/>
              <a:gd name="T19" fmla="*/ 8 h 18"/>
              <a:gd name="T20" fmla="*/ 10 w 17"/>
              <a:gd name="T21" fmla="*/ 9 h 18"/>
              <a:gd name="T22" fmla="*/ 11 w 17"/>
              <a:gd name="T2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8">
                <a:moveTo>
                  <a:pt x="11" y="7"/>
                </a:moveTo>
                <a:cubicBezTo>
                  <a:pt x="11" y="7"/>
                  <a:pt x="13" y="5"/>
                  <a:pt x="13" y="5"/>
                </a:cubicBezTo>
                <a:cubicBezTo>
                  <a:pt x="13" y="5"/>
                  <a:pt x="14" y="4"/>
                  <a:pt x="14" y="3"/>
                </a:cubicBezTo>
                <a:cubicBezTo>
                  <a:pt x="14" y="2"/>
                  <a:pt x="14" y="1"/>
                  <a:pt x="13" y="0"/>
                </a:cubicBezTo>
                <a:cubicBezTo>
                  <a:pt x="12" y="0"/>
                  <a:pt x="11" y="2"/>
                  <a:pt x="10" y="2"/>
                </a:cubicBezTo>
                <a:cubicBezTo>
                  <a:pt x="7" y="5"/>
                  <a:pt x="0" y="7"/>
                  <a:pt x="2" y="13"/>
                </a:cubicBezTo>
                <a:cubicBezTo>
                  <a:pt x="2" y="14"/>
                  <a:pt x="3" y="16"/>
                  <a:pt x="4" y="16"/>
                </a:cubicBezTo>
                <a:cubicBezTo>
                  <a:pt x="8" y="18"/>
                  <a:pt x="12" y="14"/>
                  <a:pt x="15" y="13"/>
                </a:cubicBezTo>
                <a:cubicBezTo>
                  <a:pt x="16" y="12"/>
                  <a:pt x="16" y="12"/>
                  <a:pt x="16" y="11"/>
                </a:cubicBezTo>
                <a:cubicBezTo>
                  <a:pt x="17" y="10"/>
                  <a:pt x="17" y="9"/>
                  <a:pt x="17" y="8"/>
                </a:cubicBezTo>
                <a:cubicBezTo>
                  <a:pt x="15" y="8"/>
                  <a:pt x="11" y="11"/>
                  <a:pt x="10" y="9"/>
                </a:cubicBezTo>
                <a:lnTo>
                  <a:pt x="11" y="7"/>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60" name="Freeform 352">
            <a:extLst>
              <a:ext uri="{FF2B5EF4-FFF2-40B4-BE49-F238E27FC236}">
                <a16:creationId xmlns:a16="http://schemas.microsoft.com/office/drawing/2014/main" id="{53A959B0-FFCC-485A-BBCA-BFAA4998F094}"/>
              </a:ext>
            </a:extLst>
          </p:cNvPr>
          <p:cNvSpPr>
            <a:spLocks/>
          </p:cNvSpPr>
          <p:nvPr/>
        </p:nvSpPr>
        <p:spPr bwMode="auto">
          <a:xfrm>
            <a:off x="6400974" y="2909939"/>
            <a:ext cx="26610" cy="26610"/>
          </a:xfrm>
          <a:custGeom>
            <a:avLst/>
            <a:gdLst>
              <a:gd name="T0" fmla="*/ 11 w 17"/>
              <a:gd name="T1" fmla="*/ 7 h 18"/>
              <a:gd name="T2" fmla="*/ 13 w 17"/>
              <a:gd name="T3" fmla="*/ 5 h 18"/>
              <a:gd name="T4" fmla="*/ 14 w 17"/>
              <a:gd name="T5" fmla="*/ 3 h 18"/>
              <a:gd name="T6" fmla="*/ 13 w 17"/>
              <a:gd name="T7" fmla="*/ 0 h 18"/>
              <a:gd name="T8" fmla="*/ 10 w 17"/>
              <a:gd name="T9" fmla="*/ 2 h 18"/>
              <a:gd name="T10" fmla="*/ 2 w 17"/>
              <a:gd name="T11" fmla="*/ 13 h 18"/>
              <a:gd name="T12" fmla="*/ 4 w 17"/>
              <a:gd name="T13" fmla="*/ 16 h 18"/>
              <a:gd name="T14" fmla="*/ 15 w 17"/>
              <a:gd name="T15" fmla="*/ 13 h 18"/>
              <a:gd name="T16" fmla="*/ 16 w 17"/>
              <a:gd name="T17" fmla="*/ 11 h 18"/>
              <a:gd name="T18" fmla="*/ 17 w 17"/>
              <a:gd name="T19" fmla="*/ 8 h 18"/>
              <a:gd name="T20" fmla="*/ 10 w 17"/>
              <a:gd name="T21" fmla="*/ 9 h 18"/>
              <a:gd name="T22" fmla="*/ 11 w 17"/>
              <a:gd name="T2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8">
                <a:moveTo>
                  <a:pt x="11" y="7"/>
                </a:moveTo>
                <a:cubicBezTo>
                  <a:pt x="11" y="7"/>
                  <a:pt x="13" y="5"/>
                  <a:pt x="13" y="5"/>
                </a:cubicBezTo>
                <a:cubicBezTo>
                  <a:pt x="13" y="5"/>
                  <a:pt x="14" y="4"/>
                  <a:pt x="14" y="3"/>
                </a:cubicBezTo>
                <a:cubicBezTo>
                  <a:pt x="14" y="2"/>
                  <a:pt x="14" y="1"/>
                  <a:pt x="13" y="0"/>
                </a:cubicBezTo>
                <a:cubicBezTo>
                  <a:pt x="12" y="0"/>
                  <a:pt x="11" y="2"/>
                  <a:pt x="10" y="2"/>
                </a:cubicBezTo>
                <a:cubicBezTo>
                  <a:pt x="7" y="5"/>
                  <a:pt x="0" y="7"/>
                  <a:pt x="2" y="13"/>
                </a:cubicBezTo>
                <a:cubicBezTo>
                  <a:pt x="2" y="14"/>
                  <a:pt x="3" y="16"/>
                  <a:pt x="4" y="16"/>
                </a:cubicBezTo>
                <a:cubicBezTo>
                  <a:pt x="8" y="18"/>
                  <a:pt x="12" y="14"/>
                  <a:pt x="15" y="13"/>
                </a:cubicBezTo>
                <a:cubicBezTo>
                  <a:pt x="16" y="12"/>
                  <a:pt x="16" y="12"/>
                  <a:pt x="16" y="11"/>
                </a:cubicBezTo>
                <a:cubicBezTo>
                  <a:pt x="17" y="10"/>
                  <a:pt x="17" y="9"/>
                  <a:pt x="17" y="8"/>
                </a:cubicBezTo>
                <a:cubicBezTo>
                  <a:pt x="15" y="8"/>
                  <a:pt x="11" y="11"/>
                  <a:pt x="10" y="9"/>
                </a:cubicBezTo>
                <a:lnTo>
                  <a:pt x="11" y="7"/>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61" name="Freeform 353">
            <a:extLst>
              <a:ext uri="{FF2B5EF4-FFF2-40B4-BE49-F238E27FC236}">
                <a16:creationId xmlns:a16="http://schemas.microsoft.com/office/drawing/2014/main" id="{7D90EA0E-0007-4480-83D0-76AA64A5AC78}"/>
              </a:ext>
            </a:extLst>
          </p:cNvPr>
          <p:cNvSpPr>
            <a:spLocks/>
          </p:cNvSpPr>
          <p:nvPr/>
        </p:nvSpPr>
        <p:spPr bwMode="auto">
          <a:xfrm>
            <a:off x="6365494" y="2905505"/>
            <a:ext cx="31044" cy="22176"/>
          </a:xfrm>
          <a:custGeom>
            <a:avLst/>
            <a:gdLst>
              <a:gd name="T0" fmla="*/ 19 w 19"/>
              <a:gd name="T1" fmla="*/ 5 h 12"/>
              <a:gd name="T2" fmla="*/ 18 w 19"/>
              <a:gd name="T3" fmla="*/ 6 h 12"/>
              <a:gd name="T4" fmla="*/ 11 w 19"/>
              <a:gd name="T5" fmla="*/ 4 h 12"/>
              <a:gd name="T6" fmla="*/ 8 w 19"/>
              <a:gd name="T7" fmla="*/ 2 h 12"/>
              <a:gd name="T8" fmla="*/ 4 w 19"/>
              <a:gd name="T9" fmla="*/ 2 h 12"/>
              <a:gd name="T10" fmla="*/ 2 w 19"/>
              <a:gd name="T11" fmla="*/ 0 h 12"/>
              <a:gd name="T12" fmla="*/ 4 w 19"/>
              <a:gd name="T13" fmla="*/ 6 h 12"/>
              <a:gd name="T14" fmla="*/ 7 w 19"/>
              <a:gd name="T15" fmla="*/ 7 h 12"/>
              <a:gd name="T16" fmla="*/ 10 w 19"/>
              <a:gd name="T17" fmla="*/ 8 h 12"/>
              <a:gd name="T18" fmla="*/ 13 w 19"/>
              <a:gd name="T19" fmla="*/ 10 h 12"/>
              <a:gd name="T20" fmla="*/ 16 w 19"/>
              <a:gd name="T21" fmla="*/ 8 h 12"/>
              <a:gd name="T22" fmla="*/ 19 w 19"/>
              <a:gd name="T23" fmla="*/ 6 h 12"/>
              <a:gd name="T24" fmla="*/ 19 w 19"/>
              <a:gd name="T25"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2">
                <a:moveTo>
                  <a:pt x="19" y="5"/>
                </a:moveTo>
                <a:cubicBezTo>
                  <a:pt x="18" y="6"/>
                  <a:pt x="18" y="6"/>
                  <a:pt x="18" y="6"/>
                </a:cubicBezTo>
                <a:cubicBezTo>
                  <a:pt x="16" y="6"/>
                  <a:pt x="13" y="5"/>
                  <a:pt x="11" y="4"/>
                </a:cubicBezTo>
                <a:cubicBezTo>
                  <a:pt x="10" y="3"/>
                  <a:pt x="9" y="1"/>
                  <a:pt x="8" y="2"/>
                </a:cubicBezTo>
                <a:cubicBezTo>
                  <a:pt x="6" y="3"/>
                  <a:pt x="5" y="3"/>
                  <a:pt x="4" y="2"/>
                </a:cubicBezTo>
                <a:cubicBezTo>
                  <a:pt x="3" y="1"/>
                  <a:pt x="3" y="0"/>
                  <a:pt x="2" y="0"/>
                </a:cubicBezTo>
                <a:cubicBezTo>
                  <a:pt x="0" y="0"/>
                  <a:pt x="3" y="5"/>
                  <a:pt x="4" y="6"/>
                </a:cubicBezTo>
                <a:cubicBezTo>
                  <a:pt x="5" y="6"/>
                  <a:pt x="6" y="7"/>
                  <a:pt x="7" y="7"/>
                </a:cubicBezTo>
                <a:cubicBezTo>
                  <a:pt x="8" y="7"/>
                  <a:pt x="10" y="6"/>
                  <a:pt x="10" y="8"/>
                </a:cubicBezTo>
                <a:cubicBezTo>
                  <a:pt x="9" y="11"/>
                  <a:pt x="11" y="12"/>
                  <a:pt x="13" y="10"/>
                </a:cubicBezTo>
                <a:cubicBezTo>
                  <a:pt x="14" y="10"/>
                  <a:pt x="15" y="9"/>
                  <a:pt x="16" y="8"/>
                </a:cubicBezTo>
                <a:cubicBezTo>
                  <a:pt x="17" y="8"/>
                  <a:pt x="18" y="7"/>
                  <a:pt x="19" y="6"/>
                </a:cubicBezTo>
                <a:lnTo>
                  <a:pt x="19" y="5"/>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62" name="Freeform 354">
            <a:extLst>
              <a:ext uri="{FF2B5EF4-FFF2-40B4-BE49-F238E27FC236}">
                <a16:creationId xmlns:a16="http://schemas.microsoft.com/office/drawing/2014/main" id="{85AB775D-3017-4363-B18E-59F7B3394364}"/>
              </a:ext>
            </a:extLst>
          </p:cNvPr>
          <p:cNvSpPr>
            <a:spLocks/>
          </p:cNvSpPr>
          <p:nvPr/>
        </p:nvSpPr>
        <p:spPr bwMode="auto">
          <a:xfrm>
            <a:off x="6365494" y="2905505"/>
            <a:ext cx="31044" cy="22176"/>
          </a:xfrm>
          <a:custGeom>
            <a:avLst/>
            <a:gdLst>
              <a:gd name="T0" fmla="*/ 19 w 19"/>
              <a:gd name="T1" fmla="*/ 5 h 12"/>
              <a:gd name="T2" fmla="*/ 18 w 19"/>
              <a:gd name="T3" fmla="*/ 6 h 12"/>
              <a:gd name="T4" fmla="*/ 11 w 19"/>
              <a:gd name="T5" fmla="*/ 4 h 12"/>
              <a:gd name="T6" fmla="*/ 8 w 19"/>
              <a:gd name="T7" fmla="*/ 2 h 12"/>
              <a:gd name="T8" fmla="*/ 4 w 19"/>
              <a:gd name="T9" fmla="*/ 2 h 12"/>
              <a:gd name="T10" fmla="*/ 2 w 19"/>
              <a:gd name="T11" fmla="*/ 0 h 12"/>
              <a:gd name="T12" fmla="*/ 4 w 19"/>
              <a:gd name="T13" fmla="*/ 6 h 12"/>
              <a:gd name="T14" fmla="*/ 7 w 19"/>
              <a:gd name="T15" fmla="*/ 7 h 12"/>
              <a:gd name="T16" fmla="*/ 10 w 19"/>
              <a:gd name="T17" fmla="*/ 8 h 12"/>
              <a:gd name="T18" fmla="*/ 13 w 19"/>
              <a:gd name="T19" fmla="*/ 10 h 12"/>
              <a:gd name="T20" fmla="*/ 16 w 19"/>
              <a:gd name="T21" fmla="*/ 8 h 12"/>
              <a:gd name="T22" fmla="*/ 19 w 19"/>
              <a:gd name="T23" fmla="*/ 6 h 12"/>
              <a:gd name="T24" fmla="*/ 19 w 19"/>
              <a:gd name="T25"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2">
                <a:moveTo>
                  <a:pt x="19" y="5"/>
                </a:moveTo>
                <a:cubicBezTo>
                  <a:pt x="18" y="6"/>
                  <a:pt x="18" y="6"/>
                  <a:pt x="18" y="6"/>
                </a:cubicBezTo>
                <a:cubicBezTo>
                  <a:pt x="16" y="6"/>
                  <a:pt x="13" y="5"/>
                  <a:pt x="11" y="4"/>
                </a:cubicBezTo>
                <a:cubicBezTo>
                  <a:pt x="10" y="3"/>
                  <a:pt x="9" y="1"/>
                  <a:pt x="8" y="2"/>
                </a:cubicBezTo>
                <a:cubicBezTo>
                  <a:pt x="6" y="3"/>
                  <a:pt x="5" y="3"/>
                  <a:pt x="4" y="2"/>
                </a:cubicBezTo>
                <a:cubicBezTo>
                  <a:pt x="3" y="1"/>
                  <a:pt x="3" y="0"/>
                  <a:pt x="2" y="0"/>
                </a:cubicBezTo>
                <a:cubicBezTo>
                  <a:pt x="0" y="0"/>
                  <a:pt x="3" y="5"/>
                  <a:pt x="4" y="6"/>
                </a:cubicBezTo>
                <a:cubicBezTo>
                  <a:pt x="5" y="6"/>
                  <a:pt x="6" y="7"/>
                  <a:pt x="7" y="7"/>
                </a:cubicBezTo>
                <a:cubicBezTo>
                  <a:pt x="8" y="7"/>
                  <a:pt x="10" y="6"/>
                  <a:pt x="10" y="8"/>
                </a:cubicBezTo>
                <a:cubicBezTo>
                  <a:pt x="9" y="11"/>
                  <a:pt x="11" y="12"/>
                  <a:pt x="13" y="10"/>
                </a:cubicBezTo>
                <a:cubicBezTo>
                  <a:pt x="14" y="10"/>
                  <a:pt x="15" y="9"/>
                  <a:pt x="16" y="8"/>
                </a:cubicBezTo>
                <a:cubicBezTo>
                  <a:pt x="17" y="8"/>
                  <a:pt x="18" y="7"/>
                  <a:pt x="19" y="6"/>
                </a:cubicBezTo>
                <a:lnTo>
                  <a:pt x="19" y="5"/>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63" name="Freeform 355">
            <a:extLst>
              <a:ext uri="{FF2B5EF4-FFF2-40B4-BE49-F238E27FC236}">
                <a16:creationId xmlns:a16="http://schemas.microsoft.com/office/drawing/2014/main" id="{178EAD0D-1567-4B51-9D42-5C03769AF584}"/>
              </a:ext>
            </a:extLst>
          </p:cNvPr>
          <p:cNvSpPr>
            <a:spLocks/>
          </p:cNvSpPr>
          <p:nvPr/>
        </p:nvSpPr>
        <p:spPr bwMode="auto">
          <a:xfrm>
            <a:off x="6392105" y="2843415"/>
            <a:ext cx="39913" cy="22176"/>
          </a:xfrm>
          <a:custGeom>
            <a:avLst/>
            <a:gdLst>
              <a:gd name="T0" fmla="*/ 15 w 22"/>
              <a:gd name="T1" fmla="*/ 6 h 15"/>
              <a:gd name="T2" fmla="*/ 8 w 22"/>
              <a:gd name="T3" fmla="*/ 5 h 15"/>
              <a:gd name="T4" fmla="*/ 4 w 22"/>
              <a:gd name="T5" fmla="*/ 2 h 15"/>
              <a:gd name="T6" fmla="*/ 4 w 22"/>
              <a:gd name="T7" fmla="*/ 1 h 15"/>
              <a:gd name="T8" fmla="*/ 0 w 22"/>
              <a:gd name="T9" fmla="*/ 2 h 15"/>
              <a:gd name="T10" fmla="*/ 5 w 22"/>
              <a:gd name="T11" fmla="*/ 7 h 15"/>
              <a:gd name="T12" fmla="*/ 14 w 22"/>
              <a:gd name="T13" fmla="*/ 13 h 15"/>
              <a:gd name="T14" fmla="*/ 20 w 22"/>
              <a:gd name="T15" fmla="*/ 15 h 15"/>
              <a:gd name="T16" fmla="*/ 17 w 22"/>
              <a:gd name="T17" fmla="*/ 8 h 15"/>
              <a:gd name="T18" fmla="*/ 15 w 22"/>
              <a:gd name="T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5">
                <a:moveTo>
                  <a:pt x="15" y="6"/>
                </a:moveTo>
                <a:cubicBezTo>
                  <a:pt x="12" y="7"/>
                  <a:pt x="10" y="6"/>
                  <a:pt x="8" y="5"/>
                </a:cubicBezTo>
                <a:cubicBezTo>
                  <a:pt x="7" y="4"/>
                  <a:pt x="5" y="2"/>
                  <a:pt x="4" y="2"/>
                </a:cubicBezTo>
                <a:cubicBezTo>
                  <a:pt x="4" y="1"/>
                  <a:pt x="4" y="1"/>
                  <a:pt x="4" y="1"/>
                </a:cubicBezTo>
                <a:cubicBezTo>
                  <a:pt x="3" y="0"/>
                  <a:pt x="0" y="2"/>
                  <a:pt x="0" y="2"/>
                </a:cubicBezTo>
                <a:cubicBezTo>
                  <a:pt x="0" y="3"/>
                  <a:pt x="4" y="6"/>
                  <a:pt x="5" y="7"/>
                </a:cubicBezTo>
                <a:cubicBezTo>
                  <a:pt x="7" y="10"/>
                  <a:pt x="12" y="11"/>
                  <a:pt x="14" y="13"/>
                </a:cubicBezTo>
                <a:cubicBezTo>
                  <a:pt x="15" y="14"/>
                  <a:pt x="19" y="15"/>
                  <a:pt x="20" y="15"/>
                </a:cubicBezTo>
                <a:cubicBezTo>
                  <a:pt x="22" y="12"/>
                  <a:pt x="19" y="10"/>
                  <a:pt x="17" y="8"/>
                </a:cubicBezTo>
                <a:lnTo>
                  <a:pt x="15" y="6"/>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64" name="Freeform 356">
            <a:extLst>
              <a:ext uri="{FF2B5EF4-FFF2-40B4-BE49-F238E27FC236}">
                <a16:creationId xmlns:a16="http://schemas.microsoft.com/office/drawing/2014/main" id="{9BF7FBDC-3763-4344-9161-A8D809E1ACB0}"/>
              </a:ext>
            </a:extLst>
          </p:cNvPr>
          <p:cNvSpPr>
            <a:spLocks/>
          </p:cNvSpPr>
          <p:nvPr/>
        </p:nvSpPr>
        <p:spPr bwMode="auto">
          <a:xfrm>
            <a:off x="6392105" y="2843415"/>
            <a:ext cx="39913" cy="22176"/>
          </a:xfrm>
          <a:custGeom>
            <a:avLst/>
            <a:gdLst>
              <a:gd name="T0" fmla="*/ 15 w 22"/>
              <a:gd name="T1" fmla="*/ 6 h 15"/>
              <a:gd name="T2" fmla="*/ 8 w 22"/>
              <a:gd name="T3" fmla="*/ 5 h 15"/>
              <a:gd name="T4" fmla="*/ 4 w 22"/>
              <a:gd name="T5" fmla="*/ 2 h 15"/>
              <a:gd name="T6" fmla="*/ 4 w 22"/>
              <a:gd name="T7" fmla="*/ 1 h 15"/>
              <a:gd name="T8" fmla="*/ 0 w 22"/>
              <a:gd name="T9" fmla="*/ 2 h 15"/>
              <a:gd name="T10" fmla="*/ 5 w 22"/>
              <a:gd name="T11" fmla="*/ 7 h 15"/>
              <a:gd name="T12" fmla="*/ 14 w 22"/>
              <a:gd name="T13" fmla="*/ 13 h 15"/>
              <a:gd name="T14" fmla="*/ 20 w 22"/>
              <a:gd name="T15" fmla="*/ 15 h 15"/>
              <a:gd name="T16" fmla="*/ 17 w 22"/>
              <a:gd name="T17" fmla="*/ 8 h 15"/>
              <a:gd name="T18" fmla="*/ 15 w 22"/>
              <a:gd name="T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5">
                <a:moveTo>
                  <a:pt x="15" y="6"/>
                </a:moveTo>
                <a:cubicBezTo>
                  <a:pt x="12" y="7"/>
                  <a:pt x="10" y="6"/>
                  <a:pt x="8" y="5"/>
                </a:cubicBezTo>
                <a:cubicBezTo>
                  <a:pt x="7" y="4"/>
                  <a:pt x="5" y="2"/>
                  <a:pt x="4" y="2"/>
                </a:cubicBezTo>
                <a:cubicBezTo>
                  <a:pt x="4" y="1"/>
                  <a:pt x="4" y="1"/>
                  <a:pt x="4" y="1"/>
                </a:cubicBezTo>
                <a:cubicBezTo>
                  <a:pt x="3" y="0"/>
                  <a:pt x="0" y="2"/>
                  <a:pt x="0" y="2"/>
                </a:cubicBezTo>
                <a:cubicBezTo>
                  <a:pt x="0" y="3"/>
                  <a:pt x="4" y="6"/>
                  <a:pt x="5" y="7"/>
                </a:cubicBezTo>
                <a:cubicBezTo>
                  <a:pt x="7" y="10"/>
                  <a:pt x="12" y="11"/>
                  <a:pt x="14" y="13"/>
                </a:cubicBezTo>
                <a:cubicBezTo>
                  <a:pt x="15" y="14"/>
                  <a:pt x="19" y="15"/>
                  <a:pt x="20" y="15"/>
                </a:cubicBezTo>
                <a:cubicBezTo>
                  <a:pt x="22" y="12"/>
                  <a:pt x="19" y="10"/>
                  <a:pt x="17" y="8"/>
                </a:cubicBezTo>
                <a:lnTo>
                  <a:pt x="15" y="6"/>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65" name="Freeform 357">
            <a:extLst>
              <a:ext uri="{FF2B5EF4-FFF2-40B4-BE49-F238E27FC236}">
                <a16:creationId xmlns:a16="http://schemas.microsoft.com/office/drawing/2014/main" id="{A2F0B562-0A8C-40FA-9BA0-F59DF7B7886B}"/>
              </a:ext>
            </a:extLst>
          </p:cNvPr>
          <p:cNvSpPr>
            <a:spLocks/>
          </p:cNvSpPr>
          <p:nvPr/>
        </p:nvSpPr>
        <p:spPr bwMode="auto">
          <a:xfrm>
            <a:off x="6440893" y="2816800"/>
            <a:ext cx="115311" cy="102008"/>
          </a:xfrm>
          <a:custGeom>
            <a:avLst/>
            <a:gdLst>
              <a:gd name="T0" fmla="*/ 55 w 68"/>
              <a:gd name="T1" fmla="*/ 1 h 62"/>
              <a:gd name="T2" fmla="*/ 44 w 68"/>
              <a:gd name="T3" fmla="*/ 8 h 62"/>
              <a:gd name="T4" fmla="*/ 36 w 68"/>
              <a:gd name="T5" fmla="*/ 15 h 62"/>
              <a:gd name="T6" fmla="*/ 31 w 68"/>
              <a:gd name="T7" fmla="*/ 21 h 62"/>
              <a:gd name="T8" fmla="*/ 26 w 68"/>
              <a:gd name="T9" fmla="*/ 25 h 62"/>
              <a:gd name="T10" fmla="*/ 22 w 68"/>
              <a:gd name="T11" fmla="*/ 32 h 62"/>
              <a:gd name="T12" fmla="*/ 14 w 68"/>
              <a:gd name="T13" fmla="*/ 35 h 62"/>
              <a:gd name="T14" fmla="*/ 14 w 68"/>
              <a:gd name="T15" fmla="*/ 36 h 62"/>
              <a:gd name="T16" fmla="*/ 17 w 68"/>
              <a:gd name="T17" fmla="*/ 38 h 62"/>
              <a:gd name="T18" fmla="*/ 17 w 68"/>
              <a:gd name="T19" fmla="*/ 38 h 62"/>
              <a:gd name="T20" fmla="*/ 8 w 68"/>
              <a:gd name="T21" fmla="*/ 43 h 62"/>
              <a:gd name="T22" fmla="*/ 23 w 68"/>
              <a:gd name="T23" fmla="*/ 48 h 62"/>
              <a:gd name="T24" fmla="*/ 32 w 68"/>
              <a:gd name="T25" fmla="*/ 48 h 62"/>
              <a:gd name="T26" fmla="*/ 37 w 68"/>
              <a:gd name="T27" fmla="*/ 49 h 62"/>
              <a:gd name="T28" fmla="*/ 41 w 68"/>
              <a:gd name="T29" fmla="*/ 51 h 62"/>
              <a:gd name="T30" fmla="*/ 33 w 68"/>
              <a:gd name="T31" fmla="*/ 55 h 62"/>
              <a:gd name="T32" fmla="*/ 43 w 68"/>
              <a:gd name="T33" fmla="*/ 54 h 62"/>
              <a:gd name="T34" fmla="*/ 52 w 68"/>
              <a:gd name="T35" fmla="*/ 48 h 62"/>
              <a:gd name="T36" fmla="*/ 49 w 68"/>
              <a:gd name="T37" fmla="*/ 55 h 62"/>
              <a:gd name="T38" fmla="*/ 49 w 68"/>
              <a:gd name="T39" fmla="*/ 58 h 62"/>
              <a:gd name="T40" fmla="*/ 53 w 68"/>
              <a:gd name="T41" fmla="*/ 56 h 62"/>
              <a:gd name="T42" fmla="*/ 53 w 68"/>
              <a:gd name="T43" fmla="*/ 61 h 62"/>
              <a:gd name="T44" fmla="*/ 62 w 68"/>
              <a:gd name="T45" fmla="*/ 52 h 62"/>
              <a:gd name="T46" fmla="*/ 62 w 68"/>
              <a:gd name="T47" fmla="*/ 50 h 62"/>
              <a:gd name="T48" fmla="*/ 62 w 68"/>
              <a:gd name="T49" fmla="*/ 43 h 62"/>
              <a:gd name="T50" fmla="*/ 55 w 68"/>
              <a:gd name="T51" fmla="*/ 46 h 62"/>
              <a:gd name="T52" fmla="*/ 57 w 68"/>
              <a:gd name="T53" fmla="*/ 42 h 62"/>
              <a:gd name="T54" fmla="*/ 62 w 68"/>
              <a:gd name="T55" fmla="*/ 40 h 62"/>
              <a:gd name="T56" fmla="*/ 58 w 68"/>
              <a:gd name="T57" fmla="*/ 34 h 62"/>
              <a:gd name="T58" fmla="*/ 59 w 68"/>
              <a:gd name="T59" fmla="*/ 28 h 62"/>
              <a:gd name="T60" fmla="*/ 47 w 68"/>
              <a:gd name="T61" fmla="*/ 24 h 62"/>
              <a:gd name="T62" fmla="*/ 48 w 68"/>
              <a:gd name="T63" fmla="*/ 17 h 62"/>
              <a:gd name="T64" fmla="*/ 42 w 68"/>
              <a:gd name="T65" fmla="*/ 18 h 62"/>
              <a:gd name="T66" fmla="*/ 52 w 68"/>
              <a:gd name="T67" fmla="*/ 9 h 62"/>
              <a:gd name="T68" fmla="*/ 56 w 68"/>
              <a:gd name="T69" fmla="*/ 4 h 62"/>
              <a:gd name="T70" fmla="*/ 59 w 68"/>
              <a:gd name="T71" fmla="*/ 0 h 62"/>
              <a:gd name="T72" fmla="*/ 55 w 68"/>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 h="62">
                <a:moveTo>
                  <a:pt x="55" y="1"/>
                </a:moveTo>
                <a:cubicBezTo>
                  <a:pt x="50" y="1"/>
                  <a:pt x="47" y="4"/>
                  <a:pt x="44" y="8"/>
                </a:cubicBezTo>
                <a:cubicBezTo>
                  <a:pt x="41" y="10"/>
                  <a:pt x="37" y="12"/>
                  <a:pt x="36" y="15"/>
                </a:cubicBezTo>
                <a:cubicBezTo>
                  <a:pt x="34" y="17"/>
                  <a:pt x="32" y="19"/>
                  <a:pt x="31" y="21"/>
                </a:cubicBezTo>
                <a:cubicBezTo>
                  <a:pt x="29" y="24"/>
                  <a:pt x="28" y="24"/>
                  <a:pt x="26" y="25"/>
                </a:cubicBezTo>
                <a:cubicBezTo>
                  <a:pt x="24" y="26"/>
                  <a:pt x="26" y="31"/>
                  <a:pt x="22" y="32"/>
                </a:cubicBezTo>
                <a:cubicBezTo>
                  <a:pt x="20" y="33"/>
                  <a:pt x="16" y="35"/>
                  <a:pt x="14" y="35"/>
                </a:cubicBezTo>
                <a:cubicBezTo>
                  <a:pt x="14" y="36"/>
                  <a:pt x="14" y="36"/>
                  <a:pt x="14" y="36"/>
                </a:cubicBezTo>
                <a:cubicBezTo>
                  <a:pt x="15" y="36"/>
                  <a:pt x="17" y="36"/>
                  <a:pt x="17" y="38"/>
                </a:cubicBezTo>
                <a:cubicBezTo>
                  <a:pt x="17" y="38"/>
                  <a:pt x="17" y="38"/>
                  <a:pt x="17" y="38"/>
                </a:cubicBezTo>
                <a:cubicBezTo>
                  <a:pt x="16" y="39"/>
                  <a:pt x="9" y="42"/>
                  <a:pt x="8" y="43"/>
                </a:cubicBezTo>
                <a:cubicBezTo>
                  <a:pt x="0" y="51"/>
                  <a:pt x="19" y="48"/>
                  <a:pt x="23" y="48"/>
                </a:cubicBezTo>
                <a:cubicBezTo>
                  <a:pt x="26" y="48"/>
                  <a:pt x="29" y="47"/>
                  <a:pt x="32" y="48"/>
                </a:cubicBezTo>
                <a:cubicBezTo>
                  <a:pt x="34" y="48"/>
                  <a:pt x="35" y="49"/>
                  <a:pt x="37" y="49"/>
                </a:cubicBezTo>
                <a:cubicBezTo>
                  <a:pt x="39" y="49"/>
                  <a:pt x="47" y="48"/>
                  <a:pt x="41" y="51"/>
                </a:cubicBezTo>
                <a:cubicBezTo>
                  <a:pt x="39" y="51"/>
                  <a:pt x="33" y="54"/>
                  <a:pt x="33" y="55"/>
                </a:cubicBezTo>
                <a:cubicBezTo>
                  <a:pt x="33" y="59"/>
                  <a:pt x="41" y="54"/>
                  <a:pt x="43" y="54"/>
                </a:cubicBezTo>
                <a:cubicBezTo>
                  <a:pt x="45" y="52"/>
                  <a:pt x="48" y="48"/>
                  <a:pt x="52" y="48"/>
                </a:cubicBezTo>
                <a:cubicBezTo>
                  <a:pt x="52" y="51"/>
                  <a:pt x="51" y="53"/>
                  <a:pt x="49" y="55"/>
                </a:cubicBezTo>
                <a:cubicBezTo>
                  <a:pt x="49" y="56"/>
                  <a:pt x="47" y="59"/>
                  <a:pt x="49" y="58"/>
                </a:cubicBezTo>
                <a:cubicBezTo>
                  <a:pt x="50" y="57"/>
                  <a:pt x="52" y="55"/>
                  <a:pt x="53" y="56"/>
                </a:cubicBezTo>
                <a:cubicBezTo>
                  <a:pt x="53" y="58"/>
                  <a:pt x="51" y="61"/>
                  <a:pt x="53" y="61"/>
                </a:cubicBezTo>
                <a:cubicBezTo>
                  <a:pt x="58" y="62"/>
                  <a:pt x="60" y="56"/>
                  <a:pt x="62" y="52"/>
                </a:cubicBezTo>
                <a:cubicBezTo>
                  <a:pt x="63" y="51"/>
                  <a:pt x="65" y="50"/>
                  <a:pt x="62" y="50"/>
                </a:cubicBezTo>
                <a:cubicBezTo>
                  <a:pt x="60" y="50"/>
                  <a:pt x="65" y="43"/>
                  <a:pt x="62" y="43"/>
                </a:cubicBezTo>
                <a:cubicBezTo>
                  <a:pt x="59" y="43"/>
                  <a:pt x="56" y="52"/>
                  <a:pt x="55" y="46"/>
                </a:cubicBezTo>
                <a:cubicBezTo>
                  <a:pt x="54" y="43"/>
                  <a:pt x="52" y="43"/>
                  <a:pt x="57" y="42"/>
                </a:cubicBezTo>
                <a:cubicBezTo>
                  <a:pt x="58" y="42"/>
                  <a:pt x="62" y="41"/>
                  <a:pt x="62" y="40"/>
                </a:cubicBezTo>
                <a:cubicBezTo>
                  <a:pt x="59" y="40"/>
                  <a:pt x="54" y="39"/>
                  <a:pt x="58" y="34"/>
                </a:cubicBezTo>
                <a:cubicBezTo>
                  <a:pt x="60" y="32"/>
                  <a:pt x="68" y="30"/>
                  <a:pt x="59" y="28"/>
                </a:cubicBezTo>
                <a:cubicBezTo>
                  <a:pt x="54" y="27"/>
                  <a:pt x="51" y="27"/>
                  <a:pt x="47" y="24"/>
                </a:cubicBezTo>
                <a:cubicBezTo>
                  <a:pt x="50" y="23"/>
                  <a:pt x="51" y="19"/>
                  <a:pt x="48" y="17"/>
                </a:cubicBezTo>
                <a:cubicBezTo>
                  <a:pt x="47" y="17"/>
                  <a:pt x="43" y="21"/>
                  <a:pt x="42" y="18"/>
                </a:cubicBezTo>
                <a:cubicBezTo>
                  <a:pt x="41" y="14"/>
                  <a:pt x="50" y="11"/>
                  <a:pt x="52" y="9"/>
                </a:cubicBezTo>
                <a:cubicBezTo>
                  <a:pt x="53" y="7"/>
                  <a:pt x="54" y="5"/>
                  <a:pt x="56" y="4"/>
                </a:cubicBezTo>
                <a:cubicBezTo>
                  <a:pt x="58" y="3"/>
                  <a:pt x="59" y="2"/>
                  <a:pt x="59" y="0"/>
                </a:cubicBezTo>
                <a:cubicBezTo>
                  <a:pt x="55" y="1"/>
                  <a:pt x="55" y="1"/>
                  <a:pt x="55" y="1"/>
                </a:cubicBez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66" name="Freeform 358">
            <a:extLst>
              <a:ext uri="{FF2B5EF4-FFF2-40B4-BE49-F238E27FC236}">
                <a16:creationId xmlns:a16="http://schemas.microsoft.com/office/drawing/2014/main" id="{C7F90092-0CB9-490F-9AB3-2238DD4EFECC}"/>
              </a:ext>
            </a:extLst>
          </p:cNvPr>
          <p:cNvSpPr>
            <a:spLocks/>
          </p:cNvSpPr>
          <p:nvPr/>
        </p:nvSpPr>
        <p:spPr bwMode="auto">
          <a:xfrm>
            <a:off x="6440893" y="2816800"/>
            <a:ext cx="115311" cy="102008"/>
          </a:xfrm>
          <a:custGeom>
            <a:avLst/>
            <a:gdLst>
              <a:gd name="T0" fmla="*/ 55 w 68"/>
              <a:gd name="T1" fmla="*/ 1 h 62"/>
              <a:gd name="T2" fmla="*/ 44 w 68"/>
              <a:gd name="T3" fmla="*/ 8 h 62"/>
              <a:gd name="T4" fmla="*/ 36 w 68"/>
              <a:gd name="T5" fmla="*/ 15 h 62"/>
              <a:gd name="T6" fmla="*/ 31 w 68"/>
              <a:gd name="T7" fmla="*/ 21 h 62"/>
              <a:gd name="T8" fmla="*/ 26 w 68"/>
              <a:gd name="T9" fmla="*/ 25 h 62"/>
              <a:gd name="T10" fmla="*/ 22 w 68"/>
              <a:gd name="T11" fmla="*/ 32 h 62"/>
              <a:gd name="T12" fmla="*/ 14 w 68"/>
              <a:gd name="T13" fmla="*/ 35 h 62"/>
              <a:gd name="T14" fmla="*/ 14 w 68"/>
              <a:gd name="T15" fmla="*/ 36 h 62"/>
              <a:gd name="T16" fmla="*/ 17 w 68"/>
              <a:gd name="T17" fmla="*/ 38 h 62"/>
              <a:gd name="T18" fmla="*/ 17 w 68"/>
              <a:gd name="T19" fmla="*/ 38 h 62"/>
              <a:gd name="T20" fmla="*/ 8 w 68"/>
              <a:gd name="T21" fmla="*/ 43 h 62"/>
              <a:gd name="T22" fmla="*/ 23 w 68"/>
              <a:gd name="T23" fmla="*/ 48 h 62"/>
              <a:gd name="T24" fmla="*/ 32 w 68"/>
              <a:gd name="T25" fmla="*/ 48 h 62"/>
              <a:gd name="T26" fmla="*/ 37 w 68"/>
              <a:gd name="T27" fmla="*/ 49 h 62"/>
              <a:gd name="T28" fmla="*/ 41 w 68"/>
              <a:gd name="T29" fmla="*/ 51 h 62"/>
              <a:gd name="T30" fmla="*/ 33 w 68"/>
              <a:gd name="T31" fmla="*/ 55 h 62"/>
              <a:gd name="T32" fmla="*/ 43 w 68"/>
              <a:gd name="T33" fmla="*/ 54 h 62"/>
              <a:gd name="T34" fmla="*/ 52 w 68"/>
              <a:gd name="T35" fmla="*/ 48 h 62"/>
              <a:gd name="T36" fmla="*/ 49 w 68"/>
              <a:gd name="T37" fmla="*/ 55 h 62"/>
              <a:gd name="T38" fmla="*/ 49 w 68"/>
              <a:gd name="T39" fmla="*/ 58 h 62"/>
              <a:gd name="T40" fmla="*/ 53 w 68"/>
              <a:gd name="T41" fmla="*/ 56 h 62"/>
              <a:gd name="T42" fmla="*/ 53 w 68"/>
              <a:gd name="T43" fmla="*/ 61 h 62"/>
              <a:gd name="T44" fmla="*/ 62 w 68"/>
              <a:gd name="T45" fmla="*/ 52 h 62"/>
              <a:gd name="T46" fmla="*/ 62 w 68"/>
              <a:gd name="T47" fmla="*/ 50 h 62"/>
              <a:gd name="T48" fmla="*/ 62 w 68"/>
              <a:gd name="T49" fmla="*/ 43 h 62"/>
              <a:gd name="T50" fmla="*/ 55 w 68"/>
              <a:gd name="T51" fmla="*/ 46 h 62"/>
              <a:gd name="T52" fmla="*/ 57 w 68"/>
              <a:gd name="T53" fmla="*/ 42 h 62"/>
              <a:gd name="T54" fmla="*/ 62 w 68"/>
              <a:gd name="T55" fmla="*/ 40 h 62"/>
              <a:gd name="T56" fmla="*/ 58 w 68"/>
              <a:gd name="T57" fmla="*/ 34 h 62"/>
              <a:gd name="T58" fmla="*/ 59 w 68"/>
              <a:gd name="T59" fmla="*/ 28 h 62"/>
              <a:gd name="T60" fmla="*/ 47 w 68"/>
              <a:gd name="T61" fmla="*/ 24 h 62"/>
              <a:gd name="T62" fmla="*/ 48 w 68"/>
              <a:gd name="T63" fmla="*/ 17 h 62"/>
              <a:gd name="T64" fmla="*/ 42 w 68"/>
              <a:gd name="T65" fmla="*/ 18 h 62"/>
              <a:gd name="T66" fmla="*/ 52 w 68"/>
              <a:gd name="T67" fmla="*/ 9 h 62"/>
              <a:gd name="T68" fmla="*/ 56 w 68"/>
              <a:gd name="T69" fmla="*/ 4 h 62"/>
              <a:gd name="T70" fmla="*/ 59 w 68"/>
              <a:gd name="T71" fmla="*/ 0 h 62"/>
              <a:gd name="T72" fmla="*/ 55 w 68"/>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 h="62">
                <a:moveTo>
                  <a:pt x="55" y="1"/>
                </a:moveTo>
                <a:cubicBezTo>
                  <a:pt x="50" y="1"/>
                  <a:pt x="47" y="4"/>
                  <a:pt x="44" y="8"/>
                </a:cubicBezTo>
                <a:cubicBezTo>
                  <a:pt x="41" y="10"/>
                  <a:pt x="37" y="12"/>
                  <a:pt x="36" y="15"/>
                </a:cubicBezTo>
                <a:cubicBezTo>
                  <a:pt x="34" y="17"/>
                  <a:pt x="32" y="19"/>
                  <a:pt x="31" y="21"/>
                </a:cubicBezTo>
                <a:cubicBezTo>
                  <a:pt x="29" y="24"/>
                  <a:pt x="28" y="24"/>
                  <a:pt x="26" y="25"/>
                </a:cubicBezTo>
                <a:cubicBezTo>
                  <a:pt x="24" y="26"/>
                  <a:pt x="26" y="31"/>
                  <a:pt x="22" y="32"/>
                </a:cubicBezTo>
                <a:cubicBezTo>
                  <a:pt x="20" y="33"/>
                  <a:pt x="16" y="35"/>
                  <a:pt x="14" y="35"/>
                </a:cubicBezTo>
                <a:cubicBezTo>
                  <a:pt x="14" y="36"/>
                  <a:pt x="14" y="36"/>
                  <a:pt x="14" y="36"/>
                </a:cubicBezTo>
                <a:cubicBezTo>
                  <a:pt x="15" y="36"/>
                  <a:pt x="17" y="36"/>
                  <a:pt x="17" y="38"/>
                </a:cubicBezTo>
                <a:cubicBezTo>
                  <a:pt x="17" y="38"/>
                  <a:pt x="17" y="38"/>
                  <a:pt x="17" y="38"/>
                </a:cubicBezTo>
                <a:cubicBezTo>
                  <a:pt x="16" y="39"/>
                  <a:pt x="9" y="42"/>
                  <a:pt x="8" y="43"/>
                </a:cubicBezTo>
                <a:cubicBezTo>
                  <a:pt x="0" y="51"/>
                  <a:pt x="19" y="48"/>
                  <a:pt x="23" y="48"/>
                </a:cubicBezTo>
                <a:cubicBezTo>
                  <a:pt x="26" y="48"/>
                  <a:pt x="29" y="47"/>
                  <a:pt x="32" y="48"/>
                </a:cubicBezTo>
                <a:cubicBezTo>
                  <a:pt x="34" y="48"/>
                  <a:pt x="35" y="49"/>
                  <a:pt x="37" y="49"/>
                </a:cubicBezTo>
                <a:cubicBezTo>
                  <a:pt x="39" y="49"/>
                  <a:pt x="47" y="48"/>
                  <a:pt x="41" y="51"/>
                </a:cubicBezTo>
                <a:cubicBezTo>
                  <a:pt x="39" y="51"/>
                  <a:pt x="33" y="54"/>
                  <a:pt x="33" y="55"/>
                </a:cubicBezTo>
                <a:cubicBezTo>
                  <a:pt x="33" y="59"/>
                  <a:pt x="41" y="54"/>
                  <a:pt x="43" y="54"/>
                </a:cubicBezTo>
                <a:cubicBezTo>
                  <a:pt x="45" y="52"/>
                  <a:pt x="48" y="48"/>
                  <a:pt x="52" y="48"/>
                </a:cubicBezTo>
                <a:cubicBezTo>
                  <a:pt x="52" y="51"/>
                  <a:pt x="51" y="53"/>
                  <a:pt x="49" y="55"/>
                </a:cubicBezTo>
                <a:cubicBezTo>
                  <a:pt x="49" y="56"/>
                  <a:pt x="47" y="59"/>
                  <a:pt x="49" y="58"/>
                </a:cubicBezTo>
                <a:cubicBezTo>
                  <a:pt x="50" y="57"/>
                  <a:pt x="52" y="55"/>
                  <a:pt x="53" y="56"/>
                </a:cubicBezTo>
                <a:cubicBezTo>
                  <a:pt x="53" y="58"/>
                  <a:pt x="51" y="61"/>
                  <a:pt x="53" y="61"/>
                </a:cubicBezTo>
                <a:cubicBezTo>
                  <a:pt x="58" y="62"/>
                  <a:pt x="60" y="56"/>
                  <a:pt x="62" y="52"/>
                </a:cubicBezTo>
                <a:cubicBezTo>
                  <a:pt x="63" y="51"/>
                  <a:pt x="65" y="50"/>
                  <a:pt x="62" y="50"/>
                </a:cubicBezTo>
                <a:cubicBezTo>
                  <a:pt x="60" y="50"/>
                  <a:pt x="65" y="43"/>
                  <a:pt x="62" y="43"/>
                </a:cubicBezTo>
                <a:cubicBezTo>
                  <a:pt x="59" y="43"/>
                  <a:pt x="56" y="52"/>
                  <a:pt x="55" y="46"/>
                </a:cubicBezTo>
                <a:cubicBezTo>
                  <a:pt x="54" y="43"/>
                  <a:pt x="52" y="43"/>
                  <a:pt x="57" y="42"/>
                </a:cubicBezTo>
                <a:cubicBezTo>
                  <a:pt x="58" y="42"/>
                  <a:pt x="62" y="41"/>
                  <a:pt x="62" y="40"/>
                </a:cubicBezTo>
                <a:cubicBezTo>
                  <a:pt x="59" y="40"/>
                  <a:pt x="54" y="39"/>
                  <a:pt x="58" y="34"/>
                </a:cubicBezTo>
                <a:cubicBezTo>
                  <a:pt x="60" y="32"/>
                  <a:pt x="68" y="30"/>
                  <a:pt x="59" y="28"/>
                </a:cubicBezTo>
                <a:cubicBezTo>
                  <a:pt x="54" y="27"/>
                  <a:pt x="51" y="27"/>
                  <a:pt x="47" y="24"/>
                </a:cubicBezTo>
                <a:cubicBezTo>
                  <a:pt x="50" y="23"/>
                  <a:pt x="51" y="19"/>
                  <a:pt x="48" y="17"/>
                </a:cubicBezTo>
                <a:cubicBezTo>
                  <a:pt x="47" y="17"/>
                  <a:pt x="43" y="21"/>
                  <a:pt x="42" y="18"/>
                </a:cubicBezTo>
                <a:cubicBezTo>
                  <a:pt x="41" y="14"/>
                  <a:pt x="50" y="11"/>
                  <a:pt x="52" y="9"/>
                </a:cubicBezTo>
                <a:cubicBezTo>
                  <a:pt x="53" y="7"/>
                  <a:pt x="54" y="5"/>
                  <a:pt x="56" y="4"/>
                </a:cubicBezTo>
                <a:cubicBezTo>
                  <a:pt x="58" y="3"/>
                  <a:pt x="59" y="2"/>
                  <a:pt x="59" y="0"/>
                </a:cubicBezTo>
                <a:cubicBezTo>
                  <a:pt x="55" y="1"/>
                  <a:pt x="55" y="1"/>
                  <a:pt x="55" y="1"/>
                </a:cubicBez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68" name="Freeform 359">
            <a:extLst>
              <a:ext uri="{FF2B5EF4-FFF2-40B4-BE49-F238E27FC236}">
                <a16:creationId xmlns:a16="http://schemas.microsoft.com/office/drawing/2014/main" id="{89A2EA70-487E-42BE-9D89-79C6EE970F77}"/>
              </a:ext>
            </a:extLst>
          </p:cNvPr>
          <p:cNvSpPr>
            <a:spLocks/>
          </p:cNvSpPr>
          <p:nvPr/>
        </p:nvSpPr>
        <p:spPr bwMode="auto">
          <a:xfrm>
            <a:off x="6192531" y="2768016"/>
            <a:ext cx="17741" cy="13308"/>
          </a:xfrm>
          <a:custGeom>
            <a:avLst/>
            <a:gdLst>
              <a:gd name="T0" fmla="*/ 11 w 11"/>
              <a:gd name="T1" fmla="*/ 5 h 8"/>
              <a:gd name="T2" fmla="*/ 10 w 11"/>
              <a:gd name="T3" fmla="*/ 3 h 8"/>
              <a:gd name="T4" fmla="*/ 9 w 11"/>
              <a:gd name="T5" fmla="*/ 1 h 8"/>
              <a:gd name="T6" fmla="*/ 9 w 11"/>
              <a:gd name="T7" fmla="*/ 1 h 8"/>
              <a:gd name="T8" fmla="*/ 8 w 11"/>
              <a:gd name="T9" fmla="*/ 1 h 8"/>
              <a:gd name="T10" fmla="*/ 1 w 11"/>
              <a:gd name="T11" fmla="*/ 1 h 8"/>
              <a:gd name="T12" fmla="*/ 6 w 11"/>
              <a:gd name="T13" fmla="*/ 5 h 8"/>
              <a:gd name="T14" fmla="*/ 7 w 11"/>
              <a:gd name="T15" fmla="*/ 6 h 8"/>
              <a:gd name="T16" fmla="*/ 10 w 11"/>
              <a:gd name="T17" fmla="*/ 7 h 8"/>
              <a:gd name="T18" fmla="*/ 11 w 11"/>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11" y="5"/>
                </a:moveTo>
                <a:cubicBezTo>
                  <a:pt x="11" y="5"/>
                  <a:pt x="10" y="4"/>
                  <a:pt x="10" y="3"/>
                </a:cubicBezTo>
                <a:cubicBezTo>
                  <a:pt x="10" y="2"/>
                  <a:pt x="9" y="2"/>
                  <a:pt x="9" y="1"/>
                </a:cubicBezTo>
                <a:cubicBezTo>
                  <a:pt x="9" y="1"/>
                  <a:pt x="9" y="1"/>
                  <a:pt x="9" y="1"/>
                </a:cubicBezTo>
                <a:cubicBezTo>
                  <a:pt x="9" y="1"/>
                  <a:pt x="8" y="1"/>
                  <a:pt x="8" y="1"/>
                </a:cubicBezTo>
                <a:cubicBezTo>
                  <a:pt x="5" y="1"/>
                  <a:pt x="3" y="0"/>
                  <a:pt x="1" y="1"/>
                </a:cubicBezTo>
                <a:cubicBezTo>
                  <a:pt x="0" y="3"/>
                  <a:pt x="4" y="4"/>
                  <a:pt x="6" y="5"/>
                </a:cubicBezTo>
                <a:cubicBezTo>
                  <a:pt x="6" y="5"/>
                  <a:pt x="6" y="6"/>
                  <a:pt x="7" y="6"/>
                </a:cubicBezTo>
                <a:cubicBezTo>
                  <a:pt x="8" y="7"/>
                  <a:pt x="9" y="8"/>
                  <a:pt x="10" y="7"/>
                </a:cubicBezTo>
                <a:lnTo>
                  <a:pt x="11" y="5"/>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70" name="Freeform 360">
            <a:extLst>
              <a:ext uri="{FF2B5EF4-FFF2-40B4-BE49-F238E27FC236}">
                <a16:creationId xmlns:a16="http://schemas.microsoft.com/office/drawing/2014/main" id="{DAE260B6-AB0A-4A05-952A-959D7DD8EB0A}"/>
              </a:ext>
            </a:extLst>
          </p:cNvPr>
          <p:cNvSpPr>
            <a:spLocks/>
          </p:cNvSpPr>
          <p:nvPr/>
        </p:nvSpPr>
        <p:spPr bwMode="auto">
          <a:xfrm>
            <a:off x="6192531" y="2768016"/>
            <a:ext cx="17741" cy="13308"/>
          </a:xfrm>
          <a:custGeom>
            <a:avLst/>
            <a:gdLst>
              <a:gd name="T0" fmla="*/ 11 w 11"/>
              <a:gd name="T1" fmla="*/ 5 h 8"/>
              <a:gd name="T2" fmla="*/ 10 w 11"/>
              <a:gd name="T3" fmla="*/ 3 h 8"/>
              <a:gd name="T4" fmla="*/ 9 w 11"/>
              <a:gd name="T5" fmla="*/ 1 h 8"/>
              <a:gd name="T6" fmla="*/ 9 w 11"/>
              <a:gd name="T7" fmla="*/ 1 h 8"/>
              <a:gd name="T8" fmla="*/ 8 w 11"/>
              <a:gd name="T9" fmla="*/ 1 h 8"/>
              <a:gd name="T10" fmla="*/ 1 w 11"/>
              <a:gd name="T11" fmla="*/ 1 h 8"/>
              <a:gd name="T12" fmla="*/ 6 w 11"/>
              <a:gd name="T13" fmla="*/ 5 h 8"/>
              <a:gd name="T14" fmla="*/ 7 w 11"/>
              <a:gd name="T15" fmla="*/ 6 h 8"/>
              <a:gd name="T16" fmla="*/ 10 w 11"/>
              <a:gd name="T17" fmla="*/ 7 h 8"/>
              <a:gd name="T18" fmla="*/ 11 w 11"/>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11" y="5"/>
                </a:moveTo>
                <a:cubicBezTo>
                  <a:pt x="11" y="5"/>
                  <a:pt x="10" y="4"/>
                  <a:pt x="10" y="3"/>
                </a:cubicBezTo>
                <a:cubicBezTo>
                  <a:pt x="10" y="2"/>
                  <a:pt x="9" y="2"/>
                  <a:pt x="9" y="1"/>
                </a:cubicBezTo>
                <a:cubicBezTo>
                  <a:pt x="9" y="1"/>
                  <a:pt x="9" y="1"/>
                  <a:pt x="9" y="1"/>
                </a:cubicBezTo>
                <a:cubicBezTo>
                  <a:pt x="9" y="1"/>
                  <a:pt x="8" y="1"/>
                  <a:pt x="8" y="1"/>
                </a:cubicBezTo>
                <a:cubicBezTo>
                  <a:pt x="5" y="1"/>
                  <a:pt x="3" y="0"/>
                  <a:pt x="1" y="1"/>
                </a:cubicBezTo>
                <a:cubicBezTo>
                  <a:pt x="0" y="3"/>
                  <a:pt x="4" y="4"/>
                  <a:pt x="6" y="5"/>
                </a:cubicBezTo>
                <a:cubicBezTo>
                  <a:pt x="6" y="5"/>
                  <a:pt x="6" y="6"/>
                  <a:pt x="7" y="6"/>
                </a:cubicBezTo>
                <a:cubicBezTo>
                  <a:pt x="8" y="7"/>
                  <a:pt x="9" y="8"/>
                  <a:pt x="10" y="7"/>
                </a:cubicBezTo>
                <a:lnTo>
                  <a:pt x="11" y="5"/>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81" name="Freeform 361">
            <a:extLst>
              <a:ext uri="{FF2B5EF4-FFF2-40B4-BE49-F238E27FC236}">
                <a16:creationId xmlns:a16="http://schemas.microsoft.com/office/drawing/2014/main" id="{95AFB1A1-7A79-4086-AD65-8352323F2D97}"/>
              </a:ext>
            </a:extLst>
          </p:cNvPr>
          <p:cNvSpPr>
            <a:spLocks/>
          </p:cNvSpPr>
          <p:nvPr/>
        </p:nvSpPr>
        <p:spPr bwMode="auto">
          <a:xfrm>
            <a:off x="6263491" y="2714798"/>
            <a:ext cx="13303" cy="13308"/>
          </a:xfrm>
          <a:custGeom>
            <a:avLst/>
            <a:gdLst>
              <a:gd name="T0" fmla="*/ 3 w 8"/>
              <a:gd name="T1" fmla="*/ 5 h 10"/>
              <a:gd name="T2" fmla="*/ 6 w 8"/>
              <a:gd name="T3" fmla="*/ 3 h 10"/>
              <a:gd name="T4" fmla="*/ 8 w 8"/>
              <a:gd name="T5" fmla="*/ 0 h 10"/>
              <a:gd name="T6" fmla="*/ 6 w 8"/>
              <a:gd name="T7" fmla="*/ 1 h 10"/>
              <a:gd name="T8" fmla="*/ 2 w 8"/>
              <a:gd name="T9" fmla="*/ 1 h 10"/>
              <a:gd name="T10" fmla="*/ 1 w 8"/>
              <a:gd name="T11" fmla="*/ 3 h 10"/>
              <a:gd name="T12" fmla="*/ 1 w 8"/>
              <a:gd name="T13" fmla="*/ 6 h 10"/>
              <a:gd name="T14" fmla="*/ 0 w 8"/>
              <a:gd name="T15" fmla="*/ 8 h 10"/>
              <a:gd name="T16" fmla="*/ 3 w 8"/>
              <a:gd name="T17" fmla="*/ 8 h 10"/>
              <a:gd name="T18" fmla="*/ 3 w 8"/>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0">
                <a:moveTo>
                  <a:pt x="3" y="5"/>
                </a:moveTo>
                <a:cubicBezTo>
                  <a:pt x="4" y="4"/>
                  <a:pt x="5" y="4"/>
                  <a:pt x="6" y="3"/>
                </a:cubicBezTo>
                <a:cubicBezTo>
                  <a:pt x="7" y="2"/>
                  <a:pt x="7" y="1"/>
                  <a:pt x="8" y="0"/>
                </a:cubicBezTo>
                <a:cubicBezTo>
                  <a:pt x="7" y="0"/>
                  <a:pt x="6" y="0"/>
                  <a:pt x="6" y="1"/>
                </a:cubicBezTo>
                <a:cubicBezTo>
                  <a:pt x="5" y="1"/>
                  <a:pt x="3" y="1"/>
                  <a:pt x="2" y="1"/>
                </a:cubicBezTo>
                <a:cubicBezTo>
                  <a:pt x="1" y="1"/>
                  <a:pt x="1" y="2"/>
                  <a:pt x="1" y="3"/>
                </a:cubicBezTo>
                <a:cubicBezTo>
                  <a:pt x="1" y="4"/>
                  <a:pt x="2" y="5"/>
                  <a:pt x="1" y="6"/>
                </a:cubicBezTo>
                <a:cubicBezTo>
                  <a:pt x="1" y="7"/>
                  <a:pt x="0" y="8"/>
                  <a:pt x="0" y="8"/>
                </a:cubicBezTo>
                <a:cubicBezTo>
                  <a:pt x="1" y="10"/>
                  <a:pt x="2" y="9"/>
                  <a:pt x="3" y="8"/>
                </a:cubicBezTo>
                <a:lnTo>
                  <a:pt x="3" y="5"/>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82" name="Freeform 362">
            <a:extLst>
              <a:ext uri="{FF2B5EF4-FFF2-40B4-BE49-F238E27FC236}">
                <a16:creationId xmlns:a16="http://schemas.microsoft.com/office/drawing/2014/main" id="{58AB47FA-05DF-480B-8316-784F6C66F1D5}"/>
              </a:ext>
            </a:extLst>
          </p:cNvPr>
          <p:cNvSpPr>
            <a:spLocks/>
          </p:cNvSpPr>
          <p:nvPr/>
        </p:nvSpPr>
        <p:spPr bwMode="auto">
          <a:xfrm>
            <a:off x="6263491" y="2714798"/>
            <a:ext cx="13303" cy="13308"/>
          </a:xfrm>
          <a:custGeom>
            <a:avLst/>
            <a:gdLst>
              <a:gd name="T0" fmla="*/ 3 w 8"/>
              <a:gd name="T1" fmla="*/ 5 h 10"/>
              <a:gd name="T2" fmla="*/ 6 w 8"/>
              <a:gd name="T3" fmla="*/ 3 h 10"/>
              <a:gd name="T4" fmla="*/ 8 w 8"/>
              <a:gd name="T5" fmla="*/ 0 h 10"/>
              <a:gd name="T6" fmla="*/ 6 w 8"/>
              <a:gd name="T7" fmla="*/ 1 h 10"/>
              <a:gd name="T8" fmla="*/ 2 w 8"/>
              <a:gd name="T9" fmla="*/ 1 h 10"/>
              <a:gd name="T10" fmla="*/ 1 w 8"/>
              <a:gd name="T11" fmla="*/ 3 h 10"/>
              <a:gd name="T12" fmla="*/ 1 w 8"/>
              <a:gd name="T13" fmla="*/ 6 h 10"/>
              <a:gd name="T14" fmla="*/ 0 w 8"/>
              <a:gd name="T15" fmla="*/ 8 h 10"/>
              <a:gd name="T16" fmla="*/ 3 w 8"/>
              <a:gd name="T17" fmla="*/ 8 h 10"/>
              <a:gd name="T18" fmla="*/ 3 w 8"/>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0">
                <a:moveTo>
                  <a:pt x="3" y="5"/>
                </a:moveTo>
                <a:cubicBezTo>
                  <a:pt x="4" y="4"/>
                  <a:pt x="5" y="4"/>
                  <a:pt x="6" y="3"/>
                </a:cubicBezTo>
                <a:cubicBezTo>
                  <a:pt x="7" y="2"/>
                  <a:pt x="7" y="1"/>
                  <a:pt x="8" y="0"/>
                </a:cubicBezTo>
                <a:cubicBezTo>
                  <a:pt x="7" y="0"/>
                  <a:pt x="6" y="0"/>
                  <a:pt x="6" y="1"/>
                </a:cubicBezTo>
                <a:cubicBezTo>
                  <a:pt x="5" y="1"/>
                  <a:pt x="3" y="1"/>
                  <a:pt x="2" y="1"/>
                </a:cubicBezTo>
                <a:cubicBezTo>
                  <a:pt x="1" y="1"/>
                  <a:pt x="1" y="2"/>
                  <a:pt x="1" y="3"/>
                </a:cubicBezTo>
                <a:cubicBezTo>
                  <a:pt x="1" y="4"/>
                  <a:pt x="2" y="5"/>
                  <a:pt x="1" y="6"/>
                </a:cubicBezTo>
                <a:cubicBezTo>
                  <a:pt x="1" y="7"/>
                  <a:pt x="0" y="8"/>
                  <a:pt x="0" y="8"/>
                </a:cubicBezTo>
                <a:cubicBezTo>
                  <a:pt x="1" y="10"/>
                  <a:pt x="2" y="9"/>
                  <a:pt x="3" y="8"/>
                </a:cubicBezTo>
                <a:lnTo>
                  <a:pt x="3" y="5"/>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83" name="Freeform: Shape 2082">
            <a:extLst>
              <a:ext uri="{FF2B5EF4-FFF2-40B4-BE49-F238E27FC236}">
                <a16:creationId xmlns:a16="http://schemas.microsoft.com/office/drawing/2014/main" id="{C7E14D24-C200-42D1-A589-99E7C92535E0}"/>
              </a:ext>
            </a:extLst>
          </p:cNvPr>
          <p:cNvSpPr>
            <a:spLocks/>
          </p:cNvSpPr>
          <p:nvPr/>
        </p:nvSpPr>
        <p:spPr bwMode="auto">
          <a:xfrm>
            <a:off x="6614952" y="2430678"/>
            <a:ext cx="527682" cy="233859"/>
          </a:xfrm>
          <a:custGeom>
            <a:avLst/>
            <a:gdLst>
              <a:gd name="connsiteX0" fmla="*/ 2114 w 216978"/>
              <a:gd name="connsiteY0" fmla="*/ 0 h 96161"/>
              <a:gd name="connsiteX1" fmla="*/ 205878 w 216978"/>
              <a:gd name="connsiteY1" fmla="*/ 0 h 96161"/>
              <a:gd name="connsiteX2" fmla="*/ 202042 w 216978"/>
              <a:gd name="connsiteY2" fmla="*/ 2270 h 96161"/>
              <a:gd name="connsiteX3" fmla="*/ 210868 w 216978"/>
              <a:gd name="connsiteY3" fmla="*/ 2950 h 96161"/>
              <a:gd name="connsiteX4" fmla="*/ 206795 w 216978"/>
              <a:gd name="connsiteY4" fmla="*/ 4309 h 96161"/>
              <a:gd name="connsiteX5" fmla="*/ 210868 w 216978"/>
              <a:gd name="connsiteY5" fmla="*/ 5669 h 96161"/>
              <a:gd name="connsiteX6" fmla="*/ 216978 w 216978"/>
              <a:gd name="connsiteY6" fmla="*/ 6349 h 96161"/>
              <a:gd name="connsiteX7" fmla="*/ 208831 w 216978"/>
              <a:gd name="connsiteY7" fmla="*/ 7029 h 96161"/>
              <a:gd name="connsiteX8" fmla="*/ 200684 w 216978"/>
              <a:gd name="connsiteY8" fmla="*/ 9068 h 96161"/>
              <a:gd name="connsiteX9" fmla="*/ 206795 w 216978"/>
              <a:gd name="connsiteY9" fmla="*/ 9748 h 96161"/>
              <a:gd name="connsiteX10" fmla="*/ 205437 w 216978"/>
              <a:gd name="connsiteY10" fmla="*/ 14507 h 96161"/>
              <a:gd name="connsiteX11" fmla="*/ 202042 w 216978"/>
              <a:gd name="connsiteY11" fmla="*/ 15866 h 96161"/>
              <a:gd name="connsiteX12" fmla="*/ 205437 w 216978"/>
              <a:gd name="connsiteY12" fmla="*/ 18586 h 96161"/>
              <a:gd name="connsiteX13" fmla="*/ 199327 w 216978"/>
              <a:gd name="connsiteY13" fmla="*/ 17906 h 96161"/>
              <a:gd name="connsiteX14" fmla="*/ 196611 w 216978"/>
              <a:gd name="connsiteY14" fmla="*/ 19945 h 96161"/>
              <a:gd name="connsiteX15" fmla="*/ 201363 w 216978"/>
              <a:gd name="connsiteY15" fmla="*/ 21305 h 96161"/>
              <a:gd name="connsiteX16" fmla="*/ 196611 w 216978"/>
              <a:gd name="connsiteY16" fmla="*/ 21985 h 96161"/>
              <a:gd name="connsiteX17" fmla="*/ 176922 w 216978"/>
              <a:gd name="connsiteY17" fmla="*/ 24704 h 96161"/>
              <a:gd name="connsiteX18" fmla="*/ 174886 w 216978"/>
              <a:gd name="connsiteY18" fmla="*/ 26064 h 96161"/>
              <a:gd name="connsiteX19" fmla="*/ 188464 w 216978"/>
              <a:gd name="connsiteY19" fmla="*/ 30143 h 96161"/>
              <a:gd name="connsiteX20" fmla="*/ 183711 w 216978"/>
              <a:gd name="connsiteY20" fmla="*/ 33542 h 96161"/>
              <a:gd name="connsiteX21" fmla="*/ 175564 w 216978"/>
              <a:gd name="connsiteY21" fmla="*/ 30143 h 96161"/>
              <a:gd name="connsiteX22" fmla="*/ 168775 w 216978"/>
              <a:gd name="connsiteY22" fmla="*/ 28783 h 96161"/>
              <a:gd name="connsiteX23" fmla="*/ 166739 w 216978"/>
              <a:gd name="connsiteY23" fmla="*/ 26744 h 96161"/>
              <a:gd name="connsiteX24" fmla="*/ 166060 w 216978"/>
              <a:gd name="connsiteY24" fmla="*/ 29463 h 96161"/>
              <a:gd name="connsiteX25" fmla="*/ 169454 w 216978"/>
              <a:gd name="connsiteY25" fmla="*/ 30823 h 96161"/>
              <a:gd name="connsiteX26" fmla="*/ 163344 w 216978"/>
              <a:gd name="connsiteY26" fmla="*/ 31503 h 96161"/>
              <a:gd name="connsiteX27" fmla="*/ 161986 w 216978"/>
              <a:gd name="connsiteY27" fmla="*/ 34902 h 96161"/>
              <a:gd name="connsiteX28" fmla="*/ 160628 w 216978"/>
              <a:gd name="connsiteY28" fmla="*/ 35582 h 96161"/>
              <a:gd name="connsiteX29" fmla="*/ 166739 w 216978"/>
              <a:gd name="connsiteY29" fmla="*/ 36261 h 96161"/>
              <a:gd name="connsiteX30" fmla="*/ 172849 w 216978"/>
              <a:gd name="connsiteY30" fmla="*/ 37621 h 96161"/>
              <a:gd name="connsiteX31" fmla="*/ 176922 w 216978"/>
              <a:gd name="connsiteY31" fmla="*/ 36261 h 96161"/>
              <a:gd name="connsiteX32" fmla="*/ 181675 w 216978"/>
              <a:gd name="connsiteY32" fmla="*/ 37621 h 96161"/>
              <a:gd name="connsiteX33" fmla="*/ 190501 w 216978"/>
              <a:gd name="connsiteY33" fmla="*/ 34902 h 96161"/>
              <a:gd name="connsiteX34" fmla="*/ 172849 w 216978"/>
              <a:gd name="connsiteY34" fmla="*/ 43060 h 96161"/>
              <a:gd name="connsiteX35" fmla="*/ 165381 w 216978"/>
              <a:gd name="connsiteY35" fmla="*/ 46459 h 96161"/>
              <a:gd name="connsiteX36" fmla="*/ 155197 w 216978"/>
              <a:gd name="connsiteY36" fmla="*/ 45779 h 96161"/>
              <a:gd name="connsiteX37" fmla="*/ 149766 w 216978"/>
              <a:gd name="connsiteY37" fmla="*/ 47139 h 96161"/>
              <a:gd name="connsiteX38" fmla="*/ 142298 w 216978"/>
              <a:gd name="connsiteY38" fmla="*/ 47818 h 96161"/>
              <a:gd name="connsiteX39" fmla="*/ 138903 w 216978"/>
              <a:gd name="connsiteY39" fmla="*/ 45099 h 96161"/>
              <a:gd name="connsiteX40" fmla="*/ 137545 w 216978"/>
              <a:gd name="connsiteY40" fmla="*/ 49858 h 96161"/>
              <a:gd name="connsiteX41" fmla="*/ 128719 w 216978"/>
              <a:gd name="connsiteY41" fmla="*/ 53937 h 96161"/>
              <a:gd name="connsiteX42" fmla="*/ 120572 w 216978"/>
              <a:gd name="connsiteY42" fmla="*/ 58016 h 96161"/>
              <a:gd name="connsiteX43" fmla="*/ 115141 w 216978"/>
              <a:gd name="connsiteY43" fmla="*/ 60735 h 96161"/>
              <a:gd name="connsiteX44" fmla="*/ 107673 w 216978"/>
              <a:gd name="connsiteY44" fmla="*/ 60735 h 96161"/>
              <a:gd name="connsiteX45" fmla="*/ 110389 w 216978"/>
              <a:gd name="connsiteY45" fmla="*/ 56656 h 96161"/>
              <a:gd name="connsiteX46" fmla="*/ 106994 w 216978"/>
              <a:gd name="connsiteY46" fmla="*/ 56656 h 96161"/>
              <a:gd name="connsiteX47" fmla="*/ 94774 w 216978"/>
              <a:gd name="connsiteY47" fmla="*/ 62775 h 96161"/>
              <a:gd name="connsiteX48" fmla="*/ 90021 w 216978"/>
              <a:gd name="connsiteY48" fmla="*/ 66174 h 96161"/>
              <a:gd name="connsiteX49" fmla="*/ 88663 w 216978"/>
              <a:gd name="connsiteY49" fmla="*/ 71612 h 96161"/>
              <a:gd name="connsiteX50" fmla="*/ 83232 w 216978"/>
              <a:gd name="connsiteY50" fmla="*/ 75691 h 96161"/>
              <a:gd name="connsiteX51" fmla="*/ 81874 w 216978"/>
              <a:gd name="connsiteY51" fmla="*/ 76371 h 96161"/>
              <a:gd name="connsiteX52" fmla="*/ 76443 w 216978"/>
              <a:gd name="connsiteY52" fmla="*/ 80450 h 96161"/>
              <a:gd name="connsiteX53" fmla="*/ 75085 w 216978"/>
              <a:gd name="connsiteY53" fmla="*/ 84529 h 96161"/>
              <a:gd name="connsiteX54" fmla="*/ 64222 w 216978"/>
              <a:gd name="connsiteY54" fmla="*/ 94047 h 96161"/>
              <a:gd name="connsiteX55" fmla="*/ 60149 w 216978"/>
              <a:gd name="connsiteY55" fmla="*/ 96086 h 96161"/>
              <a:gd name="connsiteX56" fmla="*/ 58112 w 216978"/>
              <a:gd name="connsiteY56" fmla="*/ 93367 h 96161"/>
              <a:gd name="connsiteX57" fmla="*/ 54039 w 216978"/>
              <a:gd name="connsiteY57" fmla="*/ 91327 h 96161"/>
              <a:gd name="connsiteX58" fmla="*/ 49965 w 216978"/>
              <a:gd name="connsiteY58" fmla="*/ 91327 h 96161"/>
              <a:gd name="connsiteX59" fmla="*/ 41139 w 216978"/>
              <a:gd name="connsiteY59" fmla="*/ 84529 h 96161"/>
              <a:gd name="connsiteX60" fmla="*/ 36387 w 216978"/>
              <a:gd name="connsiteY60" fmla="*/ 78411 h 96161"/>
              <a:gd name="connsiteX61" fmla="*/ 35708 w 216978"/>
              <a:gd name="connsiteY61" fmla="*/ 72972 h 96161"/>
              <a:gd name="connsiteX62" fmla="*/ 39781 w 216978"/>
              <a:gd name="connsiteY62" fmla="*/ 68893 h 96161"/>
              <a:gd name="connsiteX63" fmla="*/ 44534 w 216978"/>
              <a:gd name="connsiteY63" fmla="*/ 66854 h 96161"/>
              <a:gd name="connsiteX64" fmla="*/ 43855 w 216978"/>
              <a:gd name="connsiteY64" fmla="*/ 62775 h 96161"/>
              <a:gd name="connsiteX65" fmla="*/ 43855 w 216978"/>
              <a:gd name="connsiteY65" fmla="*/ 60735 h 96161"/>
              <a:gd name="connsiteX66" fmla="*/ 38424 w 216978"/>
              <a:gd name="connsiteY66" fmla="*/ 64134 h 96161"/>
              <a:gd name="connsiteX67" fmla="*/ 38424 w 216978"/>
              <a:gd name="connsiteY67" fmla="*/ 60055 h 96161"/>
              <a:gd name="connsiteX68" fmla="*/ 38424 w 216978"/>
              <a:gd name="connsiteY68" fmla="*/ 58016 h 96161"/>
              <a:gd name="connsiteX69" fmla="*/ 33671 w 216978"/>
              <a:gd name="connsiteY69" fmla="*/ 56656 h 96161"/>
              <a:gd name="connsiteX70" fmla="*/ 36387 w 216978"/>
              <a:gd name="connsiteY70" fmla="*/ 54617 h 96161"/>
              <a:gd name="connsiteX71" fmla="*/ 38424 w 216978"/>
              <a:gd name="connsiteY71" fmla="*/ 52577 h 96161"/>
              <a:gd name="connsiteX72" fmla="*/ 36387 w 216978"/>
              <a:gd name="connsiteY72" fmla="*/ 49858 h 96161"/>
              <a:gd name="connsiteX73" fmla="*/ 49965 w 216978"/>
              <a:gd name="connsiteY73" fmla="*/ 48498 h 96161"/>
              <a:gd name="connsiteX74" fmla="*/ 49965 w 216978"/>
              <a:gd name="connsiteY74" fmla="*/ 47139 h 96161"/>
              <a:gd name="connsiteX75" fmla="*/ 39781 w 216978"/>
              <a:gd name="connsiteY75" fmla="*/ 46459 h 96161"/>
              <a:gd name="connsiteX76" fmla="*/ 40460 w 216978"/>
              <a:gd name="connsiteY76" fmla="*/ 46459 h 96161"/>
              <a:gd name="connsiteX77" fmla="*/ 45213 w 216978"/>
              <a:gd name="connsiteY77" fmla="*/ 45099 h 96161"/>
              <a:gd name="connsiteX78" fmla="*/ 51323 w 216978"/>
              <a:gd name="connsiteY78" fmla="*/ 44419 h 96161"/>
              <a:gd name="connsiteX79" fmla="*/ 50644 w 216978"/>
              <a:gd name="connsiteY79" fmla="*/ 43060 h 96161"/>
              <a:gd name="connsiteX80" fmla="*/ 46571 w 216978"/>
              <a:gd name="connsiteY80" fmla="*/ 43060 h 96161"/>
              <a:gd name="connsiteX81" fmla="*/ 46571 w 216978"/>
              <a:gd name="connsiteY81" fmla="*/ 42380 h 96161"/>
              <a:gd name="connsiteX82" fmla="*/ 52681 w 216978"/>
              <a:gd name="connsiteY82" fmla="*/ 41020 h 96161"/>
              <a:gd name="connsiteX83" fmla="*/ 56075 w 216978"/>
              <a:gd name="connsiteY83" fmla="*/ 39660 h 96161"/>
              <a:gd name="connsiteX84" fmla="*/ 60828 w 216978"/>
              <a:gd name="connsiteY84" fmla="*/ 33542 h 96161"/>
              <a:gd name="connsiteX85" fmla="*/ 57433 w 216978"/>
              <a:gd name="connsiteY85" fmla="*/ 32862 h 96161"/>
              <a:gd name="connsiteX86" fmla="*/ 53360 w 216978"/>
              <a:gd name="connsiteY86" fmla="*/ 31503 h 96161"/>
              <a:gd name="connsiteX87" fmla="*/ 52681 w 216978"/>
              <a:gd name="connsiteY87" fmla="*/ 31503 h 96161"/>
              <a:gd name="connsiteX88" fmla="*/ 46571 w 216978"/>
              <a:gd name="connsiteY88" fmla="*/ 28103 h 96161"/>
              <a:gd name="connsiteX89" fmla="*/ 54039 w 216978"/>
              <a:gd name="connsiteY89" fmla="*/ 29463 h 96161"/>
              <a:gd name="connsiteX90" fmla="*/ 60149 w 216978"/>
              <a:gd name="connsiteY90" fmla="*/ 30823 h 96161"/>
              <a:gd name="connsiteX91" fmla="*/ 59470 w 216978"/>
              <a:gd name="connsiteY91" fmla="*/ 28783 h 96161"/>
              <a:gd name="connsiteX92" fmla="*/ 60828 w 216978"/>
              <a:gd name="connsiteY92" fmla="*/ 26744 h 96161"/>
              <a:gd name="connsiteX93" fmla="*/ 56075 w 216978"/>
              <a:gd name="connsiteY93" fmla="*/ 24704 h 96161"/>
              <a:gd name="connsiteX94" fmla="*/ 52002 w 216978"/>
              <a:gd name="connsiteY94" fmla="*/ 24024 h 96161"/>
              <a:gd name="connsiteX95" fmla="*/ 46571 w 216978"/>
              <a:gd name="connsiteY95" fmla="*/ 24704 h 96161"/>
              <a:gd name="connsiteX96" fmla="*/ 48607 w 216978"/>
              <a:gd name="connsiteY96" fmla="*/ 17906 h 96161"/>
              <a:gd name="connsiteX97" fmla="*/ 30955 w 216978"/>
              <a:gd name="connsiteY97" fmla="*/ 3630 h 96161"/>
              <a:gd name="connsiteX98" fmla="*/ 8551 w 216978"/>
              <a:gd name="connsiteY98" fmla="*/ 4309 h 96161"/>
              <a:gd name="connsiteX99" fmla="*/ 1083 w 216978"/>
              <a:gd name="connsiteY99" fmla="*/ 2270 h 96161"/>
              <a:gd name="connsiteX100" fmla="*/ 4478 w 216978"/>
              <a:gd name="connsiteY100" fmla="*/ 910 h 9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16978" h="96161">
                <a:moveTo>
                  <a:pt x="2114" y="0"/>
                </a:moveTo>
                <a:lnTo>
                  <a:pt x="205878" y="0"/>
                </a:lnTo>
                <a:lnTo>
                  <a:pt x="202042" y="2270"/>
                </a:lnTo>
                <a:cubicBezTo>
                  <a:pt x="200684" y="3630"/>
                  <a:pt x="209510" y="2270"/>
                  <a:pt x="210868" y="2950"/>
                </a:cubicBezTo>
                <a:cubicBezTo>
                  <a:pt x="212905" y="4309"/>
                  <a:pt x="206795" y="4309"/>
                  <a:pt x="206795" y="4309"/>
                </a:cubicBezTo>
                <a:cubicBezTo>
                  <a:pt x="203400" y="5669"/>
                  <a:pt x="209510" y="5669"/>
                  <a:pt x="210868" y="5669"/>
                </a:cubicBezTo>
                <a:cubicBezTo>
                  <a:pt x="212905" y="5669"/>
                  <a:pt x="214942" y="6349"/>
                  <a:pt x="216978" y="6349"/>
                </a:cubicBezTo>
                <a:cubicBezTo>
                  <a:pt x="216978" y="9068"/>
                  <a:pt x="210189" y="7029"/>
                  <a:pt x="208831" y="7029"/>
                </a:cubicBezTo>
                <a:cubicBezTo>
                  <a:pt x="207474" y="6349"/>
                  <a:pt x="197290" y="5669"/>
                  <a:pt x="200684" y="9068"/>
                </a:cubicBezTo>
                <a:cubicBezTo>
                  <a:pt x="202042" y="9748"/>
                  <a:pt x="205437" y="9748"/>
                  <a:pt x="206795" y="9748"/>
                </a:cubicBezTo>
                <a:cubicBezTo>
                  <a:pt x="208831" y="9748"/>
                  <a:pt x="207474" y="13827"/>
                  <a:pt x="205437" y="14507"/>
                </a:cubicBezTo>
                <a:cubicBezTo>
                  <a:pt x="204079" y="14507"/>
                  <a:pt x="202042" y="13827"/>
                  <a:pt x="202042" y="15866"/>
                </a:cubicBezTo>
                <a:cubicBezTo>
                  <a:pt x="202042" y="18586"/>
                  <a:pt x="204758" y="17906"/>
                  <a:pt x="205437" y="18586"/>
                </a:cubicBezTo>
                <a:cubicBezTo>
                  <a:pt x="203400" y="19266"/>
                  <a:pt x="201363" y="18586"/>
                  <a:pt x="199327" y="17906"/>
                </a:cubicBezTo>
                <a:cubicBezTo>
                  <a:pt x="197290" y="17226"/>
                  <a:pt x="193216" y="16546"/>
                  <a:pt x="196611" y="19945"/>
                </a:cubicBezTo>
                <a:cubicBezTo>
                  <a:pt x="197969" y="20625"/>
                  <a:pt x="200005" y="20625"/>
                  <a:pt x="201363" y="21305"/>
                </a:cubicBezTo>
                <a:cubicBezTo>
                  <a:pt x="201363" y="22665"/>
                  <a:pt x="197969" y="21985"/>
                  <a:pt x="196611" y="21985"/>
                </a:cubicBezTo>
                <a:cubicBezTo>
                  <a:pt x="191180" y="24024"/>
                  <a:pt x="176922" y="17226"/>
                  <a:pt x="176922" y="24704"/>
                </a:cubicBezTo>
                <a:cubicBezTo>
                  <a:pt x="176922" y="24704"/>
                  <a:pt x="174886" y="25384"/>
                  <a:pt x="174886" y="26064"/>
                </a:cubicBezTo>
                <a:cubicBezTo>
                  <a:pt x="179638" y="27424"/>
                  <a:pt x="183711" y="27424"/>
                  <a:pt x="188464" y="30143"/>
                </a:cubicBezTo>
                <a:cubicBezTo>
                  <a:pt x="196611" y="34222"/>
                  <a:pt x="188464" y="33542"/>
                  <a:pt x="183711" y="33542"/>
                </a:cubicBezTo>
                <a:cubicBezTo>
                  <a:pt x="180317" y="33542"/>
                  <a:pt x="177601" y="32182"/>
                  <a:pt x="175564" y="30143"/>
                </a:cubicBezTo>
                <a:cubicBezTo>
                  <a:pt x="173528" y="28103"/>
                  <a:pt x="170133" y="29463"/>
                  <a:pt x="168775" y="28783"/>
                </a:cubicBezTo>
                <a:cubicBezTo>
                  <a:pt x="168096" y="28103"/>
                  <a:pt x="166739" y="26744"/>
                  <a:pt x="166739" y="26744"/>
                </a:cubicBezTo>
                <a:cubicBezTo>
                  <a:pt x="166060" y="28103"/>
                  <a:pt x="164023" y="27424"/>
                  <a:pt x="166060" y="29463"/>
                </a:cubicBezTo>
                <a:cubicBezTo>
                  <a:pt x="166739" y="30143"/>
                  <a:pt x="169454" y="30823"/>
                  <a:pt x="169454" y="30823"/>
                </a:cubicBezTo>
                <a:cubicBezTo>
                  <a:pt x="167418" y="31503"/>
                  <a:pt x="165381" y="30823"/>
                  <a:pt x="163344" y="31503"/>
                </a:cubicBezTo>
                <a:cubicBezTo>
                  <a:pt x="160628" y="31503"/>
                  <a:pt x="158592" y="34902"/>
                  <a:pt x="161986" y="34902"/>
                </a:cubicBezTo>
                <a:cubicBezTo>
                  <a:pt x="161986" y="35582"/>
                  <a:pt x="160628" y="35582"/>
                  <a:pt x="160628" y="35582"/>
                </a:cubicBezTo>
                <a:cubicBezTo>
                  <a:pt x="162665" y="36261"/>
                  <a:pt x="164702" y="36941"/>
                  <a:pt x="166739" y="36261"/>
                </a:cubicBezTo>
                <a:cubicBezTo>
                  <a:pt x="169454" y="35582"/>
                  <a:pt x="170133" y="37621"/>
                  <a:pt x="172849" y="37621"/>
                </a:cubicBezTo>
                <a:cubicBezTo>
                  <a:pt x="174207" y="37621"/>
                  <a:pt x="175564" y="36261"/>
                  <a:pt x="176922" y="36261"/>
                </a:cubicBezTo>
                <a:cubicBezTo>
                  <a:pt x="178280" y="36261"/>
                  <a:pt x="179638" y="37621"/>
                  <a:pt x="181675" y="37621"/>
                </a:cubicBezTo>
                <a:cubicBezTo>
                  <a:pt x="185069" y="37621"/>
                  <a:pt x="187785" y="35582"/>
                  <a:pt x="190501" y="34902"/>
                </a:cubicBezTo>
                <a:cubicBezTo>
                  <a:pt x="189143" y="40340"/>
                  <a:pt x="175564" y="41020"/>
                  <a:pt x="172849" y="43060"/>
                </a:cubicBezTo>
                <a:cubicBezTo>
                  <a:pt x="170812" y="45099"/>
                  <a:pt x="168096" y="45779"/>
                  <a:pt x="165381" y="46459"/>
                </a:cubicBezTo>
                <a:cubicBezTo>
                  <a:pt x="161307" y="47139"/>
                  <a:pt x="159271" y="45779"/>
                  <a:pt x="155197" y="45779"/>
                </a:cubicBezTo>
                <a:cubicBezTo>
                  <a:pt x="154518" y="49178"/>
                  <a:pt x="153160" y="48498"/>
                  <a:pt x="149766" y="47139"/>
                </a:cubicBezTo>
                <a:cubicBezTo>
                  <a:pt x="147050" y="46459"/>
                  <a:pt x="144334" y="48498"/>
                  <a:pt x="142298" y="47818"/>
                </a:cubicBezTo>
                <a:cubicBezTo>
                  <a:pt x="140940" y="47139"/>
                  <a:pt x="139582" y="43739"/>
                  <a:pt x="138903" y="45099"/>
                </a:cubicBezTo>
                <a:cubicBezTo>
                  <a:pt x="138224" y="47139"/>
                  <a:pt x="142977" y="49178"/>
                  <a:pt x="137545" y="49858"/>
                </a:cubicBezTo>
                <a:cubicBezTo>
                  <a:pt x="134830" y="51897"/>
                  <a:pt x="131435" y="51218"/>
                  <a:pt x="128719" y="53937"/>
                </a:cubicBezTo>
                <a:cubicBezTo>
                  <a:pt x="126004" y="56656"/>
                  <a:pt x="123967" y="58016"/>
                  <a:pt x="120572" y="58016"/>
                </a:cubicBezTo>
                <a:cubicBezTo>
                  <a:pt x="118536" y="58016"/>
                  <a:pt x="117178" y="60055"/>
                  <a:pt x="115141" y="60735"/>
                </a:cubicBezTo>
                <a:cubicBezTo>
                  <a:pt x="113783" y="61415"/>
                  <a:pt x="109710" y="60735"/>
                  <a:pt x="107673" y="60735"/>
                </a:cubicBezTo>
                <a:cubicBezTo>
                  <a:pt x="107673" y="58696"/>
                  <a:pt x="110389" y="57336"/>
                  <a:pt x="110389" y="56656"/>
                </a:cubicBezTo>
                <a:cubicBezTo>
                  <a:pt x="109031" y="56656"/>
                  <a:pt x="108352" y="55976"/>
                  <a:pt x="106994" y="56656"/>
                </a:cubicBezTo>
                <a:cubicBezTo>
                  <a:pt x="106994" y="65494"/>
                  <a:pt x="95452" y="60735"/>
                  <a:pt x="94774" y="62775"/>
                </a:cubicBezTo>
                <a:cubicBezTo>
                  <a:pt x="94095" y="65494"/>
                  <a:pt x="92737" y="65494"/>
                  <a:pt x="90021" y="66174"/>
                </a:cubicBezTo>
                <a:cubicBezTo>
                  <a:pt x="89342" y="68893"/>
                  <a:pt x="83911" y="70933"/>
                  <a:pt x="88663" y="71612"/>
                </a:cubicBezTo>
                <a:cubicBezTo>
                  <a:pt x="88663" y="75691"/>
                  <a:pt x="83911" y="72972"/>
                  <a:pt x="83232" y="75691"/>
                </a:cubicBezTo>
                <a:cubicBezTo>
                  <a:pt x="82553" y="75691"/>
                  <a:pt x="82553" y="76371"/>
                  <a:pt x="81874" y="76371"/>
                </a:cubicBezTo>
                <a:cubicBezTo>
                  <a:pt x="81874" y="78411"/>
                  <a:pt x="78480" y="80450"/>
                  <a:pt x="76443" y="80450"/>
                </a:cubicBezTo>
                <a:cubicBezTo>
                  <a:pt x="71690" y="80450"/>
                  <a:pt x="75085" y="82490"/>
                  <a:pt x="75085" y="84529"/>
                </a:cubicBezTo>
                <a:cubicBezTo>
                  <a:pt x="75085" y="86569"/>
                  <a:pt x="66259" y="93367"/>
                  <a:pt x="64222" y="94047"/>
                </a:cubicBezTo>
                <a:cubicBezTo>
                  <a:pt x="62864" y="96766"/>
                  <a:pt x="62864" y="96086"/>
                  <a:pt x="60149" y="96086"/>
                </a:cubicBezTo>
                <a:cubicBezTo>
                  <a:pt x="56754" y="96086"/>
                  <a:pt x="58112" y="96086"/>
                  <a:pt x="58112" y="93367"/>
                </a:cubicBezTo>
                <a:cubicBezTo>
                  <a:pt x="56754" y="92687"/>
                  <a:pt x="54039" y="92687"/>
                  <a:pt x="54039" y="91327"/>
                </a:cubicBezTo>
                <a:cubicBezTo>
                  <a:pt x="54039" y="87928"/>
                  <a:pt x="52002" y="90648"/>
                  <a:pt x="49965" y="91327"/>
                </a:cubicBezTo>
                <a:cubicBezTo>
                  <a:pt x="45213" y="92687"/>
                  <a:pt x="41818" y="88608"/>
                  <a:pt x="41139" y="84529"/>
                </a:cubicBezTo>
                <a:cubicBezTo>
                  <a:pt x="39781" y="81130"/>
                  <a:pt x="37745" y="81130"/>
                  <a:pt x="36387" y="78411"/>
                </a:cubicBezTo>
                <a:cubicBezTo>
                  <a:pt x="35708" y="76371"/>
                  <a:pt x="38424" y="76371"/>
                  <a:pt x="35708" y="72972"/>
                </a:cubicBezTo>
                <a:cubicBezTo>
                  <a:pt x="37066" y="70933"/>
                  <a:pt x="37745" y="70253"/>
                  <a:pt x="39781" y="68893"/>
                </a:cubicBezTo>
                <a:cubicBezTo>
                  <a:pt x="42497" y="66174"/>
                  <a:pt x="41818" y="67533"/>
                  <a:pt x="44534" y="66854"/>
                </a:cubicBezTo>
                <a:cubicBezTo>
                  <a:pt x="45213" y="66854"/>
                  <a:pt x="43855" y="64134"/>
                  <a:pt x="43855" y="62775"/>
                </a:cubicBezTo>
                <a:cubicBezTo>
                  <a:pt x="43855" y="62775"/>
                  <a:pt x="43855" y="60735"/>
                  <a:pt x="43855" y="60735"/>
                </a:cubicBezTo>
                <a:cubicBezTo>
                  <a:pt x="43176" y="62775"/>
                  <a:pt x="39102" y="68213"/>
                  <a:pt x="38424" y="64134"/>
                </a:cubicBezTo>
                <a:cubicBezTo>
                  <a:pt x="37745" y="62095"/>
                  <a:pt x="41818" y="60735"/>
                  <a:pt x="38424" y="60055"/>
                </a:cubicBezTo>
                <a:cubicBezTo>
                  <a:pt x="35029" y="60055"/>
                  <a:pt x="38424" y="58696"/>
                  <a:pt x="38424" y="58016"/>
                </a:cubicBezTo>
                <a:cubicBezTo>
                  <a:pt x="38424" y="54617"/>
                  <a:pt x="33671" y="58016"/>
                  <a:pt x="33671" y="56656"/>
                </a:cubicBezTo>
                <a:cubicBezTo>
                  <a:pt x="33671" y="55297"/>
                  <a:pt x="35029" y="55297"/>
                  <a:pt x="36387" y="54617"/>
                </a:cubicBezTo>
                <a:cubicBezTo>
                  <a:pt x="36387" y="54617"/>
                  <a:pt x="39781" y="52577"/>
                  <a:pt x="38424" y="52577"/>
                </a:cubicBezTo>
                <a:cubicBezTo>
                  <a:pt x="37066" y="51897"/>
                  <a:pt x="33671" y="52577"/>
                  <a:pt x="36387" y="49858"/>
                </a:cubicBezTo>
                <a:cubicBezTo>
                  <a:pt x="38424" y="47818"/>
                  <a:pt x="47249" y="48498"/>
                  <a:pt x="49965" y="48498"/>
                </a:cubicBezTo>
                <a:cubicBezTo>
                  <a:pt x="49965" y="47818"/>
                  <a:pt x="49965" y="47818"/>
                  <a:pt x="49965" y="47139"/>
                </a:cubicBezTo>
                <a:cubicBezTo>
                  <a:pt x="48607" y="47139"/>
                  <a:pt x="40460" y="47139"/>
                  <a:pt x="39781" y="46459"/>
                </a:cubicBezTo>
                <a:cubicBezTo>
                  <a:pt x="40460" y="46459"/>
                  <a:pt x="40460" y="46459"/>
                  <a:pt x="40460" y="46459"/>
                </a:cubicBezTo>
                <a:cubicBezTo>
                  <a:pt x="45213" y="45099"/>
                  <a:pt x="45213" y="45099"/>
                  <a:pt x="45213" y="45099"/>
                </a:cubicBezTo>
                <a:cubicBezTo>
                  <a:pt x="47249" y="44419"/>
                  <a:pt x="49965" y="45779"/>
                  <a:pt x="51323" y="44419"/>
                </a:cubicBezTo>
                <a:cubicBezTo>
                  <a:pt x="52681" y="44419"/>
                  <a:pt x="52002" y="43060"/>
                  <a:pt x="50644" y="43060"/>
                </a:cubicBezTo>
                <a:cubicBezTo>
                  <a:pt x="49286" y="43060"/>
                  <a:pt x="47928" y="43060"/>
                  <a:pt x="46571" y="43060"/>
                </a:cubicBezTo>
                <a:cubicBezTo>
                  <a:pt x="46571" y="42380"/>
                  <a:pt x="46571" y="42380"/>
                  <a:pt x="46571" y="42380"/>
                </a:cubicBezTo>
                <a:cubicBezTo>
                  <a:pt x="48607" y="42380"/>
                  <a:pt x="50644" y="41020"/>
                  <a:pt x="52681" y="41020"/>
                </a:cubicBezTo>
                <a:cubicBezTo>
                  <a:pt x="54717" y="41020"/>
                  <a:pt x="55396" y="41020"/>
                  <a:pt x="56075" y="39660"/>
                </a:cubicBezTo>
                <a:cubicBezTo>
                  <a:pt x="58112" y="36941"/>
                  <a:pt x="62186" y="36261"/>
                  <a:pt x="60828" y="33542"/>
                </a:cubicBezTo>
                <a:cubicBezTo>
                  <a:pt x="60149" y="32862"/>
                  <a:pt x="58791" y="32862"/>
                  <a:pt x="57433" y="32862"/>
                </a:cubicBezTo>
                <a:cubicBezTo>
                  <a:pt x="55396" y="32862"/>
                  <a:pt x="54717" y="32182"/>
                  <a:pt x="53360" y="31503"/>
                </a:cubicBezTo>
                <a:cubicBezTo>
                  <a:pt x="52681" y="31503"/>
                  <a:pt x="52681" y="31503"/>
                  <a:pt x="52681" y="31503"/>
                </a:cubicBezTo>
                <a:cubicBezTo>
                  <a:pt x="52681" y="30143"/>
                  <a:pt x="46571" y="28783"/>
                  <a:pt x="46571" y="28103"/>
                </a:cubicBezTo>
                <a:cubicBezTo>
                  <a:pt x="46571" y="28103"/>
                  <a:pt x="53360" y="29463"/>
                  <a:pt x="54039" y="29463"/>
                </a:cubicBezTo>
                <a:cubicBezTo>
                  <a:pt x="56075" y="30143"/>
                  <a:pt x="57433" y="32182"/>
                  <a:pt x="60149" y="30823"/>
                </a:cubicBezTo>
                <a:cubicBezTo>
                  <a:pt x="60149" y="30143"/>
                  <a:pt x="59470" y="29463"/>
                  <a:pt x="59470" y="28783"/>
                </a:cubicBezTo>
                <a:cubicBezTo>
                  <a:pt x="59470" y="27424"/>
                  <a:pt x="60828" y="27424"/>
                  <a:pt x="60828" y="26744"/>
                </a:cubicBezTo>
                <a:cubicBezTo>
                  <a:pt x="60828" y="24704"/>
                  <a:pt x="57433" y="24704"/>
                  <a:pt x="56075" y="24704"/>
                </a:cubicBezTo>
                <a:cubicBezTo>
                  <a:pt x="54039" y="24704"/>
                  <a:pt x="53360" y="24024"/>
                  <a:pt x="52002" y="24024"/>
                </a:cubicBezTo>
                <a:cubicBezTo>
                  <a:pt x="49965" y="24024"/>
                  <a:pt x="48607" y="25384"/>
                  <a:pt x="46571" y="24704"/>
                </a:cubicBezTo>
                <a:cubicBezTo>
                  <a:pt x="45892" y="21305"/>
                  <a:pt x="49286" y="19945"/>
                  <a:pt x="48607" y="17906"/>
                </a:cubicBezTo>
                <a:cubicBezTo>
                  <a:pt x="48607" y="9748"/>
                  <a:pt x="37066" y="4989"/>
                  <a:pt x="30955" y="3630"/>
                </a:cubicBezTo>
                <a:cubicBezTo>
                  <a:pt x="26882" y="2950"/>
                  <a:pt x="11267" y="2270"/>
                  <a:pt x="8551" y="4309"/>
                </a:cubicBezTo>
                <a:cubicBezTo>
                  <a:pt x="7193" y="5669"/>
                  <a:pt x="2441" y="2950"/>
                  <a:pt x="1083" y="2270"/>
                </a:cubicBezTo>
                <a:cubicBezTo>
                  <a:pt x="-2990" y="230"/>
                  <a:pt x="5836" y="1590"/>
                  <a:pt x="4478" y="910"/>
                </a:cubicBez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noAutofit/>
          </a:bodyPr>
          <a:lstStyle/>
          <a:p>
            <a:pPr defTabSz="1087802">
              <a:defRPr/>
            </a:pPr>
            <a:endParaRPr lang="en-US" sz="2059" dirty="0">
              <a:solidFill>
                <a:srgbClr val="505050"/>
              </a:solidFill>
              <a:latin typeface="Arial"/>
            </a:endParaRPr>
          </a:p>
        </p:txBody>
      </p:sp>
      <p:sp>
        <p:nvSpPr>
          <p:cNvPr id="2085" name="Freeform 416">
            <a:extLst>
              <a:ext uri="{FF2B5EF4-FFF2-40B4-BE49-F238E27FC236}">
                <a16:creationId xmlns:a16="http://schemas.microsoft.com/office/drawing/2014/main" id="{2A64A453-43FC-4CD1-BE65-391F086EED74}"/>
              </a:ext>
            </a:extLst>
          </p:cNvPr>
          <p:cNvSpPr>
            <a:spLocks/>
          </p:cNvSpPr>
          <p:nvPr/>
        </p:nvSpPr>
        <p:spPr bwMode="auto">
          <a:xfrm>
            <a:off x="6383238" y="3969916"/>
            <a:ext cx="13303" cy="13308"/>
          </a:xfrm>
          <a:custGeom>
            <a:avLst/>
            <a:gdLst>
              <a:gd name="T0" fmla="*/ 8 w 8"/>
              <a:gd name="T1" fmla="*/ 3 h 7"/>
              <a:gd name="T2" fmla="*/ 6 w 8"/>
              <a:gd name="T3" fmla="*/ 2 h 7"/>
              <a:gd name="T4" fmla="*/ 3 w 8"/>
              <a:gd name="T5" fmla="*/ 0 h 7"/>
              <a:gd name="T6" fmla="*/ 0 w 8"/>
              <a:gd name="T7" fmla="*/ 1 h 7"/>
              <a:gd name="T8" fmla="*/ 0 w 8"/>
              <a:gd name="T9" fmla="*/ 2 h 7"/>
              <a:gd name="T10" fmla="*/ 1 w 8"/>
              <a:gd name="T11" fmla="*/ 5 h 7"/>
              <a:gd name="T12" fmla="*/ 4 w 8"/>
              <a:gd name="T13" fmla="*/ 6 h 7"/>
              <a:gd name="T14" fmla="*/ 5 w 8"/>
              <a:gd name="T15" fmla="*/ 7 h 7"/>
              <a:gd name="T16" fmla="*/ 7 w 8"/>
              <a:gd name="T17" fmla="*/ 6 h 7"/>
              <a:gd name="T18" fmla="*/ 8 w 8"/>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8" y="3"/>
                </a:moveTo>
                <a:cubicBezTo>
                  <a:pt x="7" y="3"/>
                  <a:pt x="6" y="2"/>
                  <a:pt x="6" y="2"/>
                </a:cubicBezTo>
                <a:cubicBezTo>
                  <a:pt x="5" y="1"/>
                  <a:pt x="4" y="0"/>
                  <a:pt x="3" y="0"/>
                </a:cubicBezTo>
                <a:cubicBezTo>
                  <a:pt x="2" y="0"/>
                  <a:pt x="0" y="1"/>
                  <a:pt x="0" y="1"/>
                </a:cubicBezTo>
                <a:cubicBezTo>
                  <a:pt x="0" y="2"/>
                  <a:pt x="0" y="2"/>
                  <a:pt x="0" y="2"/>
                </a:cubicBezTo>
                <a:cubicBezTo>
                  <a:pt x="0" y="3"/>
                  <a:pt x="0" y="4"/>
                  <a:pt x="1" y="5"/>
                </a:cubicBezTo>
                <a:cubicBezTo>
                  <a:pt x="2" y="5"/>
                  <a:pt x="3" y="5"/>
                  <a:pt x="4" y="6"/>
                </a:cubicBezTo>
                <a:cubicBezTo>
                  <a:pt x="4" y="7"/>
                  <a:pt x="4" y="7"/>
                  <a:pt x="5" y="7"/>
                </a:cubicBezTo>
                <a:cubicBezTo>
                  <a:pt x="6" y="7"/>
                  <a:pt x="7" y="6"/>
                  <a:pt x="7" y="6"/>
                </a:cubicBezTo>
                <a:cubicBezTo>
                  <a:pt x="8" y="3"/>
                  <a:pt x="8" y="3"/>
                  <a:pt x="8" y="3"/>
                </a:cubicBez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87" name="Freeform 417">
            <a:extLst>
              <a:ext uri="{FF2B5EF4-FFF2-40B4-BE49-F238E27FC236}">
                <a16:creationId xmlns:a16="http://schemas.microsoft.com/office/drawing/2014/main" id="{277852E8-14CD-47D7-9099-DBDF621B2F2F}"/>
              </a:ext>
            </a:extLst>
          </p:cNvPr>
          <p:cNvSpPr>
            <a:spLocks/>
          </p:cNvSpPr>
          <p:nvPr/>
        </p:nvSpPr>
        <p:spPr bwMode="auto">
          <a:xfrm>
            <a:off x="6383238" y="3969916"/>
            <a:ext cx="13303" cy="13308"/>
          </a:xfrm>
          <a:custGeom>
            <a:avLst/>
            <a:gdLst>
              <a:gd name="T0" fmla="*/ 8 w 8"/>
              <a:gd name="T1" fmla="*/ 3 h 7"/>
              <a:gd name="T2" fmla="*/ 6 w 8"/>
              <a:gd name="T3" fmla="*/ 2 h 7"/>
              <a:gd name="T4" fmla="*/ 3 w 8"/>
              <a:gd name="T5" fmla="*/ 0 h 7"/>
              <a:gd name="T6" fmla="*/ 0 w 8"/>
              <a:gd name="T7" fmla="*/ 1 h 7"/>
              <a:gd name="T8" fmla="*/ 0 w 8"/>
              <a:gd name="T9" fmla="*/ 2 h 7"/>
              <a:gd name="T10" fmla="*/ 1 w 8"/>
              <a:gd name="T11" fmla="*/ 5 h 7"/>
              <a:gd name="T12" fmla="*/ 4 w 8"/>
              <a:gd name="T13" fmla="*/ 6 h 7"/>
              <a:gd name="T14" fmla="*/ 5 w 8"/>
              <a:gd name="T15" fmla="*/ 7 h 7"/>
              <a:gd name="T16" fmla="*/ 7 w 8"/>
              <a:gd name="T17" fmla="*/ 6 h 7"/>
              <a:gd name="T18" fmla="*/ 8 w 8"/>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8" y="3"/>
                </a:moveTo>
                <a:cubicBezTo>
                  <a:pt x="7" y="3"/>
                  <a:pt x="6" y="2"/>
                  <a:pt x="6" y="2"/>
                </a:cubicBezTo>
                <a:cubicBezTo>
                  <a:pt x="5" y="1"/>
                  <a:pt x="4" y="0"/>
                  <a:pt x="3" y="0"/>
                </a:cubicBezTo>
                <a:cubicBezTo>
                  <a:pt x="2" y="0"/>
                  <a:pt x="0" y="1"/>
                  <a:pt x="0" y="1"/>
                </a:cubicBezTo>
                <a:cubicBezTo>
                  <a:pt x="0" y="2"/>
                  <a:pt x="0" y="2"/>
                  <a:pt x="0" y="2"/>
                </a:cubicBezTo>
                <a:cubicBezTo>
                  <a:pt x="0" y="3"/>
                  <a:pt x="0" y="4"/>
                  <a:pt x="1" y="5"/>
                </a:cubicBezTo>
                <a:cubicBezTo>
                  <a:pt x="2" y="5"/>
                  <a:pt x="3" y="5"/>
                  <a:pt x="4" y="6"/>
                </a:cubicBezTo>
                <a:cubicBezTo>
                  <a:pt x="4" y="7"/>
                  <a:pt x="4" y="7"/>
                  <a:pt x="5" y="7"/>
                </a:cubicBezTo>
                <a:cubicBezTo>
                  <a:pt x="6" y="7"/>
                  <a:pt x="7" y="6"/>
                  <a:pt x="7" y="6"/>
                </a:cubicBezTo>
                <a:cubicBezTo>
                  <a:pt x="8" y="3"/>
                  <a:pt x="8" y="3"/>
                  <a:pt x="8" y="3"/>
                </a:cubicBez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88" name="Freeform 418">
            <a:extLst>
              <a:ext uri="{FF2B5EF4-FFF2-40B4-BE49-F238E27FC236}">
                <a16:creationId xmlns:a16="http://schemas.microsoft.com/office/drawing/2014/main" id="{51348025-6E4F-4C47-9564-BAE5E1E4ED31}"/>
              </a:ext>
            </a:extLst>
          </p:cNvPr>
          <p:cNvSpPr>
            <a:spLocks/>
          </p:cNvSpPr>
          <p:nvPr/>
        </p:nvSpPr>
        <p:spPr bwMode="auto">
          <a:xfrm>
            <a:off x="6374369" y="3983221"/>
            <a:ext cx="8869" cy="13308"/>
          </a:xfrm>
          <a:custGeom>
            <a:avLst/>
            <a:gdLst>
              <a:gd name="T0" fmla="*/ 6 w 6"/>
              <a:gd name="T1" fmla="*/ 3 h 7"/>
              <a:gd name="T2" fmla="*/ 6 w 6"/>
              <a:gd name="T3" fmla="*/ 1 h 7"/>
              <a:gd name="T4" fmla="*/ 3 w 6"/>
              <a:gd name="T5" fmla="*/ 0 h 7"/>
              <a:gd name="T6" fmla="*/ 0 w 6"/>
              <a:gd name="T7" fmla="*/ 2 h 7"/>
              <a:gd name="T8" fmla="*/ 1 w 6"/>
              <a:gd name="T9" fmla="*/ 4 h 7"/>
              <a:gd name="T10" fmla="*/ 2 w 6"/>
              <a:gd name="T11" fmla="*/ 6 h 7"/>
              <a:gd name="T12" fmla="*/ 4 w 6"/>
              <a:gd name="T13" fmla="*/ 5 h 7"/>
              <a:gd name="T14" fmla="*/ 6 w 6"/>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6" y="3"/>
                </a:moveTo>
                <a:cubicBezTo>
                  <a:pt x="6" y="2"/>
                  <a:pt x="6" y="1"/>
                  <a:pt x="6" y="1"/>
                </a:cubicBezTo>
                <a:cubicBezTo>
                  <a:pt x="5" y="0"/>
                  <a:pt x="4" y="0"/>
                  <a:pt x="3" y="0"/>
                </a:cubicBezTo>
                <a:cubicBezTo>
                  <a:pt x="2" y="0"/>
                  <a:pt x="1" y="1"/>
                  <a:pt x="0" y="2"/>
                </a:cubicBezTo>
                <a:cubicBezTo>
                  <a:pt x="0" y="3"/>
                  <a:pt x="1" y="4"/>
                  <a:pt x="1" y="4"/>
                </a:cubicBezTo>
                <a:cubicBezTo>
                  <a:pt x="1" y="5"/>
                  <a:pt x="1" y="6"/>
                  <a:pt x="2" y="6"/>
                </a:cubicBezTo>
                <a:cubicBezTo>
                  <a:pt x="3" y="7"/>
                  <a:pt x="4" y="6"/>
                  <a:pt x="4" y="5"/>
                </a:cubicBezTo>
                <a:lnTo>
                  <a:pt x="6" y="3"/>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89" name="Freeform 419">
            <a:extLst>
              <a:ext uri="{FF2B5EF4-FFF2-40B4-BE49-F238E27FC236}">
                <a16:creationId xmlns:a16="http://schemas.microsoft.com/office/drawing/2014/main" id="{EC1AC219-7635-484D-8099-15BC846CD640}"/>
              </a:ext>
            </a:extLst>
          </p:cNvPr>
          <p:cNvSpPr>
            <a:spLocks/>
          </p:cNvSpPr>
          <p:nvPr/>
        </p:nvSpPr>
        <p:spPr bwMode="auto">
          <a:xfrm>
            <a:off x="6374369" y="3983221"/>
            <a:ext cx="8869" cy="13308"/>
          </a:xfrm>
          <a:custGeom>
            <a:avLst/>
            <a:gdLst>
              <a:gd name="T0" fmla="*/ 6 w 6"/>
              <a:gd name="T1" fmla="*/ 3 h 7"/>
              <a:gd name="T2" fmla="*/ 6 w 6"/>
              <a:gd name="T3" fmla="*/ 1 h 7"/>
              <a:gd name="T4" fmla="*/ 3 w 6"/>
              <a:gd name="T5" fmla="*/ 0 h 7"/>
              <a:gd name="T6" fmla="*/ 0 w 6"/>
              <a:gd name="T7" fmla="*/ 2 h 7"/>
              <a:gd name="T8" fmla="*/ 1 w 6"/>
              <a:gd name="T9" fmla="*/ 4 h 7"/>
              <a:gd name="T10" fmla="*/ 2 w 6"/>
              <a:gd name="T11" fmla="*/ 6 h 7"/>
              <a:gd name="T12" fmla="*/ 4 w 6"/>
              <a:gd name="T13" fmla="*/ 5 h 7"/>
              <a:gd name="T14" fmla="*/ 6 w 6"/>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6" y="3"/>
                </a:moveTo>
                <a:cubicBezTo>
                  <a:pt x="6" y="2"/>
                  <a:pt x="6" y="1"/>
                  <a:pt x="6" y="1"/>
                </a:cubicBezTo>
                <a:cubicBezTo>
                  <a:pt x="5" y="0"/>
                  <a:pt x="4" y="0"/>
                  <a:pt x="3" y="0"/>
                </a:cubicBezTo>
                <a:cubicBezTo>
                  <a:pt x="2" y="0"/>
                  <a:pt x="1" y="1"/>
                  <a:pt x="0" y="2"/>
                </a:cubicBezTo>
                <a:cubicBezTo>
                  <a:pt x="0" y="3"/>
                  <a:pt x="1" y="4"/>
                  <a:pt x="1" y="4"/>
                </a:cubicBezTo>
                <a:cubicBezTo>
                  <a:pt x="1" y="5"/>
                  <a:pt x="1" y="6"/>
                  <a:pt x="2" y="6"/>
                </a:cubicBezTo>
                <a:cubicBezTo>
                  <a:pt x="3" y="7"/>
                  <a:pt x="4" y="6"/>
                  <a:pt x="4" y="5"/>
                </a:cubicBezTo>
                <a:lnTo>
                  <a:pt x="6" y="3"/>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090" name="Freeform 420">
            <a:extLst>
              <a:ext uri="{FF2B5EF4-FFF2-40B4-BE49-F238E27FC236}">
                <a16:creationId xmlns:a16="http://schemas.microsoft.com/office/drawing/2014/main" id="{1B7E16EA-7F1C-451A-9A50-F15EBB8B354E}"/>
              </a:ext>
            </a:extLst>
          </p:cNvPr>
          <p:cNvSpPr>
            <a:spLocks/>
          </p:cNvSpPr>
          <p:nvPr/>
        </p:nvSpPr>
        <p:spPr bwMode="auto">
          <a:xfrm>
            <a:off x="8308054" y="3681639"/>
            <a:ext cx="17741" cy="8869"/>
          </a:xfrm>
          <a:custGeom>
            <a:avLst/>
            <a:gdLst>
              <a:gd name="T0" fmla="*/ 5 w 11"/>
              <a:gd name="T1" fmla="*/ 6 h 6"/>
              <a:gd name="T2" fmla="*/ 9 w 11"/>
              <a:gd name="T3" fmla="*/ 5 h 6"/>
              <a:gd name="T4" fmla="*/ 10 w 11"/>
              <a:gd name="T5" fmla="*/ 2 h 6"/>
              <a:gd name="T6" fmla="*/ 7 w 11"/>
              <a:gd name="T7" fmla="*/ 3 h 6"/>
              <a:gd name="T8" fmla="*/ 6 w 11"/>
              <a:gd name="T9" fmla="*/ 2 h 6"/>
              <a:gd name="T10" fmla="*/ 2 w 11"/>
              <a:gd name="T11" fmla="*/ 0 h 6"/>
              <a:gd name="T12" fmla="*/ 0 w 11"/>
              <a:gd name="T13" fmla="*/ 2 h 6"/>
              <a:gd name="T14" fmla="*/ 4 w 11"/>
              <a:gd name="T15" fmla="*/ 5 h 6"/>
              <a:gd name="T16" fmla="*/ 5 w 11"/>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5" y="6"/>
                </a:moveTo>
                <a:cubicBezTo>
                  <a:pt x="6" y="6"/>
                  <a:pt x="9" y="6"/>
                  <a:pt x="9" y="5"/>
                </a:cubicBezTo>
                <a:cubicBezTo>
                  <a:pt x="10" y="5"/>
                  <a:pt x="11" y="2"/>
                  <a:pt x="10" y="2"/>
                </a:cubicBezTo>
                <a:cubicBezTo>
                  <a:pt x="10" y="2"/>
                  <a:pt x="8" y="3"/>
                  <a:pt x="7" y="3"/>
                </a:cubicBezTo>
                <a:cubicBezTo>
                  <a:pt x="6" y="2"/>
                  <a:pt x="6" y="2"/>
                  <a:pt x="6" y="2"/>
                </a:cubicBezTo>
                <a:cubicBezTo>
                  <a:pt x="5" y="1"/>
                  <a:pt x="3" y="0"/>
                  <a:pt x="2" y="0"/>
                </a:cubicBezTo>
                <a:cubicBezTo>
                  <a:pt x="1" y="0"/>
                  <a:pt x="0" y="2"/>
                  <a:pt x="0" y="2"/>
                </a:cubicBezTo>
                <a:cubicBezTo>
                  <a:pt x="0" y="3"/>
                  <a:pt x="2" y="5"/>
                  <a:pt x="4" y="5"/>
                </a:cubicBezTo>
                <a:lnTo>
                  <a:pt x="5" y="6"/>
                </a:lnTo>
                <a:close/>
              </a:path>
            </a:pathLst>
          </a:cu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05" name="Freeform 421">
            <a:extLst>
              <a:ext uri="{FF2B5EF4-FFF2-40B4-BE49-F238E27FC236}">
                <a16:creationId xmlns:a16="http://schemas.microsoft.com/office/drawing/2014/main" id="{48704FC7-2E77-4E62-9C2F-0210CFEB3FBB}"/>
              </a:ext>
            </a:extLst>
          </p:cNvPr>
          <p:cNvSpPr>
            <a:spLocks/>
          </p:cNvSpPr>
          <p:nvPr/>
        </p:nvSpPr>
        <p:spPr bwMode="auto">
          <a:xfrm>
            <a:off x="8308054" y="3681639"/>
            <a:ext cx="17741" cy="8869"/>
          </a:xfrm>
          <a:custGeom>
            <a:avLst/>
            <a:gdLst>
              <a:gd name="T0" fmla="*/ 5 w 11"/>
              <a:gd name="T1" fmla="*/ 6 h 6"/>
              <a:gd name="T2" fmla="*/ 9 w 11"/>
              <a:gd name="T3" fmla="*/ 5 h 6"/>
              <a:gd name="T4" fmla="*/ 10 w 11"/>
              <a:gd name="T5" fmla="*/ 2 h 6"/>
              <a:gd name="T6" fmla="*/ 7 w 11"/>
              <a:gd name="T7" fmla="*/ 3 h 6"/>
              <a:gd name="T8" fmla="*/ 6 w 11"/>
              <a:gd name="T9" fmla="*/ 2 h 6"/>
              <a:gd name="T10" fmla="*/ 2 w 11"/>
              <a:gd name="T11" fmla="*/ 0 h 6"/>
              <a:gd name="T12" fmla="*/ 0 w 11"/>
              <a:gd name="T13" fmla="*/ 2 h 6"/>
              <a:gd name="T14" fmla="*/ 4 w 11"/>
              <a:gd name="T15" fmla="*/ 5 h 6"/>
              <a:gd name="T16" fmla="*/ 5 w 11"/>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5" y="6"/>
                </a:moveTo>
                <a:cubicBezTo>
                  <a:pt x="6" y="6"/>
                  <a:pt x="9" y="6"/>
                  <a:pt x="9" y="5"/>
                </a:cubicBezTo>
                <a:cubicBezTo>
                  <a:pt x="10" y="5"/>
                  <a:pt x="11" y="2"/>
                  <a:pt x="10" y="2"/>
                </a:cubicBezTo>
                <a:cubicBezTo>
                  <a:pt x="10" y="2"/>
                  <a:pt x="8" y="3"/>
                  <a:pt x="7" y="3"/>
                </a:cubicBezTo>
                <a:cubicBezTo>
                  <a:pt x="6" y="2"/>
                  <a:pt x="6" y="2"/>
                  <a:pt x="6" y="2"/>
                </a:cubicBezTo>
                <a:cubicBezTo>
                  <a:pt x="5" y="1"/>
                  <a:pt x="3" y="0"/>
                  <a:pt x="2" y="0"/>
                </a:cubicBezTo>
                <a:cubicBezTo>
                  <a:pt x="1" y="0"/>
                  <a:pt x="0" y="2"/>
                  <a:pt x="0" y="2"/>
                </a:cubicBezTo>
                <a:cubicBezTo>
                  <a:pt x="0" y="3"/>
                  <a:pt x="2" y="5"/>
                  <a:pt x="4" y="5"/>
                </a:cubicBezTo>
                <a:lnTo>
                  <a:pt x="5" y="6"/>
                </a:lnTo>
                <a:close/>
              </a:path>
            </a:pathLst>
          </a:custGeom>
          <a:solidFill>
            <a:srgbClr val="D9D9D9"/>
          </a:solidFill>
          <a:ln w="0"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20" name="Oval 424">
            <a:extLst>
              <a:ext uri="{FF2B5EF4-FFF2-40B4-BE49-F238E27FC236}">
                <a16:creationId xmlns:a16="http://schemas.microsoft.com/office/drawing/2014/main" id="{E1167D36-8FBE-434E-A951-3FB941CFB499}"/>
              </a:ext>
            </a:extLst>
          </p:cNvPr>
          <p:cNvSpPr>
            <a:spLocks noChangeArrowheads="1"/>
          </p:cNvSpPr>
          <p:nvPr/>
        </p:nvSpPr>
        <p:spPr bwMode="auto">
          <a:xfrm>
            <a:off x="6134877" y="2998636"/>
            <a:ext cx="35480" cy="35480"/>
          </a:xfrm>
          <a:prstGeom prst="ellipse">
            <a:avLst/>
          </a:prstGeom>
          <a:solidFill>
            <a:srgbClr val="D9D9D9"/>
          </a:solidFill>
          <a:ln w="9525">
            <a:noFill/>
            <a:round/>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21" name="Oval 425">
            <a:extLst>
              <a:ext uri="{FF2B5EF4-FFF2-40B4-BE49-F238E27FC236}">
                <a16:creationId xmlns:a16="http://schemas.microsoft.com/office/drawing/2014/main" id="{A81F6CD9-B0E7-4DA5-A22A-76631FED8DFB}"/>
              </a:ext>
            </a:extLst>
          </p:cNvPr>
          <p:cNvSpPr>
            <a:spLocks noChangeArrowheads="1"/>
          </p:cNvSpPr>
          <p:nvPr/>
        </p:nvSpPr>
        <p:spPr bwMode="auto">
          <a:xfrm>
            <a:off x="6134877" y="2998636"/>
            <a:ext cx="35480" cy="35480"/>
          </a:xfrm>
          <a:prstGeom prst="ellipse">
            <a:avLst/>
          </a:prstGeom>
          <a:solidFill>
            <a:srgbClr val="D9D9D9"/>
          </a:solidFill>
          <a:ln w="4763" cap="flat">
            <a:noFill/>
            <a:prstDash val="solid"/>
            <a:miter lim="800000"/>
            <a:headEnd/>
            <a:tailEnd/>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22" name="Rectangle 2121">
            <a:extLst>
              <a:ext uri="{FF2B5EF4-FFF2-40B4-BE49-F238E27FC236}">
                <a16:creationId xmlns:a16="http://schemas.microsoft.com/office/drawing/2014/main" id="{D1BBE6BD-353E-4536-815E-57ADB15C0674}"/>
              </a:ext>
            </a:extLst>
          </p:cNvPr>
          <p:cNvSpPr/>
          <p:nvPr/>
        </p:nvSpPr>
        <p:spPr bwMode="auto">
          <a:xfrm>
            <a:off x="5573074" y="2430678"/>
            <a:ext cx="3497821" cy="257896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3" name="Oval 2122">
            <a:extLst>
              <a:ext uri="{FF2B5EF4-FFF2-40B4-BE49-F238E27FC236}">
                <a16:creationId xmlns:a16="http://schemas.microsoft.com/office/drawing/2014/main" id="{A4B4457C-E948-45D3-AFE2-1E17F613BB60}"/>
              </a:ext>
            </a:extLst>
          </p:cNvPr>
          <p:cNvSpPr/>
          <p:nvPr/>
        </p:nvSpPr>
        <p:spPr bwMode="auto">
          <a:xfrm>
            <a:off x="7617862" y="2696761"/>
            <a:ext cx="111186" cy="11118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4" name="Oval 2123">
            <a:extLst>
              <a:ext uri="{FF2B5EF4-FFF2-40B4-BE49-F238E27FC236}">
                <a16:creationId xmlns:a16="http://schemas.microsoft.com/office/drawing/2014/main" id="{0D8A3F95-A402-46A1-872A-71B94FB922D2}"/>
              </a:ext>
            </a:extLst>
          </p:cNvPr>
          <p:cNvSpPr/>
          <p:nvPr/>
        </p:nvSpPr>
        <p:spPr bwMode="auto">
          <a:xfrm>
            <a:off x="6068960" y="2786391"/>
            <a:ext cx="111186" cy="11118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5" name="Oval 2124">
            <a:extLst>
              <a:ext uri="{FF2B5EF4-FFF2-40B4-BE49-F238E27FC236}">
                <a16:creationId xmlns:a16="http://schemas.microsoft.com/office/drawing/2014/main" id="{81CA8E1F-0221-4A95-8FF1-3D7EF5357682}"/>
              </a:ext>
            </a:extLst>
          </p:cNvPr>
          <p:cNvSpPr/>
          <p:nvPr/>
        </p:nvSpPr>
        <p:spPr bwMode="auto">
          <a:xfrm>
            <a:off x="7661515" y="4599006"/>
            <a:ext cx="111186" cy="11118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6" name="Oval 2125">
            <a:extLst>
              <a:ext uri="{FF2B5EF4-FFF2-40B4-BE49-F238E27FC236}">
                <a16:creationId xmlns:a16="http://schemas.microsoft.com/office/drawing/2014/main" id="{44ECBBA3-1052-471A-B33D-E624FF4158A8}"/>
              </a:ext>
            </a:extLst>
          </p:cNvPr>
          <p:cNvSpPr/>
          <p:nvPr/>
        </p:nvSpPr>
        <p:spPr bwMode="auto">
          <a:xfrm>
            <a:off x="7557277" y="2485258"/>
            <a:ext cx="111186" cy="11118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7" name="Oval 2126">
            <a:extLst>
              <a:ext uri="{FF2B5EF4-FFF2-40B4-BE49-F238E27FC236}">
                <a16:creationId xmlns:a16="http://schemas.microsoft.com/office/drawing/2014/main" id="{4C1D48A1-BB79-4C41-9A11-15305E19E6BA}"/>
              </a:ext>
            </a:extLst>
          </p:cNvPr>
          <p:cNvSpPr/>
          <p:nvPr/>
        </p:nvSpPr>
        <p:spPr bwMode="auto">
          <a:xfrm>
            <a:off x="5985434" y="4241645"/>
            <a:ext cx="111186" cy="11118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8" name="Oval 2127">
            <a:extLst>
              <a:ext uri="{FF2B5EF4-FFF2-40B4-BE49-F238E27FC236}">
                <a16:creationId xmlns:a16="http://schemas.microsoft.com/office/drawing/2014/main" id="{C1F63083-01E3-44FC-889F-453AFECFA41B}"/>
              </a:ext>
            </a:extLst>
          </p:cNvPr>
          <p:cNvSpPr/>
          <p:nvPr/>
        </p:nvSpPr>
        <p:spPr bwMode="auto">
          <a:xfrm>
            <a:off x="6425559" y="4183735"/>
            <a:ext cx="111186" cy="11118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9" name="Oval 2128">
            <a:extLst>
              <a:ext uri="{FF2B5EF4-FFF2-40B4-BE49-F238E27FC236}">
                <a16:creationId xmlns:a16="http://schemas.microsoft.com/office/drawing/2014/main" id="{11FE2356-49BA-4197-B796-A6C790642E50}"/>
              </a:ext>
            </a:extLst>
          </p:cNvPr>
          <p:cNvSpPr/>
          <p:nvPr/>
        </p:nvSpPr>
        <p:spPr bwMode="auto">
          <a:xfrm>
            <a:off x="6263408" y="4652813"/>
            <a:ext cx="111186" cy="11118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0" name="Oval 2129">
            <a:extLst>
              <a:ext uri="{FF2B5EF4-FFF2-40B4-BE49-F238E27FC236}">
                <a16:creationId xmlns:a16="http://schemas.microsoft.com/office/drawing/2014/main" id="{C8350841-AC08-444F-A19C-431A8298F298}"/>
              </a:ext>
            </a:extLst>
          </p:cNvPr>
          <p:cNvSpPr/>
          <p:nvPr/>
        </p:nvSpPr>
        <p:spPr bwMode="auto">
          <a:xfrm>
            <a:off x="7641692" y="2898111"/>
            <a:ext cx="111186" cy="11118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1" name="Oval 2130">
            <a:extLst>
              <a:ext uri="{FF2B5EF4-FFF2-40B4-BE49-F238E27FC236}">
                <a16:creationId xmlns:a16="http://schemas.microsoft.com/office/drawing/2014/main" id="{71BF4ACF-CADB-40AE-B2EC-D2E6709C91FD}"/>
              </a:ext>
            </a:extLst>
          </p:cNvPr>
          <p:cNvSpPr/>
          <p:nvPr/>
        </p:nvSpPr>
        <p:spPr bwMode="auto">
          <a:xfrm>
            <a:off x="7792252" y="2683838"/>
            <a:ext cx="111186" cy="11118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2" name="Oval 2131">
            <a:extLst>
              <a:ext uri="{FF2B5EF4-FFF2-40B4-BE49-F238E27FC236}">
                <a16:creationId xmlns:a16="http://schemas.microsoft.com/office/drawing/2014/main" id="{80A66A99-6806-4A12-86FC-1E200AADC272}"/>
              </a:ext>
            </a:extLst>
          </p:cNvPr>
          <p:cNvSpPr/>
          <p:nvPr/>
        </p:nvSpPr>
        <p:spPr bwMode="auto">
          <a:xfrm>
            <a:off x="5603221" y="2735963"/>
            <a:ext cx="111186" cy="11118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3" name="Oval 2132">
            <a:extLst>
              <a:ext uri="{FF2B5EF4-FFF2-40B4-BE49-F238E27FC236}">
                <a16:creationId xmlns:a16="http://schemas.microsoft.com/office/drawing/2014/main" id="{5B7F53F1-73D3-4C47-9CB6-DBC728A7676D}"/>
              </a:ext>
            </a:extLst>
          </p:cNvPr>
          <p:cNvSpPr/>
          <p:nvPr/>
        </p:nvSpPr>
        <p:spPr bwMode="auto">
          <a:xfrm>
            <a:off x="5991204" y="2950227"/>
            <a:ext cx="111186" cy="11118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34" name="Group 2133">
            <a:extLst>
              <a:ext uri="{FF2B5EF4-FFF2-40B4-BE49-F238E27FC236}">
                <a16:creationId xmlns:a16="http://schemas.microsoft.com/office/drawing/2014/main" id="{6C87D7BE-6A3E-4776-83E4-8F1A1ECA5088}"/>
              </a:ext>
            </a:extLst>
          </p:cNvPr>
          <p:cNvGrpSpPr/>
          <p:nvPr/>
        </p:nvGrpSpPr>
        <p:grpSpPr>
          <a:xfrm>
            <a:off x="7297667" y="2798234"/>
            <a:ext cx="316178" cy="316181"/>
            <a:chOff x="7444139" y="2853773"/>
            <a:chExt cx="322554" cy="322557"/>
          </a:xfrm>
        </p:grpSpPr>
        <p:sp>
          <p:nvSpPr>
            <p:cNvPr id="2135" name="Oval 2134">
              <a:extLst>
                <a:ext uri="{FF2B5EF4-FFF2-40B4-BE49-F238E27FC236}">
                  <a16:creationId xmlns:a16="http://schemas.microsoft.com/office/drawing/2014/main" id="{1F21CCCB-9890-4AE8-ABE3-DAA6B1DF09B3}"/>
                </a:ext>
              </a:extLst>
            </p:cNvPr>
            <p:cNvSpPr/>
            <p:nvPr/>
          </p:nvSpPr>
          <p:spPr bwMode="auto">
            <a:xfrm>
              <a:off x="7444139" y="2853773"/>
              <a:ext cx="322554" cy="322557"/>
            </a:xfrm>
            <a:prstGeom prst="ellipse">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2136" name="Freeform 5">
              <a:extLst>
                <a:ext uri="{FF2B5EF4-FFF2-40B4-BE49-F238E27FC236}">
                  <a16:creationId xmlns:a16="http://schemas.microsoft.com/office/drawing/2014/main" id="{3A050A97-26F2-4FB1-89E1-FE230EC1AD56}"/>
                </a:ext>
              </a:extLst>
            </p:cNvPr>
            <p:cNvSpPr>
              <a:spLocks noEditPoints="1"/>
            </p:cNvSpPr>
            <p:nvPr/>
          </p:nvSpPr>
          <p:spPr bwMode="auto">
            <a:xfrm>
              <a:off x="7532690" y="2926788"/>
              <a:ext cx="150740" cy="171975"/>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nvGrpSpPr>
          <p:cNvPr id="2137" name="Group 2136">
            <a:extLst>
              <a:ext uri="{FF2B5EF4-FFF2-40B4-BE49-F238E27FC236}">
                <a16:creationId xmlns:a16="http://schemas.microsoft.com/office/drawing/2014/main" id="{70F3BDAE-CF10-46E9-BE2C-F311DFFE38A5}"/>
              </a:ext>
            </a:extLst>
          </p:cNvPr>
          <p:cNvGrpSpPr/>
          <p:nvPr/>
        </p:nvGrpSpPr>
        <p:grpSpPr>
          <a:xfrm>
            <a:off x="5673303" y="2975866"/>
            <a:ext cx="316178" cy="316178"/>
            <a:chOff x="8358225" y="2185205"/>
            <a:chExt cx="314175" cy="314175"/>
          </a:xfrm>
        </p:grpSpPr>
        <p:sp>
          <p:nvSpPr>
            <p:cNvPr id="2138" name="Oval 2137">
              <a:extLst>
                <a:ext uri="{FF2B5EF4-FFF2-40B4-BE49-F238E27FC236}">
                  <a16:creationId xmlns:a16="http://schemas.microsoft.com/office/drawing/2014/main" id="{F18C87EE-E97F-42A4-AF3F-65B7372D7979}"/>
                </a:ext>
              </a:extLst>
            </p:cNvPr>
            <p:cNvSpPr/>
            <p:nvPr/>
          </p:nvSpPr>
          <p:spPr bwMode="auto">
            <a:xfrm>
              <a:off x="8358225" y="2185205"/>
              <a:ext cx="314175" cy="314175"/>
            </a:xfrm>
            <a:prstGeom prst="ellipse">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2139" name="Freeform 5">
              <a:extLst>
                <a:ext uri="{FF2B5EF4-FFF2-40B4-BE49-F238E27FC236}">
                  <a16:creationId xmlns:a16="http://schemas.microsoft.com/office/drawing/2014/main" id="{755E3C18-54B7-4EC1-ADA0-D55079D7DD43}"/>
                </a:ext>
              </a:extLst>
            </p:cNvPr>
            <p:cNvSpPr>
              <a:spLocks noEditPoints="1"/>
            </p:cNvSpPr>
            <p:nvPr/>
          </p:nvSpPr>
          <p:spPr bwMode="auto">
            <a:xfrm>
              <a:off x="8445392" y="2251503"/>
              <a:ext cx="146824" cy="167507"/>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nvGrpSpPr>
          <p:cNvPr id="2140" name="Group 2139">
            <a:extLst>
              <a:ext uri="{FF2B5EF4-FFF2-40B4-BE49-F238E27FC236}">
                <a16:creationId xmlns:a16="http://schemas.microsoft.com/office/drawing/2014/main" id="{24D7D445-BCFD-448B-AB9B-411E02D54F4C}"/>
              </a:ext>
            </a:extLst>
          </p:cNvPr>
          <p:cNvGrpSpPr/>
          <p:nvPr/>
        </p:nvGrpSpPr>
        <p:grpSpPr>
          <a:xfrm>
            <a:off x="8566307" y="3352546"/>
            <a:ext cx="316178" cy="316178"/>
            <a:chOff x="11232903" y="2559499"/>
            <a:chExt cx="314175" cy="314175"/>
          </a:xfrm>
        </p:grpSpPr>
        <p:sp>
          <p:nvSpPr>
            <p:cNvPr id="2141" name="Oval 2140">
              <a:extLst>
                <a:ext uri="{FF2B5EF4-FFF2-40B4-BE49-F238E27FC236}">
                  <a16:creationId xmlns:a16="http://schemas.microsoft.com/office/drawing/2014/main" id="{86589509-26A4-48DF-BA1D-46EAC3F9ECB2}"/>
                </a:ext>
              </a:extLst>
            </p:cNvPr>
            <p:cNvSpPr/>
            <p:nvPr/>
          </p:nvSpPr>
          <p:spPr bwMode="auto">
            <a:xfrm>
              <a:off x="11232903" y="2559499"/>
              <a:ext cx="314175" cy="314175"/>
            </a:xfrm>
            <a:prstGeom prst="ellipse">
              <a:avLst/>
            </a:prstGeom>
            <a:solidFill>
              <a:schemeClr val="accent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2" name="Freeform 5">
              <a:extLst>
                <a:ext uri="{FF2B5EF4-FFF2-40B4-BE49-F238E27FC236}">
                  <a16:creationId xmlns:a16="http://schemas.microsoft.com/office/drawing/2014/main" id="{B60D6C9C-8C76-44C1-A07E-651973E86567}"/>
                </a:ext>
              </a:extLst>
            </p:cNvPr>
            <p:cNvSpPr>
              <a:spLocks noEditPoints="1"/>
            </p:cNvSpPr>
            <p:nvPr/>
          </p:nvSpPr>
          <p:spPr bwMode="auto">
            <a:xfrm>
              <a:off x="11319477" y="2626850"/>
              <a:ext cx="146824" cy="167507"/>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sp>
        <p:nvSpPr>
          <p:cNvPr id="2143" name="Rectangle 2142">
            <a:extLst>
              <a:ext uri="{FF2B5EF4-FFF2-40B4-BE49-F238E27FC236}">
                <a16:creationId xmlns:a16="http://schemas.microsoft.com/office/drawing/2014/main" id="{B71E7360-6ABC-43B7-BCC0-1D45086A3EA6}"/>
              </a:ext>
            </a:extLst>
          </p:cNvPr>
          <p:cNvSpPr/>
          <p:nvPr/>
        </p:nvSpPr>
        <p:spPr bwMode="auto">
          <a:xfrm>
            <a:off x="9356043" y="2564929"/>
            <a:ext cx="1504221" cy="127809"/>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cs typeface="Segoe UI" pitchFamily="34" charset="0"/>
            </a:endParaRPr>
          </a:p>
        </p:txBody>
      </p:sp>
      <p:sp>
        <p:nvSpPr>
          <p:cNvPr id="2144" name="Rectangle 2143">
            <a:extLst>
              <a:ext uri="{FF2B5EF4-FFF2-40B4-BE49-F238E27FC236}">
                <a16:creationId xmlns:a16="http://schemas.microsoft.com/office/drawing/2014/main" id="{1513021F-1B6D-4BD4-8AB2-F8B2BE1CF2AC}"/>
              </a:ext>
            </a:extLst>
          </p:cNvPr>
          <p:cNvSpPr/>
          <p:nvPr/>
        </p:nvSpPr>
        <p:spPr bwMode="auto">
          <a:xfrm>
            <a:off x="9358451" y="3007009"/>
            <a:ext cx="1496084" cy="127809"/>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cs typeface="Segoe UI" pitchFamily="34" charset="0"/>
            </a:endParaRPr>
          </a:p>
        </p:txBody>
      </p:sp>
      <p:grpSp>
        <p:nvGrpSpPr>
          <p:cNvPr id="2145" name="Group 2144">
            <a:extLst>
              <a:ext uri="{FF2B5EF4-FFF2-40B4-BE49-F238E27FC236}">
                <a16:creationId xmlns:a16="http://schemas.microsoft.com/office/drawing/2014/main" id="{5DFF6F34-ABFE-4083-9854-3F0A33633FAE}"/>
              </a:ext>
            </a:extLst>
          </p:cNvPr>
          <p:cNvGrpSpPr/>
          <p:nvPr/>
        </p:nvGrpSpPr>
        <p:grpSpPr>
          <a:xfrm>
            <a:off x="10068518" y="2869456"/>
            <a:ext cx="270770" cy="237594"/>
            <a:chOff x="9827309" y="3012003"/>
            <a:chExt cx="269055" cy="236088"/>
          </a:xfrm>
        </p:grpSpPr>
        <p:sp>
          <p:nvSpPr>
            <p:cNvPr id="2146" name="Freeform 525">
              <a:extLst>
                <a:ext uri="{FF2B5EF4-FFF2-40B4-BE49-F238E27FC236}">
                  <a16:creationId xmlns:a16="http://schemas.microsoft.com/office/drawing/2014/main" id="{B4632AB5-FEF1-4098-9916-E886F0A6819F}"/>
                </a:ext>
              </a:extLst>
            </p:cNvPr>
            <p:cNvSpPr>
              <a:spLocks/>
            </p:cNvSpPr>
            <p:nvPr/>
          </p:nvSpPr>
          <p:spPr bwMode="auto">
            <a:xfrm>
              <a:off x="9955771" y="3213844"/>
              <a:ext cx="81111" cy="30642"/>
            </a:xfrm>
            <a:custGeom>
              <a:avLst/>
              <a:gdLst>
                <a:gd name="T0" fmla="*/ 19 w 19"/>
                <a:gd name="T1" fmla="*/ 4 h 7"/>
                <a:gd name="T2" fmla="*/ 19 w 19"/>
                <a:gd name="T3" fmla="*/ 4 h 7"/>
                <a:gd name="T4" fmla="*/ 16 w 19"/>
                <a:gd name="T5" fmla="*/ 1 h 7"/>
                <a:gd name="T6" fmla="*/ 16 w 19"/>
                <a:gd name="T7" fmla="*/ 1 h 7"/>
                <a:gd name="T8" fmla="*/ 13 w 19"/>
                <a:gd name="T9" fmla="*/ 0 h 7"/>
                <a:gd name="T10" fmla="*/ 10 w 19"/>
                <a:gd name="T11" fmla="*/ 0 h 7"/>
                <a:gd name="T12" fmla="*/ 3 w 19"/>
                <a:gd name="T13" fmla="*/ 1 h 7"/>
                <a:gd name="T14" fmla="*/ 3 w 19"/>
                <a:gd name="T15" fmla="*/ 1 h 7"/>
                <a:gd name="T16" fmla="*/ 3 w 19"/>
                <a:gd name="T17" fmla="*/ 1 h 7"/>
                <a:gd name="T18" fmla="*/ 0 w 19"/>
                <a:gd name="T19" fmla="*/ 3 h 7"/>
                <a:gd name="T20" fmla="*/ 0 w 19"/>
                <a:gd name="T21" fmla="*/ 4 h 7"/>
                <a:gd name="T22" fmla="*/ 4 w 19"/>
                <a:gd name="T23" fmla="*/ 2 h 7"/>
                <a:gd name="T24" fmla="*/ 10 w 19"/>
                <a:gd name="T25" fmla="*/ 1 h 7"/>
                <a:gd name="T26" fmla="*/ 12 w 19"/>
                <a:gd name="T27" fmla="*/ 2 h 7"/>
                <a:gd name="T28" fmla="*/ 14 w 19"/>
                <a:gd name="T29" fmla="*/ 2 h 7"/>
                <a:gd name="T30" fmla="*/ 16 w 19"/>
                <a:gd name="T31" fmla="*/ 4 h 7"/>
                <a:gd name="T32" fmla="*/ 13 w 19"/>
                <a:gd name="T33" fmla="*/ 7 h 7"/>
                <a:gd name="T34" fmla="*/ 17 w 19"/>
                <a:gd name="T35" fmla="*/ 6 h 7"/>
                <a:gd name="T36" fmla="*/ 19 w 19"/>
                <a:gd name="T3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7">
                  <a:moveTo>
                    <a:pt x="19" y="4"/>
                  </a:moveTo>
                  <a:cubicBezTo>
                    <a:pt x="19" y="4"/>
                    <a:pt x="19" y="4"/>
                    <a:pt x="19" y="4"/>
                  </a:cubicBezTo>
                  <a:cubicBezTo>
                    <a:pt x="16" y="1"/>
                    <a:pt x="16" y="1"/>
                    <a:pt x="16" y="1"/>
                  </a:cubicBezTo>
                  <a:cubicBezTo>
                    <a:pt x="16" y="1"/>
                    <a:pt x="16" y="1"/>
                    <a:pt x="16" y="1"/>
                  </a:cubicBezTo>
                  <a:cubicBezTo>
                    <a:pt x="16" y="1"/>
                    <a:pt x="15" y="0"/>
                    <a:pt x="13" y="0"/>
                  </a:cubicBezTo>
                  <a:cubicBezTo>
                    <a:pt x="12" y="0"/>
                    <a:pt x="10" y="0"/>
                    <a:pt x="10" y="0"/>
                  </a:cubicBezTo>
                  <a:cubicBezTo>
                    <a:pt x="3" y="1"/>
                    <a:pt x="3" y="1"/>
                    <a:pt x="3" y="1"/>
                  </a:cubicBezTo>
                  <a:cubicBezTo>
                    <a:pt x="3" y="1"/>
                    <a:pt x="3" y="1"/>
                    <a:pt x="3" y="1"/>
                  </a:cubicBezTo>
                  <a:cubicBezTo>
                    <a:pt x="3" y="1"/>
                    <a:pt x="3" y="1"/>
                    <a:pt x="3" y="1"/>
                  </a:cubicBezTo>
                  <a:cubicBezTo>
                    <a:pt x="0" y="3"/>
                    <a:pt x="0" y="3"/>
                    <a:pt x="0" y="3"/>
                  </a:cubicBezTo>
                  <a:cubicBezTo>
                    <a:pt x="0" y="4"/>
                    <a:pt x="0" y="4"/>
                    <a:pt x="0" y="4"/>
                  </a:cubicBezTo>
                  <a:cubicBezTo>
                    <a:pt x="4" y="2"/>
                    <a:pt x="4" y="2"/>
                    <a:pt x="4" y="2"/>
                  </a:cubicBezTo>
                  <a:cubicBezTo>
                    <a:pt x="10" y="1"/>
                    <a:pt x="10" y="1"/>
                    <a:pt x="10" y="1"/>
                  </a:cubicBezTo>
                  <a:cubicBezTo>
                    <a:pt x="10" y="2"/>
                    <a:pt x="11" y="2"/>
                    <a:pt x="12" y="2"/>
                  </a:cubicBezTo>
                  <a:cubicBezTo>
                    <a:pt x="12" y="2"/>
                    <a:pt x="13" y="2"/>
                    <a:pt x="14" y="2"/>
                  </a:cubicBezTo>
                  <a:cubicBezTo>
                    <a:pt x="16" y="4"/>
                    <a:pt x="16" y="4"/>
                    <a:pt x="16" y="4"/>
                  </a:cubicBezTo>
                  <a:cubicBezTo>
                    <a:pt x="13" y="7"/>
                    <a:pt x="13" y="7"/>
                    <a:pt x="13" y="7"/>
                  </a:cubicBezTo>
                  <a:cubicBezTo>
                    <a:pt x="17" y="6"/>
                    <a:pt x="17" y="6"/>
                    <a:pt x="17" y="6"/>
                  </a:cubicBezTo>
                  <a:cubicBezTo>
                    <a:pt x="19" y="4"/>
                    <a:pt x="19" y="4"/>
                    <a:pt x="19" y="4"/>
                  </a:cubicBezTo>
                  <a:close/>
                </a:path>
              </a:pathLst>
            </a:custGeom>
            <a:solidFill>
              <a:srgbClr val="4D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47" name="Freeform 526">
              <a:extLst>
                <a:ext uri="{FF2B5EF4-FFF2-40B4-BE49-F238E27FC236}">
                  <a16:creationId xmlns:a16="http://schemas.microsoft.com/office/drawing/2014/main" id="{E5E726A6-8D6F-4CF3-B8B0-47773A35E57B}"/>
                </a:ext>
              </a:extLst>
            </p:cNvPr>
            <p:cNvSpPr>
              <a:spLocks noEditPoints="1"/>
            </p:cNvSpPr>
            <p:nvPr/>
          </p:nvSpPr>
          <p:spPr bwMode="auto">
            <a:xfrm>
              <a:off x="9950364" y="3210239"/>
              <a:ext cx="93728" cy="37852"/>
            </a:xfrm>
            <a:custGeom>
              <a:avLst/>
              <a:gdLst>
                <a:gd name="T0" fmla="*/ 11 w 22"/>
                <a:gd name="T1" fmla="*/ 9 h 9"/>
                <a:gd name="T2" fmla="*/ 16 w 22"/>
                <a:gd name="T3" fmla="*/ 5 h 9"/>
                <a:gd name="T4" fmla="*/ 14 w 22"/>
                <a:gd name="T5" fmla="*/ 4 h 9"/>
                <a:gd name="T6" fmla="*/ 13 w 22"/>
                <a:gd name="T7" fmla="*/ 4 h 9"/>
                <a:gd name="T8" fmla="*/ 10 w 22"/>
                <a:gd name="T9" fmla="*/ 3 h 9"/>
                <a:gd name="T10" fmla="*/ 6 w 22"/>
                <a:gd name="T11" fmla="*/ 3 h 9"/>
                <a:gd name="T12" fmla="*/ 0 w 22"/>
                <a:gd name="T13" fmla="*/ 7 h 9"/>
                <a:gd name="T14" fmla="*/ 0 w 22"/>
                <a:gd name="T15" fmla="*/ 3 h 9"/>
                <a:gd name="T16" fmla="*/ 3 w 22"/>
                <a:gd name="T17" fmla="*/ 1 h 9"/>
                <a:gd name="T18" fmla="*/ 3 w 22"/>
                <a:gd name="T19" fmla="*/ 1 h 9"/>
                <a:gd name="T20" fmla="*/ 4 w 22"/>
                <a:gd name="T21" fmla="*/ 1 h 9"/>
                <a:gd name="T22" fmla="*/ 4 w 22"/>
                <a:gd name="T23" fmla="*/ 1 h 9"/>
                <a:gd name="T24" fmla="*/ 10 w 22"/>
                <a:gd name="T25" fmla="*/ 1 h 9"/>
                <a:gd name="T26" fmla="*/ 15 w 22"/>
                <a:gd name="T27" fmla="*/ 0 h 9"/>
                <a:gd name="T28" fmla="*/ 17 w 22"/>
                <a:gd name="T29" fmla="*/ 2 h 9"/>
                <a:gd name="T30" fmla="*/ 18 w 22"/>
                <a:gd name="T31" fmla="*/ 2 h 9"/>
                <a:gd name="T32" fmla="*/ 21 w 22"/>
                <a:gd name="T33" fmla="*/ 4 h 9"/>
                <a:gd name="T34" fmla="*/ 22 w 22"/>
                <a:gd name="T35" fmla="*/ 5 h 9"/>
                <a:gd name="T36" fmla="*/ 21 w 22"/>
                <a:gd name="T37" fmla="*/ 5 h 9"/>
                <a:gd name="T38" fmla="*/ 22 w 22"/>
                <a:gd name="T39" fmla="*/ 5 h 9"/>
                <a:gd name="T40" fmla="*/ 21 w 22"/>
                <a:gd name="T41" fmla="*/ 6 h 9"/>
                <a:gd name="T42" fmla="*/ 18 w 22"/>
                <a:gd name="T43" fmla="*/ 8 h 9"/>
                <a:gd name="T44" fmla="*/ 11 w 22"/>
                <a:gd name="T45" fmla="*/ 9 h 9"/>
                <a:gd name="T46" fmla="*/ 18 w 22"/>
                <a:gd name="T47" fmla="*/ 5 h 9"/>
                <a:gd name="T48" fmla="*/ 19 w 22"/>
                <a:gd name="T49" fmla="*/ 5 h 9"/>
                <a:gd name="T50" fmla="*/ 17 w 22"/>
                <a:gd name="T51" fmla="*/ 7 h 9"/>
                <a:gd name="T52" fmla="*/ 18 w 22"/>
                <a:gd name="T53" fmla="*/ 6 h 9"/>
                <a:gd name="T54" fmla="*/ 19 w 22"/>
                <a:gd name="T55" fmla="*/ 5 h 9"/>
                <a:gd name="T56" fmla="*/ 18 w 22"/>
                <a:gd name="T57" fmla="*/ 5 h 9"/>
                <a:gd name="T58" fmla="*/ 15 w 22"/>
                <a:gd name="T59" fmla="*/ 2 h 9"/>
                <a:gd name="T60" fmla="*/ 18 w 22"/>
                <a:gd name="T61" fmla="*/ 4 h 9"/>
                <a:gd name="T62" fmla="*/ 18 w 22"/>
                <a:gd name="T63" fmla="*/ 4 h 9"/>
                <a:gd name="T64" fmla="*/ 16 w 22"/>
                <a:gd name="T65" fmla="*/ 2 h 9"/>
                <a:gd name="T66" fmla="*/ 16 w 22"/>
                <a:gd name="T67" fmla="*/ 2 h 9"/>
                <a:gd name="T68" fmla="*/ 14 w 22"/>
                <a:gd name="T69" fmla="*/ 2 h 9"/>
                <a:gd name="T70" fmla="*/ 11 w 22"/>
                <a:gd name="T71" fmla="*/ 2 h 9"/>
                <a:gd name="T72" fmla="*/ 13 w 22"/>
                <a:gd name="T73" fmla="*/ 2 h 9"/>
                <a:gd name="T74" fmla="*/ 15 w 22"/>
                <a:gd name="T75" fmla="*/ 2 h 9"/>
                <a:gd name="T76" fmla="*/ 2 w 22"/>
                <a:gd name="T77" fmla="*/ 4 h 9"/>
                <a:gd name="T78" fmla="*/ 2 w 22"/>
                <a:gd name="T79" fmla="*/ 4 h 9"/>
                <a:gd name="T80" fmla="*/ 4 w 22"/>
                <a:gd name="T81" fmla="*/ 2 h 9"/>
                <a:gd name="T82" fmla="*/ 4 w 22"/>
                <a:gd name="T83" fmla="*/ 2 h 9"/>
                <a:gd name="T84" fmla="*/ 2 w 22"/>
                <a:gd name="T8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 h="9">
                  <a:moveTo>
                    <a:pt x="11" y="9"/>
                  </a:moveTo>
                  <a:cubicBezTo>
                    <a:pt x="16" y="5"/>
                    <a:pt x="16" y="5"/>
                    <a:pt x="16" y="5"/>
                  </a:cubicBezTo>
                  <a:cubicBezTo>
                    <a:pt x="14" y="4"/>
                    <a:pt x="14" y="4"/>
                    <a:pt x="14" y="4"/>
                  </a:cubicBezTo>
                  <a:cubicBezTo>
                    <a:pt x="14" y="4"/>
                    <a:pt x="13" y="4"/>
                    <a:pt x="13" y="4"/>
                  </a:cubicBezTo>
                  <a:cubicBezTo>
                    <a:pt x="12" y="4"/>
                    <a:pt x="11" y="3"/>
                    <a:pt x="10" y="3"/>
                  </a:cubicBezTo>
                  <a:cubicBezTo>
                    <a:pt x="6" y="3"/>
                    <a:pt x="6" y="3"/>
                    <a:pt x="6" y="3"/>
                  </a:cubicBezTo>
                  <a:cubicBezTo>
                    <a:pt x="0" y="7"/>
                    <a:pt x="0" y="7"/>
                    <a:pt x="0" y="7"/>
                  </a:cubicBezTo>
                  <a:cubicBezTo>
                    <a:pt x="0" y="3"/>
                    <a:pt x="0" y="3"/>
                    <a:pt x="0" y="3"/>
                  </a:cubicBezTo>
                  <a:cubicBezTo>
                    <a:pt x="3" y="1"/>
                    <a:pt x="3" y="1"/>
                    <a:pt x="3" y="1"/>
                  </a:cubicBezTo>
                  <a:cubicBezTo>
                    <a:pt x="3" y="1"/>
                    <a:pt x="3" y="1"/>
                    <a:pt x="3" y="1"/>
                  </a:cubicBezTo>
                  <a:cubicBezTo>
                    <a:pt x="4" y="1"/>
                    <a:pt x="4" y="1"/>
                    <a:pt x="4" y="1"/>
                  </a:cubicBezTo>
                  <a:cubicBezTo>
                    <a:pt x="4" y="1"/>
                    <a:pt x="4" y="1"/>
                    <a:pt x="4" y="1"/>
                  </a:cubicBezTo>
                  <a:cubicBezTo>
                    <a:pt x="10" y="1"/>
                    <a:pt x="10" y="1"/>
                    <a:pt x="10" y="1"/>
                  </a:cubicBezTo>
                  <a:cubicBezTo>
                    <a:pt x="11" y="0"/>
                    <a:pt x="13" y="0"/>
                    <a:pt x="15" y="0"/>
                  </a:cubicBezTo>
                  <a:cubicBezTo>
                    <a:pt x="15" y="0"/>
                    <a:pt x="17" y="1"/>
                    <a:pt x="17" y="2"/>
                  </a:cubicBezTo>
                  <a:cubicBezTo>
                    <a:pt x="18" y="2"/>
                    <a:pt x="18" y="2"/>
                    <a:pt x="18" y="2"/>
                  </a:cubicBezTo>
                  <a:cubicBezTo>
                    <a:pt x="21" y="4"/>
                    <a:pt x="21" y="4"/>
                    <a:pt x="21" y="4"/>
                  </a:cubicBezTo>
                  <a:cubicBezTo>
                    <a:pt x="22" y="5"/>
                    <a:pt x="22" y="5"/>
                    <a:pt x="22" y="5"/>
                  </a:cubicBezTo>
                  <a:cubicBezTo>
                    <a:pt x="21" y="5"/>
                    <a:pt x="21" y="5"/>
                    <a:pt x="21" y="5"/>
                  </a:cubicBezTo>
                  <a:cubicBezTo>
                    <a:pt x="22" y="5"/>
                    <a:pt x="22" y="5"/>
                    <a:pt x="22" y="5"/>
                  </a:cubicBezTo>
                  <a:cubicBezTo>
                    <a:pt x="21" y="6"/>
                    <a:pt x="21" y="6"/>
                    <a:pt x="21" y="6"/>
                  </a:cubicBezTo>
                  <a:cubicBezTo>
                    <a:pt x="18" y="8"/>
                    <a:pt x="18" y="8"/>
                    <a:pt x="18" y="8"/>
                  </a:cubicBezTo>
                  <a:lnTo>
                    <a:pt x="11" y="9"/>
                  </a:lnTo>
                  <a:close/>
                  <a:moveTo>
                    <a:pt x="18" y="5"/>
                  </a:moveTo>
                  <a:cubicBezTo>
                    <a:pt x="19" y="5"/>
                    <a:pt x="19" y="5"/>
                    <a:pt x="19" y="5"/>
                  </a:cubicBezTo>
                  <a:cubicBezTo>
                    <a:pt x="17" y="7"/>
                    <a:pt x="17" y="7"/>
                    <a:pt x="17" y="7"/>
                  </a:cubicBezTo>
                  <a:cubicBezTo>
                    <a:pt x="18" y="6"/>
                    <a:pt x="18" y="6"/>
                    <a:pt x="18" y="6"/>
                  </a:cubicBezTo>
                  <a:cubicBezTo>
                    <a:pt x="19" y="5"/>
                    <a:pt x="19" y="5"/>
                    <a:pt x="19" y="5"/>
                  </a:cubicBezTo>
                  <a:lnTo>
                    <a:pt x="18" y="5"/>
                  </a:lnTo>
                  <a:close/>
                  <a:moveTo>
                    <a:pt x="15" y="2"/>
                  </a:moveTo>
                  <a:cubicBezTo>
                    <a:pt x="18" y="4"/>
                    <a:pt x="18" y="4"/>
                    <a:pt x="18" y="4"/>
                  </a:cubicBezTo>
                  <a:cubicBezTo>
                    <a:pt x="18" y="4"/>
                    <a:pt x="18" y="4"/>
                    <a:pt x="18" y="4"/>
                  </a:cubicBezTo>
                  <a:cubicBezTo>
                    <a:pt x="16" y="2"/>
                    <a:pt x="16" y="2"/>
                    <a:pt x="16" y="2"/>
                  </a:cubicBezTo>
                  <a:cubicBezTo>
                    <a:pt x="16" y="2"/>
                    <a:pt x="16" y="2"/>
                    <a:pt x="16" y="2"/>
                  </a:cubicBezTo>
                  <a:cubicBezTo>
                    <a:pt x="16" y="2"/>
                    <a:pt x="15" y="2"/>
                    <a:pt x="14" y="2"/>
                  </a:cubicBezTo>
                  <a:cubicBezTo>
                    <a:pt x="13" y="1"/>
                    <a:pt x="12" y="2"/>
                    <a:pt x="11" y="2"/>
                  </a:cubicBezTo>
                  <a:cubicBezTo>
                    <a:pt x="12" y="2"/>
                    <a:pt x="12" y="2"/>
                    <a:pt x="13" y="2"/>
                  </a:cubicBezTo>
                  <a:cubicBezTo>
                    <a:pt x="13" y="2"/>
                    <a:pt x="14" y="2"/>
                    <a:pt x="15" y="2"/>
                  </a:cubicBezTo>
                  <a:close/>
                  <a:moveTo>
                    <a:pt x="2" y="4"/>
                  </a:moveTo>
                  <a:cubicBezTo>
                    <a:pt x="2" y="4"/>
                    <a:pt x="2" y="4"/>
                    <a:pt x="2" y="4"/>
                  </a:cubicBezTo>
                  <a:cubicBezTo>
                    <a:pt x="4" y="2"/>
                    <a:pt x="4" y="2"/>
                    <a:pt x="4" y="2"/>
                  </a:cubicBezTo>
                  <a:cubicBezTo>
                    <a:pt x="4" y="2"/>
                    <a:pt x="4" y="2"/>
                    <a:pt x="4" y="2"/>
                  </a:cubicBezTo>
                  <a:lnTo>
                    <a:pt x="2" y="4"/>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48" name="Rectangle 527">
              <a:extLst>
                <a:ext uri="{FF2B5EF4-FFF2-40B4-BE49-F238E27FC236}">
                  <a16:creationId xmlns:a16="http://schemas.microsoft.com/office/drawing/2014/main" id="{6725D173-A2E4-4FAA-B310-69723E0B185A}"/>
                </a:ext>
              </a:extLst>
            </p:cNvPr>
            <p:cNvSpPr>
              <a:spLocks noChangeArrowheads="1"/>
            </p:cNvSpPr>
            <p:nvPr/>
          </p:nvSpPr>
          <p:spPr bwMode="auto">
            <a:xfrm>
              <a:off x="9943154" y="3028190"/>
              <a:ext cx="147802" cy="72099"/>
            </a:xfrm>
            <a:prstGeom prst="rect">
              <a:avLst/>
            </a:prstGeom>
            <a:solidFill>
              <a:srgbClr val="BCC1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49" name="Freeform 528">
              <a:extLst>
                <a:ext uri="{FF2B5EF4-FFF2-40B4-BE49-F238E27FC236}">
                  <a16:creationId xmlns:a16="http://schemas.microsoft.com/office/drawing/2014/main" id="{7E1882AA-990F-43B7-83C1-C9BEF7847EC7}"/>
                </a:ext>
              </a:extLst>
            </p:cNvPr>
            <p:cNvSpPr>
              <a:spLocks noEditPoints="1"/>
            </p:cNvSpPr>
            <p:nvPr/>
          </p:nvSpPr>
          <p:spPr bwMode="auto">
            <a:xfrm>
              <a:off x="9937747" y="3022783"/>
              <a:ext cx="158617" cy="81111"/>
            </a:xfrm>
            <a:custGeom>
              <a:avLst/>
              <a:gdLst>
                <a:gd name="T0" fmla="*/ 88 w 88"/>
                <a:gd name="T1" fmla="*/ 45 h 45"/>
                <a:gd name="T2" fmla="*/ 0 w 88"/>
                <a:gd name="T3" fmla="*/ 45 h 45"/>
                <a:gd name="T4" fmla="*/ 0 w 88"/>
                <a:gd name="T5" fmla="*/ 0 h 45"/>
                <a:gd name="T6" fmla="*/ 88 w 88"/>
                <a:gd name="T7" fmla="*/ 0 h 45"/>
                <a:gd name="T8" fmla="*/ 88 w 88"/>
                <a:gd name="T9" fmla="*/ 45 h 45"/>
                <a:gd name="T10" fmla="*/ 5 w 88"/>
                <a:gd name="T11" fmla="*/ 43 h 45"/>
                <a:gd name="T12" fmla="*/ 83 w 88"/>
                <a:gd name="T13" fmla="*/ 43 h 45"/>
                <a:gd name="T14" fmla="*/ 83 w 88"/>
                <a:gd name="T15" fmla="*/ 3 h 45"/>
                <a:gd name="T16" fmla="*/ 5 w 88"/>
                <a:gd name="T17" fmla="*/ 3 h 45"/>
                <a:gd name="T18" fmla="*/ 5 w 88"/>
                <a:gd name="T19"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5">
                  <a:moveTo>
                    <a:pt x="88" y="45"/>
                  </a:moveTo>
                  <a:lnTo>
                    <a:pt x="0" y="45"/>
                  </a:lnTo>
                  <a:lnTo>
                    <a:pt x="0" y="0"/>
                  </a:lnTo>
                  <a:lnTo>
                    <a:pt x="88" y="0"/>
                  </a:lnTo>
                  <a:lnTo>
                    <a:pt x="88" y="45"/>
                  </a:lnTo>
                  <a:close/>
                  <a:moveTo>
                    <a:pt x="5" y="43"/>
                  </a:moveTo>
                  <a:lnTo>
                    <a:pt x="83" y="43"/>
                  </a:lnTo>
                  <a:lnTo>
                    <a:pt x="83" y="3"/>
                  </a:lnTo>
                  <a:lnTo>
                    <a:pt x="5" y="3"/>
                  </a:lnTo>
                  <a:lnTo>
                    <a:pt x="5" y="43"/>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50" name="Freeform 529">
              <a:extLst>
                <a:ext uri="{FF2B5EF4-FFF2-40B4-BE49-F238E27FC236}">
                  <a16:creationId xmlns:a16="http://schemas.microsoft.com/office/drawing/2014/main" id="{2829F285-803B-4979-B043-E585B7D38879}"/>
                </a:ext>
              </a:extLst>
            </p:cNvPr>
            <p:cNvSpPr>
              <a:spLocks/>
            </p:cNvSpPr>
            <p:nvPr/>
          </p:nvSpPr>
          <p:spPr bwMode="auto">
            <a:xfrm>
              <a:off x="9971994" y="3062437"/>
              <a:ext cx="72099" cy="63086"/>
            </a:xfrm>
            <a:custGeom>
              <a:avLst/>
              <a:gdLst>
                <a:gd name="T0" fmla="*/ 14 w 40"/>
                <a:gd name="T1" fmla="*/ 0 h 35"/>
                <a:gd name="T2" fmla="*/ 0 w 40"/>
                <a:gd name="T3" fmla="*/ 35 h 35"/>
                <a:gd name="T4" fmla="*/ 40 w 40"/>
                <a:gd name="T5" fmla="*/ 35 h 35"/>
                <a:gd name="T6" fmla="*/ 31 w 40"/>
                <a:gd name="T7" fmla="*/ 0 h 35"/>
                <a:gd name="T8" fmla="*/ 14 w 40"/>
                <a:gd name="T9" fmla="*/ 0 h 35"/>
              </a:gdLst>
              <a:ahLst/>
              <a:cxnLst>
                <a:cxn ang="0">
                  <a:pos x="T0" y="T1"/>
                </a:cxn>
                <a:cxn ang="0">
                  <a:pos x="T2" y="T3"/>
                </a:cxn>
                <a:cxn ang="0">
                  <a:pos x="T4" y="T5"/>
                </a:cxn>
                <a:cxn ang="0">
                  <a:pos x="T6" y="T7"/>
                </a:cxn>
                <a:cxn ang="0">
                  <a:pos x="T8" y="T9"/>
                </a:cxn>
              </a:cxnLst>
              <a:rect l="0" t="0" r="r" b="b"/>
              <a:pathLst>
                <a:path w="40" h="35">
                  <a:moveTo>
                    <a:pt x="14" y="0"/>
                  </a:moveTo>
                  <a:lnTo>
                    <a:pt x="0" y="35"/>
                  </a:lnTo>
                  <a:lnTo>
                    <a:pt x="40" y="35"/>
                  </a:lnTo>
                  <a:lnTo>
                    <a:pt x="31" y="0"/>
                  </a:lnTo>
                  <a:lnTo>
                    <a:pt x="14" y="0"/>
                  </a:lnTo>
                  <a:close/>
                </a:path>
              </a:pathLst>
            </a:custGeom>
            <a:solidFill>
              <a:srgbClr val="A7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51" name="Freeform 530">
              <a:extLst>
                <a:ext uri="{FF2B5EF4-FFF2-40B4-BE49-F238E27FC236}">
                  <a16:creationId xmlns:a16="http://schemas.microsoft.com/office/drawing/2014/main" id="{9BFC4A4F-4CD0-4107-A1C9-F6A3005CE09F}"/>
                </a:ext>
              </a:extLst>
            </p:cNvPr>
            <p:cNvSpPr>
              <a:spLocks noEditPoints="1"/>
            </p:cNvSpPr>
            <p:nvPr/>
          </p:nvSpPr>
          <p:spPr bwMode="auto">
            <a:xfrm>
              <a:off x="9968389" y="3062437"/>
              <a:ext cx="81111" cy="63086"/>
            </a:xfrm>
            <a:custGeom>
              <a:avLst/>
              <a:gdLst>
                <a:gd name="T0" fmla="*/ 45 w 45"/>
                <a:gd name="T1" fmla="*/ 35 h 35"/>
                <a:gd name="T2" fmla="*/ 0 w 45"/>
                <a:gd name="T3" fmla="*/ 35 h 35"/>
                <a:gd name="T4" fmla="*/ 16 w 45"/>
                <a:gd name="T5" fmla="*/ 0 h 35"/>
                <a:gd name="T6" fmla="*/ 33 w 45"/>
                <a:gd name="T7" fmla="*/ 0 h 35"/>
                <a:gd name="T8" fmla="*/ 45 w 45"/>
                <a:gd name="T9" fmla="*/ 35 h 35"/>
                <a:gd name="T10" fmla="*/ 4 w 45"/>
                <a:gd name="T11" fmla="*/ 33 h 35"/>
                <a:gd name="T12" fmla="*/ 40 w 45"/>
                <a:gd name="T13" fmla="*/ 33 h 35"/>
                <a:gd name="T14" fmla="*/ 30 w 45"/>
                <a:gd name="T15" fmla="*/ 2 h 35"/>
                <a:gd name="T16" fmla="*/ 19 w 45"/>
                <a:gd name="T17" fmla="*/ 2 h 35"/>
                <a:gd name="T18" fmla="*/ 4 w 45"/>
                <a:gd name="T19"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5">
                  <a:moveTo>
                    <a:pt x="45" y="35"/>
                  </a:moveTo>
                  <a:lnTo>
                    <a:pt x="0" y="35"/>
                  </a:lnTo>
                  <a:lnTo>
                    <a:pt x="16" y="0"/>
                  </a:lnTo>
                  <a:lnTo>
                    <a:pt x="33" y="0"/>
                  </a:lnTo>
                  <a:lnTo>
                    <a:pt x="45" y="35"/>
                  </a:lnTo>
                  <a:close/>
                  <a:moveTo>
                    <a:pt x="4" y="33"/>
                  </a:moveTo>
                  <a:lnTo>
                    <a:pt x="40" y="33"/>
                  </a:lnTo>
                  <a:lnTo>
                    <a:pt x="30" y="2"/>
                  </a:lnTo>
                  <a:lnTo>
                    <a:pt x="19" y="2"/>
                  </a:lnTo>
                  <a:lnTo>
                    <a:pt x="4" y="33"/>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52" name="Freeform 531">
              <a:extLst>
                <a:ext uri="{FF2B5EF4-FFF2-40B4-BE49-F238E27FC236}">
                  <a16:creationId xmlns:a16="http://schemas.microsoft.com/office/drawing/2014/main" id="{6991ECA4-110C-4EBC-8DCC-D6DAB4CE3D92}"/>
                </a:ext>
              </a:extLst>
            </p:cNvPr>
            <p:cNvSpPr>
              <a:spLocks/>
            </p:cNvSpPr>
            <p:nvPr/>
          </p:nvSpPr>
          <p:spPr bwMode="auto">
            <a:xfrm>
              <a:off x="9984611" y="3125523"/>
              <a:ext cx="43259" cy="68494"/>
            </a:xfrm>
            <a:custGeom>
              <a:avLst/>
              <a:gdLst>
                <a:gd name="T0" fmla="*/ 5 w 24"/>
                <a:gd name="T1" fmla="*/ 0 h 38"/>
                <a:gd name="T2" fmla="*/ 0 w 24"/>
                <a:gd name="T3" fmla="*/ 38 h 38"/>
                <a:gd name="T4" fmla="*/ 24 w 24"/>
                <a:gd name="T5" fmla="*/ 38 h 38"/>
                <a:gd name="T6" fmla="*/ 21 w 24"/>
                <a:gd name="T7" fmla="*/ 0 h 38"/>
                <a:gd name="T8" fmla="*/ 5 w 24"/>
                <a:gd name="T9" fmla="*/ 0 h 38"/>
              </a:gdLst>
              <a:ahLst/>
              <a:cxnLst>
                <a:cxn ang="0">
                  <a:pos x="T0" y="T1"/>
                </a:cxn>
                <a:cxn ang="0">
                  <a:pos x="T2" y="T3"/>
                </a:cxn>
                <a:cxn ang="0">
                  <a:pos x="T4" y="T5"/>
                </a:cxn>
                <a:cxn ang="0">
                  <a:pos x="T6" y="T7"/>
                </a:cxn>
                <a:cxn ang="0">
                  <a:pos x="T8" y="T9"/>
                </a:cxn>
              </a:cxnLst>
              <a:rect l="0" t="0" r="r" b="b"/>
              <a:pathLst>
                <a:path w="24" h="38">
                  <a:moveTo>
                    <a:pt x="5" y="0"/>
                  </a:moveTo>
                  <a:lnTo>
                    <a:pt x="0" y="38"/>
                  </a:lnTo>
                  <a:lnTo>
                    <a:pt x="24" y="38"/>
                  </a:lnTo>
                  <a:lnTo>
                    <a:pt x="21" y="0"/>
                  </a:lnTo>
                  <a:lnTo>
                    <a:pt x="5" y="0"/>
                  </a:lnTo>
                  <a:close/>
                </a:path>
              </a:pathLst>
            </a:custGeom>
            <a:solidFill>
              <a:srgbClr val="A9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53" name="Freeform 532">
              <a:extLst>
                <a:ext uri="{FF2B5EF4-FFF2-40B4-BE49-F238E27FC236}">
                  <a16:creationId xmlns:a16="http://schemas.microsoft.com/office/drawing/2014/main" id="{6B3E6A45-4D72-4DDE-8AEC-9E18AF17E837}"/>
                </a:ext>
              </a:extLst>
            </p:cNvPr>
            <p:cNvSpPr>
              <a:spLocks noEditPoints="1"/>
            </p:cNvSpPr>
            <p:nvPr/>
          </p:nvSpPr>
          <p:spPr bwMode="auto">
            <a:xfrm>
              <a:off x="9984611" y="3121918"/>
              <a:ext cx="43259" cy="75704"/>
            </a:xfrm>
            <a:custGeom>
              <a:avLst/>
              <a:gdLst>
                <a:gd name="T0" fmla="*/ 24 w 24"/>
                <a:gd name="T1" fmla="*/ 42 h 42"/>
                <a:gd name="T2" fmla="*/ 0 w 24"/>
                <a:gd name="T3" fmla="*/ 42 h 42"/>
                <a:gd name="T4" fmla="*/ 3 w 24"/>
                <a:gd name="T5" fmla="*/ 0 h 42"/>
                <a:gd name="T6" fmla="*/ 24 w 24"/>
                <a:gd name="T7" fmla="*/ 0 h 42"/>
                <a:gd name="T8" fmla="*/ 24 w 24"/>
                <a:gd name="T9" fmla="*/ 42 h 42"/>
                <a:gd name="T10" fmla="*/ 3 w 24"/>
                <a:gd name="T11" fmla="*/ 40 h 42"/>
                <a:gd name="T12" fmla="*/ 21 w 24"/>
                <a:gd name="T13" fmla="*/ 40 h 42"/>
                <a:gd name="T14" fmla="*/ 21 w 24"/>
                <a:gd name="T15" fmla="*/ 2 h 42"/>
                <a:gd name="T16" fmla="*/ 7 w 24"/>
                <a:gd name="T17" fmla="*/ 2 h 42"/>
                <a:gd name="T18" fmla="*/ 3 w 24"/>
                <a:gd name="T19"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2">
                  <a:moveTo>
                    <a:pt x="24" y="42"/>
                  </a:moveTo>
                  <a:lnTo>
                    <a:pt x="0" y="42"/>
                  </a:lnTo>
                  <a:lnTo>
                    <a:pt x="3" y="0"/>
                  </a:lnTo>
                  <a:lnTo>
                    <a:pt x="24" y="0"/>
                  </a:lnTo>
                  <a:lnTo>
                    <a:pt x="24" y="42"/>
                  </a:lnTo>
                  <a:close/>
                  <a:moveTo>
                    <a:pt x="3" y="40"/>
                  </a:moveTo>
                  <a:lnTo>
                    <a:pt x="21" y="40"/>
                  </a:lnTo>
                  <a:lnTo>
                    <a:pt x="21" y="2"/>
                  </a:lnTo>
                  <a:lnTo>
                    <a:pt x="7" y="2"/>
                  </a:lnTo>
                  <a:lnTo>
                    <a:pt x="3" y="40"/>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54" name="Freeform 533">
              <a:extLst>
                <a:ext uri="{FF2B5EF4-FFF2-40B4-BE49-F238E27FC236}">
                  <a16:creationId xmlns:a16="http://schemas.microsoft.com/office/drawing/2014/main" id="{2EBB797B-6C64-433E-A3CB-59CE1ECEF2FC}"/>
                </a:ext>
              </a:extLst>
            </p:cNvPr>
            <p:cNvSpPr>
              <a:spLocks/>
            </p:cNvSpPr>
            <p:nvPr/>
          </p:nvSpPr>
          <p:spPr bwMode="auto">
            <a:xfrm>
              <a:off x="9993623" y="3103894"/>
              <a:ext cx="28839" cy="50469"/>
            </a:xfrm>
            <a:custGeom>
              <a:avLst/>
              <a:gdLst>
                <a:gd name="T0" fmla="*/ 4 w 7"/>
                <a:gd name="T1" fmla="*/ 12 h 12"/>
                <a:gd name="T2" fmla="*/ 3 w 7"/>
                <a:gd name="T3" fmla="*/ 12 h 12"/>
                <a:gd name="T4" fmla="*/ 0 w 7"/>
                <a:gd name="T5" fmla="*/ 10 h 12"/>
                <a:gd name="T6" fmla="*/ 0 w 7"/>
                <a:gd name="T7" fmla="*/ 3 h 12"/>
                <a:gd name="T8" fmla="*/ 3 w 7"/>
                <a:gd name="T9" fmla="*/ 0 h 12"/>
                <a:gd name="T10" fmla="*/ 4 w 7"/>
                <a:gd name="T11" fmla="*/ 0 h 12"/>
                <a:gd name="T12" fmla="*/ 7 w 7"/>
                <a:gd name="T13" fmla="*/ 3 h 12"/>
                <a:gd name="T14" fmla="*/ 7 w 7"/>
                <a:gd name="T15" fmla="*/ 10 h 12"/>
                <a:gd name="T16" fmla="*/ 4 w 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2">
                  <a:moveTo>
                    <a:pt x="4" y="12"/>
                  </a:moveTo>
                  <a:cubicBezTo>
                    <a:pt x="3" y="12"/>
                    <a:pt x="3" y="12"/>
                    <a:pt x="3" y="12"/>
                  </a:cubicBezTo>
                  <a:cubicBezTo>
                    <a:pt x="1" y="12"/>
                    <a:pt x="0" y="11"/>
                    <a:pt x="0" y="10"/>
                  </a:cubicBezTo>
                  <a:cubicBezTo>
                    <a:pt x="0" y="3"/>
                    <a:pt x="0" y="3"/>
                    <a:pt x="0" y="3"/>
                  </a:cubicBezTo>
                  <a:cubicBezTo>
                    <a:pt x="0" y="1"/>
                    <a:pt x="1" y="0"/>
                    <a:pt x="3" y="0"/>
                  </a:cubicBezTo>
                  <a:cubicBezTo>
                    <a:pt x="4" y="0"/>
                    <a:pt x="4" y="0"/>
                    <a:pt x="4" y="0"/>
                  </a:cubicBezTo>
                  <a:cubicBezTo>
                    <a:pt x="5" y="0"/>
                    <a:pt x="7" y="1"/>
                    <a:pt x="7" y="3"/>
                  </a:cubicBezTo>
                  <a:cubicBezTo>
                    <a:pt x="7" y="10"/>
                    <a:pt x="7" y="10"/>
                    <a:pt x="7" y="10"/>
                  </a:cubicBezTo>
                  <a:cubicBezTo>
                    <a:pt x="7" y="11"/>
                    <a:pt x="5" y="12"/>
                    <a:pt x="4" y="12"/>
                  </a:cubicBezTo>
                  <a:close/>
                </a:path>
              </a:pathLst>
            </a:custGeom>
            <a:solidFill>
              <a:srgbClr val="DB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55" name="Freeform 534">
              <a:extLst>
                <a:ext uri="{FF2B5EF4-FFF2-40B4-BE49-F238E27FC236}">
                  <a16:creationId xmlns:a16="http://schemas.microsoft.com/office/drawing/2014/main" id="{487F5592-1CDF-4684-A9BF-3F695BD57627}"/>
                </a:ext>
              </a:extLst>
            </p:cNvPr>
            <p:cNvSpPr>
              <a:spLocks noEditPoints="1"/>
            </p:cNvSpPr>
            <p:nvPr/>
          </p:nvSpPr>
          <p:spPr bwMode="auto">
            <a:xfrm>
              <a:off x="9990018" y="3100289"/>
              <a:ext cx="32444" cy="59481"/>
            </a:xfrm>
            <a:custGeom>
              <a:avLst/>
              <a:gdLst>
                <a:gd name="T0" fmla="*/ 5 w 8"/>
                <a:gd name="T1" fmla="*/ 14 h 14"/>
                <a:gd name="T2" fmla="*/ 4 w 8"/>
                <a:gd name="T3" fmla="*/ 14 h 14"/>
                <a:gd name="T4" fmla="*/ 0 w 8"/>
                <a:gd name="T5" fmla="*/ 11 h 14"/>
                <a:gd name="T6" fmla="*/ 0 w 8"/>
                <a:gd name="T7" fmla="*/ 4 h 14"/>
                <a:gd name="T8" fmla="*/ 4 w 8"/>
                <a:gd name="T9" fmla="*/ 0 h 14"/>
                <a:gd name="T10" fmla="*/ 5 w 8"/>
                <a:gd name="T11" fmla="*/ 0 h 14"/>
                <a:gd name="T12" fmla="*/ 8 w 8"/>
                <a:gd name="T13" fmla="*/ 4 h 14"/>
                <a:gd name="T14" fmla="*/ 8 w 8"/>
                <a:gd name="T15" fmla="*/ 11 h 14"/>
                <a:gd name="T16" fmla="*/ 5 w 8"/>
                <a:gd name="T17" fmla="*/ 14 h 14"/>
                <a:gd name="T18" fmla="*/ 4 w 8"/>
                <a:gd name="T19" fmla="*/ 2 h 14"/>
                <a:gd name="T20" fmla="*/ 2 w 8"/>
                <a:gd name="T21" fmla="*/ 4 h 14"/>
                <a:gd name="T22" fmla="*/ 2 w 8"/>
                <a:gd name="T23" fmla="*/ 11 h 14"/>
                <a:gd name="T24" fmla="*/ 4 w 8"/>
                <a:gd name="T25" fmla="*/ 13 h 14"/>
                <a:gd name="T26" fmla="*/ 5 w 8"/>
                <a:gd name="T27" fmla="*/ 13 h 14"/>
                <a:gd name="T28" fmla="*/ 7 w 8"/>
                <a:gd name="T29" fmla="*/ 11 h 14"/>
                <a:gd name="T30" fmla="*/ 7 w 8"/>
                <a:gd name="T31" fmla="*/ 4 h 14"/>
                <a:gd name="T32" fmla="*/ 5 w 8"/>
                <a:gd name="T33" fmla="*/ 2 h 14"/>
                <a:gd name="T34" fmla="*/ 4 w 8"/>
                <a:gd name="T3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5" y="14"/>
                  </a:moveTo>
                  <a:cubicBezTo>
                    <a:pt x="4" y="14"/>
                    <a:pt x="4" y="14"/>
                    <a:pt x="4" y="14"/>
                  </a:cubicBezTo>
                  <a:cubicBezTo>
                    <a:pt x="2" y="14"/>
                    <a:pt x="0" y="13"/>
                    <a:pt x="0" y="11"/>
                  </a:cubicBezTo>
                  <a:cubicBezTo>
                    <a:pt x="0" y="4"/>
                    <a:pt x="0" y="4"/>
                    <a:pt x="0" y="4"/>
                  </a:cubicBezTo>
                  <a:cubicBezTo>
                    <a:pt x="0" y="2"/>
                    <a:pt x="2" y="0"/>
                    <a:pt x="4" y="0"/>
                  </a:cubicBezTo>
                  <a:cubicBezTo>
                    <a:pt x="5" y="0"/>
                    <a:pt x="5" y="0"/>
                    <a:pt x="5" y="0"/>
                  </a:cubicBezTo>
                  <a:cubicBezTo>
                    <a:pt x="7" y="0"/>
                    <a:pt x="8" y="2"/>
                    <a:pt x="8" y="4"/>
                  </a:cubicBezTo>
                  <a:cubicBezTo>
                    <a:pt x="8" y="11"/>
                    <a:pt x="8" y="11"/>
                    <a:pt x="8" y="11"/>
                  </a:cubicBezTo>
                  <a:cubicBezTo>
                    <a:pt x="8" y="13"/>
                    <a:pt x="7" y="14"/>
                    <a:pt x="5" y="14"/>
                  </a:cubicBezTo>
                  <a:close/>
                  <a:moveTo>
                    <a:pt x="4" y="2"/>
                  </a:moveTo>
                  <a:cubicBezTo>
                    <a:pt x="3" y="2"/>
                    <a:pt x="2" y="3"/>
                    <a:pt x="2" y="4"/>
                  </a:cubicBezTo>
                  <a:cubicBezTo>
                    <a:pt x="2" y="11"/>
                    <a:pt x="2" y="11"/>
                    <a:pt x="2" y="11"/>
                  </a:cubicBezTo>
                  <a:cubicBezTo>
                    <a:pt x="2" y="12"/>
                    <a:pt x="3" y="13"/>
                    <a:pt x="4" y="13"/>
                  </a:cubicBezTo>
                  <a:cubicBezTo>
                    <a:pt x="5" y="13"/>
                    <a:pt x="5" y="13"/>
                    <a:pt x="5" y="13"/>
                  </a:cubicBezTo>
                  <a:cubicBezTo>
                    <a:pt x="6" y="13"/>
                    <a:pt x="7" y="12"/>
                    <a:pt x="7" y="11"/>
                  </a:cubicBezTo>
                  <a:cubicBezTo>
                    <a:pt x="7" y="4"/>
                    <a:pt x="7" y="4"/>
                    <a:pt x="7" y="4"/>
                  </a:cubicBezTo>
                  <a:cubicBezTo>
                    <a:pt x="7" y="3"/>
                    <a:pt x="6" y="2"/>
                    <a:pt x="5" y="2"/>
                  </a:cubicBezTo>
                  <a:lnTo>
                    <a:pt x="4" y="2"/>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56" name="Freeform 535">
              <a:extLst>
                <a:ext uri="{FF2B5EF4-FFF2-40B4-BE49-F238E27FC236}">
                  <a16:creationId xmlns:a16="http://schemas.microsoft.com/office/drawing/2014/main" id="{E7A01589-C7CC-4E41-9E2D-7D87F2594931}"/>
                </a:ext>
              </a:extLst>
            </p:cNvPr>
            <p:cNvSpPr>
              <a:spLocks/>
            </p:cNvSpPr>
            <p:nvPr/>
          </p:nvSpPr>
          <p:spPr bwMode="auto">
            <a:xfrm>
              <a:off x="9997228" y="3185005"/>
              <a:ext cx="21630" cy="34247"/>
            </a:xfrm>
            <a:custGeom>
              <a:avLst/>
              <a:gdLst>
                <a:gd name="T0" fmla="*/ 3 w 5"/>
                <a:gd name="T1" fmla="*/ 8 h 8"/>
                <a:gd name="T2" fmla="*/ 2 w 5"/>
                <a:gd name="T3" fmla="*/ 8 h 8"/>
                <a:gd name="T4" fmla="*/ 0 w 5"/>
                <a:gd name="T5" fmla="*/ 6 h 8"/>
                <a:gd name="T6" fmla="*/ 0 w 5"/>
                <a:gd name="T7" fmla="*/ 2 h 8"/>
                <a:gd name="T8" fmla="*/ 2 w 5"/>
                <a:gd name="T9" fmla="*/ 0 h 8"/>
                <a:gd name="T10" fmla="*/ 3 w 5"/>
                <a:gd name="T11" fmla="*/ 0 h 8"/>
                <a:gd name="T12" fmla="*/ 5 w 5"/>
                <a:gd name="T13" fmla="*/ 2 h 8"/>
                <a:gd name="T14" fmla="*/ 5 w 5"/>
                <a:gd name="T15" fmla="*/ 6 h 8"/>
                <a:gd name="T16" fmla="*/ 3 w 5"/>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3" y="8"/>
                  </a:moveTo>
                  <a:cubicBezTo>
                    <a:pt x="2" y="8"/>
                    <a:pt x="2" y="8"/>
                    <a:pt x="2" y="8"/>
                  </a:cubicBezTo>
                  <a:cubicBezTo>
                    <a:pt x="1" y="8"/>
                    <a:pt x="0" y="7"/>
                    <a:pt x="0" y="6"/>
                  </a:cubicBezTo>
                  <a:cubicBezTo>
                    <a:pt x="0" y="2"/>
                    <a:pt x="0" y="2"/>
                    <a:pt x="0" y="2"/>
                  </a:cubicBezTo>
                  <a:cubicBezTo>
                    <a:pt x="0" y="1"/>
                    <a:pt x="1" y="0"/>
                    <a:pt x="2" y="0"/>
                  </a:cubicBezTo>
                  <a:cubicBezTo>
                    <a:pt x="3" y="0"/>
                    <a:pt x="3" y="0"/>
                    <a:pt x="3" y="0"/>
                  </a:cubicBezTo>
                  <a:cubicBezTo>
                    <a:pt x="4" y="0"/>
                    <a:pt x="5" y="1"/>
                    <a:pt x="5" y="2"/>
                  </a:cubicBezTo>
                  <a:cubicBezTo>
                    <a:pt x="5" y="6"/>
                    <a:pt x="5" y="6"/>
                    <a:pt x="5" y="6"/>
                  </a:cubicBezTo>
                  <a:cubicBezTo>
                    <a:pt x="5" y="7"/>
                    <a:pt x="4" y="8"/>
                    <a:pt x="3" y="8"/>
                  </a:cubicBezTo>
                  <a:close/>
                </a:path>
              </a:pathLst>
            </a:custGeom>
            <a:solidFill>
              <a:srgbClr val="DB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57" name="Freeform 536">
              <a:extLst>
                <a:ext uri="{FF2B5EF4-FFF2-40B4-BE49-F238E27FC236}">
                  <a16:creationId xmlns:a16="http://schemas.microsoft.com/office/drawing/2014/main" id="{B7B178C3-681E-4F01-B307-EEB98407618A}"/>
                </a:ext>
              </a:extLst>
            </p:cNvPr>
            <p:cNvSpPr>
              <a:spLocks noEditPoints="1"/>
            </p:cNvSpPr>
            <p:nvPr/>
          </p:nvSpPr>
          <p:spPr bwMode="auto">
            <a:xfrm>
              <a:off x="9997228" y="3181400"/>
              <a:ext cx="21630" cy="41457"/>
            </a:xfrm>
            <a:custGeom>
              <a:avLst/>
              <a:gdLst>
                <a:gd name="T0" fmla="*/ 3 w 5"/>
                <a:gd name="T1" fmla="*/ 10 h 10"/>
                <a:gd name="T2" fmla="*/ 2 w 5"/>
                <a:gd name="T3" fmla="*/ 10 h 10"/>
                <a:gd name="T4" fmla="*/ 0 w 5"/>
                <a:gd name="T5" fmla="*/ 7 h 10"/>
                <a:gd name="T6" fmla="*/ 0 w 5"/>
                <a:gd name="T7" fmla="*/ 3 h 10"/>
                <a:gd name="T8" fmla="*/ 2 w 5"/>
                <a:gd name="T9" fmla="*/ 0 h 10"/>
                <a:gd name="T10" fmla="*/ 3 w 5"/>
                <a:gd name="T11" fmla="*/ 0 h 10"/>
                <a:gd name="T12" fmla="*/ 5 w 5"/>
                <a:gd name="T13" fmla="*/ 3 h 10"/>
                <a:gd name="T14" fmla="*/ 5 w 5"/>
                <a:gd name="T15" fmla="*/ 7 h 10"/>
                <a:gd name="T16" fmla="*/ 3 w 5"/>
                <a:gd name="T17" fmla="*/ 10 h 10"/>
                <a:gd name="T18" fmla="*/ 2 w 5"/>
                <a:gd name="T19" fmla="*/ 1 h 10"/>
                <a:gd name="T20" fmla="*/ 1 w 5"/>
                <a:gd name="T21" fmla="*/ 3 h 10"/>
                <a:gd name="T22" fmla="*/ 1 w 5"/>
                <a:gd name="T23" fmla="*/ 7 h 10"/>
                <a:gd name="T24" fmla="*/ 2 w 5"/>
                <a:gd name="T25" fmla="*/ 8 h 10"/>
                <a:gd name="T26" fmla="*/ 3 w 5"/>
                <a:gd name="T27" fmla="*/ 8 h 10"/>
                <a:gd name="T28" fmla="*/ 4 w 5"/>
                <a:gd name="T29" fmla="*/ 7 h 10"/>
                <a:gd name="T30" fmla="*/ 4 w 5"/>
                <a:gd name="T31" fmla="*/ 3 h 10"/>
                <a:gd name="T32" fmla="*/ 3 w 5"/>
                <a:gd name="T33" fmla="*/ 1 h 10"/>
                <a:gd name="T34" fmla="*/ 2 w 5"/>
                <a:gd name="T3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0">
                  <a:moveTo>
                    <a:pt x="3" y="10"/>
                  </a:moveTo>
                  <a:cubicBezTo>
                    <a:pt x="2" y="10"/>
                    <a:pt x="2" y="10"/>
                    <a:pt x="2" y="10"/>
                  </a:cubicBezTo>
                  <a:cubicBezTo>
                    <a:pt x="1" y="10"/>
                    <a:pt x="0" y="8"/>
                    <a:pt x="0" y="7"/>
                  </a:cubicBezTo>
                  <a:cubicBezTo>
                    <a:pt x="0" y="3"/>
                    <a:pt x="0" y="3"/>
                    <a:pt x="0" y="3"/>
                  </a:cubicBezTo>
                  <a:cubicBezTo>
                    <a:pt x="0" y="1"/>
                    <a:pt x="1" y="0"/>
                    <a:pt x="2" y="0"/>
                  </a:cubicBezTo>
                  <a:cubicBezTo>
                    <a:pt x="3" y="0"/>
                    <a:pt x="3" y="0"/>
                    <a:pt x="3" y="0"/>
                  </a:cubicBezTo>
                  <a:cubicBezTo>
                    <a:pt x="4" y="0"/>
                    <a:pt x="5" y="1"/>
                    <a:pt x="5" y="3"/>
                  </a:cubicBezTo>
                  <a:cubicBezTo>
                    <a:pt x="5" y="7"/>
                    <a:pt x="5" y="7"/>
                    <a:pt x="5" y="7"/>
                  </a:cubicBezTo>
                  <a:cubicBezTo>
                    <a:pt x="5" y="8"/>
                    <a:pt x="4" y="10"/>
                    <a:pt x="3" y="10"/>
                  </a:cubicBezTo>
                  <a:close/>
                  <a:moveTo>
                    <a:pt x="2" y="1"/>
                  </a:moveTo>
                  <a:cubicBezTo>
                    <a:pt x="1" y="1"/>
                    <a:pt x="1" y="2"/>
                    <a:pt x="1" y="3"/>
                  </a:cubicBezTo>
                  <a:cubicBezTo>
                    <a:pt x="1" y="7"/>
                    <a:pt x="1" y="7"/>
                    <a:pt x="1" y="7"/>
                  </a:cubicBezTo>
                  <a:cubicBezTo>
                    <a:pt x="1" y="8"/>
                    <a:pt x="1" y="8"/>
                    <a:pt x="2" y="8"/>
                  </a:cubicBezTo>
                  <a:cubicBezTo>
                    <a:pt x="3" y="8"/>
                    <a:pt x="3" y="8"/>
                    <a:pt x="3" y="8"/>
                  </a:cubicBezTo>
                  <a:cubicBezTo>
                    <a:pt x="3" y="8"/>
                    <a:pt x="4" y="8"/>
                    <a:pt x="4" y="7"/>
                  </a:cubicBezTo>
                  <a:cubicBezTo>
                    <a:pt x="4" y="3"/>
                    <a:pt x="4" y="3"/>
                    <a:pt x="4" y="3"/>
                  </a:cubicBezTo>
                  <a:cubicBezTo>
                    <a:pt x="4" y="2"/>
                    <a:pt x="3" y="1"/>
                    <a:pt x="3" y="1"/>
                  </a:cubicBezTo>
                  <a:lnTo>
                    <a:pt x="2"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58" name="Oval 537">
              <a:extLst>
                <a:ext uri="{FF2B5EF4-FFF2-40B4-BE49-F238E27FC236}">
                  <a16:creationId xmlns:a16="http://schemas.microsoft.com/office/drawing/2014/main" id="{4E9707E7-2238-48E6-83E1-098C35FA1CD6}"/>
                </a:ext>
              </a:extLst>
            </p:cNvPr>
            <p:cNvSpPr>
              <a:spLocks noChangeArrowheads="1"/>
            </p:cNvSpPr>
            <p:nvPr/>
          </p:nvSpPr>
          <p:spPr bwMode="auto">
            <a:xfrm>
              <a:off x="9997228" y="3210239"/>
              <a:ext cx="21630" cy="18025"/>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59" name="Freeform 538">
              <a:extLst>
                <a:ext uri="{FF2B5EF4-FFF2-40B4-BE49-F238E27FC236}">
                  <a16:creationId xmlns:a16="http://schemas.microsoft.com/office/drawing/2014/main" id="{E5D5919C-C1C3-4D67-963B-C044B8B4CDCC}"/>
                </a:ext>
              </a:extLst>
            </p:cNvPr>
            <p:cNvSpPr>
              <a:spLocks noEditPoints="1"/>
            </p:cNvSpPr>
            <p:nvPr/>
          </p:nvSpPr>
          <p:spPr bwMode="auto">
            <a:xfrm>
              <a:off x="9993623" y="3206634"/>
              <a:ext cx="28839" cy="21630"/>
            </a:xfrm>
            <a:custGeom>
              <a:avLst/>
              <a:gdLst>
                <a:gd name="T0" fmla="*/ 3 w 7"/>
                <a:gd name="T1" fmla="*/ 5 h 5"/>
                <a:gd name="T2" fmla="*/ 0 w 7"/>
                <a:gd name="T3" fmla="*/ 3 h 5"/>
                <a:gd name="T4" fmla="*/ 3 w 7"/>
                <a:gd name="T5" fmla="*/ 0 h 5"/>
                <a:gd name="T6" fmla="*/ 7 w 7"/>
                <a:gd name="T7" fmla="*/ 3 h 5"/>
                <a:gd name="T8" fmla="*/ 3 w 7"/>
                <a:gd name="T9" fmla="*/ 5 h 5"/>
                <a:gd name="T10" fmla="*/ 3 w 7"/>
                <a:gd name="T11" fmla="*/ 1 h 5"/>
                <a:gd name="T12" fmla="*/ 1 w 7"/>
                <a:gd name="T13" fmla="*/ 3 h 5"/>
                <a:gd name="T14" fmla="*/ 3 w 7"/>
                <a:gd name="T15" fmla="*/ 4 h 5"/>
                <a:gd name="T16" fmla="*/ 6 w 7"/>
                <a:gd name="T17" fmla="*/ 3 h 5"/>
                <a:gd name="T18" fmla="*/ 3 w 7"/>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3" y="5"/>
                  </a:moveTo>
                  <a:cubicBezTo>
                    <a:pt x="1" y="5"/>
                    <a:pt x="0" y="4"/>
                    <a:pt x="0" y="3"/>
                  </a:cubicBezTo>
                  <a:cubicBezTo>
                    <a:pt x="0" y="1"/>
                    <a:pt x="1" y="0"/>
                    <a:pt x="3" y="0"/>
                  </a:cubicBezTo>
                  <a:cubicBezTo>
                    <a:pt x="5" y="0"/>
                    <a:pt x="7" y="1"/>
                    <a:pt x="7" y="3"/>
                  </a:cubicBezTo>
                  <a:cubicBezTo>
                    <a:pt x="7" y="4"/>
                    <a:pt x="5" y="5"/>
                    <a:pt x="3" y="5"/>
                  </a:cubicBezTo>
                  <a:close/>
                  <a:moveTo>
                    <a:pt x="3" y="1"/>
                  </a:moveTo>
                  <a:cubicBezTo>
                    <a:pt x="2" y="1"/>
                    <a:pt x="1" y="2"/>
                    <a:pt x="1" y="3"/>
                  </a:cubicBezTo>
                  <a:cubicBezTo>
                    <a:pt x="1" y="3"/>
                    <a:pt x="2" y="4"/>
                    <a:pt x="3" y="4"/>
                  </a:cubicBezTo>
                  <a:cubicBezTo>
                    <a:pt x="5" y="4"/>
                    <a:pt x="6" y="3"/>
                    <a:pt x="6" y="3"/>
                  </a:cubicBezTo>
                  <a:cubicBezTo>
                    <a:pt x="6" y="2"/>
                    <a:pt x="5" y="1"/>
                    <a:pt x="3" y="1"/>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60" name="Oval 539">
              <a:extLst>
                <a:ext uri="{FF2B5EF4-FFF2-40B4-BE49-F238E27FC236}">
                  <a16:creationId xmlns:a16="http://schemas.microsoft.com/office/drawing/2014/main" id="{33406F2C-E290-42A2-969B-E60F07BC2883}"/>
                </a:ext>
              </a:extLst>
            </p:cNvPr>
            <p:cNvSpPr>
              <a:spLocks noChangeArrowheads="1"/>
            </p:cNvSpPr>
            <p:nvPr/>
          </p:nvSpPr>
          <p:spPr bwMode="auto">
            <a:xfrm>
              <a:off x="9984611" y="3112906"/>
              <a:ext cx="46864" cy="34247"/>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61" name="Freeform 540">
              <a:extLst>
                <a:ext uri="{FF2B5EF4-FFF2-40B4-BE49-F238E27FC236}">
                  <a16:creationId xmlns:a16="http://schemas.microsoft.com/office/drawing/2014/main" id="{08BD273A-6FED-4471-BC5A-C52280B17DE9}"/>
                </a:ext>
              </a:extLst>
            </p:cNvPr>
            <p:cNvSpPr>
              <a:spLocks noEditPoints="1"/>
            </p:cNvSpPr>
            <p:nvPr/>
          </p:nvSpPr>
          <p:spPr bwMode="auto">
            <a:xfrm>
              <a:off x="9981006" y="3112906"/>
              <a:ext cx="50469" cy="37852"/>
            </a:xfrm>
            <a:custGeom>
              <a:avLst/>
              <a:gdLst>
                <a:gd name="T0" fmla="*/ 6 w 12"/>
                <a:gd name="T1" fmla="*/ 9 h 9"/>
                <a:gd name="T2" fmla="*/ 0 w 12"/>
                <a:gd name="T3" fmla="*/ 4 h 9"/>
                <a:gd name="T4" fmla="*/ 6 w 12"/>
                <a:gd name="T5" fmla="*/ 0 h 9"/>
                <a:gd name="T6" fmla="*/ 12 w 12"/>
                <a:gd name="T7" fmla="*/ 4 h 9"/>
                <a:gd name="T8" fmla="*/ 6 w 12"/>
                <a:gd name="T9" fmla="*/ 9 h 9"/>
                <a:gd name="T10" fmla="*/ 6 w 12"/>
                <a:gd name="T11" fmla="*/ 1 h 9"/>
                <a:gd name="T12" fmla="*/ 2 w 12"/>
                <a:gd name="T13" fmla="*/ 4 h 9"/>
                <a:gd name="T14" fmla="*/ 6 w 12"/>
                <a:gd name="T15" fmla="*/ 7 h 9"/>
                <a:gd name="T16" fmla="*/ 11 w 12"/>
                <a:gd name="T17" fmla="*/ 4 h 9"/>
                <a:gd name="T18" fmla="*/ 6 w 12"/>
                <a:gd name="T19"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9">
                  <a:moveTo>
                    <a:pt x="6" y="9"/>
                  </a:moveTo>
                  <a:cubicBezTo>
                    <a:pt x="3" y="9"/>
                    <a:pt x="0" y="7"/>
                    <a:pt x="0" y="4"/>
                  </a:cubicBezTo>
                  <a:cubicBezTo>
                    <a:pt x="0" y="2"/>
                    <a:pt x="3" y="0"/>
                    <a:pt x="6" y="0"/>
                  </a:cubicBezTo>
                  <a:cubicBezTo>
                    <a:pt x="10" y="0"/>
                    <a:pt x="12" y="2"/>
                    <a:pt x="12" y="4"/>
                  </a:cubicBezTo>
                  <a:cubicBezTo>
                    <a:pt x="12" y="7"/>
                    <a:pt x="10" y="9"/>
                    <a:pt x="6" y="9"/>
                  </a:cubicBezTo>
                  <a:close/>
                  <a:moveTo>
                    <a:pt x="6" y="1"/>
                  </a:moveTo>
                  <a:cubicBezTo>
                    <a:pt x="4" y="1"/>
                    <a:pt x="2" y="3"/>
                    <a:pt x="2" y="4"/>
                  </a:cubicBezTo>
                  <a:cubicBezTo>
                    <a:pt x="2" y="6"/>
                    <a:pt x="4" y="7"/>
                    <a:pt x="6" y="7"/>
                  </a:cubicBezTo>
                  <a:cubicBezTo>
                    <a:pt x="9" y="7"/>
                    <a:pt x="11" y="6"/>
                    <a:pt x="11" y="4"/>
                  </a:cubicBezTo>
                  <a:cubicBezTo>
                    <a:pt x="11" y="3"/>
                    <a:pt x="9" y="1"/>
                    <a:pt x="6" y="1"/>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62" name="Oval 2161">
              <a:extLst>
                <a:ext uri="{FF2B5EF4-FFF2-40B4-BE49-F238E27FC236}">
                  <a16:creationId xmlns:a16="http://schemas.microsoft.com/office/drawing/2014/main" id="{FFE98914-2A44-4017-B10A-74ECC32F2F83}"/>
                </a:ext>
              </a:extLst>
            </p:cNvPr>
            <p:cNvSpPr/>
            <p:nvPr/>
          </p:nvSpPr>
          <p:spPr bwMode="auto">
            <a:xfrm>
              <a:off x="9827309" y="3012003"/>
              <a:ext cx="91440" cy="91440"/>
            </a:xfrm>
            <a:prstGeom prst="ellipse">
              <a:avLst/>
            </a:prstGeom>
            <a:solidFill>
              <a:srgbClr val="FDE1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163" name="Group 2162">
            <a:extLst>
              <a:ext uri="{FF2B5EF4-FFF2-40B4-BE49-F238E27FC236}">
                <a16:creationId xmlns:a16="http://schemas.microsoft.com/office/drawing/2014/main" id="{E678A21F-FED3-4CE6-97D5-CA6920E12ECB}"/>
              </a:ext>
            </a:extLst>
          </p:cNvPr>
          <p:cNvGrpSpPr/>
          <p:nvPr/>
        </p:nvGrpSpPr>
        <p:grpSpPr>
          <a:xfrm>
            <a:off x="9627485" y="2511466"/>
            <a:ext cx="257581" cy="226744"/>
            <a:chOff x="10265794" y="2418956"/>
            <a:chExt cx="255950" cy="225308"/>
          </a:xfrm>
        </p:grpSpPr>
        <p:sp>
          <p:nvSpPr>
            <p:cNvPr id="2164" name="Freeform 131">
              <a:extLst>
                <a:ext uri="{FF2B5EF4-FFF2-40B4-BE49-F238E27FC236}">
                  <a16:creationId xmlns:a16="http://schemas.microsoft.com/office/drawing/2014/main" id="{E3B62FAF-9DDB-4604-ABA8-BAA094333D0F}"/>
                </a:ext>
              </a:extLst>
            </p:cNvPr>
            <p:cNvSpPr>
              <a:spLocks/>
            </p:cNvSpPr>
            <p:nvPr/>
          </p:nvSpPr>
          <p:spPr bwMode="auto">
            <a:xfrm>
              <a:off x="10269399" y="2424364"/>
              <a:ext cx="246938" cy="203679"/>
            </a:xfrm>
            <a:custGeom>
              <a:avLst/>
              <a:gdLst>
                <a:gd name="T0" fmla="*/ 56 w 58"/>
                <a:gd name="T1" fmla="*/ 5 h 48"/>
                <a:gd name="T2" fmla="*/ 53 w 58"/>
                <a:gd name="T3" fmla="*/ 5 h 48"/>
                <a:gd name="T4" fmla="*/ 53 w 58"/>
                <a:gd name="T5" fmla="*/ 0 h 48"/>
                <a:gd name="T6" fmla="*/ 43 w 58"/>
                <a:gd name="T7" fmla="*/ 0 h 48"/>
                <a:gd name="T8" fmla="*/ 43 w 58"/>
                <a:gd name="T9" fmla="*/ 5 h 48"/>
                <a:gd name="T10" fmla="*/ 40 w 58"/>
                <a:gd name="T11" fmla="*/ 5 h 48"/>
                <a:gd name="T12" fmla="*/ 40 w 58"/>
                <a:gd name="T13" fmla="*/ 2 h 48"/>
                <a:gd name="T14" fmla="*/ 36 w 58"/>
                <a:gd name="T15" fmla="*/ 2 h 48"/>
                <a:gd name="T16" fmla="*/ 36 w 58"/>
                <a:gd name="T17" fmla="*/ 5 h 48"/>
                <a:gd name="T18" fmla="*/ 36 w 58"/>
                <a:gd name="T19" fmla="*/ 5 h 48"/>
                <a:gd name="T20" fmla="*/ 36 w 58"/>
                <a:gd name="T21" fmla="*/ 2 h 48"/>
                <a:gd name="T22" fmla="*/ 32 w 58"/>
                <a:gd name="T23" fmla="*/ 2 h 48"/>
                <a:gd name="T24" fmla="*/ 32 w 58"/>
                <a:gd name="T25" fmla="*/ 5 h 48"/>
                <a:gd name="T26" fmla="*/ 32 w 58"/>
                <a:gd name="T27" fmla="*/ 5 h 48"/>
                <a:gd name="T28" fmla="*/ 32 w 58"/>
                <a:gd name="T29" fmla="*/ 2 h 48"/>
                <a:gd name="T30" fmla="*/ 28 w 58"/>
                <a:gd name="T31" fmla="*/ 2 h 48"/>
                <a:gd name="T32" fmla="*/ 28 w 58"/>
                <a:gd name="T33" fmla="*/ 5 h 48"/>
                <a:gd name="T34" fmla="*/ 28 w 58"/>
                <a:gd name="T35" fmla="*/ 5 h 48"/>
                <a:gd name="T36" fmla="*/ 28 w 58"/>
                <a:gd name="T37" fmla="*/ 2 h 48"/>
                <a:gd name="T38" fmla="*/ 24 w 58"/>
                <a:gd name="T39" fmla="*/ 2 h 48"/>
                <a:gd name="T40" fmla="*/ 24 w 58"/>
                <a:gd name="T41" fmla="*/ 5 h 48"/>
                <a:gd name="T42" fmla="*/ 24 w 58"/>
                <a:gd name="T43" fmla="*/ 5 h 48"/>
                <a:gd name="T44" fmla="*/ 24 w 58"/>
                <a:gd name="T45" fmla="*/ 2 h 48"/>
                <a:gd name="T46" fmla="*/ 20 w 58"/>
                <a:gd name="T47" fmla="*/ 2 h 48"/>
                <a:gd name="T48" fmla="*/ 20 w 58"/>
                <a:gd name="T49" fmla="*/ 5 h 48"/>
                <a:gd name="T50" fmla="*/ 19 w 58"/>
                <a:gd name="T51" fmla="*/ 5 h 48"/>
                <a:gd name="T52" fmla="*/ 19 w 58"/>
                <a:gd name="T53" fmla="*/ 2 h 48"/>
                <a:gd name="T54" fmla="*/ 16 w 58"/>
                <a:gd name="T55" fmla="*/ 2 h 48"/>
                <a:gd name="T56" fmla="*/ 16 w 58"/>
                <a:gd name="T57" fmla="*/ 5 h 48"/>
                <a:gd name="T58" fmla="*/ 13 w 58"/>
                <a:gd name="T59" fmla="*/ 5 h 48"/>
                <a:gd name="T60" fmla="*/ 13 w 58"/>
                <a:gd name="T61" fmla="*/ 2 h 48"/>
                <a:gd name="T62" fmla="*/ 4 w 58"/>
                <a:gd name="T63" fmla="*/ 2 h 48"/>
                <a:gd name="T64" fmla="*/ 4 w 58"/>
                <a:gd name="T65" fmla="*/ 5 h 48"/>
                <a:gd name="T66" fmla="*/ 2 w 58"/>
                <a:gd name="T67" fmla="*/ 5 h 48"/>
                <a:gd name="T68" fmla="*/ 0 w 58"/>
                <a:gd name="T69" fmla="*/ 7 h 48"/>
                <a:gd name="T70" fmla="*/ 0 w 58"/>
                <a:gd name="T71" fmla="*/ 44 h 48"/>
                <a:gd name="T72" fmla="*/ 2 w 58"/>
                <a:gd name="T73" fmla="*/ 45 h 48"/>
                <a:gd name="T74" fmla="*/ 4 w 58"/>
                <a:gd name="T75" fmla="*/ 45 h 48"/>
                <a:gd name="T76" fmla="*/ 4 w 58"/>
                <a:gd name="T77" fmla="*/ 48 h 48"/>
                <a:gd name="T78" fmla="*/ 13 w 58"/>
                <a:gd name="T79" fmla="*/ 48 h 48"/>
                <a:gd name="T80" fmla="*/ 13 w 58"/>
                <a:gd name="T81" fmla="*/ 45 h 48"/>
                <a:gd name="T82" fmla="*/ 15 w 58"/>
                <a:gd name="T83" fmla="*/ 45 h 48"/>
                <a:gd name="T84" fmla="*/ 15 w 58"/>
                <a:gd name="T85" fmla="*/ 48 h 48"/>
                <a:gd name="T86" fmla="*/ 41 w 58"/>
                <a:gd name="T87" fmla="*/ 48 h 48"/>
                <a:gd name="T88" fmla="*/ 41 w 58"/>
                <a:gd name="T89" fmla="*/ 45 h 48"/>
                <a:gd name="T90" fmla="*/ 43 w 58"/>
                <a:gd name="T91" fmla="*/ 45 h 48"/>
                <a:gd name="T92" fmla="*/ 43 w 58"/>
                <a:gd name="T93" fmla="*/ 48 h 48"/>
                <a:gd name="T94" fmla="*/ 53 w 58"/>
                <a:gd name="T95" fmla="*/ 48 h 48"/>
                <a:gd name="T96" fmla="*/ 53 w 58"/>
                <a:gd name="T97" fmla="*/ 45 h 48"/>
                <a:gd name="T98" fmla="*/ 56 w 58"/>
                <a:gd name="T99" fmla="*/ 45 h 48"/>
                <a:gd name="T100" fmla="*/ 58 w 58"/>
                <a:gd name="T101" fmla="*/ 44 h 48"/>
                <a:gd name="T102" fmla="*/ 58 w 58"/>
                <a:gd name="T103" fmla="*/ 7 h 48"/>
                <a:gd name="T104" fmla="*/ 56 w 58"/>
                <a:gd name="T105" fmla="*/ 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48">
                  <a:moveTo>
                    <a:pt x="56" y="5"/>
                  </a:moveTo>
                  <a:cubicBezTo>
                    <a:pt x="53" y="5"/>
                    <a:pt x="53" y="5"/>
                    <a:pt x="53" y="5"/>
                  </a:cubicBezTo>
                  <a:cubicBezTo>
                    <a:pt x="53" y="0"/>
                    <a:pt x="53" y="0"/>
                    <a:pt x="53" y="0"/>
                  </a:cubicBezTo>
                  <a:cubicBezTo>
                    <a:pt x="43" y="0"/>
                    <a:pt x="43" y="0"/>
                    <a:pt x="43" y="0"/>
                  </a:cubicBezTo>
                  <a:cubicBezTo>
                    <a:pt x="43" y="5"/>
                    <a:pt x="43" y="5"/>
                    <a:pt x="43" y="5"/>
                  </a:cubicBezTo>
                  <a:cubicBezTo>
                    <a:pt x="40" y="5"/>
                    <a:pt x="40" y="5"/>
                    <a:pt x="40" y="5"/>
                  </a:cubicBezTo>
                  <a:cubicBezTo>
                    <a:pt x="40" y="2"/>
                    <a:pt x="40" y="2"/>
                    <a:pt x="40" y="2"/>
                  </a:cubicBezTo>
                  <a:cubicBezTo>
                    <a:pt x="36" y="2"/>
                    <a:pt x="36" y="2"/>
                    <a:pt x="36" y="2"/>
                  </a:cubicBezTo>
                  <a:cubicBezTo>
                    <a:pt x="36" y="5"/>
                    <a:pt x="36" y="5"/>
                    <a:pt x="36" y="5"/>
                  </a:cubicBezTo>
                  <a:cubicBezTo>
                    <a:pt x="36" y="5"/>
                    <a:pt x="36" y="5"/>
                    <a:pt x="36" y="5"/>
                  </a:cubicBezTo>
                  <a:cubicBezTo>
                    <a:pt x="36" y="2"/>
                    <a:pt x="36" y="2"/>
                    <a:pt x="36" y="2"/>
                  </a:cubicBezTo>
                  <a:cubicBezTo>
                    <a:pt x="32" y="2"/>
                    <a:pt x="32" y="2"/>
                    <a:pt x="32" y="2"/>
                  </a:cubicBezTo>
                  <a:cubicBezTo>
                    <a:pt x="32" y="5"/>
                    <a:pt x="32" y="5"/>
                    <a:pt x="32" y="5"/>
                  </a:cubicBezTo>
                  <a:cubicBezTo>
                    <a:pt x="32" y="5"/>
                    <a:pt x="32" y="5"/>
                    <a:pt x="32" y="5"/>
                  </a:cubicBezTo>
                  <a:cubicBezTo>
                    <a:pt x="32" y="2"/>
                    <a:pt x="32" y="2"/>
                    <a:pt x="32" y="2"/>
                  </a:cubicBezTo>
                  <a:cubicBezTo>
                    <a:pt x="28" y="2"/>
                    <a:pt x="28" y="2"/>
                    <a:pt x="28" y="2"/>
                  </a:cubicBezTo>
                  <a:cubicBezTo>
                    <a:pt x="28" y="5"/>
                    <a:pt x="28" y="5"/>
                    <a:pt x="28" y="5"/>
                  </a:cubicBezTo>
                  <a:cubicBezTo>
                    <a:pt x="28" y="5"/>
                    <a:pt x="28" y="5"/>
                    <a:pt x="28" y="5"/>
                  </a:cubicBezTo>
                  <a:cubicBezTo>
                    <a:pt x="28" y="2"/>
                    <a:pt x="28" y="2"/>
                    <a:pt x="28" y="2"/>
                  </a:cubicBezTo>
                  <a:cubicBezTo>
                    <a:pt x="24" y="2"/>
                    <a:pt x="24" y="2"/>
                    <a:pt x="24" y="2"/>
                  </a:cubicBezTo>
                  <a:cubicBezTo>
                    <a:pt x="24" y="5"/>
                    <a:pt x="24" y="5"/>
                    <a:pt x="24" y="5"/>
                  </a:cubicBezTo>
                  <a:cubicBezTo>
                    <a:pt x="24" y="5"/>
                    <a:pt x="24" y="5"/>
                    <a:pt x="24" y="5"/>
                  </a:cubicBezTo>
                  <a:cubicBezTo>
                    <a:pt x="24" y="2"/>
                    <a:pt x="24" y="2"/>
                    <a:pt x="24" y="2"/>
                  </a:cubicBezTo>
                  <a:cubicBezTo>
                    <a:pt x="20" y="2"/>
                    <a:pt x="20" y="2"/>
                    <a:pt x="20" y="2"/>
                  </a:cubicBezTo>
                  <a:cubicBezTo>
                    <a:pt x="20" y="5"/>
                    <a:pt x="20" y="5"/>
                    <a:pt x="20" y="5"/>
                  </a:cubicBezTo>
                  <a:cubicBezTo>
                    <a:pt x="19" y="5"/>
                    <a:pt x="19" y="5"/>
                    <a:pt x="19" y="5"/>
                  </a:cubicBezTo>
                  <a:cubicBezTo>
                    <a:pt x="19" y="2"/>
                    <a:pt x="19" y="2"/>
                    <a:pt x="19" y="2"/>
                  </a:cubicBezTo>
                  <a:cubicBezTo>
                    <a:pt x="16" y="2"/>
                    <a:pt x="16" y="2"/>
                    <a:pt x="16" y="2"/>
                  </a:cubicBezTo>
                  <a:cubicBezTo>
                    <a:pt x="16" y="5"/>
                    <a:pt x="16" y="5"/>
                    <a:pt x="16" y="5"/>
                  </a:cubicBezTo>
                  <a:cubicBezTo>
                    <a:pt x="13" y="5"/>
                    <a:pt x="13" y="5"/>
                    <a:pt x="13" y="5"/>
                  </a:cubicBezTo>
                  <a:cubicBezTo>
                    <a:pt x="13" y="2"/>
                    <a:pt x="13" y="2"/>
                    <a:pt x="13" y="2"/>
                  </a:cubicBezTo>
                  <a:cubicBezTo>
                    <a:pt x="4" y="2"/>
                    <a:pt x="4" y="2"/>
                    <a:pt x="4" y="2"/>
                  </a:cubicBezTo>
                  <a:cubicBezTo>
                    <a:pt x="4" y="5"/>
                    <a:pt x="4" y="5"/>
                    <a:pt x="4" y="5"/>
                  </a:cubicBezTo>
                  <a:cubicBezTo>
                    <a:pt x="2" y="5"/>
                    <a:pt x="2" y="5"/>
                    <a:pt x="2" y="5"/>
                  </a:cubicBezTo>
                  <a:cubicBezTo>
                    <a:pt x="1" y="5"/>
                    <a:pt x="0" y="6"/>
                    <a:pt x="0" y="7"/>
                  </a:cubicBezTo>
                  <a:cubicBezTo>
                    <a:pt x="0" y="44"/>
                    <a:pt x="0" y="44"/>
                    <a:pt x="0" y="44"/>
                  </a:cubicBezTo>
                  <a:cubicBezTo>
                    <a:pt x="0" y="45"/>
                    <a:pt x="1" y="45"/>
                    <a:pt x="2" y="45"/>
                  </a:cubicBezTo>
                  <a:cubicBezTo>
                    <a:pt x="4" y="45"/>
                    <a:pt x="4" y="45"/>
                    <a:pt x="4" y="45"/>
                  </a:cubicBezTo>
                  <a:cubicBezTo>
                    <a:pt x="4" y="48"/>
                    <a:pt x="4" y="48"/>
                    <a:pt x="4" y="48"/>
                  </a:cubicBezTo>
                  <a:cubicBezTo>
                    <a:pt x="13" y="48"/>
                    <a:pt x="13" y="48"/>
                    <a:pt x="13" y="48"/>
                  </a:cubicBezTo>
                  <a:cubicBezTo>
                    <a:pt x="13" y="45"/>
                    <a:pt x="13" y="45"/>
                    <a:pt x="13" y="45"/>
                  </a:cubicBezTo>
                  <a:cubicBezTo>
                    <a:pt x="15" y="45"/>
                    <a:pt x="15" y="45"/>
                    <a:pt x="15" y="45"/>
                  </a:cubicBezTo>
                  <a:cubicBezTo>
                    <a:pt x="15" y="48"/>
                    <a:pt x="15" y="48"/>
                    <a:pt x="15" y="48"/>
                  </a:cubicBezTo>
                  <a:cubicBezTo>
                    <a:pt x="41" y="48"/>
                    <a:pt x="41" y="48"/>
                    <a:pt x="41" y="48"/>
                  </a:cubicBezTo>
                  <a:cubicBezTo>
                    <a:pt x="41" y="45"/>
                    <a:pt x="41" y="45"/>
                    <a:pt x="41" y="45"/>
                  </a:cubicBezTo>
                  <a:cubicBezTo>
                    <a:pt x="43" y="45"/>
                    <a:pt x="43" y="45"/>
                    <a:pt x="43" y="45"/>
                  </a:cubicBezTo>
                  <a:cubicBezTo>
                    <a:pt x="43" y="48"/>
                    <a:pt x="43" y="48"/>
                    <a:pt x="43" y="48"/>
                  </a:cubicBezTo>
                  <a:cubicBezTo>
                    <a:pt x="53" y="48"/>
                    <a:pt x="53" y="48"/>
                    <a:pt x="53" y="48"/>
                  </a:cubicBezTo>
                  <a:cubicBezTo>
                    <a:pt x="53" y="45"/>
                    <a:pt x="53" y="45"/>
                    <a:pt x="53" y="45"/>
                  </a:cubicBezTo>
                  <a:cubicBezTo>
                    <a:pt x="56" y="45"/>
                    <a:pt x="56" y="45"/>
                    <a:pt x="56" y="45"/>
                  </a:cubicBezTo>
                  <a:cubicBezTo>
                    <a:pt x="57" y="45"/>
                    <a:pt x="58" y="45"/>
                    <a:pt x="58" y="44"/>
                  </a:cubicBezTo>
                  <a:cubicBezTo>
                    <a:pt x="58" y="7"/>
                    <a:pt x="58" y="7"/>
                    <a:pt x="58" y="7"/>
                  </a:cubicBezTo>
                  <a:cubicBezTo>
                    <a:pt x="58" y="6"/>
                    <a:pt x="57" y="5"/>
                    <a:pt x="56" y="5"/>
                  </a:cubicBezTo>
                  <a:close/>
                </a:path>
              </a:pathLst>
            </a:custGeom>
            <a:solidFill>
              <a:srgbClr val="BF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65" name="Freeform 132">
              <a:extLst>
                <a:ext uri="{FF2B5EF4-FFF2-40B4-BE49-F238E27FC236}">
                  <a16:creationId xmlns:a16="http://schemas.microsoft.com/office/drawing/2014/main" id="{8A2B96D8-1EBF-48CE-98A5-89A666AA8BB8}"/>
                </a:ext>
              </a:extLst>
            </p:cNvPr>
            <p:cNvSpPr>
              <a:spLocks noEditPoints="1"/>
            </p:cNvSpPr>
            <p:nvPr/>
          </p:nvSpPr>
          <p:spPr bwMode="auto">
            <a:xfrm>
              <a:off x="10265794" y="2418956"/>
              <a:ext cx="255950" cy="212691"/>
            </a:xfrm>
            <a:custGeom>
              <a:avLst/>
              <a:gdLst>
                <a:gd name="T0" fmla="*/ 43 w 60"/>
                <a:gd name="T1" fmla="*/ 50 h 50"/>
                <a:gd name="T2" fmla="*/ 43 w 60"/>
                <a:gd name="T3" fmla="*/ 47 h 50"/>
                <a:gd name="T4" fmla="*/ 15 w 60"/>
                <a:gd name="T5" fmla="*/ 50 h 50"/>
                <a:gd name="T6" fmla="*/ 15 w 60"/>
                <a:gd name="T7" fmla="*/ 47 h 50"/>
                <a:gd name="T8" fmla="*/ 4 w 60"/>
                <a:gd name="T9" fmla="*/ 50 h 50"/>
                <a:gd name="T10" fmla="*/ 3 w 60"/>
                <a:gd name="T11" fmla="*/ 47 h 50"/>
                <a:gd name="T12" fmla="*/ 0 w 60"/>
                <a:gd name="T13" fmla="*/ 8 h 50"/>
                <a:gd name="T14" fmla="*/ 4 w 60"/>
                <a:gd name="T15" fmla="*/ 5 h 50"/>
                <a:gd name="T16" fmla="*/ 15 w 60"/>
                <a:gd name="T17" fmla="*/ 3 h 50"/>
                <a:gd name="T18" fmla="*/ 16 w 60"/>
                <a:gd name="T19" fmla="*/ 5 h 50"/>
                <a:gd name="T20" fmla="*/ 42 w 60"/>
                <a:gd name="T21" fmla="*/ 3 h 50"/>
                <a:gd name="T22" fmla="*/ 43 w 60"/>
                <a:gd name="T23" fmla="*/ 5 h 50"/>
                <a:gd name="T24" fmla="*/ 54 w 60"/>
                <a:gd name="T25" fmla="*/ 0 h 50"/>
                <a:gd name="T26" fmla="*/ 57 w 60"/>
                <a:gd name="T27" fmla="*/ 5 h 50"/>
                <a:gd name="T28" fmla="*/ 60 w 60"/>
                <a:gd name="T29" fmla="*/ 45 h 50"/>
                <a:gd name="T30" fmla="*/ 54 w 60"/>
                <a:gd name="T31" fmla="*/ 47 h 50"/>
                <a:gd name="T32" fmla="*/ 45 w 60"/>
                <a:gd name="T33" fmla="*/ 48 h 50"/>
                <a:gd name="T34" fmla="*/ 53 w 60"/>
                <a:gd name="T35" fmla="*/ 46 h 50"/>
                <a:gd name="T36" fmla="*/ 58 w 60"/>
                <a:gd name="T37" fmla="*/ 45 h 50"/>
                <a:gd name="T38" fmla="*/ 57 w 60"/>
                <a:gd name="T39" fmla="*/ 7 h 50"/>
                <a:gd name="T40" fmla="*/ 53 w 60"/>
                <a:gd name="T41" fmla="*/ 2 h 50"/>
                <a:gd name="T42" fmla="*/ 45 w 60"/>
                <a:gd name="T43" fmla="*/ 7 h 50"/>
                <a:gd name="T44" fmla="*/ 40 w 60"/>
                <a:gd name="T45" fmla="*/ 4 h 50"/>
                <a:gd name="T46" fmla="*/ 38 w 60"/>
                <a:gd name="T47" fmla="*/ 7 h 50"/>
                <a:gd name="T48" fmla="*/ 36 w 60"/>
                <a:gd name="T49" fmla="*/ 4 h 50"/>
                <a:gd name="T50" fmla="*/ 34 w 60"/>
                <a:gd name="T51" fmla="*/ 7 h 50"/>
                <a:gd name="T52" fmla="*/ 32 w 60"/>
                <a:gd name="T53" fmla="*/ 4 h 50"/>
                <a:gd name="T54" fmla="*/ 30 w 60"/>
                <a:gd name="T55" fmla="*/ 7 h 50"/>
                <a:gd name="T56" fmla="*/ 28 w 60"/>
                <a:gd name="T57" fmla="*/ 4 h 50"/>
                <a:gd name="T58" fmla="*/ 26 w 60"/>
                <a:gd name="T59" fmla="*/ 7 h 50"/>
                <a:gd name="T60" fmla="*/ 24 w 60"/>
                <a:gd name="T61" fmla="*/ 4 h 50"/>
                <a:gd name="T62" fmla="*/ 21 w 60"/>
                <a:gd name="T63" fmla="*/ 7 h 50"/>
                <a:gd name="T64" fmla="*/ 20 w 60"/>
                <a:gd name="T65" fmla="*/ 4 h 50"/>
                <a:gd name="T66" fmla="*/ 17 w 60"/>
                <a:gd name="T67" fmla="*/ 7 h 50"/>
                <a:gd name="T68" fmla="*/ 14 w 60"/>
                <a:gd name="T69" fmla="*/ 4 h 50"/>
                <a:gd name="T70" fmla="*/ 6 w 60"/>
                <a:gd name="T71" fmla="*/ 7 h 50"/>
                <a:gd name="T72" fmla="*/ 2 w 60"/>
                <a:gd name="T73" fmla="*/ 8 h 50"/>
                <a:gd name="T74" fmla="*/ 3 w 60"/>
                <a:gd name="T75" fmla="*/ 46 h 50"/>
                <a:gd name="T76" fmla="*/ 6 w 60"/>
                <a:gd name="T77" fmla="*/ 48 h 50"/>
                <a:gd name="T78" fmla="*/ 14 w 60"/>
                <a:gd name="T79" fmla="*/ 46 h 50"/>
                <a:gd name="T80" fmla="*/ 17 w 60"/>
                <a:gd name="T81" fmla="*/ 48 h 50"/>
                <a:gd name="T82" fmla="*/ 41 w 60"/>
                <a:gd name="T83" fmla="*/ 46 h 50"/>
                <a:gd name="T84" fmla="*/ 45 w 60"/>
                <a:gd name="T85"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50">
                  <a:moveTo>
                    <a:pt x="54" y="50"/>
                  </a:moveTo>
                  <a:cubicBezTo>
                    <a:pt x="43" y="50"/>
                    <a:pt x="43" y="50"/>
                    <a:pt x="43" y="50"/>
                  </a:cubicBezTo>
                  <a:cubicBezTo>
                    <a:pt x="43" y="47"/>
                    <a:pt x="43" y="47"/>
                    <a:pt x="43" y="47"/>
                  </a:cubicBezTo>
                  <a:cubicBezTo>
                    <a:pt x="43" y="47"/>
                    <a:pt x="43" y="47"/>
                    <a:pt x="43" y="47"/>
                  </a:cubicBezTo>
                  <a:cubicBezTo>
                    <a:pt x="43" y="50"/>
                    <a:pt x="43" y="50"/>
                    <a:pt x="43" y="50"/>
                  </a:cubicBezTo>
                  <a:cubicBezTo>
                    <a:pt x="15" y="50"/>
                    <a:pt x="15" y="50"/>
                    <a:pt x="15" y="50"/>
                  </a:cubicBezTo>
                  <a:cubicBezTo>
                    <a:pt x="15" y="47"/>
                    <a:pt x="15" y="47"/>
                    <a:pt x="15" y="47"/>
                  </a:cubicBezTo>
                  <a:cubicBezTo>
                    <a:pt x="15" y="47"/>
                    <a:pt x="15" y="47"/>
                    <a:pt x="15" y="47"/>
                  </a:cubicBezTo>
                  <a:cubicBezTo>
                    <a:pt x="15" y="50"/>
                    <a:pt x="15" y="50"/>
                    <a:pt x="15" y="50"/>
                  </a:cubicBezTo>
                  <a:cubicBezTo>
                    <a:pt x="4" y="50"/>
                    <a:pt x="4" y="50"/>
                    <a:pt x="4" y="50"/>
                  </a:cubicBezTo>
                  <a:cubicBezTo>
                    <a:pt x="4" y="47"/>
                    <a:pt x="4" y="47"/>
                    <a:pt x="4" y="47"/>
                  </a:cubicBezTo>
                  <a:cubicBezTo>
                    <a:pt x="3" y="47"/>
                    <a:pt x="3" y="47"/>
                    <a:pt x="3" y="47"/>
                  </a:cubicBezTo>
                  <a:cubicBezTo>
                    <a:pt x="1" y="47"/>
                    <a:pt x="0" y="46"/>
                    <a:pt x="0" y="45"/>
                  </a:cubicBezTo>
                  <a:cubicBezTo>
                    <a:pt x="0" y="8"/>
                    <a:pt x="0" y="8"/>
                    <a:pt x="0" y="8"/>
                  </a:cubicBezTo>
                  <a:cubicBezTo>
                    <a:pt x="0" y="6"/>
                    <a:pt x="1" y="5"/>
                    <a:pt x="3" y="5"/>
                  </a:cubicBezTo>
                  <a:cubicBezTo>
                    <a:pt x="4" y="5"/>
                    <a:pt x="4" y="5"/>
                    <a:pt x="4" y="5"/>
                  </a:cubicBezTo>
                  <a:cubicBezTo>
                    <a:pt x="4" y="3"/>
                    <a:pt x="4" y="3"/>
                    <a:pt x="4" y="3"/>
                  </a:cubicBezTo>
                  <a:cubicBezTo>
                    <a:pt x="15" y="3"/>
                    <a:pt x="15" y="3"/>
                    <a:pt x="15" y="3"/>
                  </a:cubicBezTo>
                  <a:cubicBezTo>
                    <a:pt x="15" y="5"/>
                    <a:pt x="15" y="5"/>
                    <a:pt x="15" y="5"/>
                  </a:cubicBezTo>
                  <a:cubicBezTo>
                    <a:pt x="16" y="5"/>
                    <a:pt x="16" y="5"/>
                    <a:pt x="16" y="5"/>
                  </a:cubicBezTo>
                  <a:cubicBezTo>
                    <a:pt x="16" y="3"/>
                    <a:pt x="16" y="3"/>
                    <a:pt x="16" y="3"/>
                  </a:cubicBezTo>
                  <a:cubicBezTo>
                    <a:pt x="42" y="3"/>
                    <a:pt x="42" y="3"/>
                    <a:pt x="42" y="3"/>
                  </a:cubicBezTo>
                  <a:cubicBezTo>
                    <a:pt x="42" y="5"/>
                    <a:pt x="42" y="5"/>
                    <a:pt x="42" y="5"/>
                  </a:cubicBezTo>
                  <a:cubicBezTo>
                    <a:pt x="43" y="5"/>
                    <a:pt x="43" y="5"/>
                    <a:pt x="43" y="5"/>
                  </a:cubicBezTo>
                  <a:cubicBezTo>
                    <a:pt x="43" y="0"/>
                    <a:pt x="43" y="0"/>
                    <a:pt x="43" y="0"/>
                  </a:cubicBezTo>
                  <a:cubicBezTo>
                    <a:pt x="54" y="0"/>
                    <a:pt x="54" y="0"/>
                    <a:pt x="54" y="0"/>
                  </a:cubicBezTo>
                  <a:cubicBezTo>
                    <a:pt x="54" y="5"/>
                    <a:pt x="54" y="5"/>
                    <a:pt x="54" y="5"/>
                  </a:cubicBezTo>
                  <a:cubicBezTo>
                    <a:pt x="57" y="5"/>
                    <a:pt x="57" y="5"/>
                    <a:pt x="57" y="5"/>
                  </a:cubicBezTo>
                  <a:cubicBezTo>
                    <a:pt x="59" y="5"/>
                    <a:pt x="60" y="6"/>
                    <a:pt x="60" y="8"/>
                  </a:cubicBezTo>
                  <a:cubicBezTo>
                    <a:pt x="60" y="45"/>
                    <a:pt x="60" y="45"/>
                    <a:pt x="60" y="45"/>
                  </a:cubicBezTo>
                  <a:cubicBezTo>
                    <a:pt x="60" y="46"/>
                    <a:pt x="59" y="47"/>
                    <a:pt x="57" y="47"/>
                  </a:cubicBezTo>
                  <a:cubicBezTo>
                    <a:pt x="54" y="47"/>
                    <a:pt x="54" y="47"/>
                    <a:pt x="54" y="47"/>
                  </a:cubicBezTo>
                  <a:lnTo>
                    <a:pt x="54" y="50"/>
                  </a:lnTo>
                  <a:close/>
                  <a:moveTo>
                    <a:pt x="45" y="48"/>
                  </a:moveTo>
                  <a:cubicBezTo>
                    <a:pt x="53" y="48"/>
                    <a:pt x="53" y="48"/>
                    <a:pt x="53" y="48"/>
                  </a:cubicBezTo>
                  <a:cubicBezTo>
                    <a:pt x="53" y="46"/>
                    <a:pt x="53" y="46"/>
                    <a:pt x="53" y="46"/>
                  </a:cubicBezTo>
                  <a:cubicBezTo>
                    <a:pt x="57" y="46"/>
                    <a:pt x="57" y="46"/>
                    <a:pt x="57" y="46"/>
                  </a:cubicBezTo>
                  <a:cubicBezTo>
                    <a:pt x="58" y="46"/>
                    <a:pt x="58" y="45"/>
                    <a:pt x="58" y="45"/>
                  </a:cubicBezTo>
                  <a:cubicBezTo>
                    <a:pt x="58" y="8"/>
                    <a:pt x="58" y="8"/>
                    <a:pt x="58" y="8"/>
                  </a:cubicBezTo>
                  <a:cubicBezTo>
                    <a:pt x="58" y="7"/>
                    <a:pt x="58" y="7"/>
                    <a:pt x="57" y="7"/>
                  </a:cubicBezTo>
                  <a:cubicBezTo>
                    <a:pt x="53" y="7"/>
                    <a:pt x="53" y="7"/>
                    <a:pt x="53" y="7"/>
                  </a:cubicBezTo>
                  <a:cubicBezTo>
                    <a:pt x="53" y="2"/>
                    <a:pt x="53" y="2"/>
                    <a:pt x="53" y="2"/>
                  </a:cubicBezTo>
                  <a:cubicBezTo>
                    <a:pt x="45" y="2"/>
                    <a:pt x="45" y="2"/>
                    <a:pt x="45" y="2"/>
                  </a:cubicBezTo>
                  <a:cubicBezTo>
                    <a:pt x="45" y="7"/>
                    <a:pt x="45" y="7"/>
                    <a:pt x="45" y="7"/>
                  </a:cubicBezTo>
                  <a:cubicBezTo>
                    <a:pt x="40" y="7"/>
                    <a:pt x="40" y="7"/>
                    <a:pt x="40" y="7"/>
                  </a:cubicBezTo>
                  <a:cubicBezTo>
                    <a:pt x="40" y="4"/>
                    <a:pt x="40" y="4"/>
                    <a:pt x="40" y="4"/>
                  </a:cubicBezTo>
                  <a:cubicBezTo>
                    <a:pt x="38" y="4"/>
                    <a:pt x="38" y="4"/>
                    <a:pt x="38" y="4"/>
                  </a:cubicBezTo>
                  <a:cubicBezTo>
                    <a:pt x="38" y="7"/>
                    <a:pt x="38" y="7"/>
                    <a:pt x="38" y="7"/>
                  </a:cubicBezTo>
                  <a:cubicBezTo>
                    <a:pt x="36" y="7"/>
                    <a:pt x="36" y="7"/>
                    <a:pt x="36" y="7"/>
                  </a:cubicBezTo>
                  <a:cubicBezTo>
                    <a:pt x="36" y="4"/>
                    <a:pt x="36" y="4"/>
                    <a:pt x="36" y="4"/>
                  </a:cubicBezTo>
                  <a:cubicBezTo>
                    <a:pt x="34" y="4"/>
                    <a:pt x="34" y="4"/>
                    <a:pt x="34" y="4"/>
                  </a:cubicBezTo>
                  <a:cubicBezTo>
                    <a:pt x="34" y="7"/>
                    <a:pt x="34" y="7"/>
                    <a:pt x="34" y="7"/>
                  </a:cubicBezTo>
                  <a:cubicBezTo>
                    <a:pt x="32" y="7"/>
                    <a:pt x="32" y="7"/>
                    <a:pt x="32" y="7"/>
                  </a:cubicBezTo>
                  <a:cubicBezTo>
                    <a:pt x="32" y="4"/>
                    <a:pt x="32" y="4"/>
                    <a:pt x="32" y="4"/>
                  </a:cubicBezTo>
                  <a:cubicBezTo>
                    <a:pt x="30" y="4"/>
                    <a:pt x="30" y="4"/>
                    <a:pt x="30" y="4"/>
                  </a:cubicBezTo>
                  <a:cubicBezTo>
                    <a:pt x="30" y="7"/>
                    <a:pt x="30" y="7"/>
                    <a:pt x="30" y="7"/>
                  </a:cubicBezTo>
                  <a:cubicBezTo>
                    <a:pt x="28" y="7"/>
                    <a:pt x="28" y="7"/>
                    <a:pt x="28" y="7"/>
                  </a:cubicBezTo>
                  <a:cubicBezTo>
                    <a:pt x="28" y="4"/>
                    <a:pt x="28" y="4"/>
                    <a:pt x="28" y="4"/>
                  </a:cubicBezTo>
                  <a:cubicBezTo>
                    <a:pt x="26" y="4"/>
                    <a:pt x="26" y="4"/>
                    <a:pt x="26" y="4"/>
                  </a:cubicBezTo>
                  <a:cubicBezTo>
                    <a:pt x="26" y="7"/>
                    <a:pt x="26" y="7"/>
                    <a:pt x="26" y="7"/>
                  </a:cubicBezTo>
                  <a:cubicBezTo>
                    <a:pt x="24" y="7"/>
                    <a:pt x="24" y="7"/>
                    <a:pt x="24" y="7"/>
                  </a:cubicBezTo>
                  <a:cubicBezTo>
                    <a:pt x="24" y="4"/>
                    <a:pt x="24" y="4"/>
                    <a:pt x="24" y="4"/>
                  </a:cubicBezTo>
                  <a:cubicBezTo>
                    <a:pt x="21" y="4"/>
                    <a:pt x="21" y="4"/>
                    <a:pt x="21" y="4"/>
                  </a:cubicBezTo>
                  <a:cubicBezTo>
                    <a:pt x="21" y="7"/>
                    <a:pt x="21" y="7"/>
                    <a:pt x="21" y="7"/>
                  </a:cubicBezTo>
                  <a:cubicBezTo>
                    <a:pt x="20" y="7"/>
                    <a:pt x="20" y="7"/>
                    <a:pt x="20" y="7"/>
                  </a:cubicBezTo>
                  <a:cubicBezTo>
                    <a:pt x="20" y="4"/>
                    <a:pt x="20" y="4"/>
                    <a:pt x="20" y="4"/>
                  </a:cubicBezTo>
                  <a:cubicBezTo>
                    <a:pt x="17" y="4"/>
                    <a:pt x="17" y="4"/>
                    <a:pt x="17" y="4"/>
                  </a:cubicBezTo>
                  <a:cubicBezTo>
                    <a:pt x="17" y="7"/>
                    <a:pt x="17" y="7"/>
                    <a:pt x="17" y="7"/>
                  </a:cubicBezTo>
                  <a:cubicBezTo>
                    <a:pt x="14" y="7"/>
                    <a:pt x="14" y="7"/>
                    <a:pt x="14" y="7"/>
                  </a:cubicBezTo>
                  <a:cubicBezTo>
                    <a:pt x="14" y="4"/>
                    <a:pt x="14" y="4"/>
                    <a:pt x="14" y="4"/>
                  </a:cubicBezTo>
                  <a:cubicBezTo>
                    <a:pt x="6" y="4"/>
                    <a:pt x="6" y="4"/>
                    <a:pt x="6" y="4"/>
                  </a:cubicBezTo>
                  <a:cubicBezTo>
                    <a:pt x="6" y="7"/>
                    <a:pt x="6" y="7"/>
                    <a:pt x="6" y="7"/>
                  </a:cubicBezTo>
                  <a:cubicBezTo>
                    <a:pt x="3" y="7"/>
                    <a:pt x="3" y="7"/>
                    <a:pt x="3" y="7"/>
                  </a:cubicBezTo>
                  <a:cubicBezTo>
                    <a:pt x="2" y="7"/>
                    <a:pt x="2" y="7"/>
                    <a:pt x="2" y="8"/>
                  </a:cubicBezTo>
                  <a:cubicBezTo>
                    <a:pt x="2" y="45"/>
                    <a:pt x="2" y="45"/>
                    <a:pt x="2" y="45"/>
                  </a:cubicBezTo>
                  <a:cubicBezTo>
                    <a:pt x="2" y="45"/>
                    <a:pt x="2" y="46"/>
                    <a:pt x="3" y="46"/>
                  </a:cubicBezTo>
                  <a:cubicBezTo>
                    <a:pt x="6" y="46"/>
                    <a:pt x="6" y="46"/>
                    <a:pt x="6" y="46"/>
                  </a:cubicBezTo>
                  <a:cubicBezTo>
                    <a:pt x="6" y="48"/>
                    <a:pt x="6" y="48"/>
                    <a:pt x="6" y="48"/>
                  </a:cubicBezTo>
                  <a:cubicBezTo>
                    <a:pt x="14" y="48"/>
                    <a:pt x="14" y="48"/>
                    <a:pt x="14" y="48"/>
                  </a:cubicBezTo>
                  <a:cubicBezTo>
                    <a:pt x="14" y="46"/>
                    <a:pt x="14" y="46"/>
                    <a:pt x="14" y="46"/>
                  </a:cubicBezTo>
                  <a:cubicBezTo>
                    <a:pt x="17" y="46"/>
                    <a:pt x="17" y="46"/>
                    <a:pt x="17" y="46"/>
                  </a:cubicBezTo>
                  <a:cubicBezTo>
                    <a:pt x="17" y="48"/>
                    <a:pt x="17" y="48"/>
                    <a:pt x="17" y="48"/>
                  </a:cubicBezTo>
                  <a:cubicBezTo>
                    <a:pt x="41" y="48"/>
                    <a:pt x="41" y="48"/>
                    <a:pt x="41" y="48"/>
                  </a:cubicBezTo>
                  <a:cubicBezTo>
                    <a:pt x="41" y="46"/>
                    <a:pt x="41" y="46"/>
                    <a:pt x="41" y="46"/>
                  </a:cubicBezTo>
                  <a:cubicBezTo>
                    <a:pt x="45" y="46"/>
                    <a:pt x="45" y="46"/>
                    <a:pt x="45" y="46"/>
                  </a:cubicBezTo>
                  <a:lnTo>
                    <a:pt x="45" y="48"/>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66" name="Rectangle 133">
              <a:extLst>
                <a:ext uri="{FF2B5EF4-FFF2-40B4-BE49-F238E27FC236}">
                  <a16:creationId xmlns:a16="http://schemas.microsoft.com/office/drawing/2014/main" id="{138272DA-9FA0-4FA7-84AD-B9F10F247320}"/>
                </a:ext>
              </a:extLst>
            </p:cNvPr>
            <p:cNvSpPr>
              <a:spLocks noChangeArrowheads="1"/>
            </p:cNvSpPr>
            <p:nvPr/>
          </p:nvSpPr>
          <p:spPr bwMode="auto">
            <a:xfrm>
              <a:off x="10334287" y="2628042"/>
              <a:ext cx="109950" cy="12617"/>
            </a:xfrm>
            <a:prstGeom prst="rect">
              <a:avLst/>
            </a:prstGeom>
            <a:solidFill>
              <a:srgbClr val="BFBE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67" name="Freeform 134">
              <a:extLst>
                <a:ext uri="{FF2B5EF4-FFF2-40B4-BE49-F238E27FC236}">
                  <a16:creationId xmlns:a16="http://schemas.microsoft.com/office/drawing/2014/main" id="{C9DCFC51-37F0-4BDF-BFB7-448C33E5702F}"/>
                </a:ext>
              </a:extLst>
            </p:cNvPr>
            <p:cNvSpPr>
              <a:spLocks noEditPoints="1"/>
            </p:cNvSpPr>
            <p:nvPr/>
          </p:nvSpPr>
          <p:spPr bwMode="auto">
            <a:xfrm>
              <a:off x="10328880" y="2624437"/>
              <a:ext cx="120765" cy="19827"/>
            </a:xfrm>
            <a:custGeom>
              <a:avLst/>
              <a:gdLst>
                <a:gd name="T0" fmla="*/ 67 w 67"/>
                <a:gd name="T1" fmla="*/ 11 h 11"/>
                <a:gd name="T2" fmla="*/ 0 w 67"/>
                <a:gd name="T3" fmla="*/ 11 h 11"/>
                <a:gd name="T4" fmla="*/ 0 w 67"/>
                <a:gd name="T5" fmla="*/ 0 h 11"/>
                <a:gd name="T6" fmla="*/ 67 w 67"/>
                <a:gd name="T7" fmla="*/ 0 h 11"/>
                <a:gd name="T8" fmla="*/ 67 w 67"/>
                <a:gd name="T9" fmla="*/ 11 h 11"/>
                <a:gd name="T10" fmla="*/ 5 w 67"/>
                <a:gd name="T11" fmla="*/ 9 h 11"/>
                <a:gd name="T12" fmla="*/ 62 w 67"/>
                <a:gd name="T13" fmla="*/ 9 h 11"/>
                <a:gd name="T14" fmla="*/ 62 w 67"/>
                <a:gd name="T15" fmla="*/ 4 h 11"/>
                <a:gd name="T16" fmla="*/ 5 w 67"/>
                <a:gd name="T17" fmla="*/ 4 h 11"/>
                <a:gd name="T18" fmla="*/ 5 w 67"/>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1">
                  <a:moveTo>
                    <a:pt x="67" y="11"/>
                  </a:moveTo>
                  <a:lnTo>
                    <a:pt x="0" y="11"/>
                  </a:lnTo>
                  <a:lnTo>
                    <a:pt x="0" y="0"/>
                  </a:lnTo>
                  <a:lnTo>
                    <a:pt x="67" y="0"/>
                  </a:lnTo>
                  <a:lnTo>
                    <a:pt x="67" y="11"/>
                  </a:lnTo>
                  <a:close/>
                  <a:moveTo>
                    <a:pt x="5" y="9"/>
                  </a:moveTo>
                  <a:lnTo>
                    <a:pt x="62" y="9"/>
                  </a:lnTo>
                  <a:lnTo>
                    <a:pt x="62" y="4"/>
                  </a:lnTo>
                  <a:lnTo>
                    <a:pt x="5" y="4"/>
                  </a:lnTo>
                  <a:lnTo>
                    <a:pt x="5" y="9"/>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68" name="Freeform 135">
              <a:extLst>
                <a:ext uri="{FF2B5EF4-FFF2-40B4-BE49-F238E27FC236}">
                  <a16:creationId xmlns:a16="http://schemas.microsoft.com/office/drawing/2014/main" id="{AB3255CA-C9D0-47C2-B341-47990B8F787B}"/>
                </a:ext>
              </a:extLst>
            </p:cNvPr>
            <p:cNvSpPr>
              <a:spLocks/>
            </p:cNvSpPr>
            <p:nvPr/>
          </p:nvSpPr>
          <p:spPr bwMode="auto">
            <a:xfrm>
              <a:off x="10278411" y="2458610"/>
              <a:ext cx="43259" cy="104543"/>
            </a:xfrm>
            <a:custGeom>
              <a:avLst/>
              <a:gdLst>
                <a:gd name="T0" fmla="*/ 9 w 10"/>
                <a:gd name="T1" fmla="*/ 25 h 25"/>
                <a:gd name="T2" fmla="*/ 1 w 10"/>
                <a:gd name="T3" fmla="*/ 25 h 25"/>
                <a:gd name="T4" fmla="*/ 0 w 10"/>
                <a:gd name="T5" fmla="*/ 23 h 25"/>
                <a:gd name="T6" fmla="*/ 0 w 10"/>
                <a:gd name="T7" fmla="*/ 1 h 25"/>
                <a:gd name="T8" fmla="*/ 1 w 10"/>
                <a:gd name="T9" fmla="*/ 0 h 25"/>
                <a:gd name="T10" fmla="*/ 9 w 10"/>
                <a:gd name="T11" fmla="*/ 0 h 25"/>
                <a:gd name="T12" fmla="*/ 10 w 10"/>
                <a:gd name="T13" fmla="*/ 1 h 25"/>
                <a:gd name="T14" fmla="*/ 10 w 10"/>
                <a:gd name="T15" fmla="*/ 23 h 25"/>
                <a:gd name="T16" fmla="*/ 9 w 10"/>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5">
                  <a:moveTo>
                    <a:pt x="9" y="25"/>
                  </a:moveTo>
                  <a:cubicBezTo>
                    <a:pt x="1" y="25"/>
                    <a:pt x="1" y="25"/>
                    <a:pt x="1" y="25"/>
                  </a:cubicBezTo>
                  <a:cubicBezTo>
                    <a:pt x="0" y="25"/>
                    <a:pt x="0" y="24"/>
                    <a:pt x="0" y="23"/>
                  </a:cubicBezTo>
                  <a:cubicBezTo>
                    <a:pt x="0" y="1"/>
                    <a:pt x="0" y="1"/>
                    <a:pt x="0" y="1"/>
                  </a:cubicBezTo>
                  <a:cubicBezTo>
                    <a:pt x="0" y="0"/>
                    <a:pt x="0" y="0"/>
                    <a:pt x="1" y="0"/>
                  </a:cubicBezTo>
                  <a:cubicBezTo>
                    <a:pt x="9" y="0"/>
                    <a:pt x="9" y="0"/>
                    <a:pt x="9" y="0"/>
                  </a:cubicBezTo>
                  <a:cubicBezTo>
                    <a:pt x="10" y="0"/>
                    <a:pt x="10" y="0"/>
                    <a:pt x="10" y="1"/>
                  </a:cubicBezTo>
                  <a:cubicBezTo>
                    <a:pt x="10" y="23"/>
                    <a:pt x="10" y="23"/>
                    <a:pt x="10" y="23"/>
                  </a:cubicBezTo>
                  <a:cubicBezTo>
                    <a:pt x="10" y="24"/>
                    <a:pt x="10" y="25"/>
                    <a:pt x="9" y="25"/>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69" name="Freeform 136">
              <a:extLst>
                <a:ext uri="{FF2B5EF4-FFF2-40B4-BE49-F238E27FC236}">
                  <a16:creationId xmlns:a16="http://schemas.microsoft.com/office/drawing/2014/main" id="{E289EE7A-980E-48DE-8263-B2E0067EBBEF}"/>
                </a:ext>
              </a:extLst>
            </p:cNvPr>
            <p:cNvSpPr>
              <a:spLocks noEditPoints="1"/>
            </p:cNvSpPr>
            <p:nvPr/>
          </p:nvSpPr>
          <p:spPr bwMode="auto">
            <a:xfrm>
              <a:off x="10274806" y="2453203"/>
              <a:ext cx="50469" cy="109950"/>
            </a:xfrm>
            <a:custGeom>
              <a:avLst/>
              <a:gdLst>
                <a:gd name="T0" fmla="*/ 10 w 12"/>
                <a:gd name="T1" fmla="*/ 26 h 26"/>
                <a:gd name="T2" fmla="*/ 2 w 12"/>
                <a:gd name="T3" fmla="*/ 26 h 26"/>
                <a:gd name="T4" fmla="*/ 0 w 12"/>
                <a:gd name="T5" fmla="*/ 24 h 26"/>
                <a:gd name="T6" fmla="*/ 0 w 12"/>
                <a:gd name="T7" fmla="*/ 2 h 26"/>
                <a:gd name="T8" fmla="*/ 2 w 12"/>
                <a:gd name="T9" fmla="*/ 0 h 26"/>
                <a:gd name="T10" fmla="*/ 10 w 12"/>
                <a:gd name="T11" fmla="*/ 0 h 26"/>
                <a:gd name="T12" fmla="*/ 12 w 12"/>
                <a:gd name="T13" fmla="*/ 2 h 26"/>
                <a:gd name="T14" fmla="*/ 12 w 12"/>
                <a:gd name="T15" fmla="*/ 24 h 26"/>
                <a:gd name="T16" fmla="*/ 10 w 12"/>
                <a:gd name="T17" fmla="*/ 26 h 26"/>
                <a:gd name="T18" fmla="*/ 2 w 12"/>
                <a:gd name="T19" fmla="*/ 1 h 26"/>
                <a:gd name="T20" fmla="*/ 1 w 12"/>
                <a:gd name="T21" fmla="*/ 2 h 26"/>
                <a:gd name="T22" fmla="*/ 1 w 12"/>
                <a:gd name="T23" fmla="*/ 24 h 26"/>
                <a:gd name="T24" fmla="*/ 2 w 12"/>
                <a:gd name="T25" fmla="*/ 25 h 26"/>
                <a:gd name="T26" fmla="*/ 10 w 12"/>
                <a:gd name="T27" fmla="*/ 25 h 26"/>
                <a:gd name="T28" fmla="*/ 11 w 12"/>
                <a:gd name="T29" fmla="*/ 24 h 26"/>
                <a:gd name="T30" fmla="*/ 11 w 12"/>
                <a:gd name="T31" fmla="*/ 2 h 26"/>
                <a:gd name="T32" fmla="*/ 10 w 12"/>
                <a:gd name="T33" fmla="*/ 1 h 26"/>
                <a:gd name="T34" fmla="*/ 2 w 12"/>
                <a:gd name="T35"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26">
                  <a:moveTo>
                    <a:pt x="10" y="26"/>
                  </a:moveTo>
                  <a:cubicBezTo>
                    <a:pt x="2" y="26"/>
                    <a:pt x="2" y="26"/>
                    <a:pt x="2" y="26"/>
                  </a:cubicBezTo>
                  <a:cubicBezTo>
                    <a:pt x="1" y="26"/>
                    <a:pt x="0" y="25"/>
                    <a:pt x="0" y="24"/>
                  </a:cubicBezTo>
                  <a:cubicBezTo>
                    <a:pt x="0" y="2"/>
                    <a:pt x="0" y="2"/>
                    <a:pt x="0" y="2"/>
                  </a:cubicBezTo>
                  <a:cubicBezTo>
                    <a:pt x="0" y="1"/>
                    <a:pt x="1" y="0"/>
                    <a:pt x="2" y="0"/>
                  </a:cubicBezTo>
                  <a:cubicBezTo>
                    <a:pt x="10" y="0"/>
                    <a:pt x="10" y="0"/>
                    <a:pt x="10" y="0"/>
                  </a:cubicBezTo>
                  <a:cubicBezTo>
                    <a:pt x="11" y="0"/>
                    <a:pt x="12" y="1"/>
                    <a:pt x="12" y="2"/>
                  </a:cubicBezTo>
                  <a:cubicBezTo>
                    <a:pt x="12" y="24"/>
                    <a:pt x="12" y="24"/>
                    <a:pt x="12" y="24"/>
                  </a:cubicBezTo>
                  <a:cubicBezTo>
                    <a:pt x="12" y="25"/>
                    <a:pt x="11" y="26"/>
                    <a:pt x="10" y="26"/>
                  </a:cubicBezTo>
                  <a:close/>
                  <a:moveTo>
                    <a:pt x="2" y="1"/>
                  </a:moveTo>
                  <a:cubicBezTo>
                    <a:pt x="2" y="1"/>
                    <a:pt x="1" y="2"/>
                    <a:pt x="1" y="2"/>
                  </a:cubicBezTo>
                  <a:cubicBezTo>
                    <a:pt x="1" y="24"/>
                    <a:pt x="1" y="24"/>
                    <a:pt x="1" y="24"/>
                  </a:cubicBezTo>
                  <a:cubicBezTo>
                    <a:pt x="1" y="25"/>
                    <a:pt x="2" y="25"/>
                    <a:pt x="2" y="25"/>
                  </a:cubicBezTo>
                  <a:cubicBezTo>
                    <a:pt x="10" y="25"/>
                    <a:pt x="10" y="25"/>
                    <a:pt x="10" y="25"/>
                  </a:cubicBezTo>
                  <a:cubicBezTo>
                    <a:pt x="10" y="25"/>
                    <a:pt x="11" y="25"/>
                    <a:pt x="11" y="24"/>
                  </a:cubicBezTo>
                  <a:cubicBezTo>
                    <a:pt x="11" y="2"/>
                    <a:pt x="11" y="2"/>
                    <a:pt x="11" y="2"/>
                  </a:cubicBezTo>
                  <a:cubicBezTo>
                    <a:pt x="11" y="2"/>
                    <a:pt x="10" y="1"/>
                    <a:pt x="10" y="1"/>
                  </a:cubicBezTo>
                  <a:lnTo>
                    <a:pt x="2"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70" name="Freeform 137">
              <a:extLst>
                <a:ext uri="{FF2B5EF4-FFF2-40B4-BE49-F238E27FC236}">
                  <a16:creationId xmlns:a16="http://schemas.microsoft.com/office/drawing/2014/main" id="{D7702066-0A2F-428C-BBB6-51955227401A}"/>
                </a:ext>
              </a:extLst>
            </p:cNvPr>
            <p:cNvSpPr>
              <a:spLocks/>
            </p:cNvSpPr>
            <p:nvPr/>
          </p:nvSpPr>
          <p:spPr bwMode="auto">
            <a:xfrm>
              <a:off x="10428016" y="2458610"/>
              <a:ext cx="81111" cy="25235"/>
            </a:xfrm>
            <a:custGeom>
              <a:avLst/>
              <a:gdLst>
                <a:gd name="T0" fmla="*/ 0 w 19"/>
                <a:gd name="T1" fmla="*/ 5 h 6"/>
                <a:gd name="T2" fmla="*/ 0 w 19"/>
                <a:gd name="T3" fmla="*/ 0 h 6"/>
                <a:gd name="T4" fmla="*/ 1 w 19"/>
                <a:gd name="T5" fmla="*/ 0 h 6"/>
                <a:gd name="T6" fmla="*/ 19 w 19"/>
                <a:gd name="T7" fmla="*/ 0 h 6"/>
                <a:gd name="T8" fmla="*/ 19 w 19"/>
                <a:gd name="T9" fmla="*/ 0 h 6"/>
                <a:gd name="T10" fmla="*/ 19 w 19"/>
                <a:gd name="T11" fmla="*/ 5 h 6"/>
                <a:gd name="T12" fmla="*/ 19 w 19"/>
                <a:gd name="T13" fmla="*/ 6 h 6"/>
                <a:gd name="T14" fmla="*/ 1 w 19"/>
                <a:gd name="T15" fmla="*/ 6 h 6"/>
                <a:gd name="T16" fmla="*/ 0 w 19"/>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
                  <a:moveTo>
                    <a:pt x="0" y="5"/>
                  </a:moveTo>
                  <a:cubicBezTo>
                    <a:pt x="0" y="0"/>
                    <a:pt x="0" y="0"/>
                    <a:pt x="0" y="0"/>
                  </a:cubicBezTo>
                  <a:cubicBezTo>
                    <a:pt x="0" y="0"/>
                    <a:pt x="1" y="0"/>
                    <a:pt x="1" y="0"/>
                  </a:cubicBezTo>
                  <a:cubicBezTo>
                    <a:pt x="19" y="0"/>
                    <a:pt x="19" y="0"/>
                    <a:pt x="19" y="0"/>
                  </a:cubicBezTo>
                  <a:cubicBezTo>
                    <a:pt x="19" y="0"/>
                    <a:pt x="19" y="0"/>
                    <a:pt x="19" y="0"/>
                  </a:cubicBezTo>
                  <a:cubicBezTo>
                    <a:pt x="19" y="5"/>
                    <a:pt x="19" y="5"/>
                    <a:pt x="19" y="5"/>
                  </a:cubicBezTo>
                  <a:cubicBezTo>
                    <a:pt x="19" y="5"/>
                    <a:pt x="19" y="6"/>
                    <a:pt x="19" y="6"/>
                  </a:cubicBezTo>
                  <a:cubicBezTo>
                    <a:pt x="1" y="6"/>
                    <a:pt x="1" y="6"/>
                    <a:pt x="1" y="6"/>
                  </a:cubicBezTo>
                  <a:cubicBezTo>
                    <a:pt x="1" y="6"/>
                    <a:pt x="0" y="5"/>
                    <a:pt x="0" y="5"/>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71" name="Freeform 138">
              <a:extLst>
                <a:ext uri="{FF2B5EF4-FFF2-40B4-BE49-F238E27FC236}">
                  <a16:creationId xmlns:a16="http://schemas.microsoft.com/office/drawing/2014/main" id="{27A0352E-A984-4ECE-BB64-D7C6915249F0}"/>
                </a:ext>
              </a:extLst>
            </p:cNvPr>
            <p:cNvSpPr>
              <a:spLocks noEditPoints="1"/>
            </p:cNvSpPr>
            <p:nvPr/>
          </p:nvSpPr>
          <p:spPr bwMode="auto">
            <a:xfrm>
              <a:off x="10428016" y="2453203"/>
              <a:ext cx="84716" cy="30642"/>
            </a:xfrm>
            <a:custGeom>
              <a:avLst/>
              <a:gdLst>
                <a:gd name="T0" fmla="*/ 19 w 20"/>
                <a:gd name="T1" fmla="*/ 7 h 7"/>
                <a:gd name="T2" fmla="*/ 1 w 20"/>
                <a:gd name="T3" fmla="*/ 7 h 7"/>
                <a:gd name="T4" fmla="*/ 0 w 20"/>
                <a:gd name="T5" fmla="*/ 6 h 7"/>
                <a:gd name="T6" fmla="*/ 0 w 20"/>
                <a:gd name="T7" fmla="*/ 1 h 7"/>
                <a:gd name="T8" fmla="*/ 1 w 20"/>
                <a:gd name="T9" fmla="*/ 0 h 7"/>
                <a:gd name="T10" fmla="*/ 19 w 20"/>
                <a:gd name="T11" fmla="*/ 0 h 7"/>
                <a:gd name="T12" fmla="*/ 20 w 20"/>
                <a:gd name="T13" fmla="*/ 1 h 7"/>
                <a:gd name="T14" fmla="*/ 20 w 20"/>
                <a:gd name="T15" fmla="*/ 6 h 7"/>
                <a:gd name="T16" fmla="*/ 19 w 20"/>
                <a:gd name="T17" fmla="*/ 7 h 7"/>
                <a:gd name="T18" fmla="*/ 1 w 20"/>
                <a:gd name="T19" fmla="*/ 1 h 7"/>
                <a:gd name="T20" fmla="*/ 1 w 20"/>
                <a:gd name="T21" fmla="*/ 1 h 7"/>
                <a:gd name="T22" fmla="*/ 1 w 20"/>
                <a:gd name="T23" fmla="*/ 6 h 7"/>
                <a:gd name="T24" fmla="*/ 1 w 20"/>
                <a:gd name="T25" fmla="*/ 6 h 7"/>
                <a:gd name="T26" fmla="*/ 19 w 20"/>
                <a:gd name="T27" fmla="*/ 6 h 7"/>
                <a:gd name="T28" fmla="*/ 19 w 20"/>
                <a:gd name="T29" fmla="*/ 6 h 7"/>
                <a:gd name="T30" fmla="*/ 19 w 20"/>
                <a:gd name="T31" fmla="*/ 1 h 7"/>
                <a:gd name="T32" fmla="*/ 19 w 20"/>
                <a:gd name="T33" fmla="*/ 1 h 7"/>
                <a:gd name="T34" fmla="*/ 1 w 20"/>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7">
                  <a:moveTo>
                    <a:pt x="19" y="7"/>
                  </a:moveTo>
                  <a:cubicBezTo>
                    <a:pt x="1" y="7"/>
                    <a:pt x="1" y="7"/>
                    <a:pt x="1" y="7"/>
                  </a:cubicBezTo>
                  <a:cubicBezTo>
                    <a:pt x="0" y="7"/>
                    <a:pt x="0" y="7"/>
                    <a:pt x="0" y="6"/>
                  </a:cubicBezTo>
                  <a:cubicBezTo>
                    <a:pt x="0" y="1"/>
                    <a:pt x="0" y="1"/>
                    <a:pt x="0" y="1"/>
                  </a:cubicBezTo>
                  <a:cubicBezTo>
                    <a:pt x="0" y="1"/>
                    <a:pt x="0" y="0"/>
                    <a:pt x="1" y="0"/>
                  </a:cubicBezTo>
                  <a:cubicBezTo>
                    <a:pt x="19" y="0"/>
                    <a:pt x="19" y="0"/>
                    <a:pt x="19" y="0"/>
                  </a:cubicBezTo>
                  <a:cubicBezTo>
                    <a:pt x="19" y="0"/>
                    <a:pt x="20" y="1"/>
                    <a:pt x="20" y="1"/>
                  </a:cubicBezTo>
                  <a:cubicBezTo>
                    <a:pt x="20" y="6"/>
                    <a:pt x="20" y="6"/>
                    <a:pt x="20" y="6"/>
                  </a:cubicBezTo>
                  <a:cubicBezTo>
                    <a:pt x="20" y="7"/>
                    <a:pt x="19" y="7"/>
                    <a:pt x="19" y="7"/>
                  </a:cubicBezTo>
                  <a:close/>
                  <a:moveTo>
                    <a:pt x="1" y="1"/>
                  </a:moveTo>
                  <a:cubicBezTo>
                    <a:pt x="1" y="1"/>
                    <a:pt x="1" y="1"/>
                    <a:pt x="1" y="1"/>
                  </a:cubicBezTo>
                  <a:cubicBezTo>
                    <a:pt x="1" y="6"/>
                    <a:pt x="1" y="6"/>
                    <a:pt x="1" y="6"/>
                  </a:cubicBezTo>
                  <a:cubicBezTo>
                    <a:pt x="1" y="6"/>
                    <a:pt x="1" y="6"/>
                    <a:pt x="1" y="6"/>
                  </a:cubicBezTo>
                  <a:cubicBezTo>
                    <a:pt x="19" y="6"/>
                    <a:pt x="19" y="6"/>
                    <a:pt x="19" y="6"/>
                  </a:cubicBezTo>
                  <a:cubicBezTo>
                    <a:pt x="19" y="6"/>
                    <a:pt x="19" y="6"/>
                    <a:pt x="19" y="6"/>
                  </a:cubicBezTo>
                  <a:cubicBezTo>
                    <a:pt x="19" y="1"/>
                    <a:pt x="19" y="1"/>
                    <a:pt x="19" y="1"/>
                  </a:cubicBezTo>
                  <a:cubicBezTo>
                    <a:pt x="19" y="1"/>
                    <a:pt x="19" y="1"/>
                    <a:pt x="19" y="1"/>
                  </a:cubicBezTo>
                  <a:lnTo>
                    <a:pt x="1"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72" name="Freeform 139">
              <a:extLst>
                <a:ext uri="{FF2B5EF4-FFF2-40B4-BE49-F238E27FC236}">
                  <a16:creationId xmlns:a16="http://schemas.microsoft.com/office/drawing/2014/main" id="{6221361B-9A92-4726-BCFD-D36FF36BFC24}"/>
                </a:ext>
              </a:extLst>
            </p:cNvPr>
            <p:cNvSpPr>
              <a:spLocks/>
            </p:cNvSpPr>
            <p:nvPr/>
          </p:nvSpPr>
          <p:spPr bwMode="auto">
            <a:xfrm>
              <a:off x="10428016" y="2496462"/>
              <a:ext cx="81111" cy="25235"/>
            </a:xfrm>
            <a:custGeom>
              <a:avLst/>
              <a:gdLst>
                <a:gd name="T0" fmla="*/ 0 w 19"/>
                <a:gd name="T1" fmla="*/ 6 h 6"/>
                <a:gd name="T2" fmla="*/ 0 w 19"/>
                <a:gd name="T3" fmla="*/ 1 h 6"/>
                <a:gd name="T4" fmla="*/ 1 w 19"/>
                <a:gd name="T5" fmla="*/ 0 h 6"/>
                <a:gd name="T6" fmla="*/ 19 w 19"/>
                <a:gd name="T7" fmla="*/ 0 h 6"/>
                <a:gd name="T8" fmla="*/ 19 w 19"/>
                <a:gd name="T9" fmla="*/ 1 h 6"/>
                <a:gd name="T10" fmla="*/ 19 w 19"/>
                <a:gd name="T11" fmla="*/ 6 h 6"/>
                <a:gd name="T12" fmla="*/ 19 w 19"/>
                <a:gd name="T13" fmla="*/ 6 h 6"/>
                <a:gd name="T14" fmla="*/ 1 w 19"/>
                <a:gd name="T15" fmla="*/ 6 h 6"/>
                <a:gd name="T16" fmla="*/ 0 w 19"/>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
                  <a:moveTo>
                    <a:pt x="0" y="6"/>
                  </a:moveTo>
                  <a:cubicBezTo>
                    <a:pt x="0" y="1"/>
                    <a:pt x="0" y="1"/>
                    <a:pt x="0" y="1"/>
                  </a:cubicBezTo>
                  <a:cubicBezTo>
                    <a:pt x="0" y="1"/>
                    <a:pt x="1" y="0"/>
                    <a:pt x="1" y="0"/>
                  </a:cubicBezTo>
                  <a:cubicBezTo>
                    <a:pt x="19" y="0"/>
                    <a:pt x="19" y="0"/>
                    <a:pt x="19" y="0"/>
                  </a:cubicBezTo>
                  <a:cubicBezTo>
                    <a:pt x="19" y="0"/>
                    <a:pt x="19" y="1"/>
                    <a:pt x="19" y="1"/>
                  </a:cubicBezTo>
                  <a:cubicBezTo>
                    <a:pt x="19" y="6"/>
                    <a:pt x="19" y="6"/>
                    <a:pt x="19" y="6"/>
                  </a:cubicBezTo>
                  <a:cubicBezTo>
                    <a:pt x="19" y="6"/>
                    <a:pt x="19" y="6"/>
                    <a:pt x="19" y="6"/>
                  </a:cubicBezTo>
                  <a:cubicBezTo>
                    <a:pt x="1" y="6"/>
                    <a:pt x="1" y="6"/>
                    <a:pt x="1" y="6"/>
                  </a:cubicBezTo>
                  <a:cubicBezTo>
                    <a:pt x="1" y="6"/>
                    <a:pt x="0" y="6"/>
                    <a:pt x="0" y="6"/>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73" name="Freeform 140">
              <a:extLst>
                <a:ext uri="{FF2B5EF4-FFF2-40B4-BE49-F238E27FC236}">
                  <a16:creationId xmlns:a16="http://schemas.microsoft.com/office/drawing/2014/main" id="{58E95F7F-A52F-4910-BDE8-F1C04BCEA7BB}"/>
                </a:ext>
              </a:extLst>
            </p:cNvPr>
            <p:cNvSpPr>
              <a:spLocks noEditPoints="1"/>
            </p:cNvSpPr>
            <p:nvPr/>
          </p:nvSpPr>
          <p:spPr bwMode="auto">
            <a:xfrm>
              <a:off x="10428016" y="2496462"/>
              <a:ext cx="84716" cy="28839"/>
            </a:xfrm>
            <a:custGeom>
              <a:avLst/>
              <a:gdLst>
                <a:gd name="T0" fmla="*/ 19 w 20"/>
                <a:gd name="T1" fmla="*/ 7 h 7"/>
                <a:gd name="T2" fmla="*/ 1 w 20"/>
                <a:gd name="T3" fmla="*/ 7 h 7"/>
                <a:gd name="T4" fmla="*/ 0 w 20"/>
                <a:gd name="T5" fmla="*/ 6 h 7"/>
                <a:gd name="T6" fmla="*/ 0 w 20"/>
                <a:gd name="T7" fmla="*/ 1 h 7"/>
                <a:gd name="T8" fmla="*/ 1 w 20"/>
                <a:gd name="T9" fmla="*/ 0 h 7"/>
                <a:gd name="T10" fmla="*/ 19 w 20"/>
                <a:gd name="T11" fmla="*/ 0 h 7"/>
                <a:gd name="T12" fmla="*/ 20 w 20"/>
                <a:gd name="T13" fmla="*/ 1 h 7"/>
                <a:gd name="T14" fmla="*/ 20 w 20"/>
                <a:gd name="T15" fmla="*/ 6 h 7"/>
                <a:gd name="T16" fmla="*/ 19 w 20"/>
                <a:gd name="T17" fmla="*/ 7 h 7"/>
                <a:gd name="T18" fmla="*/ 1 w 20"/>
                <a:gd name="T19" fmla="*/ 1 h 7"/>
                <a:gd name="T20" fmla="*/ 1 w 20"/>
                <a:gd name="T21" fmla="*/ 1 h 7"/>
                <a:gd name="T22" fmla="*/ 1 w 20"/>
                <a:gd name="T23" fmla="*/ 6 h 7"/>
                <a:gd name="T24" fmla="*/ 1 w 20"/>
                <a:gd name="T25" fmla="*/ 6 h 7"/>
                <a:gd name="T26" fmla="*/ 19 w 20"/>
                <a:gd name="T27" fmla="*/ 6 h 7"/>
                <a:gd name="T28" fmla="*/ 19 w 20"/>
                <a:gd name="T29" fmla="*/ 6 h 7"/>
                <a:gd name="T30" fmla="*/ 19 w 20"/>
                <a:gd name="T31" fmla="*/ 1 h 7"/>
                <a:gd name="T32" fmla="*/ 19 w 20"/>
                <a:gd name="T33" fmla="*/ 1 h 7"/>
                <a:gd name="T34" fmla="*/ 1 w 20"/>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7">
                  <a:moveTo>
                    <a:pt x="19" y="7"/>
                  </a:moveTo>
                  <a:cubicBezTo>
                    <a:pt x="1" y="7"/>
                    <a:pt x="1" y="7"/>
                    <a:pt x="1" y="7"/>
                  </a:cubicBezTo>
                  <a:cubicBezTo>
                    <a:pt x="0" y="7"/>
                    <a:pt x="0" y="6"/>
                    <a:pt x="0" y="6"/>
                  </a:cubicBezTo>
                  <a:cubicBezTo>
                    <a:pt x="0" y="1"/>
                    <a:pt x="0" y="1"/>
                    <a:pt x="0" y="1"/>
                  </a:cubicBezTo>
                  <a:cubicBezTo>
                    <a:pt x="0" y="0"/>
                    <a:pt x="0" y="0"/>
                    <a:pt x="1" y="0"/>
                  </a:cubicBezTo>
                  <a:cubicBezTo>
                    <a:pt x="19" y="0"/>
                    <a:pt x="19" y="0"/>
                    <a:pt x="19" y="0"/>
                  </a:cubicBezTo>
                  <a:cubicBezTo>
                    <a:pt x="19" y="0"/>
                    <a:pt x="20" y="0"/>
                    <a:pt x="20" y="1"/>
                  </a:cubicBezTo>
                  <a:cubicBezTo>
                    <a:pt x="20" y="6"/>
                    <a:pt x="20" y="6"/>
                    <a:pt x="20" y="6"/>
                  </a:cubicBezTo>
                  <a:cubicBezTo>
                    <a:pt x="20" y="6"/>
                    <a:pt x="19" y="7"/>
                    <a:pt x="19" y="7"/>
                  </a:cubicBezTo>
                  <a:close/>
                  <a:moveTo>
                    <a:pt x="1" y="1"/>
                  </a:moveTo>
                  <a:cubicBezTo>
                    <a:pt x="1" y="1"/>
                    <a:pt x="1" y="1"/>
                    <a:pt x="1" y="1"/>
                  </a:cubicBezTo>
                  <a:cubicBezTo>
                    <a:pt x="1" y="6"/>
                    <a:pt x="1" y="6"/>
                    <a:pt x="1" y="6"/>
                  </a:cubicBezTo>
                  <a:cubicBezTo>
                    <a:pt x="1" y="6"/>
                    <a:pt x="1" y="6"/>
                    <a:pt x="1" y="6"/>
                  </a:cubicBezTo>
                  <a:cubicBezTo>
                    <a:pt x="19" y="6"/>
                    <a:pt x="19" y="6"/>
                    <a:pt x="19" y="6"/>
                  </a:cubicBezTo>
                  <a:cubicBezTo>
                    <a:pt x="19" y="6"/>
                    <a:pt x="19" y="6"/>
                    <a:pt x="19" y="6"/>
                  </a:cubicBezTo>
                  <a:cubicBezTo>
                    <a:pt x="19" y="1"/>
                    <a:pt x="19" y="1"/>
                    <a:pt x="19" y="1"/>
                  </a:cubicBezTo>
                  <a:cubicBezTo>
                    <a:pt x="19" y="1"/>
                    <a:pt x="19" y="1"/>
                    <a:pt x="19" y="1"/>
                  </a:cubicBezTo>
                  <a:lnTo>
                    <a:pt x="1"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74" name="Oval 141">
              <a:extLst>
                <a:ext uri="{FF2B5EF4-FFF2-40B4-BE49-F238E27FC236}">
                  <a16:creationId xmlns:a16="http://schemas.microsoft.com/office/drawing/2014/main" id="{72A0B0A9-CE7D-457E-91BC-2222CA3E291C}"/>
                </a:ext>
              </a:extLst>
            </p:cNvPr>
            <p:cNvSpPr>
              <a:spLocks noChangeArrowheads="1"/>
            </p:cNvSpPr>
            <p:nvPr/>
          </p:nvSpPr>
          <p:spPr bwMode="auto">
            <a:xfrm>
              <a:off x="10283818" y="2577573"/>
              <a:ext cx="28839" cy="28839"/>
            </a:xfrm>
            <a:prstGeom prst="ellipse">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75" name="Freeform 142">
              <a:extLst>
                <a:ext uri="{FF2B5EF4-FFF2-40B4-BE49-F238E27FC236}">
                  <a16:creationId xmlns:a16="http://schemas.microsoft.com/office/drawing/2014/main" id="{88F6EABA-89DE-4FC3-8058-D3C481EE0C73}"/>
                </a:ext>
              </a:extLst>
            </p:cNvPr>
            <p:cNvSpPr>
              <a:spLocks noEditPoints="1"/>
            </p:cNvSpPr>
            <p:nvPr/>
          </p:nvSpPr>
          <p:spPr bwMode="auto">
            <a:xfrm>
              <a:off x="10283818" y="2577573"/>
              <a:ext cx="28839" cy="28839"/>
            </a:xfrm>
            <a:custGeom>
              <a:avLst/>
              <a:gdLst>
                <a:gd name="T0" fmla="*/ 4 w 7"/>
                <a:gd name="T1" fmla="*/ 7 h 7"/>
                <a:gd name="T2" fmla="*/ 0 w 7"/>
                <a:gd name="T3" fmla="*/ 3 h 7"/>
                <a:gd name="T4" fmla="*/ 4 w 7"/>
                <a:gd name="T5" fmla="*/ 0 h 7"/>
                <a:gd name="T6" fmla="*/ 7 w 7"/>
                <a:gd name="T7" fmla="*/ 3 h 7"/>
                <a:gd name="T8" fmla="*/ 4 w 7"/>
                <a:gd name="T9" fmla="*/ 7 h 7"/>
                <a:gd name="T10" fmla="*/ 4 w 7"/>
                <a:gd name="T11" fmla="*/ 0 h 7"/>
                <a:gd name="T12" fmla="*/ 1 w 7"/>
                <a:gd name="T13" fmla="*/ 3 h 7"/>
                <a:gd name="T14" fmla="*/ 4 w 7"/>
                <a:gd name="T15" fmla="*/ 6 h 7"/>
                <a:gd name="T16" fmla="*/ 6 w 7"/>
                <a:gd name="T17" fmla="*/ 3 h 7"/>
                <a:gd name="T18" fmla="*/ 4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7"/>
                  </a:moveTo>
                  <a:cubicBezTo>
                    <a:pt x="2" y="7"/>
                    <a:pt x="0" y="5"/>
                    <a:pt x="0" y="3"/>
                  </a:cubicBezTo>
                  <a:cubicBezTo>
                    <a:pt x="0" y="1"/>
                    <a:pt x="2" y="0"/>
                    <a:pt x="4" y="0"/>
                  </a:cubicBezTo>
                  <a:cubicBezTo>
                    <a:pt x="6" y="0"/>
                    <a:pt x="7" y="1"/>
                    <a:pt x="7" y="3"/>
                  </a:cubicBezTo>
                  <a:cubicBezTo>
                    <a:pt x="7" y="5"/>
                    <a:pt x="6" y="7"/>
                    <a:pt x="4" y="7"/>
                  </a:cubicBezTo>
                  <a:close/>
                  <a:moveTo>
                    <a:pt x="4" y="0"/>
                  </a:moveTo>
                  <a:cubicBezTo>
                    <a:pt x="2" y="0"/>
                    <a:pt x="1" y="2"/>
                    <a:pt x="1" y="3"/>
                  </a:cubicBezTo>
                  <a:cubicBezTo>
                    <a:pt x="1" y="5"/>
                    <a:pt x="2" y="6"/>
                    <a:pt x="4" y="6"/>
                  </a:cubicBezTo>
                  <a:cubicBezTo>
                    <a:pt x="5" y="6"/>
                    <a:pt x="6" y="5"/>
                    <a:pt x="6" y="3"/>
                  </a:cubicBezTo>
                  <a:cubicBezTo>
                    <a:pt x="6" y="2"/>
                    <a:pt x="5" y="0"/>
                    <a:pt x="4" y="0"/>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76" name="Oval 143">
              <a:extLst>
                <a:ext uri="{FF2B5EF4-FFF2-40B4-BE49-F238E27FC236}">
                  <a16:creationId xmlns:a16="http://schemas.microsoft.com/office/drawing/2014/main" id="{AC09F35A-21DC-4051-AA7E-0F94E7DDC59D}"/>
                </a:ext>
              </a:extLst>
            </p:cNvPr>
            <p:cNvSpPr>
              <a:spLocks noChangeArrowheads="1"/>
            </p:cNvSpPr>
            <p:nvPr/>
          </p:nvSpPr>
          <p:spPr bwMode="auto">
            <a:xfrm>
              <a:off x="10321670" y="2577573"/>
              <a:ext cx="28839" cy="28839"/>
            </a:xfrm>
            <a:prstGeom prst="ellipse">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77" name="Freeform 144">
              <a:extLst>
                <a:ext uri="{FF2B5EF4-FFF2-40B4-BE49-F238E27FC236}">
                  <a16:creationId xmlns:a16="http://schemas.microsoft.com/office/drawing/2014/main" id="{B9F60994-A457-482C-A55A-BEA128799AA9}"/>
                </a:ext>
              </a:extLst>
            </p:cNvPr>
            <p:cNvSpPr>
              <a:spLocks noEditPoints="1"/>
            </p:cNvSpPr>
            <p:nvPr/>
          </p:nvSpPr>
          <p:spPr bwMode="auto">
            <a:xfrm>
              <a:off x="10321670" y="2577573"/>
              <a:ext cx="28839" cy="28839"/>
            </a:xfrm>
            <a:custGeom>
              <a:avLst/>
              <a:gdLst>
                <a:gd name="T0" fmla="*/ 3 w 7"/>
                <a:gd name="T1" fmla="*/ 7 h 7"/>
                <a:gd name="T2" fmla="*/ 0 w 7"/>
                <a:gd name="T3" fmla="*/ 3 h 7"/>
                <a:gd name="T4" fmla="*/ 3 w 7"/>
                <a:gd name="T5" fmla="*/ 0 h 7"/>
                <a:gd name="T6" fmla="*/ 7 w 7"/>
                <a:gd name="T7" fmla="*/ 3 h 7"/>
                <a:gd name="T8" fmla="*/ 3 w 7"/>
                <a:gd name="T9" fmla="*/ 7 h 7"/>
                <a:gd name="T10" fmla="*/ 3 w 7"/>
                <a:gd name="T11" fmla="*/ 0 h 7"/>
                <a:gd name="T12" fmla="*/ 1 w 7"/>
                <a:gd name="T13" fmla="*/ 3 h 7"/>
                <a:gd name="T14" fmla="*/ 3 w 7"/>
                <a:gd name="T15" fmla="*/ 6 h 7"/>
                <a:gd name="T16" fmla="*/ 6 w 7"/>
                <a:gd name="T17" fmla="*/ 3 h 7"/>
                <a:gd name="T18" fmla="*/ 3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3" y="7"/>
                  </a:moveTo>
                  <a:cubicBezTo>
                    <a:pt x="1" y="7"/>
                    <a:pt x="0" y="5"/>
                    <a:pt x="0" y="3"/>
                  </a:cubicBezTo>
                  <a:cubicBezTo>
                    <a:pt x="0" y="1"/>
                    <a:pt x="1" y="0"/>
                    <a:pt x="3" y="0"/>
                  </a:cubicBezTo>
                  <a:cubicBezTo>
                    <a:pt x="5" y="0"/>
                    <a:pt x="7" y="1"/>
                    <a:pt x="7" y="3"/>
                  </a:cubicBezTo>
                  <a:cubicBezTo>
                    <a:pt x="7" y="5"/>
                    <a:pt x="5" y="7"/>
                    <a:pt x="3" y="7"/>
                  </a:cubicBezTo>
                  <a:close/>
                  <a:moveTo>
                    <a:pt x="3" y="0"/>
                  </a:moveTo>
                  <a:cubicBezTo>
                    <a:pt x="2" y="0"/>
                    <a:pt x="1" y="2"/>
                    <a:pt x="1" y="3"/>
                  </a:cubicBezTo>
                  <a:cubicBezTo>
                    <a:pt x="1" y="5"/>
                    <a:pt x="2" y="6"/>
                    <a:pt x="3" y="6"/>
                  </a:cubicBezTo>
                  <a:cubicBezTo>
                    <a:pt x="5" y="6"/>
                    <a:pt x="6" y="5"/>
                    <a:pt x="6" y="3"/>
                  </a:cubicBezTo>
                  <a:cubicBezTo>
                    <a:pt x="6" y="2"/>
                    <a:pt x="5" y="0"/>
                    <a:pt x="3" y="0"/>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78" name="Oval 145">
              <a:extLst>
                <a:ext uri="{FF2B5EF4-FFF2-40B4-BE49-F238E27FC236}">
                  <a16:creationId xmlns:a16="http://schemas.microsoft.com/office/drawing/2014/main" id="{5A5A4FA5-EFD0-4EB7-861C-52D33EEC822F}"/>
                </a:ext>
              </a:extLst>
            </p:cNvPr>
            <p:cNvSpPr>
              <a:spLocks noChangeArrowheads="1"/>
            </p:cNvSpPr>
            <p:nvPr/>
          </p:nvSpPr>
          <p:spPr bwMode="auto">
            <a:xfrm>
              <a:off x="10359522" y="2577573"/>
              <a:ext cx="25235" cy="28839"/>
            </a:xfrm>
            <a:prstGeom prst="ellipse">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79" name="Freeform 146">
              <a:extLst>
                <a:ext uri="{FF2B5EF4-FFF2-40B4-BE49-F238E27FC236}">
                  <a16:creationId xmlns:a16="http://schemas.microsoft.com/office/drawing/2014/main" id="{9721344D-190D-4D23-AE82-6376A3B40BB3}"/>
                </a:ext>
              </a:extLst>
            </p:cNvPr>
            <p:cNvSpPr>
              <a:spLocks noEditPoints="1"/>
            </p:cNvSpPr>
            <p:nvPr/>
          </p:nvSpPr>
          <p:spPr bwMode="auto">
            <a:xfrm>
              <a:off x="10355917" y="2577573"/>
              <a:ext cx="34247" cy="28839"/>
            </a:xfrm>
            <a:custGeom>
              <a:avLst/>
              <a:gdLst>
                <a:gd name="T0" fmla="*/ 4 w 8"/>
                <a:gd name="T1" fmla="*/ 7 h 7"/>
                <a:gd name="T2" fmla="*/ 0 w 8"/>
                <a:gd name="T3" fmla="*/ 3 h 7"/>
                <a:gd name="T4" fmla="*/ 4 w 8"/>
                <a:gd name="T5" fmla="*/ 0 h 7"/>
                <a:gd name="T6" fmla="*/ 8 w 8"/>
                <a:gd name="T7" fmla="*/ 3 h 7"/>
                <a:gd name="T8" fmla="*/ 4 w 8"/>
                <a:gd name="T9" fmla="*/ 7 h 7"/>
                <a:gd name="T10" fmla="*/ 4 w 8"/>
                <a:gd name="T11" fmla="*/ 0 h 7"/>
                <a:gd name="T12" fmla="*/ 1 w 8"/>
                <a:gd name="T13" fmla="*/ 3 h 7"/>
                <a:gd name="T14" fmla="*/ 4 w 8"/>
                <a:gd name="T15" fmla="*/ 6 h 7"/>
                <a:gd name="T16" fmla="*/ 7 w 8"/>
                <a:gd name="T17" fmla="*/ 3 h 7"/>
                <a:gd name="T18" fmla="*/ 4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4" y="7"/>
                  </a:moveTo>
                  <a:cubicBezTo>
                    <a:pt x="2" y="7"/>
                    <a:pt x="0" y="5"/>
                    <a:pt x="0" y="3"/>
                  </a:cubicBezTo>
                  <a:cubicBezTo>
                    <a:pt x="0" y="1"/>
                    <a:pt x="2" y="0"/>
                    <a:pt x="4" y="0"/>
                  </a:cubicBezTo>
                  <a:cubicBezTo>
                    <a:pt x="6" y="0"/>
                    <a:pt x="8" y="1"/>
                    <a:pt x="8" y="3"/>
                  </a:cubicBezTo>
                  <a:cubicBezTo>
                    <a:pt x="8" y="5"/>
                    <a:pt x="6" y="7"/>
                    <a:pt x="4" y="7"/>
                  </a:cubicBezTo>
                  <a:close/>
                  <a:moveTo>
                    <a:pt x="4" y="0"/>
                  </a:moveTo>
                  <a:cubicBezTo>
                    <a:pt x="2" y="0"/>
                    <a:pt x="1" y="2"/>
                    <a:pt x="1" y="3"/>
                  </a:cubicBezTo>
                  <a:cubicBezTo>
                    <a:pt x="1" y="5"/>
                    <a:pt x="2" y="6"/>
                    <a:pt x="4" y="6"/>
                  </a:cubicBezTo>
                  <a:cubicBezTo>
                    <a:pt x="5" y="6"/>
                    <a:pt x="7" y="5"/>
                    <a:pt x="7" y="3"/>
                  </a:cubicBezTo>
                  <a:cubicBezTo>
                    <a:pt x="7" y="2"/>
                    <a:pt x="5" y="0"/>
                    <a:pt x="4" y="0"/>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80" name="Freeform 147">
              <a:extLst>
                <a:ext uri="{FF2B5EF4-FFF2-40B4-BE49-F238E27FC236}">
                  <a16:creationId xmlns:a16="http://schemas.microsoft.com/office/drawing/2014/main" id="{41BD2E96-1A67-49D4-82FB-8C1755B6EA3D}"/>
                </a:ext>
              </a:extLst>
            </p:cNvPr>
            <p:cNvSpPr>
              <a:spLocks/>
            </p:cNvSpPr>
            <p:nvPr/>
          </p:nvSpPr>
          <p:spPr bwMode="auto">
            <a:xfrm>
              <a:off x="10334287" y="2462215"/>
              <a:ext cx="37852" cy="100938"/>
            </a:xfrm>
            <a:custGeom>
              <a:avLst/>
              <a:gdLst>
                <a:gd name="T0" fmla="*/ 7 w 9"/>
                <a:gd name="T1" fmla="*/ 11 h 24"/>
                <a:gd name="T2" fmla="*/ 9 w 9"/>
                <a:gd name="T3" fmla="*/ 9 h 24"/>
                <a:gd name="T4" fmla="*/ 7 w 9"/>
                <a:gd name="T5" fmla="*/ 7 h 24"/>
                <a:gd name="T6" fmla="*/ 6 w 9"/>
                <a:gd name="T7" fmla="*/ 7 h 24"/>
                <a:gd name="T8" fmla="*/ 6 w 9"/>
                <a:gd name="T9" fmla="*/ 6 h 24"/>
                <a:gd name="T10" fmla="*/ 7 w 9"/>
                <a:gd name="T11" fmla="*/ 6 h 24"/>
                <a:gd name="T12" fmla="*/ 9 w 9"/>
                <a:gd name="T13" fmla="*/ 4 h 24"/>
                <a:gd name="T14" fmla="*/ 7 w 9"/>
                <a:gd name="T15" fmla="*/ 3 h 24"/>
                <a:gd name="T16" fmla="*/ 6 w 9"/>
                <a:gd name="T17" fmla="*/ 3 h 24"/>
                <a:gd name="T18" fmla="*/ 6 w 9"/>
                <a:gd name="T19" fmla="*/ 1 h 24"/>
                <a:gd name="T20" fmla="*/ 4 w 9"/>
                <a:gd name="T21" fmla="*/ 0 h 24"/>
                <a:gd name="T22" fmla="*/ 3 w 9"/>
                <a:gd name="T23" fmla="*/ 1 h 24"/>
                <a:gd name="T24" fmla="*/ 3 w 9"/>
                <a:gd name="T25" fmla="*/ 3 h 24"/>
                <a:gd name="T26" fmla="*/ 1 w 9"/>
                <a:gd name="T27" fmla="*/ 3 h 24"/>
                <a:gd name="T28" fmla="*/ 0 w 9"/>
                <a:gd name="T29" fmla="*/ 4 h 24"/>
                <a:gd name="T30" fmla="*/ 1 w 9"/>
                <a:gd name="T31" fmla="*/ 6 h 24"/>
                <a:gd name="T32" fmla="*/ 3 w 9"/>
                <a:gd name="T33" fmla="*/ 6 h 24"/>
                <a:gd name="T34" fmla="*/ 3 w 9"/>
                <a:gd name="T35" fmla="*/ 7 h 24"/>
                <a:gd name="T36" fmla="*/ 1 w 9"/>
                <a:gd name="T37" fmla="*/ 7 h 24"/>
                <a:gd name="T38" fmla="*/ 0 w 9"/>
                <a:gd name="T39" fmla="*/ 9 h 24"/>
                <a:gd name="T40" fmla="*/ 1 w 9"/>
                <a:gd name="T41" fmla="*/ 11 h 24"/>
                <a:gd name="T42" fmla="*/ 3 w 9"/>
                <a:gd name="T43" fmla="*/ 11 h 24"/>
                <a:gd name="T44" fmla="*/ 3 w 9"/>
                <a:gd name="T45" fmla="*/ 12 h 24"/>
                <a:gd name="T46" fmla="*/ 1 w 9"/>
                <a:gd name="T47" fmla="*/ 12 h 24"/>
                <a:gd name="T48" fmla="*/ 0 w 9"/>
                <a:gd name="T49" fmla="*/ 13 h 24"/>
                <a:gd name="T50" fmla="*/ 1 w 9"/>
                <a:gd name="T51" fmla="*/ 15 h 24"/>
                <a:gd name="T52" fmla="*/ 3 w 9"/>
                <a:gd name="T53" fmla="*/ 15 h 24"/>
                <a:gd name="T54" fmla="*/ 3 w 9"/>
                <a:gd name="T55" fmla="*/ 17 h 24"/>
                <a:gd name="T56" fmla="*/ 1 w 9"/>
                <a:gd name="T57" fmla="*/ 17 h 24"/>
                <a:gd name="T58" fmla="*/ 0 w 9"/>
                <a:gd name="T59" fmla="*/ 18 h 24"/>
                <a:gd name="T60" fmla="*/ 1 w 9"/>
                <a:gd name="T61" fmla="*/ 20 h 24"/>
                <a:gd name="T62" fmla="*/ 3 w 9"/>
                <a:gd name="T63" fmla="*/ 20 h 24"/>
                <a:gd name="T64" fmla="*/ 3 w 9"/>
                <a:gd name="T65" fmla="*/ 23 h 24"/>
                <a:gd name="T66" fmla="*/ 4 w 9"/>
                <a:gd name="T67" fmla="*/ 24 h 24"/>
                <a:gd name="T68" fmla="*/ 6 w 9"/>
                <a:gd name="T69" fmla="*/ 23 h 24"/>
                <a:gd name="T70" fmla="*/ 6 w 9"/>
                <a:gd name="T71" fmla="*/ 20 h 24"/>
                <a:gd name="T72" fmla="*/ 7 w 9"/>
                <a:gd name="T73" fmla="*/ 20 h 24"/>
                <a:gd name="T74" fmla="*/ 9 w 9"/>
                <a:gd name="T75" fmla="*/ 18 h 24"/>
                <a:gd name="T76" fmla="*/ 7 w 9"/>
                <a:gd name="T77" fmla="*/ 17 h 24"/>
                <a:gd name="T78" fmla="*/ 6 w 9"/>
                <a:gd name="T79" fmla="*/ 17 h 24"/>
                <a:gd name="T80" fmla="*/ 6 w 9"/>
                <a:gd name="T81" fmla="*/ 15 h 24"/>
                <a:gd name="T82" fmla="*/ 7 w 9"/>
                <a:gd name="T83" fmla="*/ 15 h 24"/>
                <a:gd name="T84" fmla="*/ 9 w 9"/>
                <a:gd name="T85" fmla="*/ 13 h 24"/>
                <a:gd name="T86" fmla="*/ 7 w 9"/>
                <a:gd name="T87" fmla="*/ 12 h 24"/>
                <a:gd name="T88" fmla="*/ 6 w 9"/>
                <a:gd name="T89" fmla="*/ 12 h 24"/>
                <a:gd name="T90" fmla="*/ 6 w 9"/>
                <a:gd name="T91" fmla="*/ 11 h 24"/>
                <a:gd name="T92" fmla="*/ 7 w 9"/>
                <a:gd name="T93"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 h="24">
                  <a:moveTo>
                    <a:pt x="7" y="11"/>
                  </a:moveTo>
                  <a:cubicBezTo>
                    <a:pt x="8" y="11"/>
                    <a:pt x="9" y="10"/>
                    <a:pt x="9" y="9"/>
                  </a:cubicBezTo>
                  <a:cubicBezTo>
                    <a:pt x="9" y="8"/>
                    <a:pt x="8" y="7"/>
                    <a:pt x="7" y="7"/>
                  </a:cubicBezTo>
                  <a:cubicBezTo>
                    <a:pt x="6" y="7"/>
                    <a:pt x="6" y="7"/>
                    <a:pt x="6" y="7"/>
                  </a:cubicBezTo>
                  <a:cubicBezTo>
                    <a:pt x="6" y="6"/>
                    <a:pt x="6" y="6"/>
                    <a:pt x="6" y="6"/>
                  </a:cubicBezTo>
                  <a:cubicBezTo>
                    <a:pt x="7" y="6"/>
                    <a:pt x="7" y="6"/>
                    <a:pt x="7" y="6"/>
                  </a:cubicBezTo>
                  <a:cubicBezTo>
                    <a:pt x="8" y="6"/>
                    <a:pt x="9" y="5"/>
                    <a:pt x="9" y="4"/>
                  </a:cubicBezTo>
                  <a:cubicBezTo>
                    <a:pt x="9" y="4"/>
                    <a:pt x="8" y="3"/>
                    <a:pt x="7" y="3"/>
                  </a:cubicBezTo>
                  <a:cubicBezTo>
                    <a:pt x="6" y="3"/>
                    <a:pt x="6" y="3"/>
                    <a:pt x="6" y="3"/>
                  </a:cubicBezTo>
                  <a:cubicBezTo>
                    <a:pt x="6" y="1"/>
                    <a:pt x="6" y="1"/>
                    <a:pt x="6" y="1"/>
                  </a:cubicBezTo>
                  <a:cubicBezTo>
                    <a:pt x="6" y="0"/>
                    <a:pt x="5" y="0"/>
                    <a:pt x="4" y="0"/>
                  </a:cubicBezTo>
                  <a:cubicBezTo>
                    <a:pt x="4" y="0"/>
                    <a:pt x="3" y="0"/>
                    <a:pt x="3" y="1"/>
                  </a:cubicBezTo>
                  <a:cubicBezTo>
                    <a:pt x="3" y="3"/>
                    <a:pt x="3" y="3"/>
                    <a:pt x="3" y="3"/>
                  </a:cubicBezTo>
                  <a:cubicBezTo>
                    <a:pt x="1" y="3"/>
                    <a:pt x="1" y="3"/>
                    <a:pt x="1" y="3"/>
                  </a:cubicBezTo>
                  <a:cubicBezTo>
                    <a:pt x="1" y="3"/>
                    <a:pt x="0" y="4"/>
                    <a:pt x="0" y="4"/>
                  </a:cubicBezTo>
                  <a:cubicBezTo>
                    <a:pt x="0" y="5"/>
                    <a:pt x="1" y="6"/>
                    <a:pt x="1" y="6"/>
                  </a:cubicBezTo>
                  <a:cubicBezTo>
                    <a:pt x="3" y="6"/>
                    <a:pt x="3" y="6"/>
                    <a:pt x="3" y="6"/>
                  </a:cubicBezTo>
                  <a:cubicBezTo>
                    <a:pt x="3" y="7"/>
                    <a:pt x="3" y="7"/>
                    <a:pt x="3" y="7"/>
                  </a:cubicBezTo>
                  <a:cubicBezTo>
                    <a:pt x="1" y="7"/>
                    <a:pt x="1" y="7"/>
                    <a:pt x="1" y="7"/>
                  </a:cubicBezTo>
                  <a:cubicBezTo>
                    <a:pt x="1" y="7"/>
                    <a:pt x="0" y="8"/>
                    <a:pt x="0" y="9"/>
                  </a:cubicBezTo>
                  <a:cubicBezTo>
                    <a:pt x="0" y="10"/>
                    <a:pt x="1" y="11"/>
                    <a:pt x="1" y="11"/>
                  </a:cubicBezTo>
                  <a:cubicBezTo>
                    <a:pt x="3" y="11"/>
                    <a:pt x="3" y="11"/>
                    <a:pt x="3" y="11"/>
                  </a:cubicBezTo>
                  <a:cubicBezTo>
                    <a:pt x="3" y="12"/>
                    <a:pt x="3" y="12"/>
                    <a:pt x="3" y="12"/>
                  </a:cubicBezTo>
                  <a:cubicBezTo>
                    <a:pt x="1" y="12"/>
                    <a:pt x="1" y="12"/>
                    <a:pt x="1" y="12"/>
                  </a:cubicBezTo>
                  <a:cubicBezTo>
                    <a:pt x="1" y="12"/>
                    <a:pt x="0" y="13"/>
                    <a:pt x="0" y="13"/>
                  </a:cubicBezTo>
                  <a:cubicBezTo>
                    <a:pt x="0" y="14"/>
                    <a:pt x="1" y="15"/>
                    <a:pt x="1" y="15"/>
                  </a:cubicBezTo>
                  <a:cubicBezTo>
                    <a:pt x="3" y="15"/>
                    <a:pt x="3" y="15"/>
                    <a:pt x="3" y="15"/>
                  </a:cubicBezTo>
                  <a:cubicBezTo>
                    <a:pt x="3" y="17"/>
                    <a:pt x="3" y="17"/>
                    <a:pt x="3" y="17"/>
                  </a:cubicBezTo>
                  <a:cubicBezTo>
                    <a:pt x="1" y="17"/>
                    <a:pt x="1" y="17"/>
                    <a:pt x="1" y="17"/>
                  </a:cubicBezTo>
                  <a:cubicBezTo>
                    <a:pt x="1" y="17"/>
                    <a:pt x="0" y="18"/>
                    <a:pt x="0" y="18"/>
                  </a:cubicBezTo>
                  <a:cubicBezTo>
                    <a:pt x="0" y="19"/>
                    <a:pt x="1" y="20"/>
                    <a:pt x="1" y="20"/>
                  </a:cubicBezTo>
                  <a:cubicBezTo>
                    <a:pt x="3" y="20"/>
                    <a:pt x="3" y="20"/>
                    <a:pt x="3" y="20"/>
                  </a:cubicBezTo>
                  <a:cubicBezTo>
                    <a:pt x="3" y="23"/>
                    <a:pt x="3" y="23"/>
                    <a:pt x="3" y="23"/>
                  </a:cubicBezTo>
                  <a:cubicBezTo>
                    <a:pt x="3" y="24"/>
                    <a:pt x="4" y="24"/>
                    <a:pt x="4" y="24"/>
                  </a:cubicBezTo>
                  <a:cubicBezTo>
                    <a:pt x="5" y="24"/>
                    <a:pt x="6" y="24"/>
                    <a:pt x="6" y="23"/>
                  </a:cubicBezTo>
                  <a:cubicBezTo>
                    <a:pt x="6" y="20"/>
                    <a:pt x="6" y="20"/>
                    <a:pt x="6" y="20"/>
                  </a:cubicBezTo>
                  <a:cubicBezTo>
                    <a:pt x="7" y="20"/>
                    <a:pt x="7" y="20"/>
                    <a:pt x="7" y="20"/>
                  </a:cubicBezTo>
                  <a:cubicBezTo>
                    <a:pt x="8" y="20"/>
                    <a:pt x="9" y="19"/>
                    <a:pt x="9" y="18"/>
                  </a:cubicBezTo>
                  <a:cubicBezTo>
                    <a:pt x="9" y="18"/>
                    <a:pt x="8" y="17"/>
                    <a:pt x="7" y="17"/>
                  </a:cubicBezTo>
                  <a:cubicBezTo>
                    <a:pt x="6" y="17"/>
                    <a:pt x="6" y="17"/>
                    <a:pt x="6" y="17"/>
                  </a:cubicBezTo>
                  <a:cubicBezTo>
                    <a:pt x="6" y="15"/>
                    <a:pt x="6" y="15"/>
                    <a:pt x="6" y="15"/>
                  </a:cubicBezTo>
                  <a:cubicBezTo>
                    <a:pt x="7" y="15"/>
                    <a:pt x="7" y="15"/>
                    <a:pt x="7" y="15"/>
                  </a:cubicBezTo>
                  <a:cubicBezTo>
                    <a:pt x="8" y="15"/>
                    <a:pt x="9" y="14"/>
                    <a:pt x="9" y="13"/>
                  </a:cubicBezTo>
                  <a:cubicBezTo>
                    <a:pt x="9" y="13"/>
                    <a:pt x="8" y="12"/>
                    <a:pt x="7" y="12"/>
                  </a:cubicBezTo>
                  <a:cubicBezTo>
                    <a:pt x="6" y="12"/>
                    <a:pt x="6" y="12"/>
                    <a:pt x="6" y="12"/>
                  </a:cubicBezTo>
                  <a:cubicBezTo>
                    <a:pt x="6" y="11"/>
                    <a:pt x="6" y="11"/>
                    <a:pt x="6" y="11"/>
                  </a:cubicBezTo>
                  <a:lnTo>
                    <a:pt x="7" y="11"/>
                  </a:lnTo>
                  <a:close/>
                </a:path>
              </a:pathLst>
            </a:custGeom>
            <a:solidFill>
              <a:srgbClr val="4D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81" name="Freeform 148">
              <a:extLst>
                <a:ext uri="{FF2B5EF4-FFF2-40B4-BE49-F238E27FC236}">
                  <a16:creationId xmlns:a16="http://schemas.microsoft.com/office/drawing/2014/main" id="{167E916F-34A8-4FB1-AA8A-0845FD4400E8}"/>
                </a:ext>
              </a:extLst>
            </p:cNvPr>
            <p:cNvSpPr>
              <a:spLocks noEditPoints="1"/>
            </p:cNvSpPr>
            <p:nvPr/>
          </p:nvSpPr>
          <p:spPr bwMode="auto">
            <a:xfrm>
              <a:off x="10328880" y="2458610"/>
              <a:ext cx="46864" cy="109950"/>
            </a:xfrm>
            <a:custGeom>
              <a:avLst/>
              <a:gdLst>
                <a:gd name="T0" fmla="*/ 4 w 11"/>
                <a:gd name="T1" fmla="*/ 24 h 26"/>
                <a:gd name="T2" fmla="*/ 2 w 11"/>
                <a:gd name="T3" fmla="*/ 22 h 26"/>
                <a:gd name="T4" fmla="*/ 2 w 11"/>
                <a:gd name="T5" fmla="*/ 17 h 26"/>
                <a:gd name="T6" fmla="*/ 4 w 11"/>
                <a:gd name="T7" fmla="*/ 17 h 26"/>
                <a:gd name="T8" fmla="*/ 0 w 11"/>
                <a:gd name="T9" fmla="*/ 14 h 26"/>
                <a:gd name="T10" fmla="*/ 0 w 11"/>
                <a:gd name="T11" fmla="*/ 10 h 26"/>
                <a:gd name="T12" fmla="*/ 4 w 11"/>
                <a:gd name="T13" fmla="*/ 8 h 26"/>
                <a:gd name="T14" fmla="*/ 2 w 11"/>
                <a:gd name="T15" fmla="*/ 8 h 26"/>
                <a:gd name="T16" fmla="*/ 2 w 11"/>
                <a:gd name="T17" fmla="*/ 3 h 26"/>
                <a:gd name="T18" fmla="*/ 4 w 11"/>
                <a:gd name="T19" fmla="*/ 2 h 26"/>
                <a:gd name="T20" fmla="*/ 7 w 11"/>
                <a:gd name="T21" fmla="*/ 2 h 26"/>
                <a:gd name="T22" fmla="*/ 8 w 11"/>
                <a:gd name="T23" fmla="*/ 3 h 26"/>
                <a:gd name="T24" fmla="*/ 8 w 11"/>
                <a:gd name="T25" fmla="*/ 8 h 26"/>
                <a:gd name="T26" fmla="*/ 7 w 11"/>
                <a:gd name="T27" fmla="*/ 8 h 26"/>
                <a:gd name="T28" fmla="*/ 11 w 11"/>
                <a:gd name="T29" fmla="*/ 10 h 26"/>
                <a:gd name="T30" fmla="*/ 11 w 11"/>
                <a:gd name="T31" fmla="*/ 14 h 26"/>
                <a:gd name="T32" fmla="*/ 7 w 11"/>
                <a:gd name="T33" fmla="*/ 17 h 26"/>
                <a:gd name="T34" fmla="*/ 8 w 11"/>
                <a:gd name="T35" fmla="*/ 17 h 26"/>
                <a:gd name="T36" fmla="*/ 8 w 11"/>
                <a:gd name="T37" fmla="*/ 22 h 26"/>
                <a:gd name="T38" fmla="*/ 7 w 11"/>
                <a:gd name="T39" fmla="*/ 24 h 26"/>
                <a:gd name="T40" fmla="*/ 2 w 11"/>
                <a:gd name="T41" fmla="*/ 19 h 26"/>
                <a:gd name="T42" fmla="*/ 2 w 11"/>
                <a:gd name="T43" fmla="*/ 20 h 26"/>
                <a:gd name="T44" fmla="*/ 5 w 11"/>
                <a:gd name="T45" fmla="*/ 24 h 26"/>
                <a:gd name="T46" fmla="*/ 6 w 11"/>
                <a:gd name="T47" fmla="*/ 24 h 26"/>
                <a:gd name="T48" fmla="*/ 8 w 11"/>
                <a:gd name="T49" fmla="*/ 20 h 26"/>
                <a:gd name="T50" fmla="*/ 8 w 11"/>
                <a:gd name="T51" fmla="*/ 19 h 26"/>
                <a:gd name="T52" fmla="*/ 6 w 11"/>
                <a:gd name="T53" fmla="*/ 15 h 26"/>
                <a:gd name="T54" fmla="*/ 9 w 11"/>
                <a:gd name="T55" fmla="*/ 14 h 26"/>
                <a:gd name="T56" fmla="*/ 6 w 11"/>
                <a:gd name="T57" fmla="*/ 14 h 26"/>
                <a:gd name="T58" fmla="*/ 8 w 11"/>
                <a:gd name="T59" fmla="*/ 11 h 26"/>
                <a:gd name="T60" fmla="*/ 8 w 11"/>
                <a:gd name="T61" fmla="*/ 9 h 26"/>
                <a:gd name="T62" fmla="*/ 6 w 11"/>
                <a:gd name="T63" fmla="*/ 6 h 26"/>
                <a:gd name="T64" fmla="*/ 9 w 11"/>
                <a:gd name="T65" fmla="*/ 5 h 26"/>
                <a:gd name="T66" fmla="*/ 6 w 11"/>
                <a:gd name="T67" fmla="*/ 5 h 26"/>
                <a:gd name="T68" fmla="*/ 5 w 11"/>
                <a:gd name="T69" fmla="*/ 1 h 26"/>
                <a:gd name="T70" fmla="*/ 5 w 11"/>
                <a:gd name="T71" fmla="*/ 5 h 26"/>
                <a:gd name="T72" fmla="*/ 2 w 11"/>
                <a:gd name="T73" fmla="*/ 5 h 26"/>
                <a:gd name="T74" fmla="*/ 5 w 11"/>
                <a:gd name="T75" fmla="*/ 6 h 26"/>
                <a:gd name="T76" fmla="*/ 2 w 11"/>
                <a:gd name="T77" fmla="*/ 9 h 26"/>
                <a:gd name="T78" fmla="*/ 2 w 11"/>
                <a:gd name="T79" fmla="*/ 11 h 26"/>
                <a:gd name="T80" fmla="*/ 5 w 11"/>
                <a:gd name="T81" fmla="*/ 14 h 26"/>
                <a:gd name="T82" fmla="*/ 2 w 11"/>
                <a:gd name="T83" fmla="*/ 14 h 26"/>
                <a:gd name="T84" fmla="*/ 5 w 11"/>
                <a:gd name="T85" fmla="*/ 15 h 26"/>
                <a:gd name="T86" fmla="*/ 2 w 11"/>
                <a:gd name="T87" fmla="*/ 19 h 26"/>
                <a:gd name="T88" fmla="*/ 8 w 11"/>
                <a:gd name="T8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 h="26">
                  <a:moveTo>
                    <a:pt x="5" y="26"/>
                  </a:moveTo>
                  <a:cubicBezTo>
                    <a:pt x="4" y="26"/>
                    <a:pt x="4" y="25"/>
                    <a:pt x="4" y="24"/>
                  </a:cubicBezTo>
                  <a:cubicBezTo>
                    <a:pt x="4" y="22"/>
                    <a:pt x="4" y="22"/>
                    <a:pt x="4" y="22"/>
                  </a:cubicBezTo>
                  <a:cubicBezTo>
                    <a:pt x="2" y="22"/>
                    <a:pt x="2" y="22"/>
                    <a:pt x="2" y="22"/>
                  </a:cubicBezTo>
                  <a:cubicBezTo>
                    <a:pt x="1" y="22"/>
                    <a:pt x="0" y="21"/>
                    <a:pt x="0" y="19"/>
                  </a:cubicBezTo>
                  <a:cubicBezTo>
                    <a:pt x="0" y="18"/>
                    <a:pt x="1" y="17"/>
                    <a:pt x="2" y="17"/>
                  </a:cubicBezTo>
                  <a:cubicBezTo>
                    <a:pt x="4" y="17"/>
                    <a:pt x="4" y="17"/>
                    <a:pt x="4" y="17"/>
                  </a:cubicBezTo>
                  <a:cubicBezTo>
                    <a:pt x="4" y="17"/>
                    <a:pt x="4" y="17"/>
                    <a:pt x="4" y="17"/>
                  </a:cubicBezTo>
                  <a:cubicBezTo>
                    <a:pt x="2" y="17"/>
                    <a:pt x="2" y="17"/>
                    <a:pt x="2" y="17"/>
                  </a:cubicBezTo>
                  <a:cubicBezTo>
                    <a:pt x="1" y="17"/>
                    <a:pt x="0" y="16"/>
                    <a:pt x="0" y="14"/>
                  </a:cubicBezTo>
                  <a:cubicBezTo>
                    <a:pt x="0" y="13"/>
                    <a:pt x="1" y="12"/>
                    <a:pt x="2" y="12"/>
                  </a:cubicBezTo>
                  <a:cubicBezTo>
                    <a:pt x="1" y="12"/>
                    <a:pt x="0" y="11"/>
                    <a:pt x="0" y="10"/>
                  </a:cubicBezTo>
                  <a:cubicBezTo>
                    <a:pt x="0" y="9"/>
                    <a:pt x="1" y="8"/>
                    <a:pt x="2" y="8"/>
                  </a:cubicBezTo>
                  <a:cubicBezTo>
                    <a:pt x="4" y="8"/>
                    <a:pt x="4" y="8"/>
                    <a:pt x="4" y="8"/>
                  </a:cubicBezTo>
                  <a:cubicBezTo>
                    <a:pt x="4" y="8"/>
                    <a:pt x="4" y="8"/>
                    <a:pt x="4" y="8"/>
                  </a:cubicBezTo>
                  <a:cubicBezTo>
                    <a:pt x="2" y="8"/>
                    <a:pt x="2" y="8"/>
                    <a:pt x="2" y="8"/>
                  </a:cubicBezTo>
                  <a:cubicBezTo>
                    <a:pt x="1" y="8"/>
                    <a:pt x="0" y="7"/>
                    <a:pt x="0" y="5"/>
                  </a:cubicBezTo>
                  <a:cubicBezTo>
                    <a:pt x="0" y="4"/>
                    <a:pt x="1" y="3"/>
                    <a:pt x="2" y="3"/>
                  </a:cubicBezTo>
                  <a:cubicBezTo>
                    <a:pt x="4" y="3"/>
                    <a:pt x="4" y="3"/>
                    <a:pt x="4" y="3"/>
                  </a:cubicBezTo>
                  <a:cubicBezTo>
                    <a:pt x="4" y="2"/>
                    <a:pt x="4" y="2"/>
                    <a:pt x="4" y="2"/>
                  </a:cubicBezTo>
                  <a:cubicBezTo>
                    <a:pt x="4" y="1"/>
                    <a:pt x="4" y="0"/>
                    <a:pt x="5" y="0"/>
                  </a:cubicBezTo>
                  <a:cubicBezTo>
                    <a:pt x="6" y="0"/>
                    <a:pt x="7" y="1"/>
                    <a:pt x="7" y="2"/>
                  </a:cubicBezTo>
                  <a:cubicBezTo>
                    <a:pt x="7" y="3"/>
                    <a:pt x="7" y="3"/>
                    <a:pt x="7" y="3"/>
                  </a:cubicBezTo>
                  <a:cubicBezTo>
                    <a:pt x="8" y="3"/>
                    <a:pt x="8" y="3"/>
                    <a:pt x="8" y="3"/>
                  </a:cubicBezTo>
                  <a:cubicBezTo>
                    <a:pt x="10" y="3"/>
                    <a:pt x="11" y="4"/>
                    <a:pt x="11" y="5"/>
                  </a:cubicBezTo>
                  <a:cubicBezTo>
                    <a:pt x="11" y="7"/>
                    <a:pt x="10" y="8"/>
                    <a:pt x="8" y="8"/>
                  </a:cubicBezTo>
                  <a:cubicBezTo>
                    <a:pt x="7" y="8"/>
                    <a:pt x="7" y="8"/>
                    <a:pt x="7" y="8"/>
                  </a:cubicBezTo>
                  <a:cubicBezTo>
                    <a:pt x="7" y="8"/>
                    <a:pt x="7" y="8"/>
                    <a:pt x="7" y="8"/>
                  </a:cubicBezTo>
                  <a:cubicBezTo>
                    <a:pt x="8" y="8"/>
                    <a:pt x="8" y="8"/>
                    <a:pt x="8" y="8"/>
                  </a:cubicBezTo>
                  <a:cubicBezTo>
                    <a:pt x="10" y="8"/>
                    <a:pt x="11" y="9"/>
                    <a:pt x="11" y="10"/>
                  </a:cubicBezTo>
                  <a:cubicBezTo>
                    <a:pt x="11" y="11"/>
                    <a:pt x="10" y="12"/>
                    <a:pt x="8" y="12"/>
                  </a:cubicBezTo>
                  <a:cubicBezTo>
                    <a:pt x="10" y="12"/>
                    <a:pt x="11" y="13"/>
                    <a:pt x="11" y="14"/>
                  </a:cubicBezTo>
                  <a:cubicBezTo>
                    <a:pt x="11" y="16"/>
                    <a:pt x="10" y="17"/>
                    <a:pt x="8" y="17"/>
                  </a:cubicBezTo>
                  <a:cubicBezTo>
                    <a:pt x="7" y="17"/>
                    <a:pt x="7" y="17"/>
                    <a:pt x="7" y="17"/>
                  </a:cubicBezTo>
                  <a:cubicBezTo>
                    <a:pt x="7" y="17"/>
                    <a:pt x="7" y="17"/>
                    <a:pt x="7" y="17"/>
                  </a:cubicBezTo>
                  <a:cubicBezTo>
                    <a:pt x="8" y="17"/>
                    <a:pt x="8" y="17"/>
                    <a:pt x="8" y="17"/>
                  </a:cubicBezTo>
                  <a:cubicBezTo>
                    <a:pt x="10" y="17"/>
                    <a:pt x="11" y="18"/>
                    <a:pt x="11" y="19"/>
                  </a:cubicBezTo>
                  <a:cubicBezTo>
                    <a:pt x="11" y="21"/>
                    <a:pt x="10" y="22"/>
                    <a:pt x="8" y="22"/>
                  </a:cubicBezTo>
                  <a:cubicBezTo>
                    <a:pt x="7" y="22"/>
                    <a:pt x="7" y="22"/>
                    <a:pt x="7" y="22"/>
                  </a:cubicBezTo>
                  <a:cubicBezTo>
                    <a:pt x="7" y="24"/>
                    <a:pt x="7" y="24"/>
                    <a:pt x="7" y="24"/>
                  </a:cubicBezTo>
                  <a:cubicBezTo>
                    <a:pt x="7" y="25"/>
                    <a:pt x="6" y="26"/>
                    <a:pt x="5" y="26"/>
                  </a:cubicBezTo>
                  <a:close/>
                  <a:moveTo>
                    <a:pt x="2" y="19"/>
                  </a:moveTo>
                  <a:cubicBezTo>
                    <a:pt x="2" y="19"/>
                    <a:pt x="2" y="19"/>
                    <a:pt x="2" y="19"/>
                  </a:cubicBezTo>
                  <a:cubicBezTo>
                    <a:pt x="2" y="20"/>
                    <a:pt x="2" y="20"/>
                    <a:pt x="2" y="20"/>
                  </a:cubicBezTo>
                  <a:cubicBezTo>
                    <a:pt x="5" y="20"/>
                    <a:pt x="5" y="20"/>
                    <a:pt x="5" y="20"/>
                  </a:cubicBezTo>
                  <a:cubicBezTo>
                    <a:pt x="5" y="24"/>
                    <a:pt x="5" y="24"/>
                    <a:pt x="5" y="24"/>
                  </a:cubicBezTo>
                  <a:cubicBezTo>
                    <a:pt x="5" y="24"/>
                    <a:pt x="5" y="24"/>
                    <a:pt x="5" y="24"/>
                  </a:cubicBezTo>
                  <a:cubicBezTo>
                    <a:pt x="6" y="24"/>
                    <a:pt x="6" y="24"/>
                    <a:pt x="6" y="24"/>
                  </a:cubicBezTo>
                  <a:cubicBezTo>
                    <a:pt x="6" y="20"/>
                    <a:pt x="6" y="20"/>
                    <a:pt x="6" y="20"/>
                  </a:cubicBezTo>
                  <a:cubicBezTo>
                    <a:pt x="8" y="20"/>
                    <a:pt x="8" y="20"/>
                    <a:pt x="8" y="20"/>
                  </a:cubicBezTo>
                  <a:cubicBezTo>
                    <a:pt x="9" y="20"/>
                    <a:pt x="9" y="20"/>
                    <a:pt x="9" y="19"/>
                  </a:cubicBezTo>
                  <a:cubicBezTo>
                    <a:pt x="9" y="19"/>
                    <a:pt x="9" y="19"/>
                    <a:pt x="8" y="19"/>
                  </a:cubicBezTo>
                  <a:cubicBezTo>
                    <a:pt x="6" y="19"/>
                    <a:pt x="6" y="19"/>
                    <a:pt x="6" y="19"/>
                  </a:cubicBezTo>
                  <a:cubicBezTo>
                    <a:pt x="6" y="15"/>
                    <a:pt x="6" y="15"/>
                    <a:pt x="6" y="15"/>
                  </a:cubicBezTo>
                  <a:cubicBezTo>
                    <a:pt x="8" y="15"/>
                    <a:pt x="8" y="15"/>
                    <a:pt x="8" y="15"/>
                  </a:cubicBezTo>
                  <a:cubicBezTo>
                    <a:pt x="9" y="15"/>
                    <a:pt x="9" y="15"/>
                    <a:pt x="9" y="14"/>
                  </a:cubicBezTo>
                  <a:cubicBezTo>
                    <a:pt x="9" y="14"/>
                    <a:pt x="9" y="14"/>
                    <a:pt x="8" y="14"/>
                  </a:cubicBezTo>
                  <a:cubicBezTo>
                    <a:pt x="6" y="14"/>
                    <a:pt x="6" y="14"/>
                    <a:pt x="6" y="14"/>
                  </a:cubicBezTo>
                  <a:cubicBezTo>
                    <a:pt x="6" y="11"/>
                    <a:pt x="6" y="11"/>
                    <a:pt x="6" y="11"/>
                  </a:cubicBezTo>
                  <a:cubicBezTo>
                    <a:pt x="8" y="11"/>
                    <a:pt x="8" y="11"/>
                    <a:pt x="8" y="11"/>
                  </a:cubicBezTo>
                  <a:cubicBezTo>
                    <a:pt x="9" y="11"/>
                    <a:pt x="9" y="10"/>
                    <a:pt x="9" y="10"/>
                  </a:cubicBezTo>
                  <a:cubicBezTo>
                    <a:pt x="9" y="10"/>
                    <a:pt x="9" y="9"/>
                    <a:pt x="8" y="9"/>
                  </a:cubicBezTo>
                  <a:cubicBezTo>
                    <a:pt x="6" y="9"/>
                    <a:pt x="6" y="9"/>
                    <a:pt x="6" y="9"/>
                  </a:cubicBezTo>
                  <a:cubicBezTo>
                    <a:pt x="6" y="6"/>
                    <a:pt x="6" y="6"/>
                    <a:pt x="6" y="6"/>
                  </a:cubicBezTo>
                  <a:cubicBezTo>
                    <a:pt x="8" y="6"/>
                    <a:pt x="8" y="6"/>
                    <a:pt x="8" y="6"/>
                  </a:cubicBezTo>
                  <a:cubicBezTo>
                    <a:pt x="9" y="6"/>
                    <a:pt x="9" y="6"/>
                    <a:pt x="9" y="5"/>
                  </a:cubicBezTo>
                  <a:cubicBezTo>
                    <a:pt x="9" y="5"/>
                    <a:pt x="9" y="5"/>
                    <a:pt x="8" y="5"/>
                  </a:cubicBezTo>
                  <a:cubicBezTo>
                    <a:pt x="6" y="5"/>
                    <a:pt x="6" y="5"/>
                    <a:pt x="6" y="5"/>
                  </a:cubicBezTo>
                  <a:cubicBezTo>
                    <a:pt x="6" y="2"/>
                    <a:pt x="6" y="2"/>
                    <a:pt x="6" y="2"/>
                  </a:cubicBezTo>
                  <a:cubicBezTo>
                    <a:pt x="6" y="2"/>
                    <a:pt x="6" y="1"/>
                    <a:pt x="5" y="1"/>
                  </a:cubicBezTo>
                  <a:cubicBezTo>
                    <a:pt x="5" y="1"/>
                    <a:pt x="5" y="2"/>
                    <a:pt x="5" y="2"/>
                  </a:cubicBezTo>
                  <a:cubicBezTo>
                    <a:pt x="5" y="5"/>
                    <a:pt x="5" y="5"/>
                    <a:pt x="5" y="5"/>
                  </a:cubicBezTo>
                  <a:cubicBezTo>
                    <a:pt x="2" y="5"/>
                    <a:pt x="2" y="5"/>
                    <a:pt x="2" y="5"/>
                  </a:cubicBezTo>
                  <a:cubicBezTo>
                    <a:pt x="2" y="5"/>
                    <a:pt x="2" y="5"/>
                    <a:pt x="2" y="5"/>
                  </a:cubicBezTo>
                  <a:cubicBezTo>
                    <a:pt x="2" y="6"/>
                    <a:pt x="2" y="6"/>
                    <a:pt x="2" y="6"/>
                  </a:cubicBezTo>
                  <a:cubicBezTo>
                    <a:pt x="5" y="6"/>
                    <a:pt x="5" y="6"/>
                    <a:pt x="5" y="6"/>
                  </a:cubicBezTo>
                  <a:cubicBezTo>
                    <a:pt x="5" y="9"/>
                    <a:pt x="5" y="9"/>
                    <a:pt x="5" y="9"/>
                  </a:cubicBezTo>
                  <a:cubicBezTo>
                    <a:pt x="2" y="9"/>
                    <a:pt x="2" y="9"/>
                    <a:pt x="2" y="9"/>
                  </a:cubicBezTo>
                  <a:cubicBezTo>
                    <a:pt x="2" y="9"/>
                    <a:pt x="2" y="10"/>
                    <a:pt x="2" y="10"/>
                  </a:cubicBezTo>
                  <a:cubicBezTo>
                    <a:pt x="2" y="10"/>
                    <a:pt x="2" y="11"/>
                    <a:pt x="2" y="11"/>
                  </a:cubicBezTo>
                  <a:cubicBezTo>
                    <a:pt x="5" y="11"/>
                    <a:pt x="5" y="11"/>
                    <a:pt x="5" y="11"/>
                  </a:cubicBezTo>
                  <a:cubicBezTo>
                    <a:pt x="5" y="14"/>
                    <a:pt x="5" y="14"/>
                    <a:pt x="5" y="14"/>
                  </a:cubicBezTo>
                  <a:cubicBezTo>
                    <a:pt x="2" y="14"/>
                    <a:pt x="2" y="14"/>
                    <a:pt x="2" y="14"/>
                  </a:cubicBezTo>
                  <a:cubicBezTo>
                    <a:pt x="2" y="14"/>
                    <a:pt x="2" y="14"/>
                    <a:pt x="2" y="14"/>
                  </a:cubicBezTo>
                  <a:cubicBezTo>
                    <a:pt x="2" y="15"/>
                    <a:pt x="2" y="15"/>
                    <a:pt x="2" y="15"/>
                  </a:cubicBezTo>
                  <a:cubicBezTo>
                    <a:pt x="5" y="15"/>
                    <a:pt x="5" y="15"/>
                    <a:pt x="5" y="15"/>
                  </a:cubicBezTo>
                  <a:cubicBezTo>
                    <a:pt x="5" y="19"/>
                    <a:pt x="5" y="19"/>
                    <a:pt x="5" y="19"/>
                  </a:cubicBezTo>
                  <a:lnTo>
                    <a:pt x="2" y="19"/>
                  </a:lnTo>
                  <a:close/>
                  <a:moveTo>
                    <a:pt x="7" y="12"/>
                  </a:moveTo>
                  <a:cubicBezTo>
                    <a:pt x="8" y="12"/>
                    <a:pt x="8" y="12"/>
                    <a:pt x="8" y="12"/>
                  </a:cubicBezTo>
                  <a:lnTo>
                    <a:pt x="7" y="12"/>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82" name="Rectangle 149">
              <a:extLst>
                <a:ext uri="{FF2B5EF4-FFF2-40B4-BE49-F238E27FC236}">
                  <a16:creationId xmlns:a16="http://schemas.microsoft.com/office/drawing/2014/main" id="{D45464D2-CF0C-4896-89E1-FF111E872DA6}"/>
                </a:ext>
              </a:extLst>
            </p:cNvPr>
            <p:cNvSpPr>
              <a:spLocks noChangeArrowheads="1"/>
            </p:cNvSpPr>
            <p:nvPr/>
          </p:nvSpPr>
          <p:spPr bwMode="auto">
            <a:xfrm>
              <a:off x="10287423" y="2628042"/>
              <a:ext cx="37852" cy="1802"/>
            </a:xfrm>
            <a:prstGeom prst="rect">
              <a:avLst/>
            </a:prstGeom>
            <a:solidFill>
              <a:srgbClr val="3A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83" name="Rectangle 150">
              <a:extLst>
                <a:ext uri="{FF2B5EF4-FFF2-40B4-BE49-F238E27FC236}">
                  <a16:creationId xmlns:a16="http://schemas.microsoft.com/office/drawing/2014/main" id="{1D5C18DE-361C-4D88-9DF3-F4BB5E5915B6}"/>
                </a:ext>
              </a:extLst>
            </p:cNvPr>
            <p:cNvSpPr>
              <a:spLocks noChangeArrowheads="1"/>
            </p:cNvSpPr>
            <p:nvPr/>
          </p:nvSpPr>
          <p:spPr bwMode="auto">
            <a:xfrm>
              <a:off x="10283818" y="2624437"/>
              <a:ext cx="45062" cy="7210"/>
            </a:xfrm>
            <a:prstGeom prst="rect">
              <a:avLst/>
            </a:prstGeom>
            <a:solidFill>
              <a:srgbClr val="56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84" name="Rectangle 151">
              <a:extLst>
                <a:ext uri="{FF2B5EF4-FFF2-40B4-BE49-F238E27FC236}">
                  <a16:creationId xmlns:a16="http://schemas.microsoft.com/office/drawing/2014/main" id="{BF0C52D5-EA5D-4CDA-94C3-C8F0454FA086}"/>
                </a:ext>
              </a:extLst>
            </p:cNvPr>
            <p:cNvSpPr>
              <a:spLocks noChangeArrowheads="1"/>
            </p:cNvSpPr>
            <p:nvPr/>
          </p:nvSpPr>
          <p:spPr bwMode="auto">
            <a:xfrm>
              <a:off x="10334287" y="2628042"/>
              <a:ext cx="109950" cy="1802"/>
            </a:xfrm>
            <a:prstGeom prst="rect">
              <a:avLst/>
            </a:prstGeom>
            <a:solidFill>
              <a:srgbClr val="3A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85" name="Rectangle 152">
              <a:extLst>
                <a:ext uri="{FF2B5EF4-FFF2-40B4-BE49-F238E27FC236}">
                  <a16:creationId xmlns:a16="http://schemas.microsoft.com/office/drawing/2014/main" id="{8132C5DB-8B74-469C-9BC8-0ACC7E289BC0}"/>
                </a:ext>
              </a:extLst>
            </p:cNvPr>
            <p:cNvSpPr>
              <a:spLocks noChangeArrowheads="1"/>
            </p:cNvSpPr>
            <p:nvPr/>
          </p:nvSpPr>
          <p:spPr bwMode="auto">
            <a:xfrm>
              <a:off x="10328880" y="2624437"/>
              <a:ext cx="120765" cy="7210"/>
            </a:xfrm>
            <a:prstGeom prst="rect">
              <a:avLst/>
            </a:prstGeom>
            <a:solidFill>
              <a:srgbClr val="56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86" name="Rectangle 153">
              <a:extLst>
                <a:ext uri="{FF2B5EF4-FFF2-40B4-BE49-F238E27FC236}">
                  <a16:creationId xmlns:a16="http://schemas.microsoft.com/office/drawing/2014/main" id="{6AD789DE-1A1C-4368-8BA5-39391E2346B2}"/>
                </a:ext>
              </a:extLst>
            </p:cNvPr>
            <p:cNvSpPr>
              <a:spLocks noChangeArrowheads="1"/>
            </p:cNvSpPr>
            <p:nvPr/>
          </p:nvSpPr>
          <p:spPr bwMode="auto">
            <a:xfrm>
              <a:off x="10287423" y="2431573"/>
              <a:ext cx="37852" cy="1802"/>
            </a:xfrm>
            <a:prstGeom prst="rect">
              <a:avLst/>
            </a:prstGeom>
            <a:solidFill>
              <a:srgbClr val="3A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87" name="Rectangle 154">
              <a:extLst>
                <a:ext uri="{FF2B5EF4-FFF2-40B4-BE49-F238E27FC236}">
                  <a16:creationId xmlns:a16="http://schemas.microsoft.com/office/drawing/2014/main" id="{D9B8BB08-C78E-473E-99E9-196DFCD59887}"/>
                </a:ext>
              </a:extLst>
            </p:cNvPr>
            <p:cNvSpPr>
              <a:spLocks noChangeArrowheads="1"/>
            </p:cNvSpPr>
            <p:nvPr/>
          </p:nvSpPr>
          <p:spPr bwMode="auto">
            <a:xfrm>
              <a:off x="10283818" y="2427969"/>
              <a:ext cx="45062" cy="9012"/>
            </a:xfrm>
            <a:prstGeom prst="rect">
              <a:avLst/>
            </a:prstGeom>
            <a:solidFill>
              <a:srgbClr val="56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90" name="Rectangle 155">
              <a:extLst>
                <a:ext uri="{FF2B5EF4-FFF2-40B4-BE49-F238E27FC236}">
                  <a16:creationId xmlns:a16="http://schemas.microsoft.com/office/drawing/2014/main" id="{86ACE042-EFD8-4589-B860-7C3599ABD249}"/>
                </a:ext>
              </a:extLst>
            </p:cNvPr>
            <p:cNvSpPr>
              <a:spLocks noChangeArrowheads="1"/>
            </p:cNvSpPr>
            <p:nvPr/>
          </p:nvSpPr>
          <p:spPr bwMode="auto">
            <a:xfrm>
              <a:off x="10337892" y="2431573"/>
              <a:ext cx="12617" cy="1802"/>
            </a:xfrm>
            <a:prstGeom prst="rect">
              <a:avLst/>
            </a:prstGeom>
            <a:solidFill>
              <a:srgbClr val="3A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91" name="Rectangle 156">
              <a:extLst>
                <a:ext uri="{FF2B5EF4-FFF2-40B4-BE49-F238E27FC236}">
                  <a16:creationId xmlns:a16="http://schemas.microsoft.com/office/drawing/2014/main" id="{F44E35F5-21B3-4B5B-982B-108AD30EB01C}"/>
                </a:ext>
              </a:extLst>
            </p:cNvPr>
            <p:cNvSpPr>
              <a:spLocks noChangeArrowheads="1"/>
            </p:cNvSpPr>
            <p:nvPr/>
          </p:nvSpPr>
          <p:spPr bwMode="auto">
            <a:xfrm>
              <a:off x="10334287" y="2427969"/>
              <a:ext cx="21630" cy="9012"/>
            </a:xfrm>
            <a:prstGeom prst="rect">
              <a:avLst/>
            </a:prstGeom>
            <a:solidFill>
              <a:srgbClr val="56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92" name="Rectangle 157">
              <a:extLst>
                <a:ext uri="{FF2B5EF4-FFF2-40B4-BE49-F238E27FC236}">
                  <a16:creationId xmlns:a16="http://schemas.microsoft.com/office/drawing/2014/main" id="{B47C77CB-383B-44B1-A338-CA6A749B6063}"/>
                </a:ext>
              </a:extLst>
            </p:cNvPr>
            <p:cNvSpPr>
              <a:spLocks noChangeArrowheads="1"/>
            </p:cNvSpPr>
            <p:nvPr/>
          </p:nvSpPr>
          <p:spPr bwMode="auto">
            <a:xfrm>
              <a:off x="10355917" y="2431573"/>
              <a:ext cx="16222" cy="1802"/>
            </a:xfrm>
            <a:prstGeom prst="rect">
              <a:avLst/>
            </a:prstGeom>
            <a:solidFill>
              <a:srgbClr val="3A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93" name="Rectangle 158">
              <a:extLst>
                <a:ext uri="{FF2B5EF4-FFF2-40B4-BE49-F238E27FC236}">
                  <a16:creationId xmlns:a16="http://schemas.microsoft.com/office/drawing/2014/main" id="{B639C0FA-0B1D-459B-A6E9-7E5FB8338678}"/>
                </a:ext>
              </a:extLst>
            </p:cNvPr>
            <p:cNvSpPr>
              <a:spLocks noChangeArrowheads="1"/>
            </p:cNvSpPr>
            <p:nvPr/>
          </p:nvSpPr>
          <p:spPr bwMode="auto">
            <a:xfrm>
              <a:off x="10350510" y="2427969"/>
              <a:ext cx="21630" cy="9012"/>
            </a:xfrm>
            <a:prstGeom prst="rect">
              <a:avLst/>
            </a:prstGeom>
            <a:solidFill>
              <a:srgbClr val="56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94" name="Rectangle 159">
              <a:extLst>
                <a:ext uri="{FF2B5EF4-FFF2-40B4-BE49-F238E27FC236}">
                  <a16:creationId xmlns:a16="http://schemas.microsoft.com/office/drawing/2014/main" id="{FA478006-3996-4151-92DB-A182E38DBD61}"/>
                </a:ext>
              </a:extLst>
            </p:cNvPr>
            <p:cNvSpPr>
              <a:spLocks noChangeArrowheads="1"/>
            </p:cNvSpPr>
            <p:nvPr/>
          </p:nvSpPr>
          <p:spPr bwMode="auto">
            <a:xfrm>
              <a:off x="10372139" y="2431573"/>
              <a:ext cx="18025" cy="1802"/>
            </a:xfrm>
            <a:prstGeom prst="rect">
              <a:avLst/>
            </a:prstGeom>
            <a:solidFill>
              <a:srgbClr val="3A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95" name="Rectangle 160">
              <a:extLst>
                <a:ext uri="{FF2B5EF4-FFF2-40B4-BE49-F238E27FC236}">
                  <a16:creationId xmlns:a16="http://schemas.microsoft.com/office/drawing/2014/main" id="{86BBCB4B-29F0-4789-9368-B20344B9190D}"/>
                </a:ext>
              </a:extLst>
            </p:cNvPr>
            <p:cNvSpPr>
              <a:spLocks noChangeArrowheads="1"/>
            </p:cNvSpPr>
            <p:nvPr/>
          </p:nvSpPr>
          <p:spPr bwMode="auto">
            <a:xfrm>
              <a:off x="10368534" y="2427969"/>
              <a:ext cx="21630" cy="9012"/>
            </a:xfrm>
            <a:prstGeom prst="rect">
              <a:avLst/>
            </a:prstGeom>
            <a:solidFill>
              <a:srgbClr val="56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96" name="Rectangle 161">
              <a:extLst>
                <a:ext uri="{FF2B5EF4-FFF2-40B4-BE49-F238E27FC236}">
                  <a16:creationId xmlns:a16="http://schemas.microsoft.com/office/drawing/2014/main" id="{C51A3E3E-0B62-4340-A192-12B27EF663D4}"/>
                </a:ext>
              </a:extLst>
            </p:cNvPr>
            <p:cNvSpPr>
              <a:spLocks noChangeArrowheads="1"/>
            </p:cNvSpPr>
            <p:nvPr/>
          </p:nvSpPr>
          <p:spPr bwMode="auto">
            <a:xfrm>
              <a:off x="10390164" y="2431573"/>
              <a:ext cx="16222" cy="1802"/>
            </a:xfrm>
            <a:prstGeom prst="rect">
              <a:avLst/>
            </a:prstGeom>
            <a:solidFill>
              <a:srgbClr val="3A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97" name="Rectangle 162">
              <a:extLst>
                <a:ext uri="{FF2B5EF4-FFF2-40B4-BE49-F238E27FC236}">
                  <a16:creationId xmlns:a16="http://schemas.microsoft.com/office/drawing/2014/main" id="{5A2B427B-9995-48A3-9F6D-0BB11844192D}"/>
                </a:ext>
              </a:extLst>
            </p:cNvPr>
            <p:cNvSpPr>
              <a:spLocks noChangeArrowheads="1"/>
            </p:cNvSpPr>
            <p:nvPr/>
          </p:nvSpPr>
          <p:spPr bwMode="auto">
            <a:xfrm>
              <a:off x="10384756" y="2427969"/>
              <a:ext cx="25235" cy="9012"/>
            </a:xfrm>
            <a:prstGeom prst="rect">
              <a:avLst/>
            </a:prstGeom>
            <a:solidFill>
              <a:srgbClr val="56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98" name="Rectangle 163">
              <a:extLst>
                <a:ext uri="{FF2B5EF4-FFF2-40B4-BE49-F238E27FC236}">
                  <a16:creationId xmlns:a16="http://schemas.microsoft.com/office/drawing/2014/main" id="{424CBC72-7184-4D74-A812-7F93F38BBA5F}"/>
                </a:ext>
              </a:extLst>
            </p:cNvPr>
            <p:cNvSpPr>
              <a:spLocks noChangeArrowheads="1"/>
            </p:cNvSpPr>
            <p:nvPr/>
          </p:nvSpPr>
          <p:spPr bwMode="auto">
            <a:xfrm>
              <a:off x="10406386" y="2431573"/>
              <a:ext cx="16222" cy="1802"/>
            </a:xfrm>
            <a:prstGeom prst="rect">
              <a:avLst/>
            </a:prstGeom>
            <a:solidFill>
              <a:srgbClr val="3A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199" name="Rectangle 164">
              <a:extLst>
                <a:ext uri="{FF2B5EF4-FFF2-40B4-BE49-F238E27FC236}">
                  <a16:creationId xmlns:a16="http://schemas.microsoft.com/office/drawing/2014/main" id="{D1FC419C-ADAB-48D6-90E1-77C48F4B90B4}"/>
                </a:ext>
              </a:extLst>
            </p:cNvPr>
            <p:cNvSpPr>
              <a:spLocks noChangeArrowheads="1"/>
            </p:cNvSpPr>
            <p:nvPr/>
          </p:nvSpPr>
          <p:spPr bwMode="auto">
            <a:xfrm>
              <a:off x="10402781" y="2427969"/>
              <a:ext cx="25235" cy="9012"/>
            </a:xfrm>
            <a:prstGeom prst="rect">
              <a:avLst/>
            </a:prstGeom>
            <a:solidFill>
              <a:srgbClr val="56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00" name="Rectangle 165">
              <a:extLst>
                <a:ext uri="{FF2B5EF4-FFF2-40B4-BE49-F238E27FC236}">
                  <a16:creationId xmlns:a16="http://schemas.microsoft.com/office/drawing/2014/main" id="{70DD7935-0D4A-438A-9E2B-9C94B0D25FB2}"/>
                </a:ext>
              </a:extLst>
            </p:cNvPr>
            <p:cNvSpPr>
              <a:spLocks noChangeArrowheads="1"/>
            </p:cNvSpPr>
            <p:nvPr/>
          </p:nvSpPr>
          <p:spPr bwMode="auto">
            <a:xfrm>
              <a:off x="10422608" y="2431573"/>
              <a:ext cx="18025" cy="1802"/>
            </a:xfrm>
            <a:prstGeom prst="rect">
              <a:avLst/>
            </a:prstGeom>
            <a:solidFill>
              <a:srgbClr val="3A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01" name="Rectangle 166">
              <a:extLst>
                <a:ext uri="{FF2B5EF4-FFF2-40B4-BE49-F238E27FC236}">
                  <a16:creationId xmlns:a16="http://schemas.microsoft.com/office/drawing/2014/main" id="{66A42C94-1C47-4C4C-A3CD-B91E0BCA730B}"/>
                </a:ext>
              </a:extLst>
            </p:cNvPr>
            <p:cNvSpPr>
              <a:spLocks noChangeArrowheads="1"/>
            </p:cNvSpPr>
            <p:nvPr/>
          </p:nvSpPr>
          <p:spPr bwMode="auto">
            <a:xfrm>
              <a:off x="10419003" y="2427969"/>
              <a:ext cx="25235" cy="9012"/>
            </a:xfrm>
            <a:prstGeom prst="rect">
              <a:avLst/>
            </a:prstGeom>
            <a:solidFill>
              <a:srgbClr val="56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02" name="Rectangle 167">
              <a:extLst>
                <a:ext uri="{FF2B5EF4-FFF2-40B4-BE49-F238E27FC236}">
                  <a16:creationId xmlns:a16="http://schemas.microsoft.com/office/drawing/2014/main" id="{E1454C39-B068-4C98-95C6-A2CE4BE461EE}"/>
                </a:ext>
              </a:extLst>
            </p:cNvPr>
            <p:cNvSpPr>
              <a:spLocks noChangeArrowheads="1"/>
            </p:cNvSpPr>
            <p:nvPr/>
          </p:nvSpPr>
          <p:spPr bwMode="auto">
            <a:xfrm>
              <a:off x="10453250" y="2424364"/>
              <a:ext cx="43259" cy="1802"/>
            </a:xfrm>
            <a:prstGeom prst="rect">
              <a:avLst/>
            </a:prstGeom>
            <a:solidFill>
              <a:srgbClr val="3A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03" name="Rectangle 168">
              <a:extLst>
                <a:ext uri="{FF2B5EF4-FFF2-40B4-BE49-F238E27FC236}">
                  <a16:creationId xmlns:a16="http://schemas.microsoft.com/office/drawing/2014/main" id="{9817A0E2-AD36-42E7-880D-46633579265E}"/>
                </a:ext>
              </a:extLst>
            </p:cNvPr>
            <p:cNvSpPr>
              <a:spLocks noChangeArrowheads="1"/>
            </p:cNvSpPr>
            <p:nvPr/>
          </p:nvSpPr>
          <p:spPr bwMode="auto">
            <a:xfrm>
              <a:off x="10449645" y="2418956"/>
              <a:ext cx="46864" cy="9012"/>
            </a:xfrm>
            <a:prstGeom prst="rect">
              <a:avLst/>
            </a:prstGeom>
            <a:solidFill>
              <a:srgbClr val="56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04" name="Rectangle 169">
              <a:extLst>
                <a:ext uri="{FF2B5EF4-FFF2-40B4-BE49-F238E27FC236}">
                  <a16:creationId xmlns:a16="http://schemas.microsoft.com/office/drawing/2014/main" id="{D7EF31A1-9C54-4B14-B981-6A36E6E7CA73}"/>
                </a:ext>
              </a:extLst>
            </p:cNvPr>
            <p:cNvSpPr>
              <a:spLocks noChangeArrowheads="1"/>
            </p:cNvSpPr>
            <p:nvPr/>
          </p:nvSpPr>
          <p:spPr bwMode="auto">
            <a:xfrm>
              <a:off x="10453250" y="2628042"/>
              <a:ext cx="43259" cy="1802"/>
            </a:xfrm>
            <a:prstGeom prst="rect">
              <a:avLst/>
            </a:prstGeom>
            <a:solidFill>
              <a:srgbClr val="3A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05" name="Rectangle 170">
              <a:extLst>
                <a:ext uri="{FF2B5EF4-FFF2-40B4-BE49-F238E27FC236}">
                  <a16:creationId xmlns:a16="http://schemas.microsoft.com/office/drawing/2014/main" id="{5C720FE4-05BF-40A5-9D5A-7541C5976B62}"/>
                </a:ext>
              </a:extLst>
            </p:cNvPr>
            <p:cNvSpPr>
              <a:spLocks noChangeArrowheads="1"/>
            </p:cNvSpPr>
            <p:nvPr/>
          </p:nvSpPr>
          <p:spPr bwMode="auto">
            <a:xfrm>
              <a:off x="10449645" y="2624437"/>
              <a:ext cx="46864" cy="7210"/>
            </a:xfrm>
            <a:prstGeom prst="rect">
              <a:avLst/>
            </a:prstGeom>
            <a:solidFill>
              <a:srgbClr val="56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sp>
        <p:nvSpPr>
          <p:cNvPr id="2206" name="Arrow: U-Turn 2205">
            <a:extLst>
              <a:ext uri="{FF2B5EF4-FFF2-40B4-BE49-F238E27FC236}">
                <a16:creationId xmlns:a16="http://schemas.microsoft.com/office/drawing/2014/main" id="{643DA6B0-EF30-424F-B428-27D41EA43A51}"/>
              </a:ext>
            </a:extLst>
          </p:cNvPr>
          <p:cNvSpPr/>
          <p:nvPr/>
        </p:nvSpPr>
        <p:spPr bwMode="auto">
          <a:xfrm rot="5400000" flipV="1">
            <a:off x="9832277" y="3170951"/>
            <a:ext cx="791986" cy="1261511"/>
          </a:xfrm>
          <a:prstGeom prst="uturnArrow">
            <a:avLst>
              <a:gd name="adj1" fmla="val 14492"/>
              <a:gd name="adj2" fmla="val 25000"/>
              <a:gd name="adj3" fmla="val 0"/>
              <a:gd name="adj4" fmla="val 27275"/>
              <a:gd name="adj5" fmla="val 75000"/>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cs typeface="Segoe UI" pitchFamily="34" charset="0"/>
            </a:endParaRPr>
          </a:p>
        </p:txBody>
      </p:sp>
      <p:sp>
        <p:nvSpPr>
          <p:cNvPr id="2207" name="Rectangle 2206">
            <a:extLst>
              <a:ext uri="{FF2B5EF4-FFF2-40B4-BE49-F238E27FC236}">
                <a16:creationId xmlns:a16="http://schemas.microsoft.com/office/drawing/2014/main" id="{BB4242E1-C364-452A-A05E-56BB6ED787DE}"/>
              </a:ext>
            </a:extLst>
          </p:cNvPr>
          <p:cNvSpPr/>
          <p:nvPr/>
        </p:nvSpPr>
        <p:spPr bwMode="auto">
          <a:xfrm>
            <a:off x="9987488" y="3664865"/>
            <a:ext cx="646596" cy="110578"/>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cs typeface="Segoe UI" pitchFamily="34" charset="0"/>
            </a:endParaRPr>
          </a:p>
        </p:txBody>
      </p:sp>
      <p:grpSp>
        <p:nvGrpSpPr>
          <p:cNvPr id="2208" name="Group 2207">
            <a:extLst>
              <a:ext uri="{FF2B5EF4-FFF2-40B4-BE49-F238E27FC236}">
                <a16:creationId xmlns:a16="http://schemas.microsoft.com/office/drawing/2014/main" id="{D3E030E6-F8AD-42FC-BDCD-29CEAC38CED4}"/>
              </a:ext>
            </a:extLst>
          </p:cNvPr>
          <p:cNvGrpSpPr/>
          <p:nvPr/>
        </p:nvGrpSpPr>
        <p:grpSpPr>
          <a:xfrm>
            <a:off x="10068518" y="3807015"/>
            <a:ext cx="270770" cy="237594"/>
            <a:chOff x="9827309" y="3012003"/>
            <a:chExt cx="269055" cy="236088"/>
          </a:xfrm>
        </p:grpSpPr>
        <p:sp>
          <p:nvSpPr>
            <p:cNvPr id="2209" name="Freeform 525">
              <a:extLst>
                <a:ext uri="{FF2B5EF4-FFF2-40B4-BE49-F238E27FC236}">
                  <a16:creationId xmlns:a16="http://schemas.microsoft.com/office/drawing/2014/main" id="{3B103D44-4A86-4FD6-ADA8-AF51514D5DB9}"/>
                </a:ext>
              </a:extLst>
            </p:cNvPr>
            <p:cNvSpPr>
              <a:spLocks/>
            </p:cNvSpPr>
            <p:nvPr/>
          </p:nvSpPr>
          <p:spPr bwMode="auto">
            <a:xfrm>
              <a:off x="9955771" y="3213844"/>
              <a:ext cx="81111" cy="30642"/>
            </a:xfrm>
            <a:custGeom>
              <a:avLst/>
              <a:gdLst>
                <a:gd name="T0" fmla="*/ 19 w 19"/>
                <a:gd name="T1" fmla="*/ 4 h 7"/>
                <a:gd name="T2" fmla="*/ 19 w 19"/>
                <a:gd name="T3" fmla="*/ 4 h 7"/>
                <a:gd name="T4" fmla="*/ 16 w 19"/>
                <a:gd name="T5" fmla="*/ 1 h 7"/>
                <a:gd name="T6" fmla="*/ 16 w 19"/>
                <a:gd name="T7" fmla="*/ 1 h 7"/>
                <a:gd name="T8" fmla="*/ 13 w 19"/>
                <a:gd name="T9" fmla="*/ 0 h 7"/>
                <a:gd name="T10" fmla="*/ 10 w 19"/>
                <a:gd name="T11" fmla="*/ 0 h 7"/>
                <a:gd name="T12" fmla="*/ 3 w 19"/>
                <a:gd name="T13" fmla="*/ 1 h 7"/>
                <a:gd name="T14" fmla="*/ 3 w 19"/>
                <a:gd name="T15" fmla="*/ 1 h 7"/>
                <a:gd name="T16" fmla="*/ 3 w 19"/>
                <a:gd name="T17" fmla="*/ 1 h 7"/>
                <a:gd name="T18" fmla="*/ 0 w 19"/>
                <a:gd name="T19" fmla="*/ 3 h 7"/>
                <a:gd name="T20" fmla="*/ 0 w 19"/>
                <a:gd name="T21" fmla="*/ 4 h 7"/>
                <a:gd name="T22" fmla="*/ 4 w 19"/>
                <a:gd name="T23" fmla="*/ 2 h 7"/>
                <a:gd name="T24" fmla="*/ 10 w 19"/>
                <a:gd name="T25" fmla="*/ 1 h 7"/>
                <a:gd name="T26" fmla="*/ 12 w 19"/>
                <a:gd name="T27" fmla="*/ 2 h 7"/>
                <a:gd name="T28" fmla="*/ 14 w 19"/>
                <a:gd name="T29" fmla="*/ 2 h 7"/>
                <a:gd name="T30" fmla="*/ 16 w 19"/>
                <a:gd name="T31" fmla="*/ 4 h 7"/>
                <a:gd name="T32" fmla="*/ 13 w 19"/>
                <a:gd name="T33" fmla="*/ 7 h 7"/>
                <a:gd name="T34" fmla="*/ 17 w 19"/>
                <a:gd name="T35" fmla="*/ 6 h 7"/>
                <a:gd name="T36" fmla="*/ 19 w 19"/>
                <a:gd name="T3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7">
                  <a:moveTo>
                    <a:pt x="19" y="4"/>
                  </a:moveTo>
                  <a:cubicBezTo>
                    <a:pt x="19" y="4"/>
                    <a:pt x="19" y="4"/>
                    <a:pt x="19" y="4"/>
                  </a:cubicBezTo>
                  <a:cubicBezTo>
                    <a:pt x="16" y="1"/>
                    <a:pt x="16" y="1"/>
                    <a:pt x="16" y="1"/>
                  </a:cubicBezTo>
                  <a:cubicBezTo>
                    <a:pt x="16" y="1"/>
                    <a:pt x="16" y="1"/>
                    <a:pt x="16" y="1"/>
                  </a:cubicBezTo>
                  <a:cubicBezTo>
                    <a:pt x="16" y="1"/>
                    <a:pt x="15" y="0"/>
                    <a:pt x="13" y="0"/>
                  </a:cubicBezTo>
                  <a:cubicBezTo>
                    <a:pt x="12" y="0"/>
                    <a:pt x="10" y="0"/>
                    <a:pt x="10" y="0"/>
                  </a:cubicBezTo>
                  <a:cubicBezTo>
                    <a:pt x="3" y="1"/>
                    <a:pt x="3" y="1"/>
                    <a:pt x="3" y="1"/>
                  </a:cubicBezTo>
                  <a:cubicBezTo>
                    <a:pt x="3" y="1"/>
                    <a:pt x="3" y="1"/>
                    <a:pt x="3" y="1"/>
                  </a:cubicBezTo>
                  <a:cubicBezTo>
                    <a:pt x="3" y="1"/>
                    <a:pt x="3" y="1"/>
                    <a:pt x="3" y="1"/>
                  </a:cubicBezTo>
                  <a:cubicBezTo>
                    <a:pt x="0" y="3"/>
                    <a:pt x="0" y="3"/>
                    <a:pt x="0" y="3"/>
                  </a:cubicBezTo>
                  <a:cubicBezTo>
                    <a:pt x="0" y="4"/>
                    <a:pt x="0" y="4"/>
                    <a:pt x="0" y="4"/>
                  </a:cubicBezTo>
                  <a:cubicBezTo>
                    <a:pt x="4" y="2"/>
                    <a:pt x="4" y="2"/>
                    <a:pt x="4" y="2"/>
                  </a:cubicBezTo>
                  <a:cubicBezTo>
                    <a:pt x="10" y="1"/>
                    <a:pt x="10" y="1"/>
                    <a:pt x="10" y="1"/>
                  </a:cubicBezTo>
                  <a:cubicBezTo>
                    <a:pt x="10" y="2"/>
                    <a:pt x="11" y="2"/>
                    <a:pt x="12" y="2"/>
                  </a:cubicBezTo>
                  <a:cubicBezTo>
                    <a:pt x="12" y="2"/>
                    <a:pt x="13" y="2"/>
                    <a:pt x="14" y="2"/>
                  </a:cubicBezTo>
                  <a:cubicBezTo>
                    <a:pt x="16" y="4"/>
                    <a:pt x="16" y="4"/>
                    <a:pt x="16" y="4"/>
                  </a:cubicBezTo>
                  <a:cubicBezTo>
                    <a:pt x="13" y="7"/>
                    <a:pt x="13" y="7"/>
                    <a:pt x="13" y="7"/>
                  </a:cubicBezTo>
                  <a:cubicBezTo>
                    <a:pt x="17" y="6"/>
                    <a:pt x="17" y="6"/>
                    <a:pt x="17" y="6"/>
                  </a:cubicBezTo>
                  <a:cubicBezTo>
                    <a:pt x="19" y="4"/>
                    <a:pt x="19" y="4"/>
                    <a:pt x="19" y="4"/>
                  </a:cubicBezTo>
                  <a:close/>
                </a:path>
              </a:pathLst>
            </a:custGeom>
            <a:solidFill>
              <a:srgbClr val="4D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10" name="Freeform 526">
              <a:extLst>
                <a:ext uri="{FF2B5EF4-FFF2-40B4-BE49-F238E27FC236}">
                  <a16:creationId xmlns:a16="http://schemas.microsoft.com/office/drawing/2014/main" id="{6A48AD57-988F-4A30-A6C8-DE79592CEFE0}"/>
                </a:ext>
              </a:extLst>
            </p:cNvPr>
            <p:cNvSpPr>
              <a:spLocks noEditPoints="1"/>
            </p:cNvSpPr>
            <p:nvPr/>
          </p:nvSpPr>
          <p:spPr bwMode="auto">
            <a:xfrm>
              <a:off x="9950364" y="3210239"/>
              <a:ext cx="93728" cy="37852"/>
            </a:xfrm>
            <a:custGeom>
              <a:avLst/>
              <a:gdLst>
                <a:gd name="T0" fmla="*/ 11 w 22"/>
                <a:gd name="T1" fmla="*/ 9 h 9"/>
                <a:gd name="T2" fmla="*/ 16 w 22"/>
                <a:gd name="T3" fmla="*/ 5 h 9"/>
                <a:gd name="T4" fmla="*/ 14 w 22"/>
                <a:gd name="T5" fmla="*/ 4 h 9"/>
                <a:gd name="T6" fmla="*/ 13 w 22"/>
                <a:gd name="T7" fmla="*/ 4 h 9"/>
                <a:gd name="T8" fmla="*/ 10 w 22"/>
                <a:gd name="T9" fmla="*/ 3 h 9"/>
                <a:gd name="T10" fmla="*/ 6 w 22"/>
                <a:gd name="T11" fmla="*/ 3 h 9"/>
                <a:gd name="T12" fmla="*/ 0 w 22"/>
                <a:gd name="T13" fmla="*/ 7 h 9"/>
                <a:gd name="T14" fmla="*/ 0 w 22"/>
                <a:gd name="T15" fmla="*/ 3 h 9"/>
                <a:gd name="T16" fmla="*/ 3 w 22"/>
                <a:gd name="T17" fmla="*/ 1 h 9"/>
                <a:gd name="T18" fmla="*/ 3 w 22"/>
                <a:gd name="T19" fmla="*/ 1 h 9"/>
                <a:gd name="T20" fmla="*/ 4 w 22"/>
                <a:gd name="T21" fmla="*/ 1 h 9"/>
                <a:gd name="T22" fmla="*/ 4 w 22"/>
                <a:gd name="T23" fmla="*/ 1 h 9"/>
                <a:gd name="T24" fmla="*/ 10 w 22"/>
                <a:gd name="T25" fmla="*/ 1 h 9"/>
                <a:gd name="T26" fmla="*/ 15 w 22"/>
                <a:gd name="T27" fmla="*/ 0 h 9"/>
                <a:gd name="T28" fmla="*/ 17 w 22"/>
                <a:gd name="T29" fmla="*/ 2 h 9"/>
                <a:gd name="T30" fmla="*/ 18 w 22"/>
                <a:gd name="T31" fmla="*/ 2 h 9"/>
                <a:gd name="T32" fmla="*/ 21 w 22"/>
                <a:gd name="T33" fmla="*/ 4 h 9"/>
                <a:gd name="T34" fmla="*/ 22 w 22"/>
                <a:gd name="T35" fmla="*/ 5 h 9"/>
                <a:gd name="T36" fmla="*/ 21 w 22"/>
                <a:gd name="T37" fmla="*/ 5 h 9"/>
                <a:gd name="T38" fmla="*/ 22 w 22"/>
                <a:gd name="T39" fmla="*/ 5 h 9"/>
                <a:gd name="T40" fmla="*/ 21 w 22"/>
                <a:gd name="T41" fmla="*/ 6 h 9"/>
                <a:gd name="T42" fmla="*/ 18 w 22"/>
                <a:gd name="T43" fmla="*/ 8 h 9"/>
                <a:gd name="T44" fmla="*/ 11 w 22"/>
                <a:gd name="T45" fmla="*/ 9 h 9"/>
                <a:gd name="T46" fmla="*/ 18 w 22"/>
                <a:gd name="T47" fmla="*/ 5 h 9"/>
                <a:gd name="T48" fmla="*/ 19 w 22"/>
                <a:gd name="T49" fmla="*/ 5 h 9"/>
                <a:gd name="T50" fmla="*/ 17 w 22"/>
                <a:gd name="T51" fmla="*/ 7 h 9"/>
                <a:gd name="T52" fmla="*/ 18 w 22"/>
                <a:gd name="T53" fmla="*/ 6 h 9"/>
                <a:gd name="T54" fmla="*/ 19 w 22"/>
                <a:gd name="T55" fmla="*/ 5 h 9"/>
                <a:gd name="T56" fmla="*/ 18 w 22"/>
                <a:gd name="T57" fmla="*/ 5 h 9"/>
                <a:gd name="T58" fmla="*/ 15 w 22"/>
                <a:gd name="T59" fmla="*/ 2 h 9"/>
                <a:gd name="T60" fmla="*/ 18 w 22"/>
                <a:gd name="T61" fmla="*/ 4 h 9"/>
                <a:gd name="T62" fmla="*/ 18 w 22"/>
                <a:gd name="T63" fmla="*/ 4 h 9"/>
                <a:gd name="T64" fmla="*/ 16 w 22"/>
                <a:gd name="T65" fmla="*/ 2 h 9"/>
                <a:gd name="T66" fmla="*/ 16 w 22"/>
                <a:gd name="T67" fmla="*/ 2 h 9"/>
                <a:gd name="T68" fmla="*/ 14 w 22"/>
                <a:gd name="T69" fmla="*/ 2 h 9"/>
                <a:gd name="T70" fmla="*/ 11 w 22"/>
                <a:gd name="T71" fmla="*/ 2 h 9"/>
                <a:gd name="T72" fmla="*/ 13 w 22"/>
                <a:gd name="T73" fmla="*/ 2 h 9"/>
                <a:gd name="T74" fmla="*/ 15 w 22"/>
                <a:gd name="T75" fmla="*/ 2 h 9"/>
                <a:gd name="T76" fmla="*/ 2 w 22"/>
                <a:gd name="T77" fmla="*/ 4 h 9"/>
                <a:gd name="T78" fmla="*/ 2 w 22"/>
                <a:gd name="T79" fmla="*/ 4 h 9"/>
                <a:gd name="T80" fmla="*/ 4 w 22"/>
                <a:gd name="T81" fmla="*/ 2 h 9"/>
                <a:gd name="T82" fmla="*/ 4 w 22"/>
                <a:gd name="T83" fmla="*/ 2 h 9"/>
                <a:gd name="T84" fmla="*/ 2 w 22"/>
                <a:gd name="T8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 h="9">
                  <a:moveTo>
                    <a:pt x="11" y="9"/>
                  </a:moveTo>
                  <a:cubicBezTo>
                    <a:pt x="16" y="5"/>
                    <a:pt x="16" y="5"/>
                    <a:pt x="16" y="5"/>
                  </a:cubicBezTo>
                  <a:cubicBezTo>
                    <a:pt x="14" y="4"/>
                    <a:pt x="14" y="4"/>
                    <a:pt x="14" y="4"/>
                  </a:cubicBezTo>
                  <a:cubicBezTo>
                    <a:pt x="14" y="4"/>
                    <a:pt x="13" y="4"/>
                    <a:pt x="13" y="4"/>
                  </a:cubicBezTo>
                  <a:cubicBezTo>
                    <a:pt x="12" y="4"/>
                    <a:pt x="11" y="3"/>
                    <a:pt x="10" y="3"/>
                  </a:cubicBezTo>
                  <a:cubicBezTo>
                    <a:pt x="6" y="3"/>
                    <a:pt x="6" y="3"/>
                    <a:pt x="6" y="3"/>
                  </a:cubicBezTo>
                  <a:cubicBezTo>
                    <a:pt x="0" y="7"/>
                    <a:pt x="0" y="7"/>
                    <a:pt x="0" y="7"/>
                  </a:cubicBezTo>
                  <a:cubicBezTo>
                    <a:pt x="0" y="3"/>
                    <a:pt x="0" y="3"/>
                    <a:pt x="0" y="3"/>
                  </a:cubicBezTo>
                  <a:cubicBezTo>
                    <a:pt x="3" y="1"/>
                    <a:pt x="3" y="1"/>
                    <a:pt x="3" y="1"/>
                  </a:cubicBezTo>
                  <a:cubicBezTo>
                    <a:pt x="3" y="1"/>
                    <a:pt x="3" y="1"/>
                    <a:pt x="3" y="1"/>
                  </a:cubicBezTo>
                  <a:cubicBezTo>
                    <a:pt x="4" y="1"/>
                    <a:pt x="4" y="1"/>
                    <a:pt x="4" y="1"/>
                  </a:cubicBezTo>
                  <a:cubicBezTo>
                    <a:pt x="4" y="1"/>
                    <a:pt x="4" y="1"/>
                    <a:pt x="4" y="1"/>
                  </a:cubicBezTo>
                  <a:cubicBezTo>
                    <a:pt x="10" y="1"/>
                    <a:pt x="10" y="1"/>
                    <a:pt x="10" y="1"/>
                  </a:cubicBezTo>
                  <a:cubicBezTo>
                    <a:pt x="11" y="0"/>
                    <a:pt x="13" y="0"/>
                    <a:pt x="15" y="0"/>
                  </a:cubicBezTo>
                  <a:cubicBezTo>
                    <a:pt x="15" y="0"/>
                    <a:pt x="17" y="1"/>
                    <a:pt x="17" y="2"/>
                  </a:cubicBezTo>
                  <a:cubicBezTo>
                    <a:pt x="18" y="2"/>
                    <a:pt x="18" y="2"/>
                    <a:pt x="18" y="2"/>
                  </a:cubicBezTo>
                  <a:cubicBezTo>
                    <a:pt x="21" y="4"/>
                    <a:pt x="21" y="4"/>
                    <a:pt x="21" y="4"/>
                  </a:cubicBezTo>
                  <a:cubicBezTo>
                    <a:pt x="22" y="5"/>
                    <a:pt x="22" y="5"/>
                    <a:pt x="22" y="5"/>
                  </a:cubicBezTo>
                  <a:cubicBezTo>
                    <a:pt x="21" y="5"/>
                    <a:pt x="21" y="5"/>
                    <a:pt x="21" y="5"/>
                  </a:cubicBezTo>
                  <a:cubicBezTo>
                    <a:pt x="22" y="5"/>
                    <a:pt x="22" y="5"/>
                    <a:pt x="22" y="5"/>
                  </a:cubicBezTo>
                  <a:cubicBezTo>
                    <a:pt x="21" y="6"/>
                    <a:pt x="21" y="6"/>
                    <a:pt x="21" y="6"/>
                  </a:cubicBezTo>
                  <a:cubicBezTo>
                    <a:pt x="18" y="8"/>
                    <a:pt x="18" y="8"/>
                    <a:pt x="18" y="8"/>
                  </a:cubicBezTo>
                  <a:lnTo>
                    <a:pt x="11" y="9"/>
                  </a:lnTo>
                  <a:close/>
                  <a:moveTo>
                    <a:pt x="18" y="5"/>
                  </a:moveTo>
                  <a:cubicBezTo>
                    <a:pt x="19" y="5"/>
                    <a:pt x="19" y="5"/>
                    <a:pt x="19" y="5"/>
                  </a:cubicBezTo>
                  <a:cubicBezTo>
                    <a:pt x="17" y="7"/>
                    <a:pt x="17" y="7"/>
                    <a:pt x="17" y="7"/>
                  </a:cubicBezTo>
                  <a:cubicBezTo>
                    <a:pt x="18" y="6"/>
                    <a:pt x="18" y="6"/>
                    <a:pt x="18" y="6"/>
                  </a:cubicBezTo>
                  <a:cubicBezTo>
                    <a:pt x="19" y="5"/>
                    <a:pt x="19" y="5"/>
                    <a:pt x="19" y="5"/>
                  </a:cubicBezTo>
                  <a:lnTo>
                    <a:pt x="18" y="5"/>
                  </a:lnTo>
                  <a:close/>
                  <a:moveTo>
                    <a:pt x="15" y="2"/>
                  </a:moveTo>
                  <a:cubicBezTo>
                    <a:pt x="18" y="4"/>
                    <a:pt x="18" y="4"/>
                    <a:pt x="18" y="4"/>
                  </a:cubicBezTo>
                  <a:cubicBezTo>
                    <a:pt x="18" y="4"/>
                    <a:pt x="18" y="4"/>
                    <a:pt x="18" y="4"/>
                  </a:cubicBezTo>
                  <a:cubicBezTo>
                    <a:pt x="16" y="2"/>
                    <a:pt x="16" y="2"/>
                    <a:pt x="16" y="2"/>
                  </a:cubicBezTo>
                  <a:cubicBezTo>
                    <a:pt x="16" y="2"/>
                    <a:pt x="16" y="2"/>
                    <a:pt x="16" y="2"/>
                  </a:cubicBezTo>
                  <a:cubicBezTo>
                    <a:pt x="16" y="2"/>
                    <a:pt x="15" y="2"/>
                    <a:pt x="14" y="2"/>
                  </a:cubicBezTo>
                  <a:cubicBezTo>
                    <a:pt x="13" y="1"/>
                    <a:pt x="12" y="2"/>
                    <a:pt x="11" y="2"/>
                  </a:cubicBezTo>
                  <a:cubicBezTo>
                    <a:pt x="12" y="2"/>
                    <a:pt x="12" y="2"/>
                    <a:pt x="13" y="2"/>
                  </a:cubicBezTo>
                  <a:cubicBezTo>
                    <a:pt x="13" y="2"/>
                    <a:pt x="14" y="2"/>
                    <a:pt x="15" y="2"/>
                  </a:cubicBezTo>
                  <a:close/>
                  <a:moveTo>
                    <a:pt x="2" y="4"/>
                  </a:moveTo>
                  <a:cubicBezTo>
                    <a:pt x="2" y="4"/>
                    <a:pt x="2" y="4"/>
                    <a:pt x="2" y="4"/>
                  </a:cubicBezTo>
                  <a:cubicBezTo>
                    <a:pt x="4" y="2"/>
                    <a:pt x="4" y="2"/>
                    <a:pt x="4" y="2"/>
                  </a:cubicBezTo>
                  <a:cubicBezTo>
                    <a:pt x="4" y="2"/>
                    <a:pt x="4" y="2"/>
                    <a:pt x="4" y="2"/>
                  </a:cubicBezTo>
                  <a:lnTo>
                    <a:pt x="2" y="4"/>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11" name="Rectangle 527">
              <a:extLst>
                <a:ext uri="{FF2B5EF4-FFF2-40B4-BE49-F238E27FC236}">
                  <a16:creationId xmlns:a16="http://schemas.microsoft.com/office/drawing/2014/main" id="{00C77A26-B0E6-469A-A59C-E76D150124D3}"/>
                </a:ext>
              </a:extLst>
            </p:cNvPr>
            <p:cNvSpPr>
              <a:spLocks noChangeArrowheads="1"/>
            </p:cNvSpPr>
            <p:nvPr/>
          </p:nvSpPr>
          <p:spPr bwMode="auto">
            <a:xfrm>
              <a:off x="9943154" y="3028190"/>
              <a:ext cx="147802" cy="72099"/>
            </a:xfrm>
            <a:prstGeom prst="rect">
              <a:avLst/>
            </a:prstGeom>
            <a:solidFill>
              <a:srgbClr val="BCC1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12" name="Freeform 528">
              <a:extLst>
                <a:ext uri="{FF2B5EF4-FFF2-40B4-BE49-F238E27FC236}">
                  <a16:creationId xmlns:a16="http://schemas.microsoft.com/office/drawing/2014/main" id="{2143728F-34B9-474B-80D8-F9E23B32C422}"/>
                </a:ext>
              </a:extLst>
            </p:cNvPr>
            <p:cNvSpPr>
              <a:spLocks noEditPoints="1"/>
            </p:cNvSpPr>
            <p:nvPr/>
          </p:nvSpPr>
          <p:spPr bwMode="auto">
            <a:xfrm>
              <a:off x="9937747" y="3022783"/>
              <a:ext cx="158617" cy="81111"/>
            </a:xfrm>
            <a:custGeom>
              <a:avLst/>
              <a:gdLst>
                <a:gd name="T0" fmla="*/ 88 w 88"/>
                <a:gd name="T1" fmla="*/ 45 h 45"/>
                <a:gd name="T2" fmla="*/ 0 w 88"/>
                <a:gd name="T3" fmla="*/ 45 h 45"/>
                <a:gd name="T4" fmla="*/ 0 w 88"/>
                <a:gd name="T5" fmla="*/ 0 h 45"/>
                <a:gd name="T6" fmla="*/ 88 w 88"/>
                <a:gd name="T7" fmla="*/ 0 h 45"/>
                <a:gd name="T8" fmla="*/ 88 w 88"/>
                <a:gd name="T9" fmla="*/ 45 h 45"/>
                <a:gd name="T10" fmla="*/ 5 w 88"/>
                <a:gd name="T11" fmla="*/ 43 h 45"/>
                <a:gd name="T12" fmla="*/ 83 w 88"/>
                <a:gd name="T13" fmla="*/ 43 h 45"/>
                <a:gd name="T14" fmla="*/ 83 w 88"/>
                <a:gd name="T15" fmla="*/ 3 h 45"/>
                <a:gd name="T16" fmla="*/ 5 w 88"/>
                <a:gd name="T17" fmla="*/ 3 h 45"/>
                <a:gd name="T18" fmla="*/ 5 w 88"/>
                <a:gd name="T19"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5">
                  <a:moveTo>
                    <a:pt x="88" y="45"/>
                  </a:moveTo>
                  <a:lnTo>
                    <a:pt x="0" y="45"/>
                  </a:lnTo>
                  <a:lnTo>
                    <a:pt x="0" y="0"/>
                  </a:lnTo>
                  <a:lnTo>
                    <a:pt x="88" y="0"/>
                  </a:lnTo>
                  <a:lnTo>
                    <a:pt x="88" y="45"/>
                  </a:lnTo>
                  <a:close/>
                  <a:moveTo>
                    <a:pt x="5" y="43"/>
                  </a:moveTo>
                  <a:lnTo>
                    <a:pt x="83" y="43"/>
                  </a:lnTo>
                  <a:lnTo>
                    <a:pt x="83" y="3"/>
                  </a:lnTo>
                  <a:lnTo>
                    <a:pt x="5" y="3"/>
                  </a:lnTo>
                  <a:lnTo>
                    <a:pt x="5" y="43"/>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13" name="Freeform 529">
              <a:extLst>
                <a:ext uri="{FF2B5EF4-FFF2-40B4-BE49-F238E27FC236}">
                  <a16:creationId xmlns:a16="http://schemas.microsoft.com/office/drawing/2014/main" id="{F5D2263F-B347-4685-B725-403AABA853EA}"/>
                </a:ext>
              </a:extLst>
            </p:cNvPr>
            <p:cNvSpPr>
              <a:spLocks/>
            </p:cNvSpPr>
            <p:nvPr/>
          </p:nvSpPr>
          <p:spPr bwMode="auto">
            <a:xfrm>
              <a:off x="9971994" y="3062437"/>
              <a:ext cx="72099" cy="63086"/>
            </a:xfrm>
            <a:custGeom>
              <a:avLst/>
              <a:gdLst>
                <a:gd name="T0" fmla="*/ 14 w 40"/>
                <a:gd name="T1" fmla="*/ 0 h 35"/>
                <a:gd name="T2" fmla="*/ 0 w 40"/>
                <a:gd name="T3" fmla="*/ 35 h 35"/>
                <a:gd name="T4" fmla="*/ 40 w 40"/>
                <a:gd name="T5" fmla="*/ 35 h 35"/>
                <a:gd name="T6" fmla="*/ 31 w 40"/>
                <a:gd name="T7" fmla="*/ 0 h 35"/>
                <a:gd name="T8" fmla="*/ 14 w 40"/>
                <a:gd name="T9" fmla="*/ 0 h 35"/>
              </a:gdLst>
              <a:ahLst/>
              <a:cxnLst>
                <a:cxn ang="0">
                  <a:pos x="T0" y="T1"/>
                </a:cxn>
                <a:cxn ang="0">
                  <a:pos x="T2" y="T3"/>
                </a:cxn>
                <a:cxn ang="0">
                  <a:pos x="T4" y="T5"/>
                </a:cxn>
                <a:cxn ang="0">
                  <a:pos x="T6" y="T7"/>
                </a:cxn>
                <a:cxn ang="0">
                  <a:pos x="T8" y="T9"/>
                </a:cxn>
              </a:cxnLst>
              <a:rect l="0" t="0" r="r" b="b"/>
              <a:pathLst>
                <a:path w="40" h="35">
                  <a:moveTo>
                    <a:pt x="14" y="0"/>
                  </a:moveTo>
                  <a:lnTo>
                    <a:pt x="0" y="35"/>
                  </a:lnTo>
                  <a:lnTo>
                    <a:pt x="40" y="35"/>
                  </a:lnTo>
                  <a:lnTo>
                    <a:pt x="31" y="0"/>
                  </a:lnTo>
                  <a:lnTo>
                    <a:pt x="14" y="0"/>
                  </a:lnTo>
                  <a:close/>
                </a:path>
              </a:pathLst>
            </a:custGeom>
            <a:solidFill>
              <a:srgbClr val="A7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14" name="Freeform 530">
              <a:extLst>
                <a:ext uri="{FF2B5EF4-FFF2-40B4-BE49-F238E27FC236}">
                  <a16:creationId xmlns:a16="http://schemas.microsoft.com/office/drawing/2014/main" id="{54AC7F0B-DD09-42EA-BAAE-A4D58F526820}"/>
                </a:ext>
              </a:extLst>
            </p:cNvPr>
            <p:cNvSpPr>
              <a:spLocks noEditPoints="1"/>
            </p:cNvSpPr>
            <p:nvPr/>
          </p:nvSpPr>
          <p:spPr bwMode="auto">
            <a:xfrm>
              <a:off x="9968389" y="3062437"/>
              <a:ext cx="81111" cy="63086"/>
            </a:xfrm>
            <a:custGeom>
              <a:avLst/>
              <a:gdLst>
                <a:gd name="T0" fmla="*/ 45 w 45"/>
                <a:gd name="T1" fmla="*/ 35 h 35"/>
                <a:gd name="T2" fmla="*/ 0 w 45"/>
                <a:gd name="T3" fmla="*/ 35 h 35"/>
                <a:gd name="T4" fmla="*/ 16 w 45"/>
                <a:gd name="T5" fmla="*/ 0 h 35"/>
                <a:gd name="T6" fmla="*/ 33 w 45"/>
                <a:gd name="T7" fmla="*/ 0 h 35"/>
                <a:gd name="T8" fmla="*/ 45 w 45"/>
                <a:gd name="T9" fmla="*/ 35 h 35"/>
                <a:gd name="T10" fmla="*/ 4 w 45"/>
                <a:gd name="T11" fmla="*/ 33 h 35"/>
                <a:gd name="T12" fmla="*/ 40 w 45"/>
                <a:gd name="T13" fmla="*/ 33 h 35"/>
                <a:gd name="T14" fmla="*/ 30 w 45"/>
                <a:gd name="T15" fmla="*/ 2 h 35"/>
                <a:gd name="T16" fmla="*/ 19 w 45"/>
                <a:gd name="T17" fmla="*/ 2 h 35"/>
                <a:gd name="T18" fmla="*/ 4 w 45"/>
                <a:gd name="T19"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5">
                  <a:moveTo>
                    <a:pt x="45" y="35"/>
                  </a:moveTo>
                  <a:lnTo>
                    <a:pt x="0" y="35"/>
                  </a:lnTo>
                  <a:lnTo>
                    <a:pt x="16" y="0"/>
                  </a:lnTo>
                  <a:lnTo>
                    <a:pt x="33" y="0"/>
                  </a:lnTo>
                  <a:lnTo>
                    <a:pt x="45" y="35"/>
                  </a:lnTo>
                  <a:close/>
                  <a:moveTo>
                    <a:pt x="4" y="33"/>
                  </a:moveTo>
                  <a:lnTo>
                    <a:pt x="40" y="33"/>
                  </a:lnTo>
                  <a:lnTo>
                    <a:pt x="30" y="2"/>
                  </a:lnTo>
                  <a:lnTo>
                    <a:pt x="19" y="2"/>
                  </a:lnTo>
                  <a:lnTo>
                    <a:pt x="4" y="33"/>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15" name="Freeform 531">
              <a:extLst>
                <a:ext uri="{FF2B5EF4-FFF2-40B4-BE49-F238E27FC236}">
                  <a16:creationId xmlns:a16="http://schemas.microsoft.com/office/drawing/2014/main" id="{B8C41106-AF0C-4DE0-848D-8EC3AC96A77B}"/>
                </a:ext>
              </a:extLst>
            </p:cNvPr>
            <p:cNvSpPr>
              <a:spLocks/>
            </p:cNvSpPr>
            <p:nvPr/>
          </p:nvSpPr>
          <p:spPr bwMode="auto">
            <a:xfrm>
              <a:off x="9984611" y="3125523"/>
              <a:ext cx="43259" cy="68494"/>
            </a:xfrm>
            <a:custGeom>
              <a:avLst/>
              <a:gdLst>
                <a:gd name="T0" fmla="*/ 5 w 24"/>
                <a:gd name="T1" fmla="*/ 0 h 38"/>
                <a:gd name="T2" fmla="*/ 0 w 24"/>
                <a:gd name="T3" fmla="*/ 38 h 38"/>
                <a:gd name="T4" fmla="*/ 24 w 24"/>
                <a:gd name="T5" fmla="*/ 38 h 38"/>
                <a:gd name="T6" fmla="*/ 21 w 24"/>
                <a:gd name="T7" fmla="*/ 0 h 38"/>
                <a:gd name="T8" fmla="*/ 5 w 24"/>
                <a:gd name="T9" fmla="*/ 0 h 38"/>
              </a:gdLst>
              <a:ahLst/>
              <a:cxnLst>
                <a:cxn ang="0">
                  <a:pos x="T0" y="T1"/>
                </a:cxn>
                <a:cxn ang="0">
                  <a:pos x="T2" y="T3"/>
                </a:cxn>
                <a:cxn ang="0">
                  <a:pos x="T4" y="T5"/>
                </a:cxn>
                <a:cxn ang="0">
                  <a:pos x="T6" y="T7"/>
                </a:cxn>
                <a:cxn ang="0">
                  <a:pos x="T8" y="T9"/>
                </a:cxn>
              </a:cxnLst>
              <a:rect l="0" t="0" r="r" b="b"/>
              <a:pathLst>
                <a:path w="24" h="38">
                  <a:moveTo>
                    <a:pt x="5" y="0"/>
                  </a:moveTo>
                  <a:lnTo>
                    <a:pt x="0" y="38"/>
                  </a:lnTo>
                  <a:lnTo>
                    <a:pt x="24" y="38"/>
                  </a:lnTo>
                  <a:lnTo>
                    <a:pt x="21" y="0"/>
                  </a:lnTo>
                  <a:lnTo>
                    <a:pt x="5" y="0"/>
                  </a:lnTo>
                  <a:close/>
                </a:path>
              </a:pathLst>
            </a:custGeom>
            <a:solidFill>
              <a:srgbClr val="A9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16" name="Freeform 532">
              <a:extLst>
                <a:ext uri="{FF2B5EF4-FFF2-40B4-BE49-F238E27FC236}">
                  <a16:creationId xmlns:a16="http://schemas.microsoft.com/office/drawing/2014/main" id="{24524C0A-8CC2-4F20-94B2-1B6F1E449248}"/>
                </a:ext>
              </a:extLst>
            </p:cNvPr>
            <p:cNvSpPr>
              <a:spLocks noEditPoints="1"/>
            </p:cNvSpPr>
            <p:nvPr/>
          </p:nvSpPr>
          <p:spPr bwMode="auto">
            <a:xfrm>
              <a:off x="9984611" y="3121918"/>
              <a:ext cx="43259" cy="75704"/>
            </a:xfrm>
            <a:custGeom>
              <a:avLst/>
              <a:gdLst>
                <a:gd name="T0" fmla="*/ 24 w 24"/>
                <a:gd name="T1" fmla="*/ 42 h 42"/>
                <a:gd name="T2" fmla="*/ 0 w 24"/>
                <a:gd name="T3" fmla="*/ 42 h 42"/>
                <a:gd name="T4" fmla="*/ 3 w 24"/>
                <a:gd name="T5" fmla="*/ 0 h 42"/>
                <a:gd name="T6" fmla="*/ 24 w 24"/>
                <a:gd name="T7" fmla="*/ 0 h 42"/>
                <a:gd name="T8" fmla="*/ 24 w 24"/>
                <a:gd name="T9" fmla="*/ 42 h 42"/>
                <a:gd name="T10" fmla="*/ 3 w 24"/>
                <a:gd name="T11" fmla="*/ 40 h 42"/>
                <a:gd name="T12" fmla="*/ 21 w 24"/>
                <a:gd name="T13" fmla="*/ 40 h 42"/>
                <a:gd name="T14" fmla="*/ 21 w 24"/>
                <a:gd name="T15" fmla="*/ 2 h 42"/>
                <a:gd name="T16" fmla="*/ 7 w 24"/>
                <a:gd name="T17" fmla="*/ 2 h 42"/>
                <a:gd name="T18" fmla="*/ 3 w 24"/>
                <a:gd name="T19"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2">
                  <a:moveTo>
                    <a:pt x="24" y="42"/>
                  </a:moveTo>
                  <a:lnTo>
                    <a:pt x="0" y="42"/>
                  </a:lnTo>
                  <a:lnTo>
                    <a:pt x="3" y="0"/>
                  </a:lnTo>
                  <a:lnTo>
                    <a:pt x="24" y="0"/>
                  </a:lnTo>
                  <a:lnTo>
                    <a:pt x="24" y="42"/>
                  </a:lnTo>
                  <a:close/>
                  <a:moveTo>
                    <a:pt x="3" y="40"/>
                  </a:moveTo>
                  <a:lnTo>
                    <a:pt x="21" y="40"/>
                  </a:lnTo>
                  <a:lnTo>
                    <a:pt x="21" y="2"/>
                  </a:lnTo>
                  <a:lnTo>
                    <a:pt x="7" y="2"/>
                  </a:lnTo>
                  <a:lnTo>
                    <a:pt x="3" y="40"/>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17" name="Freeform 533">
              <a:extLst>
                <a:ext uri="{FF2B5EF4-FFF2-40B4-BE49-F238E27FC236}">
                  <a16:creationId xmlns:a16="http://schemas.microsoft.com/office/drawing/2014/main" id="{9B5AAFA9-C1AF-43C1-9E32-8FCF83945A07}"/>
                </a:ext>
              </a:extLst>
            </p:cNvPr>
            <p:cNvSpPr>
              <a:spLocks/>
            </p:cNvSpPr>
            <p:nvPr/>
          </p:nvSpPr>
          <p:spPr bwMode="auto">
            <a:xfrm>
              <a:off x="9993623" y="3103894"/>
              <a:ext cx="28839" cy="50469"/>
            </a:xfrm>
            <a:custGeom>
              <a:avLst/>
              <a:gdLst>
                <a:gd name="T0" fmla="*/ 4 w 7"/>
                <a:gd name="T1" fmla="*/ 12 h 12"/>
                <a:gd name="T2" fmla="*/ 3 w 7"/>
                <a:gd name="T3" fmla="*/ 12 h 12"/>
                <a:gd name="T4" fmla="*/ 0 w 7"/>
                <a:gd name="T5" fmla="*/ 10 h 12"/>
                <a:gd name="T6" fmla="*/ 0 w 7"/>
                <a:gd name="T7" fmla="*/ 3 h 12"/>
                <a:gd name="T8" fmla="*/ 3 w 7"/>
                <a:gd name="T9" fmla="*/ 0 h 12"/>
                <a:gd name="T10" fmla="*/ 4 w 7"/>
                <a:gd name="T11" fmla="*/ 0 h 12"/>
                <a:gd name="T12" fmla="*/ 7 w 7"/>
                <a:gd name="T13" fmla="*/ 3 h 12"/>
                <a:gd name="T14" fmla="*/ 7 w 7"/>
                <a:gd name="T15" fmla="*/ 10 h 12"/>
                <a:gd name="T16" fmla="*/ 4 w 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2">
                  <a:moveTo>
                    <a:pt x="4" y="12"/>
                  </a:moveTo>
                  <a:cubicBezTo>
                    <a:pt x="3" y="12"/>
                    <a:pt x="3" y="12"/>
                    <a:pt x="3" y="12"/>
                  </a:cubicBezTo>
                  <a:cubicBezTo>
                    <a:pt x="1" y="12"/>
                    <a:pt x="0" y="11"/>
                    <a:pt x="0" y="10"/>
                  </a:cubicBezTo>
                  <a:cubicBezTo>
                    <a:pt x="0" y="3"/>
                    <a:pt x="0" y="3"/>
                    <a:pt x="0" y="3"/>
                  </a:cubicBezTo>
                  <a:cubicBezTo>
                    <a:pt x="0" y="1"/>
                    <a:pt x="1" y="0"/>
                    <a:pt x="3" y="0"/>
                  </a:cubicBezTo>
                  <a:cubicBezTo>
                    <a:pt x="4" y="0"/>
                    <a:pt x="4" y="0"/>
                    <a:pt x="4" y="0"/>
                  </a:cubicBezTo>
                  <a:cubicBezTo>
                    <a:pt x="5" y="0"/>
                    <a:pt x="7" y="1"/>
                    <a:pt x="7" y="3"/>
                  </a:cubicBezTo>
                  <a:cubicBezTo>
                    <a:pt x="7" y="10"/>
                    <a:pt x="7" y="10"/>
                    <a:pt x="7" y="10"/>
                  </a:cubicBezTo>
                  <a:cubicBezTo>
                    <a:pt x="7" y="11"/>
                    <a:pt x="5" y="12"/>
                    <a:pt x="4" y="12"/>
                  </a:cubicBezTo>
                  <a:close/>
                </a:path>
              </a:pathLst>
            </a:custGeom>
            <a:solidFill>
              <a:srgbClr val="DB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18" name="Freeform 534">
              <a:extLst>
                <a:ext uri="{FF2B5EF4-FFF2-40B4-BE49-F238E27FC236}">
                  <a16:creationId xmlns:a16="http://schemas.microsoft.com/office/drawing/2014/main" id="{17449E19-C8C8-40C5-B716-079A29D8D994}"/>
                </a:ext>
              </a:extLst>
            </p:cNvPr>
            <p:cNvSpPr>
              <a:spLocks noEditPoints="1"/>
            </p:cNvSpPr>
            <p:nvPr/>
          </p:nvSpPr>
          <p:spPr bwMode="auto">
            <a:xfrm>
              <a:off x="9990018" y="3100289"/>
              <a:ext cx="32444" cy="59481"/>
            </a:xfrm>
            <a:custGeom>
              <a:avLst/>
              <a:gdLst>
                <a:gd name="T0" fmla="*/ 5 w 8"/>
                <a:gd name="T1" fmla="*/ 14 h 14"/>
                <a:gd name="T2" fmla="*/ 4 w 8"/>
                <a:gd name="T3" fmla="*/ 14 h 14"/>
                <a:gd name="T4" fmla="*/ 0 w 8"/>
                <a:gd name="T5" fmla="*/ 11 h 14"/>
                <a:gd name="T6" fmla="*/ 0 w 8"/>
                <a:gd name="T7" fmla="*/ 4 h 14"/>
                <a:gd name="T8" fmla="*/ 4 w 8"/>
                <a:gd name="T9" fmla="*/ 0 h 14"/>
                <a:gd name="T10" fmla="*/ 5 w 8"/>
                <a:gd name="T11" fmla="*/ 0 h 14"/>
                <a:gd name="T12" fmla="*/ 8 w 8"/>
                <a:gd name="T13" fmla="*/ 4 h 14"/>
                <a:gd name="T14" fmla="*/ 8 w 8"/>
                <a:gd name="T15" fmla="*/ 11 h 14"/>
                <a:gd name="T16" fmla="*/ 5 w 8"/>
                <a:gd name="T17" fmla="*/ 14 h 14"/>
                <a:gd name="T18" fmla="*/ 4 w 8"/>
                <a:gd name="T19" fmla="*/ 2 h 14"/>
                <a:gd name="T20" fmla="*/ 2 w 8"/>
                <a:gd name="T21" fmla="*/ 4 h 14"/>
                <a:gd name="T22" fmla="*/ 2 w 8"/>
                <a:gd name="T23" fmla="*/ 11 h 14"/>
                <a:gd name="T24" fmla="*/ 4 w 8"/>
                <a:gd name="T25" fmla="*/ 13 h 14"/>
                <a:gd name="T26" fmla="*/ 5 w 8"/>
                <a:gd name="T27" fmla="*/ 13 h 14"/>
                <a:gd name="T28" fmla="*/ 7 w 8"/>
                <a:gd name="T29" fmla="*/ 11 h 14"/>
                <a:gd name="T30" fmla="*/ 7 w 8"/>
                <a:gd name="T31" fmla="*/ 4 h 14"/>
                <a:gd name="T32" fmla="*/ 5 w 8"/>
                <a:gd name="T33" fmla="*/ 2 h 14"/>
                <a:gd name="T34" fmla="*/ 4 w 8"/>
                <a:gd name="T3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5" y="14"/>
                  </a:moveTo>
                  <a:cubicBezTo>
                    <a:pt x="4" y="14"/>
                    <a:pt x="4" y="14"/>
                    <a:pt x="4" y="14"/>
                  </a:cubicBezTo>
                  <a:cubicBezTo>
                    <a:pt x="2" y="14"/>
                    <a:pt x="0" y="13"/>
                    <a:pt x="0" y="11"/>
                  </a:cubicBezTo>
                  <a:cubicBezTo>
                    <a:pt x="0" y="4"/>
                    <a:pt x="0" y="4"/>
                    <a:pt x="0" y="4"/>
                  </a:cubicBezTo>
                  <a:cubicBezTo>
                    <a:pt x="0" y="2"/>
                    <a:pt x="2" y="0"/>
                    <a:pt x="4" y="0"/>
                  </a:cubicBezTo>
                  <a:cubicBezTo>
                    <a:pt x="5" y="0"/>
                    <a:pt x="5" y="0"/>
                    <a:pt x="5" y="0"/>
                  </a:cubicBezTo>
                  <a:cubicBezTo>
                    <a:pt x="7" y="0"/>
                    <a:pt x="8" y="2"/>
                    <a:pt x="8" y="4"/>
                  </a:cubicBezTo>
                  <a:cubicBezTo>
                    <a:pt x="8" y="11"/>
                    <a:pt x="8" y="11"/>
                    <a:pt x="8" y="11"/>
                  </a:cubicBezTo>
                  <a:cubicBezTo>
                    <a:pt x="8" y="13"/>
                    <a:pt x="7" y="14"/>
                    <a:pt x="5" y="14"/>
                  </a:cubicBezTo>
                  <a:close/>
                  <a:moveTo>
                    <a:pt x="4" y="2"/>
                  </a:moveTo>
                  <a:cubicBezTo>
                    <a:pt x="3" y="2"/>
                    <a:pt x="2" y="3"/>
                    <a:pt x="2" y="4"/>
                  </a:cubicBezTo>
                  <a:cubicBezTo>
                    <a:pt x="2" y="11"/>
                    <a:pt x="2" y="11"/>
                    <a:pt x="2" y="11"/>
                  </a:cubicBezTo>
                  <a:cubicBezTo>
                    <a:pt x="2" y="12"/>
                    <a:pt x="3" y="13"/>
                    <a:pt x="4" y="13"/>
                  </a:cubicBezTo>
                  <a:cubicBezTo>
                    <a:pt x="5" y="13"/>
                    <a:pt x="5" y="13"/>
                    <a:pt x="5" y="13"/>
                  </a:cubicBezTo>
                  <a:cubicBezTo>
                    <a:pt x="6" y="13"/>
                    <a:pt x="7" y="12"/>
                    <a:pt x="7" y="11"/>
                  </a:cubicBezTo>
                  <a:cubicBezTo>
                    <a:pt x="7" y="4"/>
                    <a:pt x="7" y="4"/>
                    <a:pt x="7" y="4"/>
                  </a:cubicBezTo>
                  <a:cubicBezTo>
                    <a:pt x="7" y="3"/>
                    <a:pt x="6" y="2"/>
                    <a:pt x="5" y="2"/>
                  </a:cubicBezTo>
                  <a:lnTo>
                    <a:pt x="4" y="2"/>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19" name="Freeform 535">
              <a:extLst>
                <a:ext uri="{FF2B5EF4-FFF2-40B4-BE49-F238E27FC236}">
                  <a16:creationId xmlns:a16="http://schemas.microsoft.com/office/drawing/2014/main" id="{161884F2-D868-4B76-AC06-4D0D64E55EAE}"/>
                </a:ext>
              </a:extLst>
            </p:cNvPr>
            <p:cNvSpPr>
              <a:spLocks/>
            </p:cNvSpPr>
            <p:nvPr/>
          </p:nvSpPr>
          <p:spPr bwMode="auto">
            <a:xfrm>
              <a:off x="9997228" y="3185005"/>
              <a:ext cx="21630" cy="34247"/>
            </a:xfrm>
            <a:custGeom>
              <a:avLst/>
              <a:gdLst>
                <a:gd name="T0" fmla="*/ 3 w 5"/>
                <a:gd name="T1" fmla="*/ 8 h 8"/>
                <a:gd name="T2" fmla="*/ 2 w 5"/>
                <a:gd name="T3" fmla="*/ 8 h 8"/>
                <a:gd name="T4" fmla="*/ 0 w 5"/>
                <a:gd name="T5" fmla="*/ 6 h 8"/>
                <a:gd name="T6" fmla="*/ 0 w 5"/>
                <a:gd name="T7" fmla="*/ 2 h 8"/>
                <a:gd name="T8" fmla="*/ 2 w 5"/>
                <a:gd name="T9" fmla="*/ 0 h 8"/>
                <a:gd name="T10" fmla="*/ 3 w 5"/>
                <a:gd name="T11" fmla="*/ 0 h 8"/>
                <a:gd name="T12" fmla="*/ 5 w 5"/>
                <a:gd name="T13" fmla="*/ 2 h 8"/>
                <a:gd name="T14" fmla="*/ 5 w 5"/>
                <a:gd name="T15" fmla="*/ 6 h 8"/>
                <a:gd name="T16" fmla="*/ 3 w 5"/>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3" y="8"/>
                  </a:moveTo>
                  <a:cubicBezTo>
                    <a:pt x="2" y="8"/>
                    <a:pt x="2" y="8"/>
                    <a:pt x="2" y="8"/>
                  </a:cubicBezTo>
                  <a:cubicBezTo>
                    <a:pt x="1" y="8"/>
                    <a:pt x="0" y="7"/>
                    <a:pt x="0" y="6"/>
                  </a:cubicBezTo>
                  <a:cubicBezTo>
                    <a:pt x="0" y="2"/>
                    <a:pt x="0" y="2"/>
                    <a:pt x="0" y="2"/>
                  </a:cubicBezTo>
                  <a:cubicBezTo>
                    <a:pt x="0" y="1"/>
                    <a:pt x="1" y="0"/>
                    <a:pt x="2" y="0"/>
                  </a:cubicBezTo>
                  <a:cubicBezTo>
                    <a:pt x="3" y="0"/>
                    <a:pt x="3" y="0"/>
                    <a:pt x="3" y="0"/>
                  </a:cubicBezTo>
                  <a:cubicBezTo>
                    <a:pt x="4" y="0"/>
                    <a:pt x="5" y="1"/>
                    <a:pt x="5" y="2"/>
                  </a:cubicBezTo>
                  <a:cubicBezTo>
                    <a:pt x="5" y="6"/>
                    <a:pt x="5" y="6"/>
                    <a:pt x="5" y="6"/>
                  </a:cubicBezTo>
                  <a:cubicBezTo>
                    <a:pt x="5" y="7"/>
                    <a:pt x="4" y="8"/>
                    <a:pt x="3" y="8"/>
                  </a:cubicBezTo>
                  <a:close/>
                </a:path>
              </a:pathLst>
            </a:custGeom>
            <a:solidFill>
              <a:srgbClr val="DB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20" name="Freeform 536">
              <a:extLst>
                <a:ext uri="{FF2B5EF4-FFF2-40B4-BE49-F238E27FC236}">
                  <a16:creationId xmlns:a16="http://schemas.microsoft.com/office/drawing/2014/main" id="{4CC5BBE5-21D4-44D2-9EB0-1ADF3359E0CF}"/>
                </a:ext>
              </a:extLst>
            </p:cNvPr>
            <p:cNvSpPr>
              <a:spLocks noEditPoints="1"/>
            </p:cNvSpPr>
            <p:nvPr/>
          </p:nvSpPr>
          <p:spPr bwMode="auto">
            <a:xfrm>
              <a:off x="9997228" y="3181400"/>
              <a:ext cx="21630" cy="41457"/>
            </a:xfrm>
            <a:custGeom>
              <a:avLst/>
              <a:gdLst>
                <a:gd name="T0" fmla="*/ 3 w 5"/>
                <a:gd name="T1" fmla="*/ 10 h 10"/>
                <a:gd name="T2" fmla="*/ 2 w 5"/>
                <a:gd name="T3" fmla="*/ 10 h 10"/>
                <a:gd name="T4" fmla="*/ 0 w 5"/>
                <a:gd name="T5" fmla="*/ 7 h 10"/>
                <a:gd name="T6" fmla="*/ 0 w 5"/>
                <a:gd name="T7" fmla="*/ 3 h 10"/>
                <a:gd name="T8" fmla="*/ 2 w 5"/>
                <a:gd name="T9" fmla="*/ 0 h 10"/>
                <a:gd name="T10" fmla="*/ 3 w 5"/>
                <a:gd name="T11" fmla="*/ 0 h 10"/>
                <a:gd name="T12" fmla="*/ 5 w 5"/>
                <a:gd name="T13" fmla="*/ 3 h 10"/>
                <a:gd name="T14" fmla="*/ 5 w 5"/>
                <a:gd name="T15" fmla="*/ 7 h 10"/>
                <a:gd name="T16" fmla="*/ 3 w 5"/>
                <a:gd name="T17" fmla="*/ 10 h 10"/>
                <a:gd name="T18" fmla="*/ 2 w 5"/>
                <a:gd name="T19" fmla="*/ 1 h 10"/>
                <a:gd name="T20" fmla="*/ 1 w 5"/>
                <a:gd name="T21" fmla="*/ 3 h 10"/>
                <a:gd name="T22" fmla="*/ 1 w 5"/>
                <a:gd name="T23" fmla="*/ 7 h 10"/>
                <a:gd name="T24" fmla="*/ 2 w 5"/>
                <a:gd name="T25" fmla="*/ 8 h 10"/>
                <a:gd name="T26" fmla="*/ 3 w 5"/>
                <a:gd name="T27" fmla="*/ 8 h 10"/>
                <a:gd name="T28" fmla="*/ 4 w 5"/>
                <a:gd name="T29" fmla="*/ 7 h 10"/>
                <a:gd name="T30" fmla="*/ 4 w 5"/>
                <a:gd name="T31" fmla="*/ 3 h 10"/>
                <a:gd name="T32" fmla="*/ 3 w 5"/>
                <a:gd name="T33" fmla="*/ 1 h 10"/>
                <a:gd name="T34" fmla="*/ 2 w 5"/>
                <a:gd name="T3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0">
                  <a:moveTo>
                    <a:pt x="3" y="10"/>
                  </a:moveTo>
                  <a:cubicBezTo>
                    <a:pt x="2" y="10"/>
                    <a:pt x="2" y="10"/>
                    <a:pt x="2" y="10"/>
                  </a:cubicBezTo>
                  <a:cubicBezTo>
                    <a:pt x="1" y="10"/>
                    <a:pt x="0" y="8"/>
                    <a:pt x="0" y="7"/>
                  </a:cubicBezTo>
                  <a:cubicBezTo>
                    <a:pt x="0" y="3"/>
                    <a:pt x="0" y="3"/>
                    <a:pt x="0" y="3"/>
                  </a:cubicBezTo>
                  <a:cubicBezTo>
                    <a:pt x="0" y="1"/>
                    <a:pt x="1" y="0"/>
                    <a:pt x="2" y="0"/>
                  </a:cubicBezTo>
                  <a:cubicBezTo>
                    <a:pt x="3" y="0"/>
                    <a:pt x="3" y="0"/>
                    <a:pt x="3" y="0"/>
                  </a:cubicBezTo>
                  <a:cubicBezTo>
                    <a:pt x="4" y="0"/>
                    <a:pt x="5" y="1"/>
                    <a:pt x="5" y="3"/>
                  </a:cubicBezTo>
                  <a:cubicBezTo>
                    <a:pt x="5" y="7"/>
                    <a:pt x="5" y="7"/>
                    <a:pt x="5" y="7"/>
                  </a:cubicBezTo>
                  <a:cubicBezTo>
                    <a:pt x="5" y="8"/>
                    <a:pt x="4" y="10"/>
                    <a:pt x="3" y="10"/>
                  </a:cubicBezTo>
                  <a:close/>
                  <a:moveTo>
                    <a:pt x="2" y="1"/>
                  </a:moveTo>
                  <a:cubicBezTo>
                    <a:pt x="1" y="1"/>
                    <a:pt x="1" y="2"/>
                    <a:pt x="1" y="3"/>
                  </a:cubicBezTo>
                  <a:cubicBezTo>
                    <a:pt x="1" y="7"/>
                    <a:pt x="1" y="7"/>
                    <a:pt x="1" y="7"/>
                  </a:cubicBezTo>
                  <a:cubicBezTo>
                    <a:pt x="1" y="8"/>
                    <a:pt x="1" y="8"/>
                    <a:pt x="2" y="8"/>
                  </a:cubicBezTo>
                  <a:cubicBezTo>
                    <a:pt x="3" y="8"/>
                    <a:pt x="3" y="8"/>
                    <a:pt x="3" y="8"/>
                  </a:cubicBezTo>
                  <a:cubicBezTo>
                    <a:pt x="3" y="8"/>
                    <a:pt x="4" y="8"/>
                    <a:pt x="4" y="7"/>
                  </a:cubicBezTo>
                  <a:cubicBezTo>
                    <a:pt x="4" y="3"/>
                    <a:pt x="4" y="3"/>
                    <a:pt x="4" y="3"/>
                  </a:cubicBezTo>
                  <a:cubicBezTo>
                    <a:pt x="4" y="2"/>
                    <a:pt x="3" y="1"/>
                    <a:pt x="3" y="1"/>
                  </a:cubicBezTo>
                  <a:lnTo>
                    <a:pt x="2"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21" name="Oval 537">
              <a:extLst>
                <a:ext uri="{FF2B5EF4-FFF2-40B4-BE49-F238E27FC236}">
                  <a16:creationId xmlns:a16="http://schemas.microsoft.com/office/drawing/2014/main" id="{18110C6A-FF14-486E-9B1C-3E91136522FF}"/>
                </a:ext>
              </a:extLst>
            </p:cNvPr>
            <p:cNvSpPr>
              <a:spLocks noChangeArrowheads="1"/>
            </p:cNvSpPr>
            <p:nvPr/>
          </p:nvSpPr>
          <p:spPr bwMode="auto">
            <a:xfrm>
              <a:off x="9997228" y="3210239"/>
              <a:ext cx="21630" cy="18025"/>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22" name="Freeform 538">
              <a:extLst>
                <a:ext uri="{FF2B5EF4-FFF2-40B4-BE49-F238E27FC236}">
                  <a16:creationId xmlns:a16="http://schemas.microsoft.com/office/drawing/2014/main" id="{FDB052BC-553D-4EC7-8E0F-706AC7FE6292}"/>
                </a:ext>
              </a:extLst>
            </p:cNvPr>
            <p:cNvSpPr>
              <a:spLocks noEditPoints="1"/>
            </p:cNvSpPr>
            <p:nvPr/>
          </p:nvSpPr>
          <p:spPr bwMode="auto">
            <a:xfrm>
              <a:off x="9993623" y="3206634"/>
              <a:ext cx="28839" cy="21630"/>
            </a:xfrm>
            <a:custGeom>
              <a:avLst/>
              <a:gdLst>
                <a:gd name="T0" fmla="*/ 3 w 7"/>
                <a:gd name="T1" fmla="*/ 5 h 5"/>
                <a:gd name="T2" fmla="*/ 0 w 7"/>
                <a:gd name="T3" fmla="*/ 3 h 5"/>
                <a:gd name="T4" fmla="*/ 3 w 7"/>
                <a:gd name="T5" fmla="*/ 0 h 5"/>
                <a:gd name="T6" fmla="*/ 7 w 7"/>
                <a:gd name="T7" fmla="*/ 3 h 5"/>
                <a:gd name="T8" fmla="*/ 3 w 7"/>
                <a:gd name="T9" fmla="*/ 5 h 5"/>
                <a:gd name="T10" fmla="*/ 3 w 7"/>
                <a:gd name="T11" fmla="*/ 1 h 5"/>
                <a:gd name="T12" fmla="*/ 1 w 7"/>
                <a:gd name="T13" fmla="*/ 3 h 5"/>
                <a:gd name="T14" fmla="*/ 3 w 7"/>
                <a:gd name="T15" fmla="*/ 4 h 5"/>
                <a:gd name="T16" fmla="*/ 6 w 7"/>
                <a:gd name="T17" fmla="*/ 3 h 5"/>
                <a:gd name="T18" fmla="*/ 3 w 7"/>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3" y="5"/>
                  </a:moveTo>
                  <a:cubicBezTo>
                    <a:pt x="1" y="5"/>
                    <a:pt x="0" y="4"/>
                    <a:pt x="0" y="3"/>
                  </a:cubicBezTo>
                  <a:cubicBezTo>
                    <a:pt x="0" y="1"/>
                    <a:pt x="1" y="0"/>
                    <a:pt x="3" y="0"/>
                  </a:cubicBezTo>
                  <a:cubicBezTo>
                    <a:pt x="5" y="0"/>
                    <a:pt x="7" y="1"/>
                    <a:pt x="7" y="3"/>
                  </a:cubicBezTo>
                  <a:cubicBezTo>
                    <a:pt x="7" y="4"/>
                    <a:pt x="5" y="5"/>
                    <a:pt x="3" y="5"/>
                  </a:cubicBezTo>
                  <a:close/>
                  <a:moveTo>
                    <a:pt x="3" y="1"/>
                  </a:moveTo>
                  <a:cubicBezTo>
                    <a:pt x="2" y="1"/>
                    <a:pt x="1" y="2"/>
                    <a:pt x="1" y="3"/>
                  </a:cubicBezTo>
                  <a:cubicBezTo>
                    <a:pt x="1" y="3"/>
                    <a:pt x="2" y="4"/>
                    <a:pt x="3" y="4"/>
                  </a:cubicBezTo>
                  <a:cubicBezTo>
                    <a:pt x="5" y="4"/>
                    <a:pt x="6" y="3"/>
                    <a:pt x="6" y="3"/>
                  </a:cubicBezTo>
                  <a:cubicBezTo>
                    <a:pt x="6" y="2"/>
                    <a:pt x="5" y="1"/>
                    <a:pt x="3" y="1"/>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23" name="Oval 539">
              <a:extLst>
                <a:ext uri="{FF2B5EF4-FFF2-40B4-BE49-F238E27FC236}">
                  <a16:creationId xmlns:a16="http://schemas.microsoft.com/office/drawing/2014/main" id="{93AA3A02-C835-415E-95FA-867EB68A7561}"/>
                </a:ext>
              </a:extLst>
            </p:cNvPr>
            <p:cNvSpPr>
              <a:spLocks noChangeArrowheads="1"/>
            </p:cNvSpPr>
            <p:nvPr/>
          </p:nvSpPr>
          <p:spPr bwMode="auto">
            <a:xfrm>
              <a:off x="9984611" y="3112906"/>
              <a:ext cx="46864" cy="34247"/>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24" name="Freeform 540">
              <a:extLst>
                <a:ext uri="{FF2B5EF4-FFF2-40B4-BE49-F238E27FC236}">
                  <a16:creationId xmlns:a16="http://schemas.microsoft.com/office/drawing/2014/main" id="{537C8E6F-0C33-49AC-A4D5-6EE1EEF011AF}"/>
                </a:ext>
              </a:extLst>
            </p:cNvPr>
            <p:cNvSpPr>
              <a:spLocks noEditPoints="1"/>
            </p:cNvSpPr>
            <p:nvPr/>
          </p:nvSpPr>
          <p:spPr bwMode="auto">
            <a:xfrm>
              <a:off x="9981006" y="3112906"/>
              <a:ext cx="50469" cy="37852"/>
            </a:xfrm>
            <a:custGeom>
              <a:avLst/>
              <a:gdLst>
                <a:gd name="T0" fmla="*/ 6 w 12"/>
                <a:gd name="T1" fmla="*/ 9 h 9"/>
                <a:gd name="T2" fmla="*/ 0 w 12"/>
                <a:gd name="T3" fmla="*/ 4 h 9"/>
                <a:gd name="T4" fmla="*/ 6 w 12"/>
                <a:gd name="T5" fmla="*/ 0 h 9"/>
                <a:gd name="T6" fmla="*/ 12 w 12"/>
                <a:gd name="T7" fmla="*/ 4 h 9"/>
                <a:gd name="T8" fmla="*/ 6 w 12"/>
                <a:gd name="T9" fmla="*/ 9 h 9"/>
                <a:gd name="T10" fmla="*/ 6 w 12"/>
                <a:gd name="T11" fmla="*/ 1 h 9"/>
                <a:gd name="T12" fmla="*/ 2 w 12"/>
                <a:gd name="T13" fmla="*/ 4 h 9"/>
                <a:gd name="T14" fmla="*/ 6 w 12"/>
                <a:gd name="T15" fmla="*/ 7 h 9"/>
                <a:gd name="T16" fmla="*/ 11 w 12"/>
                <a:gd name="T17" fmla="*/ 4 h 9"/>
                <a:gd name="T18" fmla="*/ 6 w 12"/>
                <a:gd name="T19"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9">
                  <a:moveTo>
                    <a:pt x="6" y="9"/>
                  </a:moveTo>
                  <a:cubicBezTo>
                    <a:pt x="3" y="9"/>
                    <a:pt x="0" y="7"/>
                    <a:pt x="0" y="4"/>
                  </a:cubicBezTo>
                  <a:cubicBezTo>
                    <a:pt x="0" y="2"/>
                    <a:pt x="3" y="0"/>
                    <a:pt x="6" y="0"/>
                  </a:cubicBezTo>
                  <a:cubicBezTo>
                    <a:pt x="10" y="0"/>
                    <a:pt x="12" y="2"/>
                    <a:pt x="12" y="4"/>
                  </a:cubicBezTo>
                  <a:cubicBezTo>
                    <a:pt x="12" y="7"/>
                    <a:pt x="10" y="9"/>
                    <a:pt x="6" y="9"/>
                  </a:cubicBezTo>
                  <a:close/>
                  <a:moveTo>
                    <a:pt x="6" y="1"/>
                  </a:moveTo>
                  <a:cubicBezTo>
                    <a:pt x="4" y="1"/>
                    <a:pt x="2" y="3"/>
                    <a:pt x="2" y="4"/>
                  </a:cubicBezTo>
                  <a:cubicBezTo>
                    <a:pt x="2" y="6"/>
                    <a:pt x="4" y="7"/>
                    <a:pt x="6" y="7"/>
                  </a:cubicBezTo>
                  <a:cubicBezTo>
                    <a:pt x="9" y="7"/>
                    <a:pt x="11" y="6"/>
                    <a:pt x="11" y="4"/>
                  </a:cubicBezTo>
                  <a:cubicBezTo>
                    <a:pt x="11" y="3"/>
                    <a:pt x="9" y="1"/>
                    <a:pt x="6" y="1"/>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25" name="Oval 2224">
              <a:extLst>
                <a:ext uri="{FF2B5EF4-FFF2-40B4-BE49-F238E27FC236}">
                  <a16:creationId xmlns:a16="http://schemas.microsoft.com/office/drawing/2014/main" id="{E4976D8D-7F33-44AD-A55F-42CFD1937062}"/>
                </a:ext>
              </a:extLst>
            </p:cNvPr>
            <p:cNvSpPr/>
            <p:nvPr/>
          </p:nvSpPr>
          <p:spPr bwMode="auto">
            <a:xfrm>
              <a:off x="9827309" y="3012003"/>
              <a:ext cx="91440" cy="91440"/>
            </a:xfrm>
            <a:prstGeom prst="ellipse">
              <a:avLst/>
            </a:prstGeom>
            <a:solidFill>
              <a:srgbClr val="6BC08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26" name="Rectangle 2225">
            <a:extLst>
              <a:ext uri="{FF2B5EF4-FFF2-40B4-BE49-F238E27FC236}">
                <a16:creationId xmlns:a16="http://schemas.microsoft.com/office/drawing/2014/main" id="{740FAB9E-A5FE-489F-9BDA-C0CB7C1E59D5}"/>
              </a:ext>
            </a:extLst>
          </p:cNvPr>
          <p:cNvSpPr/>
          <p:nvPr/>
        </p:nvSpPr>
        <p:spPr bwMode="auto">
          <a:xfrm>
            <a:off x="9541052" y="3655265"/>
            <a:ext cx="221826" cy="15597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27" name="Rectangle 2226">
            <a:extLst>
              <a:ext uri="{FF2B5EF4-FFF2-40B4-BE49-F238E27FC236}">
                <a16:creationId xmlns:a16="http://schemas.microsoft.com/office/drawing/2014/main" id="{808190D4-9665-4C1F-AE17-E7B462082BF4}"/>
              </a:ext>
            </a:extLst>
          </p:cNvPr>
          <p:cNvSpPr/>
          <p:nvPr/>
        </p:nvSpPr>
        <p:spPr bwMode="auto">
          <a:xfrm rot="5400000">
            <a:off x="10003765" y="3391847"/>
            <a:ext cx="221826" cy="15597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28" name="Rectangle 2227">
            <a:extLst>
              <a:ext uri="{FF2B5EF4-FFF2-40B4-BE49-F238E27FC236}">
                <a16:creationId xmlns:a16="http://schemas.microsoft.com/office/drawing/2014/main" id="{657912D4-CEBC-460E-B76C-0EEA8C9F5BC4}"/>
              </a:ext>
            </a:extLst>
          </p:cNvPr>
          <p:cNvSpPr/>
          <p:nvPr/>
        </p:nvSpPr>
        <p:spPr bwMode="auto">
          <a:xfrm>
            <a:off x="9356043" y="4311072"/>
            <a:ext cx="1364981" cy="127809"/>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cs typeface="Segoe UI" pitchFamily="34" charset="0"/>
            </a:endParaRPr>
          </a:p>
        </p:txBody>
      </p:sp>
      <p:sp>
        <p:nvSpPr>
          <p:cNvPr id="2229" name="Rectangle 2228">
            <a:extLst>
              <a:ext uri="{FF2B5EF4-FFF2-40B4-BE49-F238E27FC236}">
                <a16:creationId xmlns:a16="http://schemas.microsoft.com/office/drawing/2014/main" id="{7FDD693D-3236-4AA2-A51A-AE0249C2EF21}"/>
              </a:ext>
            </a:extLst>
          </p:cNvPr>
          <p:cNvSpPr/>
          <p:nvPr/>
        </p:nvSpPr>
        <p:spPr bwMode="auto">
          <a:xfrm>
            <a:off x="9358451" y="4756405"/>
            <a:ext cx="1357597" cy="127809"/>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cs typeface="Segoe UI" pitchFamily="34" charset="0"/>
            </a:endParaRPr>
          </a:p>
        </p:txBody>
      </p:sp>
      <p:grpSp>
        <p:nvGrpSpPr>
          <p:cNvPr id="2235" name="Group 2234">
            <a:extLst>
              <a:ext uri="{FF2B5EF4-FFF2-40B4-BE49-F238E27FC236}">
                <a16:creationId xmlns:a16="http://schemas.microsoft.com/office/drawing/2014/main" id="{C5AD8BFD-A4CB-4388-BDBD-791CAD9EC14F}"/>
              </a:ext>
            </a:extLst>
          </p:cNvPr>
          <p:cNvGrpSpPr/>
          <p:nvPr/>
        </p:nvGrpSpPr>
        <p:grpSpPr>
          <a:xfrm>
            <a:off x="9947629" y="4258534"/>
            <a:ext cx="154186" cy="243070"/>
            <a:chOff x="13782584" y="2067763"/>
            <a:chExt cx="153210" cy="241530"/>
          </a:xfrm>
        </p:grpSpPr>
        <p:sp>
          <p:nvSpPr>
            <p:cNvPr id="2237" name="Freeform 228">
              <a:extLst>
                <a:ext uri="{FF2B5EF4-FFF2-40B4-BE49-F238E27FC236}">
                  <a16:creationId xmlns:a16="http://schemas.microsoft.com/office/drawing/2014/main" id="{95655B4B-D3BF-4098-B154-FCB17D7CD63E}"/>
                </a:ext>
              </a:extLst>
            </p:cNvPr>
            <p:cNvSpPr>
              <a:spLocks/>
            </p:cNvSpPr>
            <p:nvPr/>
          </p:nvSpPr>
          <p:spPr bwMode="auto">
            <a:xfrm>
              <a:off x="13787991" y="2080380"/>
              <a:ext cx="147802" cy="216296"/>
            </a:xfrm>
            <a:custGeom>
              <a:avLst/>
              <a:gdLst>
                <a:gd name="T0" fmla="*/ 0 w 35"/>
                <a:gd name="T1" fmla="*/ 47 h 51"/>
                <a:gd name="T2" fmla="*/ 0 w 35"/>
                <a:gd name="T3" fmla="*/ 5 h 51"/>
                <a:gd name="T4" fmla="*/ 5 w 35"/>
                <a:gd name="T5" fmla="*/ 0 h 51"/>
                <a:gd name="T6" fmla="*/ 30 w 35"/>
                <a:gd name="T7" fmla="*/ 0 h 51"/>
                <a:gd name="T8" fmla="*/ 35 w 35"/>
                <a:gd name="T9" fmla="*/ 5 h 51"/>
                <a:gd name="T10" fmla="*/ 35 w 35"/>
                <a:gd name="T11" fmla="*/ 47 h 51"/>
                <a:gd name="T12" fmla="*/ 30 w 35"/>
                <a:gd name="T13" fmla="*/ 51 h 51"/>
                <a:gd name="T14" fmla="*/ 5 w 35"/>
                <a:gd name="T15" fmla="*/ 51 h 51"/>
                <a:gd name="T16" fmla="*/ 0 w 35"/>
                <a:gd name="T17" fmla="*/ 4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1">
                  <a:moveTo>
                    <a:pt x="0" y="47"/>
                  </a:moveTo>
                  <a:cubicBezTo>
                    <a:pt x="0" y="5"/>
                    <a:pt x="0" y="5"/>
                    <a:pt x="0" y="5"/>
                  </a:cubicBezTo>
                  <a:cubicBezTo>
                    <a:pt x="0" y="2"/>
                    <a:pt x="2" y="0"/>
                    <a:pt x="5" y="0"/>
                  </a:cubicBezTo>
                  <a:cubicBezTo>
                    <a:pt x="30" y="0"/>
                    <a:pt x="30" y="0"/>
                    <a:pt x="30" y="0"/>
                  </a:cubicBezTo>
                  <a:cubicBezTo>
                    <a:pt x="33" y="0"/>
                    <a:pt x="35" y="2"/>
                    <a:pt x="35" y="5"/>
                  </a:cubicBezTo>
                  <a:cubicBezTo>
                    <a:pt x="35" y="47"/>
                    <a:pt x="35" y="47"/>
                    <a:pt x="35" y="47"/>
                  </a:cubicBezTo>
                  <a:cubicBezTo>
                    <a:pt x="35" y="49"/>
                    <a:pt x="33" y="51"/>
                    <a:pt x="30" y="51"/>
                  </a:cubicBezTo>
                  <a:cubicBezTo>
                    <a:pt x="5" y="51"/>
                    <a:pt x="5" y="51"/>
                    <a:pt x="5" y="51"/>
                  </a:cubicBezTo>
                  <a:cubicBezTo>
                    <a:pt x="2" y="51"/>
                    <a:pt x="0" y="49"/>
                    <a:pt x="0" y="47"/>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38" name="Freeform 229">
              <a:extLst>
                <a:ext uri="{FF2B5EF4-FFF2-40B4-BE49-F238E27FC236}">
                  <a16:creationId xmlns:a16="http://schemas.microsoft.com/office/drawing/2014/main" id="{04575FF9-5EE9-431C-AFF1-5B9E9D984021}"/>
                </a:ext>
              </a:extLst>
            </p:cNvPr>
            <p:cNvSpPr>
              <a:spLocks noEditPoints="1"/>
            </p:cNvSpPr>
            <p:nvPr/>
          </p:nvSpPr>
          <p:spPr bwMode="auto">
            <a:xfrm>
              <a:off x="13782584" y="2074973"/>
              <a:ext cx="153210" cy="225308"/>
            </a:xfrm>
            <a:custGeom>
              <a:avLst/>
              <a:gdLst>
                <a:gd name="T0" fmla="*/ 31 w 36"/>
                <a:gd name="T1" fmla="*/ 53 h 53"/>
                <a:gd name="T2" fmla="*/ 6 w 36"/>
                <a:gd name="T3" fmla="*/ 53 h 53"/>
                <a:gd name="T4" fmla="*/ 0 w 36"/>
                <a:gd name="T5" fmla="*/ 48 h 53"/>
                <a:gd name="T6" fmla="*/ 0 w 36"/>
                <a:gd name="T7" fmla="*/ 6 h 53"/>
                <a:gd name="T8" fmla="*/ 6 w 36"/>
                <a:gd name="T9" fmla="*/ 0 h 53"/>
                <a:gd name="T10" fmla="*/ 31 w 36"/>
                <a:gd name="T11" fmla="*/ 0 h 53"/>
                <a:gd name="T12" fmla="*/ 36 w 36"/>
                <a:gd name="T13" fmla="*/ 6 h 53"/>
                <a:gd name="T14" fmla="*/ 36 w 36"/>
                <a:gd name="T15" fmla="*/ 48 h 53"/>
                <a:gd name="T16" fmla="*/ 31 w 36"/>
                <a:gd name="T17" fmla="*/ 53 h 53"/>
                <a:gd name="T18" fmla="*/ 6 w 36"/>
                <a:gd name="T19" fmla="*/ 2 h 53"/>
                <a:gd name="T20" fmla="*/ 2 w 36"/>
                <a:gd name="T21" fmla="*/ 6 h 53"/>
                <a:gd name="T22" fmla="*/ 2 w 36"/>
                <a:gd name="T23" fmla="*/ 48 h 53"/>
                <a:gd name="T24" fmla="*/ 6 w 36"/>
                <a:gd name="T25" fmla="*/ 52 h 53"/>
                <a:gd name="T26" fmla="*/ 31 w 36"/>
                <a:gd name="T27" fmla="*/ 52 h 53"/>
                <a:gd name="T28" fmla="*/ 35 w 36"/>
                <a:gd name="T29" fmla="*/ 48 h 53"/>
                <a:gd name="T30" fmla="*/ 35 w 36"/>
                <a:gd name="T31" fmla="*/ 6 h 53"/>
                <a:gd name="T32" fmla="*/ 31 w 36"/>
                <a:gd name="T33" fmla="*/ 2 h 53"/>
                <a:gd name="T34" fmla="*/ 6 w 36"/>
                <a:gd name="T35"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53">
                  <a:moveTo>
                    <a:pt x="31" y="53"/>
                  </a:moveTo>
                  <a:cubicBezTo>
                    <a:pt x="6" y="53"/>
                    <a:pt x="6" y="53"/>
                    <a:pt x="6" y="53"/>
                  </a:cubicBezTo>
                  <a:cubicBezTo>
                    <a:pt x="3" y="53"/>
                    <a:pt x="0" y="51"/>
                    <a:pt x="0" y="48"/>
                  </a:cubicBezTo>
                  <a:cubicBezTo>
                    <a:pt x="0" y="6"/>
                    <a:pt x="0" y="6"/>
                    <a:pt x="0" y="6"/>
                  </a:cubicBezTo>
                  <a:cubicBezTo>
                    <a:pt x="0" y="3"/>
                    <a:pt x="3" y="0"/>
                    <a:pt x="6" y="0"/>
                  </a:cubicBezTo>
                  <a:cubicBezTo>
                    <a:pt x="31" y="0"/>
                    <a:pt x="31" y="0"/>
                    <a:pt x="31" y="0"/>
                  </a:cubicBezTo>
                  <a:cubicBezTo>
                    <a:pt x="34" y="0"/>
                    <a:pt x="36" y="3"/>
                    <a:pt x="36" y="6"/>
                  </a:cubicBezTo>
                  <a:cubicBezTo>
                    <a:pt x="36" y="48"/>
                    <a:pt x="36" y="48"/>
                    <a:pt x="36" y="48"/>
                  </a:cubicBezTo>
                  <a:cubicBezTo>
                    <a:pt x="36" y="51"/>
                    <a:pt x="34" y="53"/>
                    <a:pt x="31" y="53"/>
                  </a:cubicBezTo>
                  <a:close/>
                  <a:moveTo>
                    <a:pt x="6" y="2"/>
                  </a:moveTo>
                  <a:cubicBezTo>
                    <a:pt x="4" y="2"/>
                    <a:pt x="2" y="3"/>
                    <a:pt x="2" y="6"/>
                  </a:cubicBezTo>
                  <a:cubicBezTo>
                    <a:pt x="2" y="48"/>
                    <a:pt x="2" y="48"/>
                    <a:pt x="2" y="48"/>
                  </a:cubicBezTo>
                  <a:cubicBezTo>
                    <a:pt x="2" y="50"/>
                    <a:pt x="4" y="52"/>
                    <a:pt x="6" y="52"/>
                  </a:cubicBezTo>
                  <a:cubicBezTo>
                    <a:pt x="31" y="52"/>
                    <a:pt x="31" y="52"/>
                    <a:pt x="31" y="52"/>
                  </a:cubicBezTo>
                  <a:cubicBezTo>
                    <a:pt x="33" y="52"/>
                    <a:pt x="35" y="50"/>
                    <a:pt x="35" y="48"/>
                  </a:cubicBezTo>
                  <a:cubicBezTo>
                    <a:pt x="35" y="6"/>
                    <a:pt x="35" y="6"/>
                    <a:pt x="35" y="6"/>
                  </a:cubicBezTo>
                  <a:cubicBezTo>
                    <a:pt x="35" y="3"/>
                    <a:pt x="33" y="2"/>
                    <a:pt x="31" y="2"/>
                  </a:cubicBezTo>
                  <a:lnTo>
                    <a:pt x="6" y="2"/>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39" name="Rectangle 230">
              <a:extLst>
                <a:ext uri="{FF2B5EF4-FFF2-40B4-BE49-F238E27FC236}">
                  <a16:creationId xmlns:a16="http://schemas.microsoft.com/office/drawing/2014/main" id="{E80D0A8C-0198-412E-BF6A-0650B91369E4}"/>
                </a:ext>
              </a:extLst>
            </p:cNvPr>
            <p:cNvSpPr>
              <a:spLocks noChangeArrowheads="1"/>
            </p:cNvSpPr>
            <p:nvPr/>
          </p:nvSpPr>
          <p:spPr bwMode="auto">
            <a:xfrm>
              <a:off x="13816831" y="2134454"/>
              <a:ext cx="90123" cy="102741"/>
            </a:xfrm>
            <a:prstGeom prst="rect">
              <a:avLst/>
            </a:prstGeom>
            <a:solidFill>
              <a:srgbClr val="6F6D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40" name="Freeform 231">
              <a:extLst>
                <a:ext uri="{FF2B5EF4-FFF2-40B4-BE49-F238E27FC236}">
                  <a16:creationId xmlns:a16="http://schemas.microsoft.com/office/drawing/2014/main" id="{223920DD-4370-4A2D-96E5-B3A60177BF80}"/>
                </a:ext>
              </a:extLst>
            </p:cNvPr>
            <p:cNvSpPr>
              <a:spLocks noEditPoints="1"/>
            </p:cNvSpPr>
            <p:nvPr/>
          </p:nvSpPr>
          <p:spPr bwMode="auto">
            <a:xfrm>
              <a:off x="13816831" y="2134454"/>
              <a:ext cx="90123" cy="102741"/>
            </a:xfrm>
            <a:custGeom>
              <a:avLst/>
              <a:gdLst>
                <a:gd name="T0" fmla="*/ 50 w 50"/>
                <a:gd name="T1" fmla="*/ 57 h 57"/>
                <a:gd name="T2" fmla="*/ 0 w 50"/>
                <a:gd name="T3" fmla="*/ 57 h 57"/>
                <a:gd name="T4" fmla="*/ 0 w 50"/>
                <a:gd name="T5" fmla="*/ 0 h 57"/>
                <a:gd name="T6" fmla="*/ 50 w 50"/>
                <a:gd name="T7" fmla="*/ 0 h 57"/>
                <a:gd name="T8" fmla="*/ 50 w 50"/>
                <a:gd name="T9" fmla="*/ 57 h 57"/>
                <a:gd name="T10" fmla="*/ 0 w 50"/>
                <a:gd name="T11" fmla="*/ 57 h 57"/>
                <a:gd name="T12" fmla="*/ 47 w 50"/>
                <a:gd name="T13" fmla="*/ 57 h 57"/>
                <a:gd name="T14" fmla="*/ 47 w 50"/>
                <a:gd name="T15" fmla="*/ 0 h 57"/>
                <a:gd name="T16" fmla="*/ 0 w 50"/>
                <a:gd name="T17" fmla="*/ 0 h 57"/>
                <a:gd name="T18" fmla="*/ 0 w 50"/>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7">
                  <a:moveTo>
                    <a:pt x="50" y="57"/>
                  </a:moveTo>
                  <a:lnTo>
                    <a:pt x="0" y="57"/>
                  </a:lnTo>
                  <a:lnTo>
                    <a:pt x="0" y="0"/>
                  </a:lnTo>
                  <a:lnTo>
                    <a:pt x="50" y="0"/>
                  </a:lnTo>
                  <a:lnTo>
                    <a:pt x="50" y="57"/>
                  </a:lnTo>
                  <a:close/>
                  <a:moveTo>
                    <a:pt x="0" y="57"/>
                  </a:moveTo>
                  <a:lnTo>
                    <a:pt x="47" y="57"/>
                  </a:lnTo>
                  <a:lnTo>
                    <a:pt x="47" y="0"/>
                  </a:lnTo>
                  <a:lnTo>
                    <a:pt x="0" y="0"/>
                  </a:lnTo>
                  <a:lnTo>
                    <a:pt x="0" y="57"/>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44" name="Freeform 232">
              <a:extLst>
                <a:ext uri="{FF2B5EF4-FFF2-40B4-BE49-F238E27FC236}">
                  <a16:creationId xmlns:a16="http://schemas.microsoft.com/office/drawing/2014/main" id="{B0862341-7B5B-4A6F-9ECA-0FDE2336398A}"/>
                </a:ext>
              </a:extLst>
            </p:cNvPr>
            <p:cNvSpPr>
              <a:spLocks/>
            </p:cNvSpPr>
            <p:nvPr/>
          </p:nvSpPr>
          <p:spPr bwMode="auto">
            <a:xfrm>
              <a:off x="13872707" y="2266034"/>
              <a:ext cx="12617" cy="30642"/>
            </a:xfrm>
            <a:custGeom>
              <a:avLst/>
              <a:gdLst>
                <a:gd name="T0" fmla="*/ 0 w 3"/>
                <a:gd name="T1" fmla="*/ 7 h 7"/>
                <a:gd name="T2" fmla="*/ 0 w 3"/>
                <a:gd name="T3" fmla="*/ 0 h 7"/>
                <a:gd name="T4" fmla="*/ 1 w 3"/>
                <a:gd name="T5" fmla="*/ 0 h 7"/>
                <a:gd name="T6" fmla="*/ 3 w 3"/>
                <a:gd name="T7" fmla="*/ 0 h 7"/>
                <a:gd name="T8" fmla="*/ 3 w 3"/>
                <a:gd name="T9" fmla="*/ 0 h 7"/>
                <a:gd name="T10" fmla="*/ 3 w 3"/>
                <a:gd name="T11" fmla="*/ 7 h 7"/>
                <a:gd name="T12" fmla="*/ 3 w 3"/>
                <a:gd name="T13" fmla="*/ 7 h 7"/>
                <a:gd name="T14" fmla="*/ 1 w 3"/>
                <a:gd name="T15" fmla="*/ 7 h 7"/>
                <a:gd name="T16" fmla="*/ 0 w 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0" y="7"/>
                  </a:moveTo>
                  <a:cubicBezTo>
                    <a:pt x="0" y="0"/>
                    <a:pt x="0" y="0"/>
                    <a:pt x="0" y="0"/>
                  </a:cubicBezTo>
                  <a:cubicBezTo>
                    <a:pt x="0" y="0"/>
                    <a:pt x="0" y="0"/>
                    <a:pt x="1" y="0"/>
                  </a:cubicBezTo>
                  <a:cubicBezTo>
                    <a:pt x="3" y="0"/>
                    <a:pt x="3" y="0"/>
                    <a:pt x="3" y="0"/>
                  </a:cubicBezTo>
                  <a:cubicBezTo>
                    <a:pt x="3" y="0"/>
                    <a:pt x="3" y="0"/>
                    <a:pt x="3" y="0"/>
                  </a:cubicBezTo>
                  <a:cubicBezTo>
                    <a:pt x="3" y="7"/>
                    <a:pt x="3" y="7"/>
                    <a:pt x="3" y="7"/>
                  </a:cubicBezTo>
                  <a:cubicBezTo>
                    <a:pt x="3" y="7"/>
                    <a:pt x="3" y="7"/>
                    <a:pt x="3" y="7"/>
                  </a:cubicBezTo>
                  <a:cubicBezTo>
                    <a:pt x="1" y="7"/>
                    <a:pt x="1" y="7"/>
                    <a:pt x="1" y="7"/>
                  </a:cubicBezTo>
                  <a:cubicBezTo>
                    <a:pt x="0" y="7"/>
                    <a:pt x="0" y="7"/>
                    <a:pt x="0" y="7"/>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45" name="Freeform 233">
              <a:extLst>
                <a:ext uri="{FF2B5EF4-FFF2-40B4-BE49-F238E27FC236}">
                  <a16:creationId xmlns:a16="http://schemas.microsoft.com/office/drawing/2014/main" id="{8A2B6D15-02F9-40C1-A040-AC3D65AF43F8}"/>
                </a:ext>
              </a:extLst>
            </p:cNvPr>
            <p:cNvSpPr>
              <a:spLocks noEditPoints="1"/>
            </p:cNvSpPr>
            <p:nvPr/>
          </p:nvSpPr>
          <p:spPr bwMode="auto">
            <a:xfrm>
              <a:off x="13872707" y="2262429"/>
              <a:ext cx="12617" cy="37852"/>
            </a:xfrm>
            <a:custGeom>
              <a:avLst/>
              <a:gdLst>
                <a:gd name="T0" fmla="*/ 3 w 3"/>
                <a:gd name="T1" fmla="*/ 9 h 9"/>
                <a:gd name="T2" fmla="*/ 1 w 3"/>
                <a:gd name="T3" fmla="*/ 9 h 9"/>
                <a:gd name="T4" fmla="*/ 0 w 3"/>
                <a:gd name="T5" fmla="*/ 8 h 9"/>
                <a:gd name="T6" fmla="*/ 0 w 3"/>
                <a:gd name="T7" fmla="*/ 1 h 9"/>
                <a:gd name="T8" fmla="*/ 1 w 3"/>
                <a:gd name="T9" fmla="*/ 0 h 9"/>
                <a:gd name="T10" fmla="*/ 3 w 3"/>
                <a:gd name="T11" fmla="*/ 0 h 9"/>
                <a:gd name="T12" fmla="*/ 3 w 3"/>
                <a:gd name="T13" fmla="*/ 1 h 9"/>
                <a:gd name="T14" fmla="*/ 3 w 3"/>
                <a:gd name="T15" fmla="*/ 8 h 9"/>
                <a:gd name="T16" fmla="*/ 3 w 3"/>
                <a:gd name="T17" fmla="*/ 9 h 9"/>
                <a:gd name="T18" fmla="*/ 1 w 3"/>
                <a:gd name="T19" fmla="*/ 8 h 9"/>
                <a:gd name="T20" fmla="*/ 3 w 3"/>
                <a:gd name="T21" fmla="*/ 8 h 9"/>
                <a:gd name="T22" fmla="*/ 2 w 3"/>
                <a:gd name="T23" fmla="*/ 1 h 9"/>
                <a:gd name="T24" fmla="*/ 1 w 3"/>
                <a:gd name="T25" fmla="*/ 1 h 9"/>
                <a:gd name="T26" fmla="*/ 1 w 3"/>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3" y="9"/>
                  </a:moveTo>
                  <a:cubicBezTo>
                    <a:pt x="1" y="9"/>
                    <a:pt x="1" y="9"/>
                    <a:pt x="1" y="9"/>
                  </a:cubicBezTo>
                  <a:cubicBezTo>
                    <a:pt x="0" y="9"/>
                    <a:pt x="0" y="8"/>
                    <a:pt x="0" y="8"/>
                  </a:cubicBezTo>
                  <a:cubicBezTo>
                    <a:pt x="0" y="1"/>
                    <a:pt x="0" y="1"/>
                    <a:pt x="0" y="1"/>
                  </a:cubicBezTo>
                  <a:cubicBezTo>
                    <a:pt x="0" y="1"/>
                    <a:pt x="0" y="0"/>
                    <a:pt x="1" y="0"/>
                  </a:cubicBezTo>
                  <a:cubicBezTo>
                    <a:pt x="3" y="0"/>
                    <a:pt x="3" y="0"/>
                    <a:pt x="3" y="0"/>
                  </a:cubicBezTo>
                  <a:cubicBezTo>
                    <a:pt x="3" y="0"/>
                    <a:pt x="3" y="1"/>
                    <a:pt x="3" y="1"/>
                  </a:cubicBezTo>
                  <a:cubicBezTo>
                    <a:pt x="3" y="8"/>
                    <a:pt x="3" y="8"/>
                    <a:pt x="3" y="8"/>
                  </a:cubicBezTo>
                  <a:cubicBezTo>
                    <a:pt x="3" y="8"/>
                    <a:pt x="3" y="9"/>
                    <a:pt x="3" y="9"/>
                  </a:cubicBezTo>
                  <a:close/>
                  <a:moveTo>
                    <a:pt x="1" y="8"/>
                  </a:moveTo>
                  <a:cubicBezTo>
                    <a:pt x="3" y="8"/>
                    <a:pt x="3" y="8"/>
                    <a:pt x="3" y="8"/>
                  </a:cubicBezTo>
                  <a:cubicBezTo>
                    <a:pt x="2" y="1"/>
                    <a:pt x="2" y="1"/>
                    <a:pt x="2" y="1"/>
                  </a:cubicBezTo>
                  <a:cubicBezTo>
                    <a:pt x="1" y="1"/>
                    <a:pt x="1" y="1"/>
                    <a:pt x="1" y="1"/>
                  </a:cubicBezTo>
                  <a:lnTo>
                    <a:pt x="1" y="8"/>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46" name="Freeform 234">
              <a:extLst>
                <a:ext uri="{FF2B5EF4-FFF2-40B4-BE49-F238E27FC236}">
                  <a16:creationId xmlns:a16="http://schemas.microsoft.com/office/drawing/2014/main" id="{236BA865-EEE8-41D4-99A0-CC19E235924C}"/>
                </a:ext>
              </a:extLst>
            </p:cNvPr>
            <p:cNvSpPr>
              <a:spLocks/>
            </p:cNvSpPr>
            <p:nvPr/>
          </p:nvSpPr>
          <p:spPr bwMode="auto">
            <a:xfrm>
              <a:off x="13829448" y="2296676"/>
              <a:ext cx="68494" cy="12617"/>
            </a:xfrm>
            <a:custGeom>
              <a:avLst/>
              <a:gdLst>
                <a:gd name="T0" fmla="*/ 0 w 16"/>
                <a:gd name="T1" fmla="*/ 0 h 3"/>
                <a:gd name="T2" fmla="*/ 15 w 16"/>
                <a:gd name="T3" fmla="*/ 0 h 3"/>
                <a:gd name="T4" fmla="*/ 16 w 16"/>
                <a:gd name="T5" fmla="*/ 1 h 3"/>
                <a:gd name="T6" fmla="*/ 16 w 16"/>
                <a:gd name="T7" fmla="*/ 3 h 3"/>
                <a:gd name="T8" fmla="*/ 15 w 16"/>
                <a:gd name="T9" fmla="*/ 3 h 3"/>
                <a:gd name="T10" fmla="*/ 0 w 16"/>
                <a:gd name="T11" fmla="*/ 3 h 3"/>
                <a:gd name="T12" fmla="*/ 0 w 16"/>
                <a:gd name="T13" fmla="*/ 3 h 3"/>
                <a:gd name="T14" fmla="*/ 0 w 16"/>
                <a:gd name="T15" fmla="*/ 1 h 3"/>
                <a:gd name="T16" fmla="*/ 0 w 16"/>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
                  <a:moveTo>
                    <a:pt x="0" y="0"/>
                  </a:moveTo>
                  <a:cubicBezTo>
                    <a:pt x="15" y="0"/>
                    <a:pt x="15" y="0"/>
                    <a:pt x="15" y="0"/>
                  </a:cubicBezTo>
                  <a:cubicBezTo>
                    <a:pt x="16" y="0"/>
                    <a:pt x="16" y="1"/>
                    <a:pt x="16" y="1"/>
                  </a:cubicBezTo>
                  <a:cubicBezTo>
                    <a:pt x="16" y="3"/>
                    <a:pt x="16" y="3"/>
                    <a:pt x="16" y="3"/>
                  </a:cubicBezTo>
                  <a:cubicBezTo>
                    <a:pt x="16" y="3"/>
                    <a:pt x="16" y="3"/>
                    <a:pt x="15" y="3"/>
                  </a:cubicBezTo>
                  <a:cubicBezTo>
                    <a:pt x="0" y="3"/>
                    <a:pt x="0" y="3"/>
                    <a:pt x="0" y="3"/>
                  </a:cubicBezTo>
                  <a:cubicBezTo>
                    <a:pt x="0" y="3"/>
                    <a:pt x="0" y="3"/>
                    <a:pt x="0" y="3"/>
                  </a:cubicBezTo>
                  <a:cubicBezTo>
                    <a:pt x="0" y="1"/>
                    <a:pt x="0" y="1"/>
                    <a:pt x="0" y="1"/>
                  </a:cubicBezTo>
                  <a:cubicBezTo>
                    <a:pt x="0" y="1"/>
                    <a:pt x="0" y="0"/>
                    <a:pt x="0" y="0"/>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47" name="Freeform 235">
              <a:extLst>
                <a:ext uri="{FF2B5EF4-FFF2-40B4-BE49-F238E27FC236}">
                  <a16:creationId xmlns:a16="http://schemas.microsoft.com/office/drawing/2014/main" id="{59ED680E-1A7B-4F5B-A25F-813BC198CA79}"/>
                </a:ext>
              </a:extLst>
            </p:cNvPr>
            <p:cNvSpPr>
              <a:spLocks noEditPoints="1"/>
            </p:cNvSpPr>
            <p:nvPr/>
          </p:nvSpPr>
          <p:spPr bwMode="auto">
            <a:xfrm>
              <a:off x="13825843" y="2296676"/>
              <a:ext cx="72099" cy="12617"/>
            </a:xfrm>
            <a:custGeom>
              <a:avLst/>
              <a:gdLst>
                <a:gd name="T0" fmla="*/ 16 w 17"/>
                <a:gd name="T1" fmla="*/ 3 h 3"/>
                <a:gd name="T2" fmla="*/ 1 w 17"/>
                <a:gd name="T3" fmla="*/ 3 h 3"/>
                <a:gd name="T4" fmla="*/ 0 w 17"/>
                <a:gd name="T5" fmla="*/ 3 h 3"/>
                <a:gd name="T6" fmla="*/ 0 w 17"/>
                <a:gd name="T7" fmla="*/ 1 h 3"/>
                <a:gd name="T8" fmla="*/ 1 w 17"/>
                <a:gd name="T9" fmla="*/ 0 h 3"/>
                <a:gd name="T10" fmla="*/ 16 w 17"/>
                <a:gd name="T11" fmla="*/ 0 h 3"/>
                <a:gd name="T12" fmla="*/ 17 w 17"/>
                <a:gd name="T13" fmla="*/ 1 h 3"/>
                <a:gd name="T14" fmla="*/ 17 w 17"/>
                <a:gd name="T15" fmla="*/ 3 h 3"/>
                <a:gd name="T16" fmla="*/ 16 w 17"/>
                <a:gd name="T17" fmla="*/ 3 h 3"/>
                <a:gd name="T18" fmla="*/ 1 w 17"/>
                <a:gd name="T19" fmla="*/ 1 h 3"/>
                <a:gd name="T20" fmla="*/ 1 w 17"/>
                <a:gd name="T21" fmla="*/ 3 h 3"/>
                <a:gd name="T22" fmla="*/ 16 w 17"/>
                <a:gd name="T23" fmla="*/ 3 h 3"/>
                <a:gd name="T24" fmla="*/ 16 w 17"/>
                <a:gd name="T25" fmla="*/ 1 h 3"/>
                <a:gd name="T26" fmla="*/ 1 w 17"/>
                <a:gd name="T2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
                  <a:moveTo>
                    <a:pt x="16" y="3"/>
                  </a:moveTo>
                  <a:cubicBezTo>
                    <a:pt x="1" y="3"/>
                    <a:pt x="1" y="3"/>
                    <a:pt x="1" y="3"/>
                  </a:cubicBezTo>
                  <a:cubicBezTo>
                    <a:pt x="1" y="3"/>
                    <a:pt x="0" y="3"/>
                    <a:pt x="0" y="3"/>
                  </a:cubicBezTo>
                  <a:cubicBezTo>
                    <a:pt x="0" y="1"/>
                    <a:pt x="0" y="1"/>
                    <a:pt x="0" y="1"/>
                  </a:cubicBezTo>
                  <a:cubicBezTo>
                    <a:pt x="0" y="0"/>
                    <a:pt x="1" y="0"/>
                    <a:pt x="1" y="0"/>
                  </a:cubicBezTo>
                  <a:cubicBezTo>
                    <a:pt x="16" y="0"/>
                    <a:pt x="16" y="0"/>
                    <a:pt x="16" y="0"/>
                  </a:cubicBezTo>
                  <a:cubicBezTo>
                    <a:pt x="17" y="0"/>
                    <a:pt x="17" y="0"/>
                    <a:pt x="17" y="1"/>
                  </a:cubicBezTo>
                  <a:cubicBezTo>
                    <a:pt x="17" y="3"/>
                    <a:pt x="17" y="3"/>
                    <a:pt x="17" y="3"/>
                  </a:cubicBezTo>
                  <a:cubicBezTo>
                    <a:pt x="17" y="3"/>
                    <a:pt x="17" y="3"/>
                    <a:pt x="16" y="3"/>
                  </a:cubicBezTo>
                  <a:close/>
                  <a:moveTo>
                    <a:pt x="1" y="1"/>
                  </a:moveTo>
                  <a:cubicBezTo>
                    <a:pt x="1" y="3"/>
                    <a:pt x="1" y="3"/>
                    <a:pt x="1" y="3"/>
                  </a:cubicBezTo>
                  <a:cubicBezTo>
                    <a:pt x="16" y="3"/>
                    <a:pt x="16" y="3"/>
                    <a:pt x="16" y="3"/>
                  </a:cubicBezTo>
                  <a:cubicBezTo>
                    <a:pt x="16" y="1"/>
                    <a:pt x="16" y="1"/>
                    <a:pt x="16" y="1"/>
                  </a:cubicBezTo>
                  <a:lnTo>
                    <a:pt x="1"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48" name="Freeform 236">
              <a:extLst>
                <a:ext uri="{FF2B5EF4-FFF2-40B4-BE49-F238E27FC236}">
                  <a16:creationId xmlns:a16="http://schemas.microsoft.com/office/drawing/2014/main" id="{ADD606A3-CC9A-40A6-93FB-625C9C767C12}"/>
                </a:ext>
              </a:extLst>
            </p:cNvPr>
            <p:cNvSpPr>
              <a:spLocks/>
            </p:cNvSpPr>
            <p:nvPr/>
          </p:nvSpPr>
          <p:spPr bwMode="auto">
            <a:xfrm>
              <a:off x="13863695" y="2266034"/>
              <a:ext cx="9012" cy="30642"/>
            </a:xfrm>
            <a:custGeom>
              <a:avLst/>
              <a:gdLst>
                <a:gd name="T0" fmla="*/ 0 w 2"/>
                <a:gd name="T1" fmla="*/ 7 h 7"/>
                <a:gd name="T2" fmla="*/ 0 w 2"/>
                <a:gd name="T3" fmla="*/ 0 h 7"/>
                <a:gd name="T4" fmla="*/ 0 w 2"/>
                <a:gd name="T5" fmla="*/ 0 h 7"/>
                <a:gd name="T6" fmla="*/ 2 w 2"/>
                <a:gd name="T7" fmla="*/ 0 h 7"/>
                <a:gd name="T8" fmla="*/ 2 w 2"/>
                <a:gd name="T9" fmla="*/ 0 h 7"/>
                <a:gd name="T10" fmla="*/ 2 w 2"/>
                <a:gd name="T11" fmla="*/ 7 h 7"/>
                <a:gd name="T12" fmla="*/ 2 w 2"/>
                <a:gd name="T13" fmla="*/ 7 h 7"/>
                <a:gd name="T14" fmla="*/ 0 w 2"/>
                <a:gd name="T15" fmla="*/ 7 h 7"/>
                <a:gd name="T16" fmla="*/ 0 w 2"/>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7">
                  <a:moveTo>
                    <a:pt x="0" y="7"/>
                  </a:moveTo>
                  <a:cubicBezTo>
                    <a:pt x="0" y="0"/>
                    <a:pt x="0" y="0"/>
                    <a:pt x="0" y="0"/>
                  </a:cubicBezTo>
                  <a:cubicBezTo>
                    <a:pt x="0" y="0"/>
                    <a:pt x="0" y="0"/>
                    <a:pt x="0" y="0"/>
                  </a:cubicBezTo>
                  <a:cubicBezTo>
                    <a:pt x="2" y="0"/>
                    <a:pt x="2" y="0"/>
                    <a:pt x="2" y="0"/>
                  </a:cubicBezTo>
                  <a:cubicBezTo>
                    <a:pt x="2" y="0"/>
                    <a:pt x="2" y="0"/>
                    <a:pt x="2" y="0"/>
                  </a:cubicBezTo>
                  <a:cubicBezTo>
                    <a:pt x="2" y="7"/>
                    <a:pt x="2" y="7"/>
                    <a:pt x="2" y="7"/>
                  </a:cubicBezTo>
                  <a:cubicBezTo>
                    <a:pt x="2" y="7"/>
                    <a:pt x="2" y="7"/>
                    <a:pt x="2" y="7"/>
                  </a:cubicBezTo>
                  <a:cubicBezTo>
                    <a:pt x="0" y="7"/>
                    <a:pt x="0" y="7"/>
                    <a:pt x="0" y="7"/>
                  </a:cubicBezTo>
                  <a:cubicBezTo>
                    <a:pt x="0" y="7"/>
                    <a:pt x="0" y="7"/>
                    <a:pt x="0" y="7"/>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49" name="Freeform 237">
              <a:extLst>
                <a:ext uri="{FF2B5EF4-FFF2-40B4-BE49-F238E27FC236}">
                  <a16:creationId xmlns:a16="http://schemas.microsoft.com/office/drawing/2014/main" id="{0F7928AB-D660-44DF-8732-E976D840FCEB}"/>
                </a:ext>
              </a:extLst>
            </p:cNvPr>
            <p:cNvSpPr>
              <a:spLocks noEditPoints="1"/>
            </p:cNvSpPr>
            <p:nvPr/>
          </p:nvSpPr>
          <p:spPr bwMode="auto">
            <a:xfrm>
              <a:off x="13860090" y="2262429"/>
              <a:ext cx="16222" cy="37852"/>
            </a:xfrm>
            <a:custGeom>
              <a:avLst/>
              <a:gdLst>
                <a:gd name="T0" fmla="*/ 3 w 4"/>
                <a:gd name="T1" fmla="*/ 9 h 9"/>
                <a:gd name="T2" fmla="*/ 1 w 4"/>
                <a:gd name="T3" fmla="*/ 9 h 9"/>
                <a:gd name="T4" fmla="*/ 0 w 4"/>
                <a:gd name="T5" fmla="*/ 8 h 9"/>
                <a:gd name="T6" fmla="*/ 0 w 4"/>
                <a:gd name="T7" fmla="*/ 1 h 9"/>
                <a:gd name="T8" fmla="*/ 1 w 4"/>
                <a:gd name="T9" fmla="*/ 0 h 9"/>
                <a:gd name="T10" fmla="*/ 3 w 4"/>
                <a:gd name="T11" fmla="*/ 0 h 9"/>
                <a:gd name="T12" fmla="*/ 4 w 4"/>
                <a:gd name="T13" fmla="*/ 1 h 9"/>
                <a:gd name="T14" fmla="*/ 4 w 4"/>
                <a:gd name="T15" fmla="*/ 8 h 9"/>
                <a:gd name="T16" fmla="*/ 3 w 4"/>
                <a:gd name="T17" fmla="*/ 9 h 9"/>
                <a:gd name="T18" fmla="*/ 1 w 4"/>
                <a:gd name="T19" fmla="*/ 8 h 9"/>
                <a:gd name="T20" fmla="*/ 3 w 4"/>
                <a:gd name="T21" fmla="*/ 8 h 9"/>
                <a:gd name="T22" fmla="*/ 3 w 4"/>
                <a:gd name="T23" fmla="*/ 1 h 9"/>
                <a:gd name="T24" fmla="*/ 1 w 4"/>
                <a:gd name="T25" fmla="*/ 1 h 9"/>
                <a:gd name="T26" fmla="*/ 1 w 4"/>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3" y="9"/>
                  </a:moveTo>
                  <a:cubicBezTo>
                    <a:pt x="1" y="9"/>
                    <a:pt x="1" y="9"/>
                    <a:pt x="1" y="9"/>
                  </a:cubicBezTo>
                  <a:cubicBezTo>
                    <a:pt x="1" y="9"/>
                    <a:pt x="0" y="8"/>
                    <a:pt x="0" y="8"/>
                  </a:cubicBezTo>
                  <a:cubicBezTo>
                    <a:pt x="0" y="1"/>
                    <a:pt x="0" y="1"/>
                    <a:pt x="0" y="1"/>
                  </a:cubicBezTo>
                  <a:cubicBezTo>
                    <a:pt x="0" y="1"/>
                    <a:pt x="1" y="0"/>
                    <a:pt x="1" y="0"/>
                  </a:cubicBezTo>
                  <a:cubicBezTo>
                    <a:pt x="3" y="0"/>
                    <a:pt x="3" y="0"/>
                    <a:pt x="3" y="0"/>
                  </a:cubicBezTo>
                  <a:cubicBezTo>
                    <a:pt x="3" y="0"/>
                    <a:pt x="4" y="1"/>
                    <a:pt x="4" y="1"/>
                  </a:cubicBezTo>
                  <a:cubicBezTo>
                    <a:pt x="4" y="8"/>
                    <a:pt x="4" y="8"/>
                    <a:pt x="4" y="8"/>
                  </a:cubicBezTo>
                  <a:cubicBezTo>
                    <a:pt x="4" y="8"/>
                    <a:pt x="3" y="9"/>
                    <a:pt x="3" y="9"/>
                  </a:cubicBezTo>
                  <a:close/>
                  <a:moveTo>
                    <a:pt x="1" y="8"/>
                  </a:moveTo>
                  <a:cubicBezTo>
                    <a:pt x="3" y="8"/>
                    <a:pt x="3" y="8"/>
                    <a:pt x="3" y="8"/>
                  </a:cubicBezTo>
                  <a:cubicBezTo>
                    <a:pt x="3" y="1"/>
                    <a:pt x="3" y="1"/>
                    <a:pt x="3" y="1"/>
                  </a:cubicBezTo>
                  <a:cubicBezTo>
                    <a:pt x="1" y="1"/>
                    <a:pt x="1" y="1"/>
                    <a:pt x="1" y="1"/>
                  </a:cubicBezTo>
                  <a:lnTo>
                    <a:pt x="1" y="8"/>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50" name="Freeform 238">
              <a:extLst>
                <a:ext uri="{FF2B5EF4-FFF2-40B4-BE49-F238E27FC236}">
                  <a16:creationId xmlns:a16="http://schemas.microsoft.com/office/drawing/2014/main" id="{7AB702A6-76A2-458A-9918-8AF23C52A0D0}"/>
                </a:ext>
              </a:extLst>
            </p:cNvPr>
            <p:cNvSpPr>
              <a:spLocks/>
            </p:cNvSpPr>
            <p:nvPr/>
          </p:nvSpPr>
          <p:spPr bwMode="auto">
            <a:xfrm>
              <a:off x="13851078" y="2266034"/>
              <a:ext cx="12617" cy="30642"/>
            </a:xfrm>
            <a:custGeom>
              <a:avLst/>
              <a:gdLst>
                <a:gd name="T0" fmla="*/ 0 w 3"/>
                <a:gd name="T1" fmla="*/ 7 h 7"/>
                <a:gd name="T2" fmla="*/ 0 w 3"/>
                <a:gd name="T3" fmla="*/ 0 h 7"/>
                <a:gd name="T4" fmla="*/ 0 w 3"/>
                <a:gd name="T5" fmla="*/ 0 h 7"/>
                <a:gd name="T6" fmla="*/ 2 w 3"/>
                <a:gd name="T7" fmla="*/ 0 h 7"/>
                <a:gd name="T8" fmla="*/ 3 w 3"/>
                <a:gd name="T9" fmla="*/ 0 h 7"/>
                <a:gd name="T10" fmla="*/ 3 w 3"/>
                <a:gd name="T11" fmla="*/ 7 h 7"/>
                <a:gd name="T12" fmla="*/ 2 w 3"/>
                <a:gd name="T13" fmla="*/ 7 h 7"/>
                <a:gd name="T14" fmla="*/ 0 w 3"/>
                <a:gd name="T15" fmla="*/ 7 h 7"/>
                <a:gd name="T16" fmla="*/ 0 w 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0" y="7"/>
                  </a:moveTo>
                  <a:cubicBezTo>
                    <a:pt x="0" y="0"/>
                    <a:pt x="0" y="0"/>
                    <a:pt x="0" y="0"/>
                  </a:cubicBezTo>
                  <a:cubicBezTo>
                    <a:pt x="0" y="0"/>
                    <a:pt x="0" y="0"/>
                    <a:pt x="0" y="0"/>
                  </a:cubicBezTo>
                  <a:cubicBezTo>
                    <a:pt x="2" y="0"/>
                    <a:pt x="2" y="0"/>
                    <a:pt x="2" y="0"/>
                  </a:cubicBezTo>
                  <a:cubicBezTo>
                    <a:pt x="2" y="0"/>
                    <a:pt x="3" y="0"/>
                    <a:pt x="3" y="0"/>
                  </a:cubicBezTo>
                  <a:cubicBezTo>
                    <a:pt x="3" y="7"/>
                    <a:pt x="3" y="7"/>
                    <a:pt x="3" y="7"/>
                  </a:cubicBezTo>
                  <a:cubicBezTo>
                    <a:pt x="3" y="7"/>
                    <a:pt x="2" y="7"/>
                    <a:pt x="2" y="7"/>
                  </a:cubicBezTo>
                  <a:cubicBezTo>
                    <a:pt x="0" y="7"/>
                    <a:pt x="0" y="7"/>
                    <a:pt x="0" y="7"/>
                  </a:cubicBezTo>
                  <a:cubicBezTo>
                    <a:pt x="0" y="7"/>
                    <a:pt x="0" y="7"/>
                    <a:pt x="0" y="7"/>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51" name="Freeform 239">
              <a:extLst>
                <a:ext uri="{FF2B5EF4-FFF2-40B4-BE49-F238E27FC236}">
                  <a16:creationId xmlns:a16="http://schemas.microsoft.com/office/drawing/2014/main" id="{B00DE90A-F898-4C05-81C0-DDD6B5D34152}"/>
                </a:ext>
              </a:extLst>
            </p:cNvPr>
            <p:cNvSpPr>
              <a:spLocks noEditPoints="1"/>
            </p:cNvSpPr>
            <p:nvPr/>
          </p:nvSpPr>
          <p:spPr bwMode="auto">
            <a:xfrm>
              <a:off x="13851078" y="2262429"/>
              <a:ext cx="12617" cy="37852"/>
            </a:xfrm>
            <a:custGeom>
              <a:avLst/>
              <a:gdLst>
                <a:gd name="T0" fmla="*/ 2 w 3"/>
                <a:gd name="T1" fmla="*/ 9 h 9"/>
                <a:gd name="T2" fmla="*/ 0 w 3"/>
                <a:gd name="T3" fmla="*/ 9 h 9"/>
                <a:gd name="T4" fmla="*/ 0 w 3"/>
                <a:gd name="T5" fmla="*/ 8 h 9"/>
                <a:gd name="T6" fmla="*/ 0 w 3"/>
                <a:gd name="T7" fmla="*/ 1 h 9"/>
                <a:gd name="T8" fmla="*/ 0 w 3"/>
                <a:gd name="T9" fmla="*/ 0 h 9"/>
                <a:gd name="T10" fmla="*/ 2 w 3"/>
                <a:gd name="T11" fmla="*/ 0 h 9"/>
                <a:gd name="T12" fmla="*/ 3 w 3"/>
                <a:gd name="T13" fmla="*/ 1 h 9"/>
                <a:gd name="T14" fmla="*/ 3 w 3"/>
                <a:gd name="T15" fmla="*/ 8 h 9"/>
                <a:gd name="T16" fmla="*/ 2 w 3"/>
                <a:gd name="T17" fmla="*/ 9 h 9"/>
                <a:gd name="T18" fmla="*/ 0 w 3"/>
                <a:gd name="T19" fmla="*/ 8 h 9"/>
                <a:gd name="T20" fmla="*/ 2 w 3"/>
                <a:gd name="T21" fmla="*/ 8 h 9"/>
                <a:gd name="T22" fmla="*/ 2 w 3"/>
                <a:gd name="T23" fmla="*/ 1 h 9"/>
                <a:gd name="T24" fmla="*/ 0 w 3"/>
                <a:gd name="T25" fmla="*/ 1 h 9"/>
                <a:gd name="T26" fmla="*/ 0 w 3"/>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2" y="9"/>
                  </a:moveTo>
                  <a:cubicBezTo>
                    <a:pt x="0" y="9"/>
                    <a:pt x="0" y="9"/>
                    <a:pt x="0" y="9"/>
                  </a:cubicBezTo>
                  <a:cubicBezTo>
                    <a:pt x="0" y="9"/>
                    <a:pt x="0" y="8"/>
                    <a:pt x="0" y="8"/>
                  </a:cubicBezTo>
                  <a:cubicBezTo>
                    <a:pt x="0" y="1"/>
                    <a:pt x="0" y="1"/>
                    <a:pt x="0" y="1"/>
                  </a:cubicBezTo>
                  <a:cubicBezTo>
                    <a:pt x="0" y="1"/>
                    <a:pt x="0" y="0"/>
                    <a:pt x="0" y="0"/>
                  </a:cubicBezTo>
                  <a:cubicBezTo>
                    <a:pt x="2" y="0"/>
                    <a:pt x="2" y="0"/>
                    <a:pt x="2" y="0"/>
                  </a:cubicBezTo>
                  <a:cubicBezTo>
                    <a:pt x="3" y="0"/>
                    <a:pt x="3" y="1"/>
                    <a:pt x="3" y="1"/>
                  </a:cubicBezTo>
                  <a:cubicBezTo>
                    <a:pt x="3" y="8"/>
                    <a:pt x="3" y="8"/>
                    <a:pt x="3" y="8"/>
                  </a:cubicBezTo>
                  <a:cubicBezTo>
                    <a:pt x="3" y="8"/>
                    <a:pt x="3" y="9"/>
                    <a:pt x="2" y="9"/>
                  </a:cubicBezTo>
                  <a:close/>
                  <a:moveTo>
                    <a:pt x="0" y="8"/>
                  </a:moveTo>
                  <a:cubicBezTo>
                    <a:pt x="2" y="8"/>
                    <a:pt x="2" y="8"/>
                    <a:pt x="2" y="8"/>
                  </a:cubicBezTo>
                  <a:cubicBezTo>
                    <a:pt x="2" y="1"/>
                    <a:pt x="2" y="1"/>
                    <a:pt x="2" y="1"/>
                  </a:cubicBezTo>
                  <a:cubicBezTo>
                    <a:pt x="0" y="1"/>
                    <a:pt x="0" y="1"/>
                    <a:pt x="0" y="1"/>
                  </a:cubicBezTo>
                  <a:lnTo>
                    <a:pt x="0" y="8"/>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52" name="Freeform 240">
              <a:extLst>
                <a:ext uri="{FF2B5EF4-FFF2-40B4-BE49-F238E27FC236}">
                  <a16:creationId xmlns:a16="http://schemas.microsoft.com/office/drawing/2014/main" id="{85459BCF-9E30-4229-AB5D-58D7D37DC81E}"/>
                </a:ext>
              </a:extLst>
            </p:cNvPr>
            <p:cNvSpPr>
              <a:spLocks/>
            </p:cNvSpPr>
            <p:nvPr/>
          </p:nvSpPr>
          <p:spPr bwMode="auto">
            <a:xfrm>
              <a:off x="13838460" y="2266034"/>
              <a:ext cx="12617" cy="30642"/>
            </a:xfrm>
            <a:custGeom>
              <a:avLst/>
              <a:gdLst>
                <a:gd name="T0" fmla="*/ 0 w 3"/>
                <a:gd name="T1" fmla="*/ 7 h 7"/>
                <a:gd name="T2" fmla="*/ 0 w 3"/>
                <a:gd name="T3" fmla="*/ 0 h 7"/>
                <a:gd name="T4" fmla="*/ 1 w 3"/>
                <a:gd name="T5" fmla="*/ 0 h 7"/>
                <a:gd name="T6" fmla="*/ 3 w 3"/>
                <a:gd name="T7" fmla="*/ 0 h 7"/>
                <a:gd name="T8" fmla="*/ 3 w 3"/>
                <a:gd name="T9" fmla="*/ 0 h 7"/>
                <a:gd name="T10" fmla="*/ 3 w 3"/>
                <a:gd name="T11" fmla="*/ 7 h 7"/>
                <a:gd name="T12" fmla="*/ 3 w 3"/>
                <a:gd name="T13" fmla="*/ 7 h 7"/>
                <a:gd name="T14" fmla="*/ 1 w 3"/>
                <a:gd name="T15" fmla="*/ 7 h 7"/>
                <a:gd name="T16" fmla="*/ 0 w 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0" y="7"/>
                  </a:moveTo>
                  <a:cubicBezTo>
                    <a:pt x="0" y="0"/>
                    <a:pt x="0" y="0"/>
                    <a:pt x="0" y="0"/>
                  </a:cubicBezTo>
                  <a:cubicBezTo>
                    <a:pt x="0" y="0"/>
                    <a:pt x="1" y="0"/>
                    <a:pt x="1" y="0"/>
                  </a:cubicBezTo>
                  <a:cubicBezTo>
                    <a:pt x="3" y="0"/>
                    <a:pt x="3" y="0"/>
                    <a:pt x="3" y="0"/>
                  </a:cubicBezTo>
                  <a:cubicBezTo>
                    <a:pt x="3" y="0"/>
                    <a:pt x="3" y="0"/>
                    <a:pt x="3" y="0"/>
                  </a:cubicBezTo>
                  <a:cubicBezTo>
                    <a:pt x="3" y="7"/>
                    <a:pt x="3" y="7"/>
                    <a:pt x="3" y="7"/>
                  </a:cubicBezTo>
                  <a:cubicBezTo>
                    <a:pt x="3" y="7"/>
                    <a:pt x="3" y="7"/>
                    <a:pt x="3" y="7"/>
                  </a:cubicBezTo>
                  <a:cubicBezTo>
                    <a:pt x="1" y="7"/>
                    <a:pt x="1" y="7"/>
                    <a:pt x="1" y="7"/>
                  </a:cubicBezTo>
                  <a:cubicBezTo>
                    <a:pt x="1" y="7"/>
                    <a:pt x="0" y="7"/>
                    <a:pt x="0" y="7"/>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53" name="Freeform 241">
              <a:extLst>
                <a:ext uri="{FF2B5EF4-FFF2-40B4-BE49-F238E27FC236}">
                  <a16:creationId xmlns:a16="http://schemas.microsoft.com/office/drawing/2014/main" id="{027DB38E-F17B-4CA7-9349-26DAE7896494}"/>
                </a:ext>
              </a:extLst>
            </p:cNvPr>
            <p:cNvSpPr>
              <a:spLocks noEditPoints="1"/>
            </p:cNvSpPr>
            <p:nvPr/>
          </p:nvSpPr>
          <p:spPr bwMode="auto">
            <a:xfrm>
              <a:off x="13838460" y="2262429"/>
              <a:ext cx="12617" cy="37852"/>
            </a:xfrm>
            <a:custGeom>
              <a:avLst/>
              <a:gdLst>
                <a:gd name="T0" fmla="*/ 3 w 3"/>
                <a:gd name="T1" fmla="*/ 9 h 9"/>
                <a:gd name="T2" fmla="*/ 1 w 3"/>
                <a:gd name="T3" fmla="*/ 9 h 9"/>
                <a:gd name="T4" fmla="*/ 0 w 3"/>
                <a:gd name="T5" fmla="*/ 8 h 9"/>
                <a:gd name="T6" fmla="*/ 0 w 3"/>
                <a:gd name="T7" fmla="*/ 1 h 9"/>
                <a:gd name="T8" fmla="*/ 1 w 3"/>
                <a:gd name="T9" fmla="*/ 0 h 9"/>
                <a:gd name="T10" fmla="*/ 3 w 3"/>
                <a:gd name="T11" fmla="*/ 0 h 9"/>
                <a:gd name="T12" fmla="*/ 3 w 3"/>
                <a:gd name="T13" fmla="*/ 1 h 9"/>
                <a:gd name="T14" fmla="*/ 3 w 3"/>
                <a:gd name="T15" fmla="*/ 8 h 9"/>
                <a:gd name="T16" fmla="*/ 3 w 3"/>
                <a:gd name="T17" fmla="*/ 9 h 9"/>
                <a:gd name="T18" fmla="*/ 1 w 3"/>
                <a:gd name="T19" fmla="*/ 8 h 9"/>
                <a:gd name="T20" fmla="*/ 3 w 3"/>
                <a:gd name="T21" fmla="*/ 8 h 9"/>
                <a:gd name="T22" fmla="*/ 3 w 3"/>
                <a:gd name="T23" fmla="*/ 1 h 9"/>
                <a:gd name="T24" fmla="*/ 1 w 3"/>
                <a:gd name="T25" fmla="*/ 1 h 9"/>
                <a:gd name="T26" fmla="*/ 1 w 3"/>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3" y="9"/>
                  </a:moveTo>
                  <a:cubicBezTo>
                    <a:pt x="1" y="9"/>
                    <a:pt x="1" y="9"/>
                    <a:pt x="1" y="9"/>
                  </a:cubicBezTo>
                  <a:cubicBezTo>
                    <a:pt x="0" y="9"/>
                    <a:pt x="0" y="8"/>
                    <a:pt x="0" y="8"/>
                  </a:cubicBezTo>
                  <a:cubicBezTo>
                    <a:pt x="0" y="1"/>
                    <a:pt x="0" y="1"/>
                    <a:pt x="0" y="1"/>
                  </a:cubicBezTo>
                  <a:cubicBezTo>
                    <a:pt x="0" y="1"/>
                    <a:pt x="0" y="0"/>
                    <a:pt x="1" y="0"/>
                  </a:cubicBezTo>
                  <a:cubicBezTo>
                    <a:pt x="3" y="0"/>
                    <a:pt x="3" y="0"/>
                    <a:pt x="3" y="0"/>
                  </a:cubicBezTo>
                  <a:cubicBezTo>
                    <a:pt x="3" y="0"/>
                    <a:pt x="3" y="1"/>
                    <a:pt x="3" y="1"/>
                  </a:cubicBezTo>
                  <a:cubicBezTo>
                    <a:pt x="3" y="8"/>
                    <a:pt x="3" y="8"/>
                    <a:pt x="3" y="8"/>
                  </a:cubicBezTo>
                  <a:cubicBezTo>
                    <a:pt x="3" y="8"/>
                    <a:pt x="3" y="9"/>
                    <a:pt x="3" y="9"/>
                  </a:cubicBezTo>
                  <a:close/>
                  <a:moveTo>
                    <a:pt x="1" y="8"/>
                  </a:moveTo>
                  <a:cubicBezTo>
                    <a:pt x="3" y="8"/>
                    <a:pt x="3" y="8"/>
                    <a:pt x="3" y="8"/>
                  </a:cubicBezTo>
                  <a:cubicBezTo>
                    <a:pt x="3" y="1"/>
                    <a:pt x="3" y="1"/>
                    <a:pt x="3" y="1"/>
                  </a:cubicBezTo>
                  <a:cubicBezTo>
                    <a:pt x="1" y="1"/>
                    <a:pt x="1" y="1"/>
                    <a:pt x="1" y="1"/>
                  </a:cubicBezTo>
                  <a:lnTo>
                    <a:pt x="1" y="8"/>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54" name="Freeform 242">
              <a:extLst>
                <a:ext uri="{FF2B5EF4-FFF2-40B4-BE49-F238E27FC236}">
                  <a16:creationId xmlns:a16="http://schemas.microsoft.com/office/drawing/2014/main" id="{ECFA33F7-3515-405D-B7F4-C1AFFB6DCC09}"/>
                </a:ext>
              </a:extLst>
            </p:cNvPr>
            <p:cNvSpPr>
              <a:spLocks/>
            </p:cNvSpPr>
            <p:nvPr/>
          </p:nvSpPr>
          <p:spPr bwMode="auto">
            <a:xfrm>
              <a:off x="13872707" y="2080380"/>
              <a:ext cx="12617" cy="34247"/>
            </a:xfrm>
            <a:custGeom>
              <a:avLst/>
              <a:gdLst>
                <a:gd name="T0" fmla="*/ 0 w 3"/>
                <a:gd name="T1" fmla="*/ 1 h 8"/>
                <a:gd name="T2" fmla="*/ 0 w 3"/>
                <a:gd name="T3" fmla="*/ 8 h 8"/>
                <a:gd name="T4" fmla="*/ 1 w 3"/>
                <a:gd name="T5" fmla="*/ 8 h 8"/>
                <a:gd name="T6" fmla="*/ 3 w 3"/>
                <a:gd name="T7" fmla="*/ 8 h 8"/>
                <a:gd name="T8" fmla="*/ 3 w 3"/>
                <a:gd name="T9" fmla="*/ 8 h 8"/>
                <a:gd name="T10" fmla="*/ 3 w 3"/>
                <a:gd name="T11" fmla="*/ 1 h 8"/>
                <a:gd name="T12" fmla="*/ 3 w 3"/>
                <a:gd name="T13" fmla="*/ 0 h 8"/>
                <a:gd name="T14" fmla="*/ 1 w 3"/>
                <a:gd name="T15" fmla="*/ 0 h 8"/>
                <a:gd name="T16" fmla="*/ 0 w 3"/>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0" y="1"/>
                  </a:moveTo>
                  <a:cubicBezTo>
                    <a:pt x="0" y="8"/>
                    <a:pt x="0" y="8"/>
                    <a:pt x="0" y="8"/>
                  </a:cubicBezTo>
                  <a:cubicBezTo>
                    <a:pt x="0" y="8"/>
                    <a:pt x="0" y="8"/>
                    <a:pt x="1" y="8"/>
                  </a:cubicBezTo>
                  <a:cubicBezTo>
                    <a:pt x="3" y="8"/>
                    <a:pt x="3" y="8"/>
                    <a:pt x="3" y="8"/>
                  </a:cubicBezTo>
                  <a:cubicBezTo>
                    <a:pt x="3" y="8"/>
                    <a:pt x="3" y="8"/>
                    <a:pt x="3" y="8"/>
                  </a:cubicBezTo>
                  <a:cubicBezTo>
                    <a:pt x="3" y="1"/>
                    <a:pt x="3" y="1"/>
                    <a:pt x="3" y="1"/>
                  </a:cubicBezTo>
                  <a:cubicBezTo>
                    <a:pt x="3" y="1"/>
                    <a:pt x="3" y="0"/>
                    <a:pt x="3" y="0"/>
                  </a:cubicBezTo>
                  <a:cubicBezTo>
                    <a:pt x="1" y="0"/>
                    <a:pt x="1" y="0"/>
                    <a:pt x="1" y="0"/>
                  </a:cubicBezTo>
                  <a:cubicBezTo>
                    <a:pt x="0" y="0"/>
                    <a:pt x="0" y="1"/>
                    <a:pt x="0" y="1"/>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55" name="Freeform 243">
              <a:extLst>
                <a:ext uri="{FF2B5EF4-FFF2-40B4-BE49-F238E27FC236}">
                  <a16:creationId xmlns:a16="http://schemas.microsoft.com/office/drawing/2014/main" id="{28411C7C-EE33-4C39-8074-0B03B5CF0154}"/>
                </a:ext>
              </a:extLst>
            </p:cNvPr>
            <p:cNvSpPr>
              <a:spLocks noEditPoints="1"/>
            </p:cNvSpPr>
            <p:nvPr/>
          </p:nvSpPr>
          <p:spPr bwMode="auto">
            <a:xfrm>
              <a:off x="13872707" y="2080380"/>
              <a:ext cx="12617" cy="34247"/>
            </a:xfrm>
            <a:custGeom>
              <a:avLst/>
              <a:gdLst>
                <a:gd name="T0" fmla="*/ 3 w 3"/>
                <a:gd name="T1" fmla="*/ 8 h 8"/>
                <a:gd name="T2" fmla="*/ 1 w 3"/>
                <a:gd name="T3" fmla="*/ 8 h 8"/>
                <a:gd name="T4" fmla="*/ 0 w 3"/>
                <a:gd name="T5" fmla="*/ 8 h 8"/>
                <a:gd name="T6" fmla="*/ 0 w 3"/>
                <a:gd name="T7" fmla="*/ 1 h 8"/>
                <a:gd name="T8" fmla="*/ 1 w 3"/>
                <a:gd name="T9" fmla="*/ 0 h 8"/>
                <a:gd name="T10" fmla="*/ 3 w 3"/>
                <a:gd name="T11" fmla="*/ 0 h 8"/>
                <a:gd name="T12" fmla="*/ 3 w 3"/>
                <a:gd name="T13" fmla="*/ 1 h 8"/>
                <a:gd name="T14" fmla="*/ 3 w 3"/>
                <a:gd name="T15" fmla="*/ 8 h 8"/>
                <a:gd name="T16" fmla="*/ 3 w 3"/>
                <a:gd name="T17" fmla="*/ 8 h 8"/>
                <a:gd name="T18" fmla="*/ 1 w 3"/>
                <a:gd name="T19" fmla="*/ 1 h 8"/>
                <a:gd name="T20" fmla="*/ 1 w 3"/>
                <a:gd name="T21" fmla="*/ 8 h 8"/>
                <a:gd name="T22" fmla="*/ 3 w 3"/>
                <a:gd name="T23" fmla="*/ 8 h 8"/>
                <a:gd name="T24" fmla="*/ 2 w 3"/>
                <a:gd name="T25" fmla="*/ 1 h 8"/>
                <a:gd name="T26" fmla="*/ 1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8"/>
                  </a:moveTo>
                  <a:cubicBezTo>
                    <a:pt x="1" y="8"/>
                    <a:pt x="1" y="8"/>
                    <a:pt x="1" y="8"/>
                  </a:cubicBezTo>
                  <a:cubicBezTo>
                    <a:pt x="0" y="8"/>
                    <a:pt x="0" y="8"/>
                    <a:pt x="0" y="8"/>
                  </a:cubicBezTo>
                  <a:cubicBezTo>
                    <a:pt x="0" y="1"/>
                    <a:pt x="0" y="1"/>
                    <a:pt x="0" y="1"/>
                  </a:cubicBezTo>
                  <a:cubicBezTo>
                    <a:pt x="0" y="0"/>
                    <a:pt x="0" y="0"/>
                    <a:pt x="1" y="0"/>
                  </a:cubicBezTo>
                  <a:cubicBezTo>
                    <a:pt x="3" y="0"/>
                    <a:pt x="3" y="0"/>
                    <a:pt x="3" y="0"/>
                  </a:cubicBezTo>
                  <a:cubicBezTo>
                    <a:pt x="3" y="0"/>
                    <a:pt x="3" y="0"/>
                    <a:pt x="3" y="1"/>
                  </a:cubicBezTo>
                  <a:cubicBezTo>
                    <a:pt x="3" y="8"/>
                    <a:pt x="3" y="8"/>
                    <a:pt x="3" y="8"/>
                  </a:cubicBezTo>
                  <a:cubicBezTo>
                    <a:pt x="3" y="8"/>
                    <a:pt x="3" y="8"/>
                    <a:pt x="3" y="8"/>
                  </a:cubicBezTo>
                  <a:close/>
                  <a:moveTo>
                    <a:pt x="1" y="1"/>
                  </a:moveTo>
                  <a:cubicBezTo>
                    <a:pt x="1" y="8"/>
                    <a:pt x="1" y="8"/>
                    <a:pt x="1" y="8"/>
                  </a:cubicBezTo>
                  <a:cubicBezTo>
                    <a:pt x="3" y="8"/>
                    <a:pt x="3" y="8"/>
                    <a:pt x="3" y="8"/>
                  </a:cubicBezTo>
                  <a:cubicBezTo>
                    <a:pt x="2" y="1"/>
                    <a:pt x="2" y="1"/>
                    <a:pt x="2" y="1"/>
                  </a:cubicBezTo>
                  <a:lnTo>
                    <a:pt x="1"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56" name="Freeform 244">
              <a:extLst>
                <a:ext uri="{FF2B5EF4-FFF2-40B4-BE49-F238E27FC236}">
                  <a16:creationId xmlns:a16="http://schemas.microsoft.com/office/drawing/2014/main" id="{BAF9C6BB-B612-4D82-8FB3-C3EA6D519251}"/>
                </a:ext>
              </a:extLst>
            </p:cNvPr>
            <p:cNvSpPr>
              <a:spLocks/>
            </p:cNvSpPr>
            <p:nvPr/>
          </p:nvSpPr>
          <p:spPr bwMode="auto">
            <a:xfrm>
              <a:off x="13829448" y="2071368"/>
              <a:ext cx="68494" cy="9012"/>
            </a:xfrm>
            <a:custGeom>
              <a:avLst/>
              <a:gdLst>
                <a:gd name="T0" fmla="*/ 0 w 16"/>
                <a:gd name="T1" fmla="*/ 2 h 2"/>
                <a:gd name="T2" fmla="*/ 15 w 16"/>
                <a:gd name="T3" fmla="*/ 2 h 2"/>
                <a:gd name="T4" fmla="*/ 16 w 16"/>
                <a:gd name="T5" fmla="*/ 2 h 2"/>
                <a:gd name="T6" fmla="*/ 16 w 16"/>
                <a:gd name="T7" fmla="*/ 0 h 2"/>
                <a:gd name="T8" fmla="*/ 15 w 16"/>
                <a:gd name="T9" fmla="*/ 0 h 2"/>
                <a:gd name="T10" fmla="*/ 0 w 16"/>
                <a:gd name="T11" fmla="*/ 0 h 2"/>
                <a:gd name="T12" fmla="*/ 0 w 16"/>
                <a:gd name="T13" fmla="*/ 0 h 2"/>
                <a:gd name="T14" fmla="*/ 0 w 16"/>
                <a:gd name="T15" fmla="*/ 2 h 2"/>
                <a:gd name="T16" fmla="*/ 0 w 16"/>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
                  <a:moveTo>
                    <a:pt x="0" y="2"/>
                  </a:moveTo>
                  <a:cubicBezTo>
                    <a:pt x="15" y="2"/>
                    <a:pt x="15" y="2"/>
                    <a:pt x="15" y="2"/>
                  </a:cubicBezTo>
                  <a:cubicBezTo>
                    <a:pt x="16" y="2"/>
                    <a:pt x="16" y="2"/>
                    <a:pt x="16" y="2"/>
                  </a:cubicBezTo>
                  <a:cubicBezTo>
                    <a:pt x="16" y="0"/>
                    <a:pt x="16" y="0"/>
                    <a:pt x="16" y="0"/>
                  </a:cubicBezTo>
                  <a:cubicBezTo>
                    <a:pt x="16" y="0"/>
                    <a:pt x="16" y="0"/>
                    <a:pt x="15" y="0"/>
                  </a:cubicBezTo>
                  <a:cubicBezTo>
                    <a:pt x="0" y="0"/>
                    <a:pt x="0" y="0"/>
                    <a:pt x="0" y="0"/>
                  </a:cubicBezTo>
                  <a:cubicBezTo>
                    <a:pt x="0" y="0"/>
                    <a:pt x="0" y="0"/>
                    <a:pt x="0" y="0"/>
                  </a:cubicBezTo>
                  <a:cubicBezTo>
                    <a:pt x="0" y="2"/>
                    <a:pt x="0" y="2"/>
                    <a:pt x="0" y="2"/>
                  </a:cubicBezTo>
                  <a:cubicBezTo>
                    <a:pt x="0" y="2"/>
                    <a:pt x="0" y="2"/>
                    <a:pt x="0" y="2"/>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57" name="Freeform 245">
              <a:extLst>
                <a:ext uri="{FF2B5EF4-FFF2-40B4-BE49-F238E27FC236}">
                  <a16:creationId xmlns:a16="http://schemas.microsoft.com/office/drawing/2014/main" id="{51B659E9-5A20-4648-850F-F2BF4CCAD785}"/>
                </a:ext>
              </a:extLst>
            </p:cNvPr>
            <p:cNvSpPr>
              <a:spLocks noEditPoints="1"/>
            </p:cNvSpPr>
            <p:nvPr/>
          </p:nvSpPr>
          <p:spPr bwMode="auto">
            <a:xfrm>
              <a:off x="13825843" y="2067763"/>
              <a:ext cx="72099" cy="16222"/>
            </a:xfrm>
            <a:custGeom>
              <a:avLst/>
              <a:gdLst>
                <a:gd name="T0" fmla="*/ 16 w 17"/>
                <a:gd name="T1" fmla="*/ 4 h 4"/>
                <a:gd name="T2" fmla="*/ 1 w 17"/>
                <a:gd name="T3" fmla="*/ 4 h 4"/>
                <a:gd name="T4" fmla="*/ 0 w 17"/>
                <a:gd name="T5" fmla="*/ 3 h 4"/>
                <a:gd name="T6" fmla="*/ 0 w 17"/>
                <a:gd name="T7" fmla="*/ 1 h 4"/>
                <a:gd name="T8" fmla="*/ 1 w 17"/>
                <a:gd name="T9" fmla="*/ 0 h 4"/>
                <a:gd name="T10" fmla="*/ 16 w 17"/>
                <a:gd name="T11" fmla="*/ 0 h 4"/>
                <a:gd name="T12" fmla="*/ 17 w 17"/>
                <a:gd name="T13" fmla="*/ 1 h 4"/>
                <a:gd name="T14" fmla="*/ 17 w 17"/>
                <a:gd name="T15" fmla="*/ 3 h 4"/>
                <a:gd name="T16" fmla="*/ 16 w 17"/>
                <a:gd name="T17" fmla="*/ 4 h 4"/>
                <a:gd name="T18" fmla="*/ 1 w 17"/>
                <a:gd name="T19" fmla="*/ 3 h 4"/>
                <a:gd name="T20" fmla="*/ 16 w 17"/>
                <a:gd name="T21" fmla="*/ 3 h 4"/>
                <a:gd name="T22" fmla="*/ 16 w 17"/>
                <a:gd name="T23" fmla="*/ 1 h 4"/>
                <a:gd name="T24" fmla="*/ 1 w 17"/>
                <a:gd name="T25" fmla="*/ 1 h 4"/>
                <a:gd name="T26" fmla="*/ 1 w 17"/>
                <a:gd name="T2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4">
                  <a:moveTo>
                    <a:pt x="16" y="4"/>
                  </a:moveTo>
                  <a:cubicBezTo>
                    <a:pt x="1" y="4"/>
                    <a:pt x="1" y="4"/>
                    <a:pt x="1" y="4"/>
                  </a:cubicBezTo>
                  <a:cubicBezTo>
                    <a:pt x="1" y="4"/>
                    <a:pt x="0" y="3"/>
                    <a:pt x="0" y="3"/>
                  </a:cubicBezTo>
                  <a:cubicBezTo>
                    <a:pt x="0" y="1"/>
                    <a:pt x="0" y="1"/>
                    <a:pt x="0" y="1"/>
                  </a:cubicBezTo>
                  <a:cubicBezTo>
                    <a:pt x="0" y="1"/>
                    <a:pt x="1" y="0"/>
                    <a:pt x="1" y="0"/>
                  </a:cubicBezTo>
                  <a:cubicBezTo>
                    <a:pt x="16" y="0"/>
                    <a:pt x="16" y="0"/>
                    <a:pt x="16" y="0"/>
                  </a:cubicBezTo>
                  <a:cubicBezTo>
                    <a:pt x="17" y="0"/>
                    <a:pt x="17" y="1"/>
                    <a:pt x="17" y="1"/>
                  </a:cubicBezTo>
                  <a:cubicBezTo>
                    <a:pt x="17" y="3"/>
                    <a:pt x="17" y="3"/>
                    <a:pt x="17" y="3"/>
                  </a:cubicBezTo>
                  <a:cubicBezTo>
                    <a:pt x="17" y="3"/>
                    <a:pt x="17" y="4"/>
                    <a:pt x="16" y="4"/>
                  </a:cubicBezTo>
                  <a:close/>
                  <a:moveTo>
                    <a:pt x="1" y="3"/>
                  </a:moveTo>
                  <a:cubicBezTo>
                    <a:pt x="16" y="3"/>
                    <a:pt x="16" y="3"/>
                    <a:pt x="16" y="3"/>
                  </a:cubicBezTo>
                  <a:cubicBezTo>
                    <a:pt x="16" y="1"/>
                    <a:pt x="16" y="1"/>
                    <a:pt x="16" y="1"/>
                  </a:cubicBezTo>
                  <a:cubicBezTo>
                    <a:pt x="1" y="1"/>
                    <a:pt x="1" y="1"/>
                    <a:pt x="1" y="1"/>
                  </a:cubicBezTo>
                  <a:lnTo>
                    <a:pt x="1" y="3"/>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58" name="Freeform 246">
              <a:extLst>
                <a:ext uri="{FF2B5EF4-FFF2-40B4-BE49-F238E27FC236}">
                  <a16:creationId xmlns:a16="http://schemas.microsoft.com/office/drawing/2014/main" id="{5164B55C-F176-43E4-A028-E320D99F63B4}"/>
                </a:ext>
              </a:extLst>
            </p:cNvPr>
            <p:cNvSpPr>
              <a:spLocks/>
            </p:cNvSpPr>
            <p:nvPr/>
          </p:nvSpPr>
          <p:spPr bwMode="auto">
            <a:xfrm>
              <a:off x="13863695" y="2080380"/>
              <a:ext cx="9012" cy="34247"/>
            </a:xfrm>
            <a:custGeom>
              <a:avLst/>
              <a:gdLst>
                <a:gd name="T0" fmla="*/ 0 w 2"/>
                <a:gd name="T1" fmla="*/ 1 h 8"/>
                <a:gd name="T2" fmla="*/ 0 w 2"/>
                <a:gd name="T3" fmla="*/ 8 h 8"/>
                <a:gd name="T4" fmla="*/ 0 w 2"/>
                <a:gd name="T5" fmla="*/ 8 h 8"/>
                <a:gd name="T6" fmla="*/ 2 w 2"/>
                <a:gd name="T7" fmla="*/ 8 h 8"/>
                <a:gd name="T8" fmla="*/ 2 w 2"/>
                <a:gd name="T9" fmla="*/ 8 h 8"/>
                <a:gd name="T10" fmla="*/ 2 w 2"/>
                <a:gd name="T11" fmla="*/ 1 h 8"/>
                <a:gd name="T12" fmla="*/ 2 w 2"/>
                <a:gd name="T13" fmla="*/ 0 h 8"/>
                <a:gd name="T14" fmla="*/ 0 w 2"/>
                <a:gd name="T15" fmla="*/ 0 h 8"/>
                <a:gd name="T16" fmla="*/ 0 w 2"/>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0" y="1"/>
                  </a:moveTo>
                  <a:cubicBezTo>
                    <a:pt x="0" y="8"/>
                    <a:pt x="0" y="8"/>
                    <a:pt x="0" y="8"/>
                  </a:cubicBezTo>
                  <a:cubicBezTo>
                    <a:pt x="0" y="8"/>
                    <a:pt x="0" y="8"/>
                    <a:pt x="0" y="8"/>
                  </a:cubicBezTo>
                  <a:cubicBezTo>
                    <a:pt x="2" y="8"/>
                    <a:pt x="2" y="8"/>
                    <a:pt x="2" y="8"/>
                  </a:cubicBezTo>
                  <a:cubicBezTo>
                    <a:pt x="2" y="8"/>
                    <a:pt x="2" y="8"/>
                    <a:pt x="2" y="8"/>
                  </a:cubicBezTo>
                  <a:cubicBezTo>
                    <a:pt x="2" y="1"/>
                    <a:pt x="2" y="1"/>
                    <a:pt x="2" y="1"/>
                  </a:cubicBezTo>
                  <a:cubicBezTo>
                    <a:pt x="2" y="1"/>
                    <a:pt x="2" y="0"/>
                    <a:pt x="2" y="0"/>
                  </a:cubicBezTo>
                  <a:cubicBezTo>
                    <a:pt x="0" y="0"/>
                    <a:pt x="0" y="0"/>
                    <a:pt x="0" y="0"/>
                  </a:cubicBezTo>
                  <a:cubicBezTo>
                    <a:pt x="0" y="0"/>
                    <a:pt x="0" y="1"/>
                    <a:pt x="0" y="1"/>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60" name="Freeform 247">
              <a:extLst>
                <a:ext uri="{FF2B5EF4-FFF2-40B4-BE49-F238E27FC236}">
                  <a16:creationId xmlns:a16="http://schemas.microsoft.com/office/drawing/2014/main" id="{B48F03A1-2A66-473D-824F-9F63DD833E23}"/>
                </a:ext>
              </a:extLst>
            </p:cNvPr>
            <p:cNvSpPr>
              <a:spLocks noEditPoints="1"/>
            </p:cNvSpPr>
            <p:nvPr/>
          </p:nvSpPr>
          <p:spPr bwMode="auto">
            <a:xfrm>
              <a:off x="13860090" y="2080380"/>
              <a:ext cx="16222" cy="34247"/>
            </a:xfrm>
            <a:custGeom>
              <a:avLst/>
              <a:gdLst>
                <a:gd name="T0" fmla="*/ 3 w 4"/>
                <a:gd name="T1" fmla="*/ 8 h 8"/>
                <a:gd name="T2" fmla="*/ 1 w 4"/>
                <a:gd name="T3" fmla="*/ 8 h 8"/>
                <a:gd name="T4" fmla="*/ 0 w 4"/>
                <a:gd name="T5" fmla="*/ 8 h 8"/>
                <a:gd name="T6" fmla="*/ 0 w 4"/>
                <a:gd name="T7" fmla="*/ 1 h 8"/>
                <a:gd name="T8" fmla="*/ 1 w 4"/>
                <a:gd name="T9" fmla="*/ 0 h 8"/>
                <a:gd name="T10" fmla="*/ 3 w 4"/>
                <a:gd name="T11" fmla="*/ 0 h 8"/>
                <a:gd name="T12" fmla="*/ 4 w 4"/>
                <a:gd name="T13" fmla="*/ 1 h 8"/>
                <a:gd name="T14" fmla="*/ 4 w 4"/>
                <a:gd name="T15" fmla="*/ 8 h 8"/>
                <a:gd name="T16" fmla="*/ 3 w 4"/>
                <a:gd name="T17" fmla="*/ 8 h 8"/>
                <a:gd name="T18" fmla="*/ 1 w 4"/>
                <a:gd name="T19" fmla="*/ 1 h 8"/>
                <a:gd name="T20" fmla="*/ 1 w 4"/>
                <a:gd name="T21" fmla="*/ 8 h 8"/>
                <a:gd name="T22" fmla="*/ 3 w 4"/>
                <a:gd name="T23" fmla="*/ 8 h 8"/>
                <a:gd name="T24" fmla="*/ 3 w 4"/>
                <a:gd name="T25" fmla="*/ 1 h 8"/>
                <a:gd name="T26" fmla="*/ 1 w 4"/>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3" y="8"/>
                  </a:moveTo>
                  <a:cubicBezTo>
                    <a:pt x="1" y="8"/>
                    <a:pt x="1" y="8"/>
                    <a:pt x="1" y="8"/>
                  </a:cubicBezTo>
                  <a:cubicBezTo>
                    <a:pt x="1" y="8"/>
                    <a:pt x="0" y="8"/>
                    <a:pt x="0" y="8"/>
                  </a:cubicBezTo>
                  <a:cubicBezTo>
                    <a:pt x="0" y="1"/>
                    <a:pt x="0" y="1"/>
                    <a:pt x="0" y="1"/>
                  </a:cubicBezTo>
                  <a:cubicBezTo>
                    <a:pt x="0" y="0"/>
                    <a:pt x="1" y="0"/>
                    <a:pt x="1" y="0"/>
                  </a:cubicBezTo>
                  <a:cubicBezTo>
                    <a:pt x="3" y="0"/>
                    <a:pt x="3" y="0"/>
                    <a:pt x="3" y="0"/>
                  </a:cubicBezTo>
                  <a:cubicBezTo>
                    <a:pt x="3" y="0"/>
                    <a:pt x="4" y="0"/>
                    <a:pt x="4" y="1"/>
                  </a:cubicBezTo>
                  <a:cubicBezTo>
                    <a:pt x="4" y="8"/>
                    <a:pt x="4" y="8"/>
                    <a:pt x="4" y="8"/>
                  </a:cubicBezTo>
                  <a:cubicBezTo>
                    <a:pt x="4" y="8"/>
                    <a:pt x="3" y="8"/>
                    <a:pt x="3" y="8"/>
                  </a:cubicBezTo>
                  <a:close/>
                  <a:moveTo>
                    <a:pt x="1" y="1"/>
                  </a:moveTo>
                  <a:cubicBezTo>
                    <a:pt x="1" y="8"/>
                    <a:pt x="1" y="8"/>
                    <a:pt x="1" y="8"/>
                  </a:cubicBezTo>
                  <a:cubicBezTo>
                    <a:pt x="3" y="8"/>
                    <a:pt x="3" y="8"/>
                    <a:pt x="3" y="8"/>
                  </a:cubicBezTo>
                  <a:cubicBezTo>
                    <a:pt x="3" y="1"/>
                    <a:pt x="3" y="1"/>
                    <a:pt x="3" y="1"/>
                  </a:cubicBezTo>
                  <a:lnTo>
                    <a:pt x="1"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61" name="Freeform 248">
              <a:extLst>
                <a:ext uri="{FF2B5EF4-FFF2-40B4-BE49-F238E27FC236}">
                  <a16:creationId xmlns:a16="http://schemas.microsoft.com/office/drawing/2014/main" id="{ADB3F0BF-D4D9-466D-90F0-7BFA0E73DB1A}"/>
                </a:ext>
              </a:extLst>
            </p:cNvPr>
            <p:cNvSpPr>
              <a:spLocks/>
            </p:cNvSpPr>
            <p:nvPr/>
          </p:nvSpPr>
          <p:spPr bwMode="auto">
            <a:xfrm>
              <a:off x="13851078" y="2080380"/>
              <a:ext cx="12617" cy="34247"/>
            </a:xfrm>
            <a:custGeom>
              <a:avLst/>
              <a:gdLst>
                <a:gd name="T0" fmla="*/ 0 w 3"/>
                <a:gd name="T1" fmla="*/ 1 h 8"/>
                <a:gd name="T2" fmla="*/ 0 w 3"/>
                <a:gd name="T3" fmla="*/ 8 h 8"/>
                <a:gd name="T4" fmla="*/ 0 w 3"/>
                <a:gd name="T5" fmla="*/ 8 h 8"/>
                <a:gd name="T6" fmla="*/ 2 w 3"/>
                <a:gd name="T7" fmla="*/ 8 h 8"/>
                <a:gd name="T8" fmla="*/ 3 w 3"/>
                <a:gd name="T9" fmla="*/ 8 h 8"/>
                <a:gd name="T10" fmla="*/ 3 w 3"/>
                <a:gd name="T11" fmla="*/ 1 h 8"/>
                <a:gd name="T12" fmla="*/ 2 w 3"/>
                <a:gd name="T13" fmla="*/ 0 h 8"/>
                <a:gd name="T14" fmla="*/ 0 w 3"/>
                <a:gd name="T15" fmla="*/ 0 h 8"/>
                <a:gd name="T16" fmla="*/ 0 w 3"/>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0" y="1"/>
                  </a:moveTo>
                  <a:cubicBezTo>
                    <a:pt x="0" y="8"/>
                    <a:pt x="0" y="8"/>
                    <a:pt x="0" y="8"/>
                  </a:cubicBezTo>
                  <a:cubicBezTo>
                    <a:pt x="0" y="8"/>
                    <a:pt x="0" y="8"/>
                    <a:pt x="0" y="8"/>
                  </a:cubicBezTo>
                  <a:cubicBezTo>
                    <a:pt x="2" y="8"/>
                    <a:pt x="2" y="8"/>
                    <a:pt x="2" y="8"/>
                  </a:cubicBezTo>
                  <a:cubicBezTo>
                    <a:pt x="2" y="8"/>
                    <a:pt x="3" y="8"/>
                    <a:pt x="3" y="8"/>
                  </a:cubicBezTo>
                  <a:cubicBezTo>
                    <a:pt x="3" y="1"/>
                    <a:pt x="3" y="1"/>
                    <a:pt x="3" y="1"/>
                  </a:cubicBezTo>
                  <a:cubicBezTo>
                    <a:pt x="3" y="1"/>
                    <a:pt x="2" y="0"/>
                    <a:pt x="2" y="0"/>
                  </a:cubicBezTo>
                  <a:cubicBezTo>
                    <a:pt x="0" y="0"/>
                    <a:pt x="0" y="0"/>
                    <a:pt x="0" y="0"/>
                  </a:cubicBezTo>
                  <a:cubicBezTo>
                    <a:pt x="0" y="0"/>
                    <a:pt x="0" y="1"/>
                    <a:pt x="0" y="1"/>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62" name="Freeform 249">
              <a:extLst>
                <a:ext uri="{FF2B5EF4-FFF2-40B4-BE49-F238E27FC236}">
                  <a16:creationId xmlns:a16="http://schemas.microsoft.com/office/drawing/2014/main" id="{171770DA-98DA-4C6C-87FE-2DB77C0C1FE0}"/>
                </a:ext>
              </a:extLst>
            </p:cNvPr>
            <p:cNvSpPr>
              <a:spLocks noEditPoints="1"/>
            </p:cNvSpPr>
            <p:nvPr/>
          </p:nvSpPr>
          <p:spPr bwMode="auto">
            <a:xfrm>
              <a:off x="13851078" y="2080380"/>
              <a:ext cx="12617" cy="34247"/>
            </a:xfrm>
            <a:custGeom>
              <a:avLst/>
              <a:gdLst>
                <a:gd name="T0" fmla="*/ 2 w 3"/>
                <a:gd name="T1" fmla="*/ 8 h 8"/>
                <a:gd name="T2" fmla="*/ 0 w 3"/>
                <a:gd name="T3" fmla="*/ 8 h 8"/>
                <a:gd name="T4" fmla="*/ 0 w 3"/>
                <a:gd name="T5" fmla="*/ 8 h 8"/>
                <a:gd name="T6" fmla="*/ 0 w 3"/>
                <a:gd name="T7" fmla="*/ 1 h 8"/>
                <a:gd name="T8" fmla="*/ 0 w 3"/>
                <a:gd name="T9" fmla="*/ 0 h 8"/>
                <a:gd name="T10" fmla="*/ 2 w 3"/>
                <a:gd name="T11" fmla="*/ 0 h 8"/>
                <a:gd name="T12" fmla="*/ 3 w 3"/>
                <a:gd name="T13" fmla="*/ 1 h 8"/>
                <a:gd name="T14" fmla="*/ 3 w 3"/>
                <a:gd name="T15" fmla="*/ 8 h 8"/>
                <a:gd name="T16" fmla="*/ 2 w 3"/>
                <a:gd name="T17" fmla="*/ 8 h 8"/>
                <a:gd name="T18" fmla="*/ 0 w 3"/>
                <a:gd name="T19" fmla="*/ 1 h 8"/>
                <a:gd name="T20" fmla="*/ 0 w 3"/>
                <a:gd name="T21" fmla="*/ 8 h 8"/>
                <a:gd name="T22" fmla="*/ 2 w 3"/>
                <a:gd name="T23" fmla="*/ 8 h 8"/>
                <a:gd name="T24" fmla="*/ 2 w 3"/>
                <a:gd name="T25" fmla="*/ 1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2" y="8"/>
                  </a:moveTo>
                  <a:cubicBezTo>
                    <a:pt x="0" y="8"/>
                    <a:pt x="0" y="8"/>
                    <a:pt x="0" y="8"/>
                  </a:cubicBezTo>
                  <a:cubicBezTo>
                    <a:pt x="0" y="8"/>
                    <a:pt x="0" y="8"/>
                    <a:pt x="0" y="8"/>
                  </a:cubicBezTo>
                  <a:cubicBezTo>
                    <a:pt x="0" y="1"/>
                    <a:pt x="0" y="1"/>
                    <a:pt x="0" y="1"/>
                  </a:cubicBezTo>
                  <a:cubicBezTo>
                    <a:pt x="0" y="0"/>
                    <a:pt x="0" y="0"/>
                    <a:pt x="0" y="0"/>
                  </a:cubicBezTo>
                  <a:cubicBezTo>
                    <a:pt x="2" y="0"/>
                    <a:pt x="2" y="0"/>
                    <a:pt x="2" y="0"/>
                  </a:cubicBezTo>
                  <a:cubicBezTo>
                    <a:pt x="3" y="0"/>
                    <a:pt x="3" y="0"/>
                    <a:pt x="3" y="1"/>
                  </a:cubicBezTo>
                  <a:cubicBezTo>
                    <a:pt x="3" y="8"/>
                    <a:pt x="3" y="8"/>
                    <a:pt x="3" y="8"/>
                  </a:cubicBezTo>
                  <a:cubicBezTo>
                    <a:pt x="3" y="8"/>
                    <a:pt x="3" y="8"/>
                    <a:pt x="2" y="8"/>
                  </a:cubicBezTo>
                  <a:close/>
                  <a:moveTo>
                    <a:pt x="0" y="1"/>
                  </a:moveTo>
                  <a:cubicBezTo>
                    <a:pt x="0" y="8"/>
                    <a:pt x="0" y="8"/>
                    <a:pt x="0" y="8"/>
                  </a:cubicBezTo>
                  <a:cubicBezTo>
                    <a:pt x="2" y="8"/>
                    <a:pt x="2" y="8"/>
                    <a:pt x="2" y="8"/>
                  </a:cubicBezTo>
                  <a:cubicBezTo>
                    <a:pt x="2" y="1"/>
                    <a:pt x="2" y="1"/>
                    <a:pt x="2" y="1"/>
                  </a:cubicBezTo>
                  <a:lnTo>
                    <a:pt x="0"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63" name="Freeform 250">
              <a:extLst>
                <a:ext uri="{FF2B5EF4-FFF2-40B4-BE49-F238E27FC236}">
                  <a16:creationId xmlns:a16="http://schemas.microsoft.com/office/drawing/2014/main" id="{D00B9CA7-2025-4956-B33F-3527C35CCDF9}"/>
                </a:ext>
              </a:extLst>
            </p:cNvPr>
            <p:cNvSpPr>
              <a:spLocks/>
            </p:cNvSpPr>
            <p:nvPr/>
          </p:nvSpPr>
          <p:spPr bwMode="auto">
            <a:xfrm>
              <a:off x="13838460" y="2080380"/>
              <a:ext cx="12617" cy="34247"/>
            </a:xfrm>
            <a:custGeom>
              <a:avLst/>
              <a:gdLst>
                <a:gd name="T0" fmla="*/ 0 w 3"/>
                <a:gd name="T1" fmla="*/ 1 h 8"/>
                <a:gd name="T2" fmla="*/ 0 w 3"/>
                <a:gd name="T3" fmla="*/ 8 h 8"/>
                <a:gd name="T4" fmla="*/ 1 w 3"/>
                <a:gd name="T5" fmla="*/ 8 h 8"/>
                <a:gd name="T6" fmla="*/ 3 w 3"/>
                <a:gd name="T7" fmla="*/ 8 h 8"/>
                <a:gd name="T8" fmla="*/ 3 w 3"/>
                <a:gd name="T9" fmla="*/ 8 h 8"/>
                <a:gd name="T10" fmla="*/ 3 w 3"/>
                <a:gd name="T11" fmla="*/ 1 h 8"/>
                <a:gd name="T12" fmla="*/ 3 w 3"/>
                <a:gd name="T13" fmla="*/ 0 h 8"/>
                <a:gd name="T14" fmla="*/ 1 w 3"/>
                <a:gd name="T15" fmla="*/ 0 h 8"/>
                <a:gd name="T16" fmla="*/ 0 w 3"/>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0" y="1"/>
                  </a:moveTo>
                  <a:cubicBezTo>
                    <a:pt x="0" y="8"/>
                    <a:pt x="0" y="8"/>
                    <a:pt x="0" y="8"/>
                  </a:cubicBezTo>
                  <a:cubicBezTo>
                    <a:pt x="0" y="8"/>
                    <a:pt x="1" y="8"/>
                    <a:pt x="1" y="8"/>
                  </a:cubicBezTo>
                  <a:cubicBezTo>
                    <a:pt x="3" y="8"/>
                    <a:pt x="3" y="8"/>
                    <a:pt x="3" y="8"/>
                  </a:cubicBezTo>
                  <a:cubicBezTo>
                    <a:pt x="3" y="8"/>
                    <a:pt x="3" y="8"/>
                    <a:pt x="3" y="8"/>
                  </a:cubicBezTo>
                  <a:cubicBezTo>
                    <a:pt x="3" y="1"/>
                    <a:pt x="3" y="1"/>
                    <a:pt x="3" y="1"/>
                  </a:cubicBezTo>
                  <a:cubicBezTo>
                    <a:pt x="3" y="1"/>
                    <a:pt x="3" y="0"/>
                    <a:pt x="3" y="0"/>
                  </a:cubicBezTo>
                  <a:cubicBezTo>
                    <a:pt x="1" y="0"/>
                    <a:pt x="1" y="0"/>
                    <a:pt x="1" y="0"/>
                  </a:cubicBezTo>
                  <a:cubicBezTo>
                    <a:pt x="1" y="0"/>
                    <a:pt x="0" y="1"/>
                    <a:pt x="0" y="1"/>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64" name="Freeform 251">
              <a:extLst>
                <a:ext uri="{FF2B5EF4-FFF2-40B4-BE49-F238E27FC236}">
                  <a16:creationId xmlns:a16="http://schemas.microsoft.com/office/drawing/2014/main" id="{43AA994D-20E3-4FC7-932A-10C36E08E277}"/>
                </a:ext>
              </a:extLst>
            </p:cNvPr>
            <p:cNvSpPr>
              <a:spLocks noEditPoints="1"/>
            </p:cNvSpPr>
            <p:nvPr/>
          </p:nvSpPr>
          <p:spPr bwMode="auto">
            <a:xfrm>
              <a:off x="13838460" y="2080380"/>
              <a:ext cx="12617" cy="34247"/>
            </a:xfrm>
            <a:custGeom>
              <a:avLst/>
              <a:gdLst>
                <a:gd name="T0" fmla="*/ 3 w 3"/>
                <a:gd name="T1" fmla="*/ 8 h 8"/>
                <a:gd name="T2" fmla="*/ 1 w 3"/>
                <a:gd name="T3" fmla="*/ 8 h 8"/>
                <a:gd name="T4" fmla="*/ 0 w 3"/>
                <a:gd name="T5" fmla="*/ 8 h 8"/>
                <a:gd name="T6" fmla="*/ 0 w 3"/>
                <a:gd name="T7" fmla="*/ 1 h 8"/>
                <a:gd name="T8" fmla="*/ 1 w 3"/>
                <a:gd name="T9" fmla="*/ 0 h 8"/>
                <a:gd name="T10" fmla="*/ 3 w 3"/>
                <a:gd name="T11" fmla="*/ 0 h 8"/>
                <a:gd name="T12" fmla="*/ 3 w 3"/>
                <a:gd name="T13" fmla="*/ 1 h 8"/>
                <a:gd name="T14" fmla="*/ 3 w 3"/>
                <a:gd name="T15" fmla="*/ 8 h 8"/>
                <a:gd name="T16" fmla="*/ 3 w 3"/>
                <a:gd name="T17" fmla="*/ 8 h 8"/>
                <a:gd name="T18" fmla="*/ 1 w 3"/>
                <a:gd name="T19" fmla="*/ 1 h 8"/>
                <a:gd name="T20" fmla="*/ 1 w 3"/>
                <a:gd name="T21" fmla="*/ 8 h 8"/>
                <a:gd name="T22" fmla="*/ 3 w 3"/>
                <a:gd name="T23" fmla="*/ 8 h 8"/>
                <a:gd name="T24" fmla="*/ 3 w 3"/>
                <a:gd name="T25" fmla="*/ 1 h 8"/>
                <a:gd name="T26" fmla="*/ 1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8"/>
                  </a:moveTo>
                  <a:cubicBezTo>
                    <a:pt x="1" y="8"/>
                    <a:pt x="1" y="8"/>
                    <a:pt x="1" y="8"/>
                  </a:cubicBezTo>
                  <a:cubicBezTo>
                    <a:pt x="0" y="8"/>
                    <a:pt x="0" y="8"/>
                    <a:pt x="0" y="8"/>
                  </a:cubicBezTo>
                  <a:cubicBezTo>
                    <a:pt x="0" y="1"/>
                    <a:pt x="0" y="1"/>
                    <a:pt x="0" y="1"/>
                  </a:cubicBezTo>
                  <a:cubicBezTo>
                    <a:pt x="0" y="0"/>
                    <a:pt x="0" y="0"/>
                    <a:pt x="1" y="0"/>
                  </a:cubicBezTo>
                  <a:cubicBezTo>
                    <a:pt x="3" y="0"/>
                    <a:pt x="3" y="0"/>
                    <a:pt x="3" y="0"/>
                  </a:cubicBezTo>
                  <a:cubicBezTo>
                    <a:pt x="3" y="0"/>
                    <a:pt x="3" y="0"/>
                    <a:pt x="3" y="1"/>
                  </a:cubicBezTo>
                  <a:cubicBezTo>
                    <a:pt x="3" y="8"/>
                    <a:pt x="3" y="8"/>
                    <a:pt x="3" y="8"/>
                  </a:cubicBezTo>
                  <a:cubicBezTo>
                    <a:pt x="3" y="8"/>
                    <a:pt x="3" y="8"/>
                    <a:pt x="3" y="8"/>
                  </a:cubicBezTo>
                  <a:close/>
                  <a:moveTo>
                    <a:pt x="1" y="1"/>
                  </a:moveTo>
                  <a:cubicBezTo>
                    <a:pt x="1" y="8"/>
                    <a:pt x="1" y="8"/>
                    <a:pt x="1" y="8"/>
                  </a:cubicBezTo>
                  <a:cubicBezTo>
                    <a:pt x="3" y="8"/>
                    <a:pt x="3" y="8"/>
                    <a:pt x="3" y="8"/>
                  </a:cubicBezTo>
                  <a:cubicBezTo>
                    <a:pt x="3" y="1"/>
                    <a:pt x="3" y="1"/>
                    <a:pt x="3" y="1"/>
                  </a:cubicBezTo>
                  <a:lnTo>
                    <a:pt x="1"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65" name="Oval 252">
              <a:extLst>
                <a:ext uri="{FF2B5EF4-FFF2-40B4-BE49-F238E27FC236}">
                  <a16:creationId xmlns:a16="http://schemas.microsoft.com/office/drawing/2014/main" id="{EC288A44-A2F8-4A37-9705-9E7286BA3A9B}"/>
                </a:ext>
              </a:extLst>
            </p:cNvPr>
            <p:cNvSpPr>
              <a:spLocks noChangeArrowheads="1"/>
            </p:cNvSpPr>
            <p:nvPr/>
          </p:nvSpPr>
          <p:spPr bwMode="auto">
            <a:xfrm>
              <a:off x="13829448" y="2156084"/>
              <a:ext cx="64889" cy="59481"/>
            </a:xfrm>
            <a:prstGeom prst="ellipse">
              <a:avLst/>
            </a:pr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66" name="Freeform 253">
              <a:extLst>
                <a:ext uri="{FF2B5EF4-FFF2-40B4-BE49-F238E27FC236}">
                  <a16:creationId xmlns:a16="http://schemas.microsoft.com/office/drawing/2014/main" id="{6771F02F-2E32-4673-B423-826D34273787}"/>
                </a:ext>
              </a:extLst>
            </p:cNvPr>
            <p:cNvSpPr>
              <a:spLocks noEditPoints="1"/>
            </p:cNvSpPr>
            <p:nvPr/>
          </p:nvSpPr>
          <p:spPr bwMode="auto">
            <a:xfrm>
              <a:off x="13829448" y="2152479"/>
              <a:ext cx="64889" cy="66691"/>
            </a:xfrm>
            <a:custGeom>
              <a:avLst/>
              <a:gdLst>
                <a:gd name="T0" fmla="*/ 7 w 15"/>
                <a:gd name="T1" fmla="*/ 16 h 16"/>
                <a:gd name="T2" fmla="*/ 0 w 15"/>
                <a:gd name="T3" fmla="*/ 8 h 16"/>
                <a:gd name="T4" fmla="*/ 7 w 15"/>
                <a:gd name="T5" fmla="*/ 0 h 16"/>
                <a:gd name="T6" fmla="*/ 15 w 15"/>
                <a:gd name="T7" fmla="*/ 8 h 16"/>
                <a:gd name="T8" fmla="*/ 7 w 15"/>
                <a:gd name="T9" fmla="*/ 16 h 16"/>
                <a:gd name="T10" fmla="*/ 7 w 15"/>
                <a:gd name="T11" fmla="*/ 1 h 16"/>
                <a:gd name="T12" fmla="*/ 0 w 15"/>
                <a:gd name="T13" fmla="*/ 8 h 16"/>
                <a:gd name="T14" fmla="*/ 7 w 15"/>
                <a:gd name="T15" fmla="*/ 15 h 16"/>
                <a:gd name="T16" fmla="*/ 14 w 15"/>
                <a:gd name="T17" fmla="*/ 8 h 16"/>
                <a:gd name="T18" fmla="*/ 7 w 15"/>
                <a:gd name="T19"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6">
                  <a:moveTo>
                    <a:pt x="7" y="16"/>
                  </a:moveTo>
                  <a:cubicBezTo>
                    <a:pt x="3" y="16"/>
                    <a:pt x="0" y="12"/>
                    <a:pt x="0" y="8"/>
                  </a:cubicBezTo>
                  <a:cubicBezTo>
                    <a:pt x="0" y="4"/>
                    <a:pt x="3" y="0"/>
                    <a:pt x="7" y="0"/>
                  </a:cubicBezTo>
                  <a:cubicBezTo>
                    <a:pt x="12" y="0"/>
                    <a:pt x="15" y="4"/>
                    <a:pt x="15" y="8"/>
                  </a:cubicBezTo>
                  <a:cubicBezTo>
                    <a:pt x="15" y="12"/>
                    <a:pt x="12" y="16"/>
                    <a:pt x="7" y="16"/>
                  </a:cubicBezTo>
                  <a:close/>
                  <a:moveTo>
                    <a:pt x="7" y="1"/>
                  </a:moveTo>
                  <a:cubicBezTo>
                    <a:pt x="4" y="1"/>
                    <a:pt x="0" y="4"/>
                    <a:pt x="0" y="8"/>
                  </a:cubicBezTo>
                  <a:cubicBezTo>
                    <a:pt x="0" y="12"/>
                    <a:pt x="4" y="15"/>
                    <a:pt x="7" y="15"/>
                  </a:cubicBezTo>
                  <a:cubicBezTo>
                    <a:pt x="11" y="15"/>
                    <a:pt x="14" y="12"/>
                    <a:pt x="14" y="8"/>
                  </a:cubicBezTo>
                  <a:cubicBezTo>
                    <a:pt x="14" y="4"/>
                    <a:pt x="11" y="1"/>
                    <a:pt x="7" y="1"/>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67" name="Freeform 254">
              <a:extLst>
                <a:ext uri="{FF2B5EF4-FFF2-40B4-BE49-F238E27FC236}">
                  <a16:creationId xmlns:a16="http://schemas.microsoft.com/office/drawing/2014/main" id="{D482352C-0E3A-4F00-B14E-F024D0F8219E}"/>
                </a:ext>
              </a:extLst>
            </p:cNvPr>
            <p:cNvSpPr>
              <a:spLocks/>
            </p:cNvSpPr>
            <p:nvPr/>
          </p:nvSpPr>
          <p:spPr bwMode="auto">
            <a:xfrm>
              <a:off x="13851078" y="2186726"/>
              <a:ext cx="16222" cy="0"/>
            </a:xfrm>
            <a:custGeom>
              <a:avLst/>
              <a:gdLst>
                <a:gd name="T0" fmla="*/ 4 w 4"/>
                <a:gd name="T1" fmla="*/ 0 w 4"/>
                <a:gd name="T2" fmla="*/ 0 w 4"/>
                <a:gd name="T3" fmla="*/ 0 w 4"/>
                <a:gd name="T4" fmla="*/ 4 w 4"/>
                <a:gd name="T5" fmla="*/ 4 w 4"/>
                <a:gd name="T6" fmla="*/ 4 w 4"/>
              </a:gdLst>
              <a:ahLst/>
              <a:cxnLst>
                <a:cxn ang="0">
                  <a:pos x="T0" y="0"/>
                </a:cxn>
                <a:cxn ang="0">
                  <a:pos x="T1" y="0"/>
                </a:cxn>
                <a:cxn ang="0">
                  <a:pos x="T2" y="0"/>
                </a:cxn>
                <a:cxn ang="0">
                  <a:pos x="T3" y="0"/>
                </a:cxn>
                <a:cxn ang="0">
                  <a:pos x="T4" y="0"/>
                </a:cxn>
                <a:cxn ang="0">
                  <a:pos x="T5" y="0"/>
                </a:cxn>
                <a:cxn ang="0">
                  <a:pos x="T6" y="0"/>
                </a:cxn>
              </a:cxnLst>
              <a:rect l="0" t="0" r="r" b="b"/>
              <a:pathLst>
                <a:path w="4">
                  <a:moveTo>
                    <a:pt x="4" y="0"/>
                  </a:moveTo>
                  <a:cubicBezTo>
                    <a:pt x="0" y="0"/>
                    <a:pt x="0" y="0"/>
                    <a:pt x="0" y="0"/>
                  </a:cubicBezTo>
                  <a:cubicBezTo>
                    <a:pt x="0" y="0"/>
                    <a:pt x="0" y="0"/>
                    <a:pt x="0" y="0"/>
                  </a:cubicBezTo>
                  <a:cubicBezTo>
                    <a:pt x="0" y="0"/>
                    <a:pt x="0" y="0"/>
                    <a:pt x="0" y="0"/>
                  </a:cubicBezTo>
                  <a:cubicBezTo>
                    <a:pt x="4" y="0"/>
                    <a:pt x="4" y="0"/>
                    <a:pt x="4" y="0"/>
                  </a:cubicBezTo>
                  <a:cubicBezTo>
                    <a:pt x="4" y="0"/>
                    <a:pt x="4" y="0"/>
                    <a:pt x="4" y="0"/>
                  </a:cubicBezTo>
                  <a:cubicBezTo>
                    <a:pt x="4" y="0"/>
                    <a:pt x="4" y="0"/>
                    <a:pt x="4" y="0"/>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nvGrpSpPr>
          <p:cNvPr id="2268" name="Group 2267">
            <a:extLst>
              <a:ext uri="{FF2B5EF4-FFF2-40B4-BE49-F238E27FC236}">
                <a16:creationId xmlns:a16="http://schemas.microsoft.com/office/drawing/2014/main" id="{FA0B7492-9C1B-447D-9E63-ED0FDE0F45E9}"/>
              </a:ext>
            </a:extLst>
          </p:cNvPr>
          <p:cNvGrpSpPr/>
          <p:nvPr/>
        </p:nvGrpSpPr>
        <p:grpSpPr>
          <a:xfrm>
            <a:off x="9476001" y="4258534"/>
            <a:ext cx="156000" cy="243070"/>
            <a:chOff x="13313943" y="2067763"/>
            <a:chExt cx="155012" cy="241530"/>
          </a:xfrm>
        </p:grpSpPr>
        <p:sp>
          <p:nvSpPr>
            <p:cNvPr id="2269" name="Freeform 255">
              <a:extLst>
                <a:ext uri="{FF2B5EF4-FFF2-40B4-BE49-F238E27FC236}">
                  <a16:creationId xmlns:a16="http://schemas.microsoft.com/office/drawing/2014/main" id="{6AFA8A52-4807-4D12-AA43-942E5E96E207}"/>
                </a:ext>
              </a:extLst>
            </p:cNvPr>
            <p:cNvSpPr>
              <a:spLocks/>
            </p:cNvSpPr>
            <p:nvPr/>
          </p:nvSpPr>
          <p:spPr bwMode="auto">
            <a:xfrm>
              <a:off x="13319350" y="2080380"/>
              <a:ext cx="144197" cy="216296"/>
            </a:xfrm>
            <a:custGeom>
              <a:avLst/>
              <a:gdLst>
                <a:gd name="T0" fmla="*/ 0 w 34"/>
                <a:gd name="T1" fmla="*/ 47 h 51"/>
                <a:gd name="T2" fmla="*/ 0 w 34"/>
                <a:gd name="T3" fmla="*/ 5 h 51"/>
                <a:gd name="T4" fmla="*/ 4 w 34"/>
                <a:gd name="T5" fmla="*/ 0 h 51"/>
                <a:gd name="T6" fmla="*/ 30 w 34"/>
                <a:gd name="T7" fmla="*/ 0 h 51"/>
                <a:gd name="T8" fmla="*/ 34 w 34"/>
                <a:gd name="T9" fmla="*/ 5 h 51"/>
                <a:gd name="T10" fmla="*/ 34 w 34"/>
                <a:gd name="T11" fmla="*/ 47 h 51"/>
                <a:gd name="T12" fmla="*/ 30 w 34"/>
                <a:gd name="T13" fmla="*/ 51 h 51"/>
                <a:gd name="T14" fmla="*/ 4 w 34"/>
                <a:gd name="T15" fmla="*/ 51 h 51"/>
                <a:gd name="T16" fmla="*/ 0 w 34"/>
                <a:gd name="T17" fmla="*/ 4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1">
                  <a:moveTo>
                    <a:pt x="0" y="47"/>
                  </a:moveTo>
                  <a:cubicBezTo>
                    <a:pt x="0" y="5"/>
                    <a:pt x="0" y="5"/>
                    <a:pt x="0" y="5"/>
                  </a:cubicBezTo>
                  <a:cubicBezTo>
                    <a:pt x="0" y="2"/>
                    <a:pt x="2" y="0"/>
                    <a:pt x="4" y="0"/>
                  </a:cubicBezTo>
                  <a:cubicBezTo>
                    <a:pt x="30" y="0"/>
                    <a:pt x="30" y="0"/>
                    <a:pt x="30" y="0"/>
                  </a:cubicBezTo>
                  <a:cubicBezTo>
                    <a:pt x="32" y="0"/>
                    <a:pt x="34" y="2"/>
                    <a:pt x="34" y="5"/>
                  </a:cubicBezTo>
                  <a:cubicBezTo>
                    <a:pt x="34" y="47"/>
                    <a:pt x="34" y="47"/>
                    <a:pt x="34" y="47"/>
                  </a:cubicBezTo>
                  <a:cubicBezTo>
                    <a:pt x="34" y="49"/>
                    <a:pt x="32" y="51"/>
                    <a:pt x="30" y="51"/>
                  </a:cubicBezTo>
                  <a:cubicBezTo>
                    <a:pt x="4" y="51"/>
                    <a:pt x="4" y="51"/>
                    <a:pt x="4" y="51"/>
                  </a:cubicBezTo>
                  <a:cubicBezTo>
                    <a:pt x="2" y="51"/>
                    <a:pt x="0" y="49"/>
                    <a:pt x="0" y="47"/>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70" name="Freeform 256">
              <a:extLst>
                <a:ext uri="{FF2B5EF4-FFF2-40B4-BE49-F238E27FC236}">
                  <a16:creationId xmlns:a16="http://schemas.microsoft.com/office/drawing/2014/main" id="{D99E190F-DCFA-40AB-A507-1F09290F973D}"/>
                </a:ext>
              </a:extLst>
            </p:cNvPr>
            <p:cNvSpPr>
              <a:spLocks noEditPoints="1"/>
            </p:cNvSpPr>
            <p:nvPr/>
          </p:nvSpPr>
          <p:spPr bwMode="auto">
            <a:xfrm>
              <a:off x="13313943" y="2074973"/>
              <a:ext cx="155012" cy="225308"/>
            </a:xfrm>
            <a:custGeom>
              <a:avLst/>
              <a:gdLst>
                <a:gd name="T0" fmla="*/ 31 w 36"/>
                <a:gd name="T1" fmla="*/ 53 h 53"/>
                <a:gd name="T2" fmla="*/ 5 w 36"/>
                <a:gd name="T3" fmla="*/ 53 h 53"/>
                <a:gd name="T4" fmla="*/ 0 w 36"/>
                <a:gd name="T5" fmla="*/ 48 h 53"/>
                <a:gd name="T6" fmla="*/ 0 w 36"/>
                <a:gd name="T7" fmla="*/ 6 h 53"/>
                <a:gd name="T8" fmla="*/ 5 w 36"/>
                <a:gd name="T9" fmla="*/ 0 h 53"/>
                <a:gd name="T10" fmla="*/ 31 w 36"/>
                <a:gd name="T11" fmla="*/ 0 h 53"/>
                <a:gd name="T12" fmla="*/ 36 w 36"/>
                <a:gd name="T13" fmla="*/ 6 h 53"/>
                <a:gd name="T14" fmla="*/ 36 w 36"/>
                <a:gd name="T15" fmla="*/ 48 h 53"/>
                <a:gd name="T16" fmla="*/ 31 w 36"/>
                <a:gd name="T17" fmla="*/ 53 h 53"/>
                <a:gd name="T18" fmla="*/ 5 w 36"/>
                <a:gd name="T19" fmla="*/ 2 h 53"/>
                <a:gd name="T20" fmla="*/ 2 w 36"/>
                <a:gd name="T21" fmla="*/ 6 h 53"/>
                <a:gd name="T22" fmla="*/ 2 w 36"/>
                <a:gd name="T23" fmla="*/ 48 h 53"/>
                <a:gd name="T24" fmla="*/ 5 w 36"/>
                <a:gd name="T25" fmla="*/ 52 h 53"/>
                <a:gd name="T26" fmla="*/ 31 w 36"/>
                <a:gd name="T27" fmla="*/ 52 h 53"/>
                <a:gd name="T28" fmla="*/ 35 w 36"/>
                <a:gd name="T29" fmla="*/ 48 h 53"/>
                <a:gd name="T30" fmla="*/ 35 w 36"/>
                <a:gd name="T31" fmla="*/ 6 h 53"/>
                <a:gd name="T32" fmla="*/ 31 w 36"/>
                <a:gd name="T33" fmla="*/ 2 h 53"/>
                <a:gd name="T34" fmla="*/ 5 w 36"/>
                <a:gd name="T35"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53">
                  <a:moveTo>
                    <a:pt x="31" y="53"/>
                  </a:moveTo>
                  <a:cubicBezTo>
                    <a:pt x="5" y="53"/>
                    <a:pt x="5" y="53"/>
                    <a:pt x="5" y="53"/>
                  </a:cubicBezTo>
                  <a:cubicBezTo>
                    <a:pt x="3" y="53"/>
                    <a:pt x="0" y="51"/>
                    <a:pt x="0" y="48"/>
                  </a:cubicBezTo>
                  <a:cubicBezTo>
                    <a:pt x="0" y="6"/>
                    <a:pt x="0" y="6"/>
                    <a:pt x="0" y="6"/>
                  </a:cubicBezTo>
                  <a:cubicBezTo>
                    <a:pt x="0" y="3"/>
                    <a:pt x="3" y="0"/>
                    <a:pt x="5" y="0"/>
                  </a:cubicBezTo>
                  <a:cubicBezTo>
                    <a:pt x="31" y="0"/>
                    <a:pt x="31" y="0"/>
                    <a:pt x="31" y="0"/>
                  </a:cubicBezTo>
                  <a:cubicBezTo>
                    <a:pt x="34" y="0"/>
                    <a:pt x="36" y="3"/>
                    <a:pt x="36" y="6"/>
                  </a:cubicBezTo>
                  <a:cubicBezTo>
                    <a:pt x="36" y="48"/>
                    <a:pt x="36" y="48"/>
                    <a:pt x="36" y="48"/>
                  </a:cubicBezTo>
                  <a:cubicBezTo>
                    <a:pt x="36" y="51"/>
                    <a:pt x="34" y="53"/>
                    <a:pt x="31" y="53"/>
                  </a:cubicBezTo>
                  <a:close/>
                  <a:moveTo>
                    <a:pt x="5" y="2"/>
                  </a:moveTo>
                  <a:cubicBezTo>
                    <a:pt x="3" y="2"/>
                    <a:pt x="2" y="3"/>
                    <a:pt x="2" y="6"/>
                  </a:cubicBezTo>
                  <a:cubicBezTo>
                    <a:pt x="2" y="48"/>
                    <a:pt x="2" y="48"/>
                    <a:pt x="2" y="48"/>
                  </a:cubicBezTo>
                  <a:cubicBezTo>
                    <a:pt x="2" y="50"/>
                    <a:pt x="3" y="52"/>
                    <a:pt x="5" y="52"/>
                  </a:cubicBezTo>
                  <a:cubicBezTo>
                    <a:pt x="31" y="52"/>
                    <a:pt x="31" y="52"/>
                    <a:pt x="31" y="52"/>
                  </a:cubicBezTo>
                  <a:cubicBezTo>
                    <a:pt x="33" y="52"/>
                    <a:pt x="35" y="50"/>
                    <a:pt x="35" y="48"/>
                  </a:cubicBezTo>
                  <a:cubicBezTo>
                    <a:pt x="35" y="6"/>
                    <a:pt x="35" y="6"/>
                    <a:pt x="35" y="6"/>
                  </a:cubicBezTo>
                  <a:cubicBezTo>
                    <a:pt x="35" y="3"/>
                    <a:pt x="33" y="2"/>
                    <a:pt x="31" y="2"/>
                  </a:cubicBezTo>
                  <a:lnTo>
                    <a:pt x="5" y="2"/>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71" name="Rectangle 257">
              <a:extLst>
                <a:ext uri="{FF2B5EF4-FFF2-40B4-BE49-F238E27FC236}">
                  <a16:creationId xmlns:a16="http://schemas.microsoft.com/office/drawing/2014/main" id="{CED4F2EE-4B5D-4D19-ACA9-946D48AF2C89}"/>
                </a:ext>
              </a:extLst>
            </p:cNvPr>
            <p:cNvSpPr>
              <a:spLocks noChangeArrowheads="1"/>
            </p:cNvSpPr>
            <p:nvPr/>
          </p:nvSpPr>
          <p:spPr bwMode="auto">
            <a:xfrm>
              <a:off x="13348189" y="2134454"/>
              <a:ext cx="86518" cy="102741"/>
            </a:xfrm>
            <a:prstGeom prst="rect">
              <a:avLst/>
            </a:prstGeom>
            <a:solidFill>
              <a:srgbClr val="6F6D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72" name="Freeform 258">
              <a:extLst>
                <a:ext uri="{FF2B5EF4-FFF2-40B4-BE49-F238E27FC236}">
                  <a16:creationId xmlns:a16="http://schemas.microsoft.com/office/drawing/2014/main" id="{05C4768F-72FC-4A7D-AE43-3A0166A8295F}"/>
                </a:ext>
              </a:extLst>
            </p:cNvPr>
            <p:cNvSpPr>
              <a:spLocks noEditPoints="1"/>
            </p:cNvSpPr>
            <p:nvPr/>
          </p:nvSpPr>
          <p:spPr bwMode="auto">
            <a:xfrm>
              <a:off x="13348189" y="2134454"/>
              <a:ext cx="90123" cy="102741"/>
            </a:xfrm>
            <a:custGeom>
              <a:avLst/>
              <a:gdLst>
                <a:gd name="T0" fmla="*/ 50 w 50"/>
                <a:gd name="T1" fmla="*/ 57 h 57"/>
                <a:gd name="T2" fmla="*/ 0 w 50"/>
                <a:gd name="T3" fmla="*/ 57 h 57"/>
                <a:gd name="T4" fmla="*/ 0 w 50"/>
                <a:gd name="T5" fmla="*/ 0 h 57"/>
                <a:gd name="T6" fmla="*/ 50 w 50"/>
                <a:gd name="T7" fmla="*/ 0 h 57"/>
                <a:gd name="T8" fmla="*/ 50 w 50"/>
                <a:gd name="T9" fmla="*/ 57 h 57"/>
                <a:gd name="T10" fmla="*/ 0 w 50"/>
                <a:gd name="T11" fmla="*/ 57 h 57"/>
                <a:gd name="T12" fmla="*/ 48 w 50"/>
                <a:gd name="T13" fmla="*/ 57 h 57"/>
                <a:gd name="T14" fmla="*/ 48 w 50"/>
                <a:gd name="T15" fmla="*/ 0 h 57"/>
                <a:gd name="T16" fmla="*/ 0 w 50"/>
                <a:gd name="T17" fmla="*/ 0 h 57"/>
                <a:gd name="T18" fmla="*/ 0 w 50"/>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7">
                  <a:moveTo>
                    <a:pt x="50" y="57"/>
                  </a:moveTo>
                  <a:lnTo>
                    <a:pt x="0" y="57"/>
                  </a:lnTo>
                  <a:lnTo>
                    <a:pt x="0" y="0"/>
                  </a:lnTo>
                  <a:lnTo>
                    <a:pt x="50" y="0"/>
                  </a:lnTo>
                  <a:lnTo>
                    <a:pt x="50" y="57"/>
                  </a:lnTo>
                  <a:close/>
                  <a:moveTo>
                    <a:pt x="0" y="57"/>
                  </a:moveTo>
                  <a:lnTo>
                    <a:pt x="48" y="57"/>
                  </a:lnTo>
                  <a:lnTo>
                    <a:pt x="48" y="0"/>
                  </a:lnTo>
                  <a:lnTo>
                    <a:pt x="0" y="0"/>
                  </a:lnTo>
                  <a:lnTo>
                    <a:pt x="0" y="57"/>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73" name="Freeform 259">
              <a:extLst>
                <a:ext uri="{FF2B5EF4-FFF2-40B4-BE49-F238E27FC236}">
                  <a16:creationId xmlns:a16="http://schemas.microsoft.com/office/drawing/2014/main" id="{EE4875C5-E39C-4C3B-8447-3E092CA64F0F}"/>
                </a:ext>
              </a:extLst>
            </p:cNvPr>
            <p:cNvSpPr>
              <a:spLocks/>
            </p:cNvSpPr>
            <p:nvPr/>
          </p:nvSpPr>
          <p:spPr bwMode="auto">
            <a:xfrm>
              <a:off x="13404066" y="2266034"/>
              <a:ext cx="12617" cy="30642"/>
            </a:xfrm>
            <a:custGeom>
              <a:avLst/>
              <a:gdLst>
                <a:gd name="T0" fmla="*/ 0 w 3"/>
                <a:gd name="T1" fmla="*/ 7 h 7"/>
                <a:gd name="T2" fmla="*/ 0 w 3"/>
                <a:gd name="T3" fmla="*/ 0 h 7"/>
                <a:gd name="T4" fmla="*/ 0 w 3"/>
                <a:gd name="T5" fmla="*/ 0 h 7"/>
                <a:gd name="T6" fmla="*/ 2 w 3"/>
                <a:gd name="T7" fmla="*/ 0 h 7"/>
                <a:gd name="T8" fmla="*/ 3 w 3"/>
                <a:gd name="T9" fmla="*/ 0 h 7"/>
                <a:gd name="T10" fmla="*/ 3 w 3"/>
                <a:gd name="T11" fmla="*/ 7 h 7"/>
                <a:gd name="T12" fmla="*/ 2 w 3"/>
                <a:gd name="T13" fmla="*/ 7 h 7"/>
                <a:gd name="T14" fmla="*/ 0 w 3"/>
                <a:gd name="T15" fmla="*/ 7 h 7"/>
                <a:gd name="T16" fmla="*/ 0 w 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0" y="7"/>
                  </a:moveTo>
                  <a:cubicBezTo>
                    <a:pt x="0" y="0"/>
                    <a:pt x="0" y="0"/>
                    <a:pt x="0" y="0"/>
                  </a:cubicBezTo>
                  <a:cubicBezTo>
                    <a:pt x="0" y="0"/>
                    <a:pt x="0" y="0"/>
                    <a:pt x="0" y="0"/>
                  </a:cubicBezTo>
                  <a:cubicBezTo>
                    <a:pt x="2" y="0"/>
                    <a:pt x="2" y="0"/>
                    <a:pt x="2" y="0"/>
                  </a:cubicBezTo>
                  <a:cubicBezTo>
                    <a:pt x="3" y="0"/>
                    <a:pt x="3" y="0"/>
                    <a:pt x="3" y="0"/>
                  </a:cubicBezTo>
                  <a:cubicBezTo>
                    <a:pt x="3" y="7"/>
                    <a:pt x="3" y="7"/>
                    <a:pt x="3" y="7"/>
                  </a:cubicBezTo>
                  <a:cubicBezTo>
                    <a:pt x="3" y="7"/>
                    <a:pt x="3" y="7"/>
                    <a:pt x="2" y="7"/>
                  </a:cubicBezTo>
                  <a:cubicBezTo>
                    <a:pt x="0" y="7"/>
                    <a:pt x="0" y="7"/>
                    <a:pt x="0" y="7"/>
                  </a:cubicBezTo>
                  <a:cubicBezTo>
                    <a:pt x="0" y="7"/>
                    <a:pt x="0" y="7"/>
                    <a:pt x="0" y="7"/>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74" name="Freeform 260">
              <a:extLst>
                <a:ext uri="{FF2B5EF4-FFF2-40B4-BE49-F238E27FC236}">
                  <a16:creationId xmlns:a16="http://schemas.microsoft.com/office/drawing/2014/main" id="{15A097D1-95E8-4596-81B7-A397778AE66B}"/>
                </a:ext>
              </a:extLst>
            </p:cNvPr>
            <p:cNvSpPr>
              <a:spLocks noEditPoints="1"/>
            </p:cNvSpPr>
            <p:nvPr/>
          </p:nvSpPr>
          <p:spPr bwMode="auto">
            <a:xfrm>
              <a:off x="13404066" y="2262429"/>
              <a:ext cx="12617" cy="37852"/>
            </a:xfrm>
            <a:custGeom>
              <a:avLst/>
              <a:gdLst>
                <a:gd name="T0" fmla="*/ 2 w 3"/>
                <a:gd name="T1" fmla="*/ 9 h 9"/>
                <a:gd name="T2" fmla="*/ 0 w 3"/>
                <a:gd name="T3" fmla="*/ 9 h 9"/>
                <a:gd name="T4" fmla="*/ 0 w 3"/>
                <a:gd name="T5" fmla="*/ 8 h 9"/>
                <a:gd name="T6" fmla="*/ 0 w 3"/>
                <a:gd name="T7" fmla="*/ 1 h 9"/>
                <a:gd name="T8" fmla="*/ 0 w 3"/>
                <a:gd name="T9" fmla="*/ 0 h 9"/>
                <a:gd name="T10" fmla="*/ 2 w 3"/>
                <a:gd name="T11" fmla="*/ 0 h 9"/>
                <a:gd name="T12" fmla="*/ 3 w 3"/>
                <a:gd name="T13" fmla="*/ 1 h 9"/>
                <a:gd name="T14" fmla="*/ 3 w 3"/>
                <a:gd name="T15" fmla="*/ 8 h 9"/>
                <a:gd name="T16" fmla="*/ 2 w 3"/>
                <a:gd name="T17" fmla="*/ 9 h 9"/>
                <a:gd name="T18" fmla="*/ 0 w 3"/>
                <a:gd name="T19" fmla="*/ 8 h 9"/>
                <a:gd name="T20" fmla="*/ 2 w 3"/>
                <a:gd name="T21" fmla="*/ 8 h 9"/>
                <a:gd name="T22" fmla="*/ 2 w 3"/>
                <a:gd name="T23" fmla="*/ 1 h 9"/>
                <a:gd name="T24" fmla="*/ 0 w 3"/>
                <a:gd name="T25" fmla="*/ 1 h 9"/>
                <a:gd name="T26" fmla="*/ 0 w 3"/>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2" y="9"/>
                  </a:moveTo>
                  <a:cubicBezTo>
                    <a:pt x="0" y="9"/>
                    <a:pt x="0" y="9"/>
                    <a:pt x="0" y="9"/>
                  </a:cubicBezTo>
                  <a:cubicBezTo>
                    <a:pt x="0" y="9"/>
                    <a:pt x="0" y="8"/>
                    <a:pt x="0" y="8"/>
                  </a:cubicBezTo>
                  <a:cubicBezTo>
                    <a:pt x="0" y="1"/>
                    <a:pt x="0" y="1"/>
                    <a:pt x="0" y="1"/>
                  </a:cubicBezTo>
                  <a:cubicBezTo>
                    <a:pt x="0" y="1"/>
                    <a:pt x="0" y="0"/>
                    <a:pt x="0" y="0"/>
                  </a:cubicBezTo>
                  <a:cubicBezTo>
                    <a:pt x="2" y="0"/>
                    <a:pt x="2" y="0"/>
                    <a:pt x="2" y="0"/>
                  </a:cubicBezTo>
                  <a:cubicBezTo>
                    <a:pt x="3" y="0"/>
                    <a:pt x="3" y="1"/>
                    <a:pt x="3" y="1"/>
                  </a:cubicBezTo>
                  <a:cubicBezTo>
                    <a:pt x="3" y="8"/>
                    <a:pt x="3" y="8"/>
                    <a:pt x="3" y="8"/>
                  </a:cubicBezTo>
                  <a:cubicBezTo>
                    <a:pt x="3" y="8"/>
                    <a:pt x="3" y="9"/>
                    <a:pt x="2" y="9"/>
                  </a:cubicBezTo>
                  <a:close/>
                  <a:moveTo>
                    <a:pt x="0" y="8"/>
                  </a:moveTo>
                  <a:cubicBezTo>
                    <a:pt x="2" y="8"/>
                    <a:pt x="2" y="8"/>
                    <a:pt x="2" y="8"/>
                  </a:cubicBezTo>
                  <a:cubicBezTo>
                    <a:pt x="2" y="1"/>
                    <a:pt x="2" y="1"/>
                    <a:pt x="2" y="1"/>
                  </a:cubicBezTo>
                  <a:cubicBezTo>
                    <a:pt x="0" y="1"/>
                    <a:pt x="0" y="1"/>
                    <a:pt x="0" y="1"/>
                  </a:cubicBezTo>
                  <a:lnTo>
                    <a:pt x="0" y="8"/>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275" name="Freeform 261">
              <a:extLst>
                <a:ext uri="{FF2B5EF4-FFF2-40B4-BE49-F238E27FC236}">
                  <a16:creationId xmlns:a16="http://schemas.microsoft.com/office/drawing/2014/main" id="{87301E32-7F64-4A76-BE80-08ABF6729ADD}"/>
                </a:ext>
              </a:extLst>
            </p:cNvPr>
            <p:cNvSpPr>
              <a:spLocks/>
            </p:cNvSpPr>
            <p:nvPr/>
          </p:nvSpPr>
          <p:spPr bwMode="auto">
            <a:xfrm>
              <a:off x="13360807" y="2296676"/>
              <a:ext cx="64889" cy="12617"/>
            </a:xfrm>
            <a:custGeom>
              <a:avLst/>
              <a:gdLst>
                <a:gd name="T0" fmla="*/ 0 w 15"/>
                <a:gd name="T1" fmla="*/ 0 h 3"/>
                <a:gd name="T2" fmla="*/ 15 w 15"/>
                <a:gd name="T3" fmla="*/ 0 h 3"/>
                <a:gd name="T4" fmla="*/ 15 w 15"/>
                <a:gd name="T5" fmla="*/ 1 h 3"/>
                <a:gd name="T6" fmla="*/ 15 w 15"/>
                <a:gd name="T7" fmla="*/ 3 h 3"/>
                <a:gd name="T8" fmla="*/ 15 w 15"/>
                <a:gd name="T9" fmla="*/ 3 h 3"/>
                <a:gd name="T10" fmla="*/ 0 w 15"/>
                <a:gd name="T11" fmla="*/ 3 h 3"/>
                <a:gd name="T12" fmla="*/ 0 w 15"/>
                <a:gd name="T13" fmla="*/ 3 h 3"/>
                <a:gd name="T14" fmla="*/ 0 w 15"/>
                <a:gd name="T15" fmla="*/ 1 h 3"/>
                <a:gd name="T16" fmla="*/ 0 w 15"/>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3">
                  <a:moveTo>
                    <a:pt x="0" y="0"/>
                  </a:moveTo>
                  <a:cubicBezTo>
                    <a:pt x="15" y="0"/>
                    <a:pt x="15" y="0"/>
                    <a:pt x="15" y="0"/>
                  </a:cubicBezTo>
                  <a:cubicBezTo>
                    <a:pt x="15" y="0"/>
                    <a:pt x="15" y="1"/>
                    <a:pt x="15" y="1"/>
                  </a:cubicBezTo>
                  <a:cubicBezTo>
                    <a:pt x="15" y="3"/>
                    <a:pt x="15" y="3"/>
                    <a:pt x="15" y="3"/>
                  </a:cubicBezTo>
                  <a:cubicBezTo>
                    <a:pt x="15" y="3"/>
                    <a:pt x="15" y="3"/>
                    <a:pt x="15" y="3"/>
                  </a:cubicBezTo>
                  <a:cubicBezTo>
                    <a:pt x="0" y="3"/>
                    <a:pt x="0" y="3"/>
                    <a:pt x="0" y="3"/>
                  </a:cubicBezTo>
                  <a:cubicBezTo>
                    <a:pt x="0" y="3"/>
                    <a:pt x="0" y="3"/>
                    <a:pt x="0" y="3"/>
                  </a:cubicBezTo>
                  <a:cubicBezTo>
                    <a:pt x="0" y="1"/>
                    <a:pt x="0" y="1"/>
                    <a:pt x="0" y="1"/>
                  </a:cubicBezTo>
                  <a:cubicBezTo>
                    <a:pt x="0" y="1"/>
                    <a:pt x="0" y="0"/>
                    <a:pt x="0" y="0"/>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42" name="Freeform 262">
              <a:extLst>
                <a:ext uri="{FF2B5EF4-FFF2-40B4-BE49-F238E27FC236}">
                  <a16:creationId xmlns:a16="http://schemas.microsoft.com/office/drawing/2014/main" id="{B14F6B35-29EF-4016-9C23-22F984DB67C7}"/>
                </a:ext>
              </a:extLst>
            </p:cNvPr>
            <p:cNvSpPr>
              <a:spLocks noEditPoints="1"/>
            </p:cNvSpPr>
            <p:nvPr/>
          </p:nvSpPr>
          <p:spPr bwMode="auto">
            <a:xfrm>
              <a:off x="13357202" y="2296676"/>
              <a:ext cx="72099" cy="12617"/>
            </a:xfrm>
            <a:custGeom>
              <a:avLst/>
              <a:gdLst>
                <a:gd name="T0" fmla="*/ 16 w 17"/>
                <a:gd name="T1" fmla="*/ 3 h 3"/>
                <a:gd name="T2" fmla="*/ 1 w 17"/>
                <a:gd name="T3" fmla="*/ 3 h 3"/>
                <a:gd name="T4" fmla="*/ 0 w 17"/>
                <a:gd name="T5" fmla="*/ 3 h 3"/>
                <a:gd name="T6" fmla="*/ 0 w 17"/>
                <a:gd name="T7" fmla="*/ 1 h 3"/>
                <a:gd name="T8" fmla="*/ 1 w 17"/>
                <a:gd name="T9" fmla="*/ 0 h 3"/>
                <a:gd name="T10" fmla="*/ 16 w 17"/>
                <a:gd name="T11" fmla="*/ 0 h 3"/>
                <a:gd name="T12" fmla="*/ 17 w 17"/>
                <a:gd name="T13" fmla="*/ 1 h 3"/>
                <a:gd name="T14" fmla="*/ 17 w 17"/>
                <a:gd name="T15" fmla="*/ 3 h 3"/>
                <a:gd name="T16" fmla="*/ 16 w 17"/>
                <a:gd name="T17" fmla="*/ 3 h 3"/>
                <a:gd name="T18" fmla="*/ 1 w 17"/>
                <a:gd name="T19" fmla="*/ 1 h 3"/>
                <a:gd name="T20" fmla="*/ 1 w 17"/>
                <a:gd name="T21" fmla="*/ 3 h 3"/>
                <a:gd name="T22" fmla="*/ 16 w 17"/>
                <a:gd name="T23" fmla="*/ 3 h 3"/>
                <a:gd name="T24" fmla="*/ 16 w 17"/>
                <a:gd name="T25" fmla="*/ 1 h 3"/>
                <a:gd name="T26" fmla="*/ 1 w 17"/>
                <a:gd name="T2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
                  <a:moveTo>
                    <a:pt x="16" y="3"/>
                  </a:moveTo>
                  <a:cubicBezTo>
                    <a:pt x="1" y="3"/>
                    <a:pt x="1" y="3"/>
                    <a:pt x="1" y="3"/>
                  </a:cubicBezTo>
                  <a:cubicBezTo>
                    <a:pt x="1" y="3"/>
                    <a:pt x="0" y="3"/>
                    <a:pt x="0" y="3"/>
                  </a:cubicBezTo>
                  <a:cubicBezTo>
                    <a:pt x="0" y="1"/>
                    <a:pt x="0" y="1"/>
                    <a:pt x="0" y="1"/>
                  </a:cubicBezTo>
                  <a:cubicBezTo>
                    <a:pt x="0" y="0"/>
                    <a:pt x="1" y="0"/>
                    <a:pt x="1" y="0"/>
                  </a:cubicBezTo>
                  <a:cubicBezTo>
                    <a:pt x="16" y="0"/>
                    <a:pt x="16" y="0"/>
                    <a:pt x="16" y="0"/>
                  </a:cubicBezTo>
                  <a:cubicBezTo>
                    <a:pt x="17" y="0"/>
                    <a:pt x="17" y="0"/>
                    <a:pt x="17" y="1"/>
                  </a:cubicBezTo>
                  <a:cubicBezTo>
                    <a:pt x="17" y="3"/>
                    <a:pt x="17" y="3"/>
                    <a:pt x="17" y="3"/>
                  </a:cubicBezTo>
                  <a:cubicBezTo>
                    <a:pt x="17" y="3"/>
                    <a:pt x="17" y="3"/>
                    <a:pt x="16" y="3"/>
                  </a:cubicBezTo>
                  <a:close/>
                  <a:moveTo>
                    <a:pt x="1" y="1"/>
                  </a:moveTo>
                  <a:cubicBezTo>
                    <a:pt x="1" y="3"/>
                    <a:pt x="1" y="3"/>
                    <a:pt x="1" y="3"/>
                  </a:cubicBezTo>
                  <a:cubicBezTo>
                    <a:pt x="16" y="3"/>
                    <a:pt x="16" y="3"/>
                    <a:pt x="16" y="3"/>
                  </a:cubicBezTo>
                  <a:cubicBezTo>
                    <a:pt x="16" y="1"/>
                    <a:pt x="16" y="1"/>
                    <a:pt x="16" y="1"/>
                  </a:cubicBezTo>
                  <a:lnTo>
                    <a:pt x="1"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44" name="Freeform 263">
              <a:extLst>
                <a:ext uri="{FF2B5EF4-FFF2-40B4-BE49-F238E27FC236}">
                  <a16:creationId xmlns:a16="http://schemas.microsoft.com/office/drawing/2014/main" id="{BC6D2FAF-0DB8-4B8C-9FF3-A11D8F50AC73}"/>
                </a:ext>
              </a:extLst>
            </p:cNvPr>
            <p:cNvSpPr>
              <a:spLocks/>
            </p:cNvSpPr>
            <p:nvPr/>
          </p:nvSpPr>
          <p:spPr bwMode="auto">
            <a:xfrm>
              <a:off x="13391449" y="2266034"/>
              <a:ext cx="12617" cy="30642"/>
            </a:xfrm>
            <a:custGeom>
              <a:avLst/>
              <a:gdLst>
                <a:gd name="T0" fmla="*/ 0 w 3"/>
                <a:gd name="T1" fmla="*/ 7 h 7"/>
                <a:gd name="T2" fmla="*/ 0 w 3"/>
                <a:gd name="T3" fmla="*/ 0 h 7"/>
                <a:gd name="T4" fmla="*/ 1 w 3"/>
                <a:gd name="T5" fmla="*/ 0 h 7"/>
                <a:gd name="T6" fmla="*/ 3 w 3"/>
                <a:gd name="T7" fmla="*/ 0 h 7"/>
                <a:gd name="T8" fmla="*/ 3 w 3"/>
                <a:gd name="T9" fmla="*/ 0 h 7"/>
                <a:gd name="T10" fmla="*/ 3 w 3"/>
                <a:gd name="T11" fmla="*/ 7 h 7"/>
                <a:gd name="T12" fmla="*/ 3 w 3"/>
                <a:gd name="T13" fmla="*/ 7 h 7"/>
                <a:gd name="T14" fmla="*/ 1 w 3"/>
                <a:gd name="T15" fmla="*/ 7 h 7"/>
                <a:gd name="T16" fmla="*/ 0 w 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0" y="7"/>
                  </a:moveTo>
                  <a:cubicBezTo>
                    <a:pt x="0" y="0"/>
                    <a:pt x="0" y="0"/>
                    <a:pt x="0" y="0"/>
                  </a:cubicBezTo>
                  <a:cubicBezTo>
                    <a:pt x="0" y="0"/>
                    <a:pt x="1" y="0"/>
                    <a:pt x="1" y="0"/>
                  </a:cubicBezTo>
                  <a:cubicBezTo>
                    <a:pt x="3" y="0"/>
                    <a:pt x="3" y="0"/>
                    <a:pt x="3" y="0"/>
                  </a:cubicBezTo>
                  <a:cubicBezTo>
                    <a:pt x="3" y="0"/>
                    <a:pt x="3" y="0"/>
                    <a:pt x="3" y="0"/>
                  </a:cubicBezTo>
                  <a:cubicBezTo>
                    <a:pt x="3" y="7"/>
                    <a:pt x="3" y="7"/>
                    <a:pt x="3" y="7"/>
                  </a:cubicBezTo>
                  <a:cubicBezTo>
                    <a:pt x="3" y="7"/>
                    <a:pt x="3" y="7"/>
                    <a:pt x="3" y="7"/>
                  </a:cubicBezTo>
                  <a:cubicBezTo>
                    <a:pt x="1" y="7"/>
                    <a:pt x="1" y="7"/>
                    <a:pt x="1" y="7"/>
                  </a:cubicBezTo>
                  <a:cubicBezTo>
                    <a:pt x="1" y="7"/>
                    <a:pt x="0" y="7"/>
                    <a:pt x="0" y="7"/>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46" name="Freeform 264">
              <a:extLst>
                <a:ext uri="{FF2B5EF4-FFF2-40B4-BE49-F238E27FC236}">
                  <a16:creationId xmlns:a16="http://schemas.microsoft.com/office/drawing/2014/main" id="{2A9B2572-8BBD-421E-8AD7-07D2FB9203AC}"/>
                </a:ext>
              </a:extLst>
            </p:cNvPr>
            <p:cNvSpPr>
              <a:spLocks noEditPoints="1"/>
            </p:cNvSpPr>
            <p:nvPr/>
          </p:nvSpPr>
          <p:spPr bwMode="auto">
            <a:xfrm>
              <a:off x="13391449" y="2262429"/>
              <a:ext cx="12617" cy="37852"/>
            </a:xfrm>
            <a:custGeom>
              <a:avLst/>
              <a:gdLst>
                <a:gd name="T0" fmla="*/ 3 w 3"/>
                <a:gd name="T1" fmla="*/ 9 h 9"/>
                <a:gd name="T2" fmla="*/ 1 w 3"/>
                <a:gd name="T3" fmla="*/ 9 h 9"/>
                <a:gd name="T4" fmla="*/ 0 w 3"/>
                <a:gd name="T5" fmla="*/ 8 h 9"/>
                <a:gd name="T6" fmla="*/ 0 w 3"/>
                <a:gd name="T7" fmla="*/ 1 h 9"/>
                <a:gd name="T8" fmla="*/ 1 w 3"/>
                <a:gd name="T9" fmla="*/ 0 h 9"/>
                <a:gd name="T10" fmla="*/ 3 w 3"/>
                <a:gd name="T11" fmla="*/ 0 h 9"/>
                <a:gd name="T12" fmla="*/ 3 w 3"/>
                <a:gd name="T13" fmla="*/ 1 h 9"/>
                <a:gd name="T14" fmla="*/ 3 w 3"/>
                <a:gd name="T15" fmla="*/ 8 h 9"/>
                <a:gd name="T16" fmla="*/ 3 w 3"/>
                <a:gd name="T17" fmla="*/ 9 h 9"/>
                <a:gd name="T18" fmla="*/ 1 w 3"/>
                <a:gd name="T19" fmla="*/ 8 h 9"/>
                <a:gd name="T20" fmla="*/ 3 w 3"/>
                <a:gd name="T21" fmla="*/ 8 h 9"/>
                <a:gd name="T22" fmla="*/ 3 w 3"/>
                <a:gd name="T23" fmla="*/ 1 h 9"/>
                <a:gd name="T24" fmla="*/ 1 w 3"/>
                <a:gd name="T25" fmla="*/ 1 h 9"/>
                <a:gd name="T26" fmla="*/ 1 w 3"/>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3" y="9"/>
                  </a:moveTo>
                  <a:cubicBezTo>
                    <a:pt x="1" y="9"/>
                    <a:pt x="1" y="9"/>
                    <a:pt x="1" y="9"/>
                  </a:cubicBezTo>
                  <a:cubicBezTo>
                    <a:pt x="0" y="9"/>
                    <a:pt x="0" y="8"/>
                    <a:pt x="0" y="8"/>
                  </a:cubicBezTo>
                  <a:cubicBezTo>
                    <a:pt x="0" y="1"/>
                    <a:pt x="0" y="1"/>
                    <a:pt x="0" y="1"/>
                  </a:cubicBezTo>
                  <a:cubicBezTo>
                    <a:pt x="0" y="1"/>
                    <a:pt x="0" y="0"/>
                    <a:pt x="1" y="0"/>
                  </a:cubicBezTo>
                  <a:cubicBezTo>
                    <a:pt x="3" y="0"/>
                    <a:pt x="3" y="0"/>
                    <a:pt x="3" y="0"/>
                  </a:cubicBezTo>
                  <a:cubicBezTo>
                    <a:pt x="3" y="0"/>
                    <a:pt x="3" y="1"/>
                    <a:pt x="3" y="1"/>
                  </a:cubicBezTo>
                  <a:cubicBezTo>
                    <a:pt x="3" y="8"/>
                    <a:pt x="3" y="8"/>
                    <a:pt x="3" y="8"/>
                  </a:cubicBezTo>
                  <a:cubicBezTo>
                    <a:pt x="3" y="8"/>
                    <a:pt x="3" y="9"/>
                    <a:pt x="3" y="9"/>
                  </a:cubicBezTo>
                  <a:close/>
                  <a:moveTo>
                    <a:pt x="1" y="8"/>
                  </a:moveTo>
                  <a:cubicBezTo>
                    <a:pt x="3" y="8"/>
                    <a:pt x="3" y="8"/>
                    <a:pt x="3" y="8"/>
                  </a:cubicBezTo>
                  <a:cubicBezTo>
                    <a:pt x="3" y="1"/>
                    <a:pt x="3" y="1"/>
                    <a:pt x="3" y="1"/>
                  </a:cubicBezTo>
                  <a:cubicBezTo>
                    <a:pt x="1" y="1"/>
                    <a:pt x="1" y="1"/>
                    <a:pt x="1" y="1"/>
                  </a:cubicBezTo>
                  <a:lnTo>
                    <a:pt x="1" y="8"/>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53" name="Freeform 265">
              <a:extLst>
                <a:ext uri="{FF2B5EF4-FFF2-40B4-BE49-F238E27FC236}">
                  <a16:creationId xmlns:a16="http://schemas.microsoft.com/office/drawing/2014/main" id="{4AE0E9D8-A56A-4304-AA77-631770986F76}"/>
                </a:ext>
              </a:extLst>
            </p:cNvPr>
            <p:cNvSpPr>
              <a:spLocks/>
            </p:cNvSpPr>
            <p:nvPr/>
          </p:nvSpPr>
          <p:spPr bwMode="auto">
            <a:xfrm>
              <a:off x="13382436" y="2266034"/>
              <a:ext cx="9012" cy="30642"/>
            </a:xfrm>
            <a:custGeom>
              <a:avLst/>
              <a:gdLst>
                <a:gd name="T0" fmla="*/ 0 w 2"/>
                <a:gd name="T1" fmla="*/ 7 h 7"/>
                <a:gd name="T2" fmla="*/ 0 w 2"/>
                <a:gd name="T3" fmla="*/ 0 h 7"/>
                <a:gd name="T4" fmla="*/ 0 w 2"/>
                <a:gd name="T5" fmla="*/ 0 h 7"/>
                <a:gd name="T6" fmla="*/ 2 w 2"/>
                <a:gd name="T7" fmla="*/ 0 h 7"/>
                <a:gd name="T8" fmla="*/ 2 w 2"/>
                <a:gd name="T9" fmla="*/ 0 h 7"/>
                <a:gd name="T10" fmla="*/ 2 w 2"/>
                <a:gd name="T11" fmla="*/ 7 h 7"/>
                <a:gd name="T12" fmla="*/ 2 w 2"/>
                <a:gd name="T13" fmla="*/ 7 h 7"/>
                <a:gd name="T14" fmla="*/ 0 w 2"/>
                <a:gd name="T15" fmla="*/ 7 h 7"/>
                <a:gd name="T16" fmla="*/ 0 w 2"/>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7">
                  <a:moveTo>
                    <a:pt x="0" y="7"/>
                  </a:moveTo>
                  <a:cubicBezTo>
                    <a:pt x="0" y="0"/>
                    <a:pt x="0" y="0"/>
                    <a:pt x="0" y="0"/>
                  </a:cubicBezTo>
                  <a:cubicBezTo>
                    <a:pt x="0" y="0"/>
                    <a:pt x="0" y="0"/>
                    <a:pt x="0" y="0"/>
                  </a:cubicBezTo>
                  <a:cubicBezTo>
                    <a:pt x="2" y="0"/>
                    <a:pt x="2" y="0"/>
                    <a:pt x="2" y="0"/>
                  </a:cubicBezTo>
                  <a:cubicBezTo>
                    <a:pt x="2" y="0"/>
                    <a:pt x="2" y="0"/>
                    <a:pt x="2" y="0"/>
                  </a:cubicBezTo>
                  <a:cubicBezTo>
                    <a:pt x="2" y="7"/>
                    <a:pt x="2" y="7"/>
                    <a:pt x="2" y="7"/>
                  </a:cubicBezTo>
                  <a:cubicBezTo>
                    <a:pt x="2" y="7"/>
                    <a:pt x="2" y="7"/>
                    <a:pt x="2" y="7"/>
                  </a:cubicBezTo>
                  <a:cubicBezTo>
                    <a:pt x="0" y="7"/>
                    <a:pt x="0" y="7"/>
                    <a:pt x="0" y="7"/>
                  </a:cubicBezTo>
                  <a:cubicBezTo>
                    <a:pt x="0" y="7"/>
                    <a:pt x="0" y="7"/>
                    <a:pt x="0" y="7"/>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54" name="Freeform 266">
              <a:extLst>
                <a:ext uri="{FF2B5EF4-FFF2-40B4-BE49-F238E27FC236}">
                  <a16:creationId xmlns:a16="http://schemas.microsoft.com/office/drawing/2014/main" id="{90E246E0-085A-485D-B5E1-769488E382F9}"/>
                </a:ext>
              </a:extLst>
            </p:cNvPr>
            <p:cNvSpPr>
              <a:spLocks noEditPoints="1"/>
            </p:cNvSpPr>
            <p:nvPr/>
          </p:nvSpPr>
          <p:spPr bwMode="auto">
            <a:xfrm>
              <a:off x="13378831" y="2262429"/>
              <a:ext cx="16222" cy="37852"/>
            </a:xfrm>
            <a:custGeom>
              <a:avLst/>
              <a:gdLst>
                <a:gd name="T0" fmla="*/ 3 w 4"/>
                <a:gd name="T1" fmla="*/ 9 h 9"/>
                <a:gd name="T2" fmla="*/ 1 w 4"/>
                <a:gd name="T3" fmla="*/ 9 h 9"/>
                <a:gd name="T4" fmla="*/ 0 w 4"/>
                <a:gd name="T5" fmla="*/ 8 h 9"/>
                <a:gd name="T6" fmla="*/ 0 w 4"/>
                <a:gd name="T7" fmla="*/ 1 h 9"/>
                <a:gd name="T8" fmla="*/ 1 w 4"/>
                <a:gd name="T9" fmla="*/ 0 h 9"/>
                <a:gd name="T10" fmla="*/ 3 w 4"/>
                <a:gd name="T11" fmla="*/ 0 h 9"/>
                <a:gd name="T12" fmla="*/ 4 w 4"/>
                <a:gd name="T13" fmla="*/ 1 h 9"/>
                <a:gd name="T14" fmla="*/ 4 w 4"/>
                <a:gd name="T15" fmla="*/ 8 h 9"/>
                <a:gd name="T16" fmla="*/ 3 w 4"/>
                <a:gd name="T17" fmla="*/ 9 h 9"/>
                <a:gd name="T18" fmla="*/ 1 w 4"/>
                <a:gd name="T19" fmla="*/ 8 h 9"/>
                <a:gd name="T20" fmla="*/ 3 w 4"/>
                <a:gd name="T21" fmla="*/ 8 h 9"/>
                <a:gd name="T22" fmla="*/ 3 w 4"/>
                <a:gd name="T23" fmla="*/ 1 h 9"/>
                <a:gd name="T24" fmla="*/ 1 w 4"/>
                <a:gd name="T25" fmla="*/ 1 h 9"/>
                <a:gd name="T26" fmla="*/ 1 w 4"/>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3" y="9"/>
                  </a:moveTo>
                  <a:cubicBezTo>
                    <a:pt x="1" y="9"/>
                    <a:pt x="1" y="9"/>
                    <a:pt x="1" y="9"/>
                  </a:cubicBezTo>
                  <a:cubicBezTo>
                    <a:pt x="1" y="9"/>
                    <a:pt x="0" y="8"/>
                    <a:pt x="0" y="8"/>
                  </a:cubicBezTo>
                  <a:cubicBezTo>
                    <a:pt x="0" y="1"/>
                    <a:pt x="0" y="1"/>
                    <a:pt x="0" y="1"/>
                  </a:cubicBezTo>
                  <a:cubicBezTo>
                    <a:pt x="0" y="1"/>
                    <a:pt x="1" y="0"/>
                    <a:pt x="1" y="0"/>
                  </a:cubicBezTo>
                  <a:cubicBezTo>
                    <a:pt x="3" y="0"/>
                    <a:pt x="3" y="0"/>
                    <a:pt x="3" y="0"/>
                  </a:cubicBezTo>
                  <a:cubicBezTo>
                    <a:pt x="3" y="0"/>
                    <a:pt x="4" y="1"/>
                    <a:pt x="4" y="1"/>
                  </a:cubicBezTo>
                  <a:cubicBezTo>
                    <a:pt x="4" y="8"/>
                    <a:pt x="4" y="8"/>
                    <a:pt x="4" y="8"/>
                  </a:cubicBezTo>
                  <a:cubicBezTo>
                    <a:pt x="4" y="8"/>
                    <a:pt x="3" y="9"/>
                    <a:pt x="3" y="9"/>
                  </a:cubicBezTo>
                  <a:close/>
                  <a:moveTo>
                    <a:pt x="1" y="8"/>
                  </a:moveTo>
                  <a:cubicBezTo>
                    <a:pt x="3" y="8"/>
                    <a:pt x="3" y="8"/>
                    <a:pt x="3" y="8"/>
                  </a:cubicBezTo>
                  <a:cubicBezTo>
                    <a:pt x="3" y="1"/>
                    <a:pt x="3" y="1"/>
                    <a:pt x="3" y="1"/>
                  </a:cubicBezTo>
                  <a:cubicBezTo>
                    <a:pt x="1" y="1"/>
                    <a:pt x="1" y="1"/>
                    <a:pt x="1" y="1"/>
                  </a:cubicBezTo>
                  <a:lnTo>
                    <a:pt x="1" y="8"/>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65" name="Freeform 267">
              <a:extLst>
                <a:ext uri="{FF2B5EF4-FFF2-40B4-BE49-F238E27FC236}">
                  <a16:creationId xmlns:a16="http://schemas.microsoft.com/office/drawing/2014/main" id="{DA8954CD-D54B-4173-B443-D2B0ACA2A9A8}"/>
                </a:ext>
              </a:extLst>
            </p:cNvPr>
            <p:cNvSpPr>
              <a:spLocks/>
            </p:cNvSpPr>
            <p:nvPr/>
          </p:nvSpPr>
          <p:spPr bwMode="auto">
            <a:xfrm>
              <a:off x="13369819" y="2266034"/>
              <a:ext cx="12617" cy="30642"/>
            </a:xfrm>
            <a:custGeom>
              <a:avLst/>
              <a:gdLst>
                <a:gd name="T0" fmla="*/ 0 w 3"/>
                <a:gd name="T1" fmla="*/ 7 h 7"/>
                <a:gd name="T2" fmla="*/ 0 w 3"/>
                <a:gd name="T3" fmla="*/ 0 h 7"/>
                <a:gd name="T4" fmla="*/ 1 w 3"/>
                <a:gd name="T5" fmla="*/ 0 h 7"/>
                <a:gd name="T6" fmla="*/ 2 w 3"/>
                <a:gd name="T7" fmla="*/ 0 h 7"/>
                <a:gd name="T8" fmla="*/ 3 w 3"/>
                <a:gd name="T9" fmla="*/ 0 h 7"/>
                <a:gd name="T10" fmla="*/ 3 w 3"/>
                <a:gd name="T11" fmla="*/ 7 h 7"/>
                <a:gd name="T12" fmla="*/ 2 w 3"/>
                <a:gd name="T13" fmla="*/ 7 h 7"/>
                <a:gd name="T14" fmla="*/ 1 w 3"/>
                <a:gd name="T15" fmla="*/ 7 h 7"/>
                <a:gd name="T16" fmla="*/ 0 w 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0" y="7"/>
                  </a:moveTo>
                  <a:cubicBezTo>
                    <a:pt x="0" y="0"/>
                    <a:pt x="0" y="0"/>
                    <a:pt x="0" y="0"/>
                  </a:cubicBezTo>
                  <a:cubicBezTo>
                    <a:pt x="0" y="0"/>
                    <a:pt x="0" y="0"/>
                    <a:pt x="1" y="0"/>
                  </a:cubicBezTo>
                  <a:cubicBezTo>
                    <a:pt x="2" y="0"/>
                    <a:pt x="2" y="0"/>
                    <a:pt x="2" y="0"/>
                  </a:cubicBezTo>
                  <a:cubicBezTo>
                    <a:pt x="3" y="0"/>
                    <a:pt x="3" y="0"/>
                    <a:pt x="3" y="0"/>
                  </a:cubicBezTo>
                  <a:cubicBezTo>
                    <a:pt x="3" y="7"/>
                    <a:pt x="3" y="7"/>
                    <a:pt x="3" y="7"/>
                  </a:cubicBezTo>
                  <a:cubicBezTo>
                    <a:pt x="3" y="7"/>
                    <a:pt x="3" y="7"/>
                    <a:pt x="2" y="7"/>
                  </a:cubicBezTo>
                  <a:cubicBezTo>
                    <a:pt x="1" y="7"/>
                    <a:pt x="1" y="7"/>
                    <a:pt x="1" y="7"/>
                  </a:cubicBezTo>
                  <a:cubicBezTo>
                    <a:pt x="0" y="7"/>
                    <a:pt x="0" y="7"/>
                    <a:pt x="0" y="7"/>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78" name="Freeform 268">
              <a:extLst>
                <a:ext uri="{FF2B5EF4-FFF2-40B4-BE49-F238E27FC236}">
                  <a16:creationId xmlns:a16="http://schemas.microsoft.com/office/drawing/2014/main" id="{7AB25536-62A2-4228-8C48-A0FBCBF53937}"/>
                </a:ext>
              </a:extLst>
            </p:cNvPr>
            <p:cNvSpPr>
              <a:spLocks noEditPoints="1"/>
            </p:cNvSpPr>
            <p:nvPr/>
          </p:nvSpPr>
          <p:spPr bwMode="auto">
            <a:xfrm>
              <a:off x="13369819" y="2262429"/>
              <a:ext cx="12617" cy="37852"/>
            </a:xfrm>
            <a:custGeom>
              <a:avLst/>
              <a:gdLst>
                <a:gd name="T0" fmla="*/ 2 w 3"/>
                <a:gd name="T1" fmla="*/ 9 h 9"/>
                <a:gd name="T2" fmla="*/ 1 w 3"/>
                <a:gd name="T3" fmla="*/ 9 h 9"/>
                <a:gd name="T4" fmla="*/ 0 w 3"/>
                <a:gd name="T5" fmla="*/ 8 h 9"/>
                <a:gd name="T6" fmla="*/ 0 w 3"/>
                <a:gd name="T7" fmla="*/ 1 h 9"/>
                <a:gd name="T8" fmla="*/ 1 w 3"/>
                <a:gd name="T9" fmla="*/ 0 h 9"/>
                <a:gd name="T10" fmla="*/ 2 w 3"/>
                <a:gd name="T11" fmla="*/ 0 h 9"/>
                <a:gd name="T12" fmla="*/ 3 w 3"/>
                <a:gd name="T13" fmla="*/ 1 h 9"/>
                <a:gd name="T14" fmla="*/ 3 w 3"/>
                <a:gd name="T15" fmla="*/ 8 h 9"/>
                <a:gd name="T16" fmla="*/ 2 w 3"/>
                <a:gd name="T17" fmla="*/ 9 h 9"/>
                <a:gd name="T18" fmla="*/ 1 w 3"/>
                <a:gd name="T19" fmla="*/ 8 h 9"/>
                <a:gd name="T20" fmla="*/ 2 w 3"/>
                <a:gd name="T21" fmla="*/ 8 h 9"/>
                <a:gd name="T22" fmla="*/ 2 w 3"/>
                <a:gd name="T23" fmla="*/ 1 h 9"/>
                <a:gd name="T24" fmla="*/ 1 w 3"/>
                <a:gd name="T25" fmla="*/ 1 h 9"/>
                <a:gd name="T26" fmla="*/ 1 w 3"/>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2" y="9"/>
                  </a:moveTo>
                  <a:cubicBezTo>
                    <a:pt x="1" y="9"/>
                    <a:pt x="1" y="9"/>
                    <a:pt x="1" y="9"/>
                  </a:cubicBezTo>
                  <a:cubicBezTo>
                    <a:pt x="0" y="9"/>
                    <a:pt x="0" y="8"/>
                    <a:pt x="0" y="8"/>
                  </a:cubicBezTo>
                  <a:cubicBezTo>
                    <a:pt x="0" y="1"/>
                    <a:pt x="0" y="1"/>
                    <a:pt x="0" y="1"/>
                  </a:cubicBezTo>
                  <a:cubicBezTo>
                    <a:pt x="0" y="1"/>
                    <a:pt x="0" y="0"/>
                    <a:pt x="1" y="0"/>
                  </a:cubicBezTo>
                  <a:cubicBezTo>
                    <a:pt x="2" y="0"/>
                    <a:pt x="2" y="0"/>
                    <a:pt x="2" y="0"/>
                  </a:cubicBezTo>
                  <a:cubicBezTo>
                    <a:pt x="3" y="0"/>
                    <a:pt x="3" y="1"/>
                    <a:pt x="3" y="1"/>
                  </a:cubicBezTo>
                  <a:cubicBezTo>
                    <a:pt x="3" y="8"/>
                    <a:pt x="3" y="8"/>
                    <a:pt x="3" y="8"/>
                  </a:cubicBezTo>
                  <a:cubicBezTo>
                    <a:pt x="3" y="8"/>
                    <a:pt x="3" y="9"/>
                    <a:pt x="2" y="9"/>
                  </a:cubicBezTo>
                  <a:close/>
                  <a:moveTo>
                    <a:pt x="1" y="8"/>
                  </a:moveTo>
                  <a:cubicBezTo>
                    <a:pt x="2" y="8"/>
                    <a:pt x="2" y="8"/>
                    <a:pt x="2" y="8"/>
                  </a:cubicBezTo>
                  <a:cubicBezTo>
                    <a:pt x="2" y="1"/>
                    <a:pt x="2" y="1"/>
                    <a:pt x="2" y="1"/>
                  </a:cubicBezTo>
                  <a:cubicBezTo>
                    <a:pt x="1" y="1"/>
                    <a:pt x="1" y="1"/>
                    <a:pt x="1" y="1"/>
                  </a:cubicBezTo>
                  <a:lnTo>
                    <a:pt x="1" y="8"/>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85" name="Freeform 269">
              <a:extLst>
                <a:ext uri="{FF2B5EF4-FFF2-40B4-BE49-F238E27FC236}">
                  <a16:creationId xmlns:a16="http://schemas.microsoft.com/office/drawing/2014/main" id="{40EA2BCE-FBDD-4C87-96F9-CDE24FB9739B}"/>
                </a:ext>
              </a:extLst>
            </p:cNvPr>
            <p:cNvSpPr>
              <a:spLocks/>
            </p:cNvSpPr>
            <p:nvPr/>
          </p:nvSpPr>
          <p:spPr bwMode="auto">
            <a:xfrm>
              <a:off x="13404066" y="2080380"/>
              <a:ext cx="12617" cy="34247"/>
            </a:xfrm>
            <a:custGeom>
              <a:avLst/>
              <a:gdLst>
                <a:gd name="T0" fmla="*/ 0 w 3"/>
                <a:gd name="T1" fmla="*/ 1 h 8"/>
                <a:gd name="T2" fmla="*/ 0 w 3"/>
                <a:gd name="T3" fmla="*/ 8 h 8"/>
                <a:gd name="T4" fmla="*/ 0 w 3"/>
                <a:gd name="T5" fmla="*/ 8 h 8"/>
                <a:gd name="T6" fmla="*/ 2 w 3"/>
                <a:gd name="T7" fmla="*/ 8 h 8"/>
                <a:gd name="T8" fmla="*/ 3 w 3"/>
                <a:gd name="T9" fmla="*/ 8 h 8"/>
                <a:gd name="T10" fmla="*/ 3 w 3"/>
                <a:gd name="T11" fmla="*/ 1 h 8"/>
                <a:gd name="T12" fmla="*/ 2 w 3"/>
                <a:gd name="T13" fmla="*/ 0 h 8"/>
                <a:gd name="T14" fmla="*/ 0 w 3"/>
                <a:gd name="T15" fmla="*/ 0 h 8"/>
                <a:gd name="T16" fmla="*/ 0 w 3"/>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0" y="1"/>
                  </a:moveTo>
                  <a:cubicBezTo>
                    <a:pt x="0" y="8"/>
                    <a:pt x="0" y="8"/>
                    <a:pt x="0" y="8"/>
                  </a:cubicBezTo>
                  <a:cubicBezTo>
                    <a:pt x="0" y="8"/>
                    <a:pt x="0" y="8"/>
                    <a:pt x="0" y="8"/>
                  </a:cubicBezTo>
                  <a:cubicBezTo>
                    <a:pt x="2" y="8"/>
                    <a:pt x="2" y="8"/>
                    <a:pt x="2" y="8"/>
                  </a:cubicBezTo>
                  <a:cubicBezTo>
                    <a:pt x="3" y="8"/>
                    <a:pt x="3" y="8"/>
                    <a:pt x="3" y="8"/>
                  </a:cubicBezTo>
                  <a:cubicBezTo>
                    <a:pt x="3" y="1"/>
                    <a:pt x="3" y="1"/>
                    <a:pt x="3" y="1"/>
                  </a:cubicBezTo>
                  <a:cubicBezTo>
                    <a:pt x="3" y="1"/>
                    <a:pt x="3" y="0"/>
                    <a:pt x="2" y="0"/>
                  </a:cubicBezTo>
                  <a:cubicBezTo>
                    <a:pt x="0" y="0"/>
                    <a:pt x="0" y="0"/>
                    <a:pt x="0" y="0"/>
                  </a:cubicBezTo>
                  <a:cubicBezTo>
                    <a:pt x="0" y="0"/>
                    <a:pt x="0" y="1"/>
                    <a:pt x="0" y="1"/>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86" name="Freeform 270">
              <a:extLst>
                <a:ext uri="{FF2B5EF4-FFF2-40B4-BE49-F238E27FC236}">
                  <a16:creationId xmlns:a16="http://schemas.microsoft.com/office/drawing/2014/main" id="{6CFC854D-7B73-4EA4-899B-1F0B5F740ADB}"/>
                </a:ext>
              </a:extLst>
            </p:cNvPr>
            <p:cNvSpPr>
              <a:spLocks noEditPoints="1"/>
            </p:cNvSpPr>
            <p:nvPr/>
          </p:nvSpPr>
          <p:spPr bwMode="auto">
            <a:xfrm>
              <a:off x="13404066" y="2080380"/>
              <a:ext cx="12617" cy="34247"/>
            </a:xfrm>
            <a:custGeom>
              <a:avLst/>
              <a:gdLst>
                <a:gd name="T0" fmla="*/ 2 w 3"/>
                <a:gd name="T1" fmla="*/ 8 h 8"/>
                <a:gd name="T2" fmla="*/ 0 w 3"/>
                <a:gd name="T3" fmla="*/ 8 h 8"/>
                <a:gd name="T4" fmla="*/ 0 w 3"/>
                <a:gd name="T5" fmla="*/ 8 h 8"/>
                <a:gd name="T6" fmla="*/ 0 w 3"/>
                <a:gd name="T7" fmla="*/ 1 h 8"/>
                <a:gd name="T8" fmla="*/ 0 w 3"/>
                <a:gd name="T9" fmla="*/ 0 h 8"/>
                <a:gd name="T10" fmla="*/ 2 w 3"/>
                <a:gd name="T11" fmla="*/ 0 h 8"/>
                <a:gd name="T12" fmla="*/ 3 w 3"/>
                <a:gd name="T13" fmla="*/ 1 h 8"/>
                <a:gd name="T14" fmla="*/ 3 w 3"/>
                <a:gd name="T15" fmla="*/ 8 h 8"/>
                <a:gd name="T16" fmla="*/ 2 w 3"/>
                <a:gd name="T17" fmla="*/ 8 h 8"/>
                <a:gd name="T18" fmla="*/ 0 w 3"/>
                <a:gd name="T19" fmla="*/ 1 h 8"/>
                <a:gd name="T20" fmla="*/ 0 w 3"/>
                <a:gd name="T21" fmla="*/ 8 h 8"/>
                <a:gd name="T22" fmla="*/ 2 w 3"/>
                <a:gd name="T23" fmla="*/ 8 h 8"/>
                <a:gd name="T24" fmla="*/ 2 w 3"/>
                <a:gd name="T25" fmla="*/ 1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2" y="8"/>
                  </a:moveTo>
                  <a:cubicBezTo>
                    <a:pt x="0" y="8"/>
                    <a:pt x="0" y="8"/>
                    <a:pt x="0" y="8"/>
                  </a:cubicBezTo>
                  <a:cubicBezTo>
                    <a:pt x="0" y="8"/>
                    <a:pt x="0" y="8"/>
                    <a:pt x="0" y="8"/>
                  </a:cubicBezTo>
                  <a:cubicBezTo>
                    <a:pt x="0" y="1"/>
                    <a:pt x="0" y="1"/>
                    <a:pt x="0" y="1"/>
                  </a:cubicBezTo>
                  <a:cubicBezTo>
                    <a:pt x="0" y="0"/>
                    <a:pt x="0" y="0"/>
                    <a:pt x="0" y="0"/>
                  </a:cubicBezTo>
                  <a:cubicBezTo>
                    <a:pt x="2" y="0"/>
                    <a:pt x="2" y="0"/>
                    <a:pt x="2" y="0"/>
                  </a:cubicBezTo>
                  <a:cubicBezTo>
                    <a:pt x="3" y="0"/>
                    <a:pt x="3" y="0"/>
                    <a:pt x="3" y="1"/>
                  </a:cubicBezTo>
                  <a:cubicBezTo>
                    <a:pt x="3" y="8"/>
                    <a:pt x="3" y="8"/>
                    <a:pt x="3" y="8"/>
                  </a:cubicBezTo>
                  <a:cubicBezTo>
                    <a:pt x="3" y="8"/>
                    <a:pt x="3" y="8"/>
                    <a:pt x="2" y="8"/>
                  </a:cubicBezTo>
                  <a:close/>
                  <a:moveTo>
                    <a:pt x="0" y="1"/>
                  </a:moveTo>
                  <a:cubicBezTo>
                    <a:pt x="0" y="8"/>
                    <a:pt x="0" y="8"/>
                    <a:pt x="0" y="8"/>
                  </a:cubicBezTo>
                  <a:cubicBezTo>
                    <a:pt x="2" y="8"/>
                    <a:pt x="2" y="8"/>
                    <a:pt x="2" y="8"/>
                  </a:cubicBezTo>
                  <a:cubicBezTo>
                    <a:pt x="2" y="1"/>
                    <a:pt x="2" y="1"/>
                    <a:pt x="2" y="1"/>
                  </a:cubicBezTo>
                  <a:lnTo>
                    <a:pt x="0"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87" name="Freeform 271">
              <a:extLst>
                <a:ext uri="{FF2B5EF4-FFF2-40B4-BE49-F238E27FC236}">
                  <a16:creationId xmlns:a16="http://schemas.microsoft.com/office/drawing/2014/main" id="{E725AA5A-67FE-4CFE-BFEA-0FC27E1DF9B6}"/>
                </a:ext>
              </a:extLst>
            </p:cNvPr>
            <p:cNvSpPr>
              <a:spLocks/>
            </p:cNvSpPr>
            <p:nvPr/>
          </p:nvSpPr>
          <p:spPr bwMode="auto">
            <a:xfrm>
              <a:off x="13360807" y="2071368"/>
              <a:ext cx="64889" cy="9012"/>
            </a:xfrm>
            <a:custGeom>
              <a:avLst/>
              <a:gdLst>
                <a:gd name="T0" fmla="*/ 0 w 15"/>
                <a:gd name="T1" fmla="*/ 2 h 2"/>
                <a:gd name="T2" fmla="*/ 15 w 15"/>
                <a:gd name="T3" fmla="*/ 2 h 2"/>
                <a:gd name="T4" fmla="*/ 15 w 15"/>
                <a:gd name="T5" fmla="*/ 2 h 2"/>
                <a:gd name="T6" fmla="*/ 15 w 15"/>
                <a:gd name="T7" fmla="*/ 0 h 2"/>
                <a:gd name="T8" fmla="*/ 15 w 15"/>
                <a:gd name="T9" fmla="*/ 0 h 2"/>
                <a:gd name="T10" fmla="*/ 0 w 15"/>
                <a:gd name="T11" fmla="*/ 0 h 2"/>
                <a:gd name="T12" fmla="*/ 0 w 15"/>
                <a:gd name="T13" fmla="*/ 0 h 2"/>
                <a:gd name="T14" fmla="*/ 0 w 15"/>
                <a:gd name="T15" fmla="*/ 2 h 2"/>
                <a:gd name="T16" fmla="*/ 0 w 15"/>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
                  <a:moveTo>
                    <a:pt x="0" y="2"/>
                  </a:moveTo>
                  <a:cubicBezTo>
                    <a:pt x="15" y="2"/>
                    <a:pt x="15" y="2"/>
                    <a:pt x="15" y="2"/>
                  </a:cubicBezTo>
                  <a:cubicBezTo>
                    <a:pt x="15" y="2"/>
                    <a:pt x="15" y="2"/>
                    <a:pt x="15" y="2"/>
                  </a:cubicBezTo>
                  <a:cubicBezTo>
                    <a:pt x="15" y="0"/>
                    <a:pt x="15" y="0"/>
                    <a:pt x="15" y="0"/>
                  </a:cubicBezTo>
                  <a:cubicBezTo>
                    <a:pt x="15" y="0"/>
                    <a:pt x="15" y="0"/>
                    <a:pt x="15" y="0"/>
                  </a:cubicBezTo>
                  <a:cubicBezTo>
                    <a:pt x="0" y="0"/>
                    <a:pt x="0" y="0"/>
                    <a:pt x="0" y="0"/>
                  </a:cubicBezTo>
                  <a:cubicBezTo>
                    <a:pt x="0" y="0"/>
                    <a:pt x="0" y="0"/>
                    <a:pt x="0" y="0"/>
                  </a:cubicBezTo>
                  <a:cubicBezTo>
                    <a:pt x="0" y="2"/>
                    <a:pt x="0" y="2"/>
                    <a:pt x="0" y="2"/>
                  </a:cubicBezTo>
                  <a:cubicBezTo>
                    <a:pt x="0" y="2"/>
                    <a:pt x="0" y="2"/>
                    <a:pt x="0" y="2"/>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88" name="Freeform 272">
              <a:extLst>
                <a:ext uri="{FF2B5EF4-FFF2-40B4-BE49-F238E27FC236}">
                  <a16:creationId xmlns:a16="http://schemas.microsoft.com/office/drawing/2014/main" id="{F80A82E0-8E87-47B7-93FA-03D37671F649}"/>
                </a:ext>
              </a:extLst>
            </p:cNvPr>
            <p:cNvSpPr>
              <a:spLocks noEditPoints="1"/>
            </p:cNvSpPr>
            <p:nvPr/>
          </p:nvSpPr>
          <p:spPr bwMode="auto">
            <a:xfrm>
              <a:off x="13357202" y="2067763"/>
              <a:ext cx="72099" cy="16222"/>
            </a:xfrm>
            <a:custGeom>
              <a:avLst/>
              <a:gdLst>
                <a:gd name="T0" fmla="*/ 16 w 17"/>
                <a:gd name="T1" fmla="*/ 4 h 4"/>
                <a:gd name="T2" fmla="*/ 1 w 17"/>
                <a:gd name="T3" fmla="*/ 4 h 4"/>
                <a:gd name="T4" fmla="*/ 0 w 17"/>
                <a:gd name="T5" fmla="*/ 3 h 4"/>
                <a:gd name="T6" fmla="*/ 0 w 17"/>
                <a:gd name="T7" fmla="*/ 1 h 4"/>
                <a:gd name="T8" fmla="*/ 1 w 17"/>
                <a:gd name="T9" fmla="*/ 0 h 4"/>
                <a:gd name="T10" fmla="*/ 16 w 17"/>
                <a:gd name="T11" fmla="*/ 0 h 4"/>
                <a:gd name="T12" fmla="*/ 17 w 17"/>
                <a:gd name="T13" fmla="*/ 1 h 4"/>
                <a:gd name="T14" fmla="*/ 17 w 17"/>
                <a:gd name="T15" fmla="*/ 3 h 4"/>
                <a:gd name="T16" fmla="*/ 16 w 17"/>
                <a:gd name="T17" fmla="*/ 4 h 4"/>
                <a:gd name="T18" fmla="*/ 1 w 17"/>
                <a:gd name="T19" fmla="*/ 3 h 4"/>
                <a:gd name="T20" fmla="*/ 16 w 17"/>
                <a:gd name="T21" fmla="*/ 3 h 4"/>
                <a:gd name="T22" fmla="*/ 16 w 17"/>
                <a:gd name="T23" fmla="*/ 1 h 4"/>
                <a:gd name="T24" fmla="*/ 1 w 17"/>
                <a:gd name="T25" fmla="*/ 1 h 4"/>
                <a:gd name="T26" fmla="*/ 1 w 17"/>
                <a:gd name="T2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4">
                  <a:moveTo>
                    <a:pt x="16" y="4"/>
                  </a:moveTo>
                  <a:cubicBezTo>
                    <a:pt x="1" y="4"/>
                    <a:pt x="1" y="4"/>
                    <a:pt x="1" y="4"/>
                  </a:cubicBezTo>
                  <a:cubicBezTo>
                    <a:pt x="1" y="4"/>
                    <a:pt x="0" y="3"/>
                    <a:pt x="0" y="3"/>
                  </a:cubicBezTo>
                  <a:cubicBezTo>
                    <a:pt x="0" y="1"/>
                    <a:pt x="0" y="1"/>
                    <a:pt x="0" y="1"/>
                  </a:cubicBezTo>
                  <a:cubicBezTo>
                    <a:pt x="0" y="1"/>
                    <a:pt x="1" y="0"/>
                    <a:pt x="1" y="0"/>
                  </a:cubicBezTo>
                  <a:cubicBezTo>
                    <a:pt x="16" y="0"/>
                    <a:pt x="16" y="0"/>
                    <a:pt x="16" y="0"/>
                  </a:cubicBezTo>
                  <a:cubicBezTo>
                    <a:pt x="17" y="0"/>
                    <a:pt x="17" y="1"/>
                    <a:pt x="17" y="1"/>
                  </a:cubicBezTo>
                  <a:cubicBezTo>
                    <a:pt x="17" y="3"/>
                    <a:pt x="17" y="3"/>
                    <a:pt x="17" y="3"/>
                  </a:cubicBezTo>
                  <a:cubicBezTo>
                    <a:pt x="17" y="3"/>
                    <a:pt x="17" y="4"/>
                    <a:pt x="16" y="4"/>
                  </a:cubicBezTo>
                  <a:close/>
                  <a:moveTo>
                    <a:pt x="1" y="3"/>
                  </a:moveTo>
                  <a:cubicBezTo>
                    <a:pt x="16" y="3"/>
                    <a:pt x="16" y="3"/>
                    <a:pt x="16" y="3"/>
                  </a:cubicBezTo>
                  <a:cubicBezTo>
                    <a:pt x="16" y="1"/>
                    <a:pt x="16" y="1"/>
                    <a:pt x="16" y="1"/>
                  </a:cubicBezTo>
                  <a:cubicBezTo>
                    <a:pt x="1" y="1"/>
                    <a:pt x="1" y="1"/>
                    <a:pt x="1" y="1"/>
                  </a:cubicBezTo>
                  <a:lnTo>
                    <a:pt x="1" y="3"/>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89" name="Freeform 273">
              <a:extLst>
                <a:ext uri="{FF2B5EF4-FFF2-40B4-BE49-F238E27FC236}">
                  <a16:creationId xmlns:a16="http://schemas.microsoft.com/office/drawing/2014/main" id="{A109C0FE-BED1-4EBE-BE79-CA540C2D2B39}"/>
                </a:ext>
              </a:extLst>
            </p:cNvPr>
            <p:cNvSpPr>
              <a:spLocks/>
            </p:cNvSpPr>
            <p:nvPr/>
          </p:nvSpPr>
          <p:spPr bwMode="auto">
            <a:xfrm>
              <a:off x="13391449" y="2080380"/>
              <a:ext cx="12617" cy="34247"/>
            </a:xfrm>
            <a:custGeom>
              <a:avLst/>
              <a:gdLst>
                <a:gd name="T0" fmla="*/ 0 w 3"/>
                <a:gd name="T1" fmla="*/ 1 h 8"/>
                <a:gd name="T2" fmla="*/ 0 w 3"/>
                <a:gd name="T3" fmla="*/ 8 h 8"/>
                <a:gd name="T4" fmla="*/ 1 w 3"/>
                <a:gd name="T5" fmla="*/ 8 h 8"/>
                <a:gd name="T6" fmla="*/ 3 w 3"/>
                <a:gd name="T7" fmla="*/ 8 h 8"/>
                <a:gd name="T8" fmla="*/ 3 w 3"/>
                <a:gd name="T9" fmla="*/ 8 h 8"/>
                <a:gd name="T10" fmla="*/ 3 w 3"/>
                <a:gd name="T11" fmla="*/ 1 h 8"/>
                <a:gd name="T12" fmla="*/ 3 w 3"/>
                <a:gd name="T13" fmla="*/ 0 h 8"/>
                <a:gd name="T14" fmla="*/ 1 w 3"/>
                <a:gd name="T15" fmla="*/ 0 h 8"/>
                <a:gd name="T16" fmla="*/ 0 w 3"/>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0" y="1"/>
                  </a:moveTo>
                  <a:cubicBezTo>
                    <a:pt x="0" y="8"/>
                    <a:pt x="0" y="8"/>
                    <a:pt x="0" y="8"/>
                  </a:cubicBezTo>
                  <a:cubicBezTo>
                    <a:pt x="0" y="8"/>
                    <a:pt x="1" y="8"/>
                    <a:pt x="1" y="8"/>
                  </a:cubicBezTo>
                  <a:cubicBezTo>
                    <a:pt x="3" y="8"/>
                    <a:pt x="3" y="8"/>
                    <a:pt x="3" y="8"/>
                  </a:cubicBezTo>
                  <a:cubicBezTo>
                    <a:pt x="3" y="8"/>
                    <a:pt x="3" y="8"/>
                    <a:pt x="3" y="8"/>
                  </a:cubicBezTo>
                  <a:cubicBezTo>
                    <a:pt x="3" y="1"/>
                    <a:pt x="3" y="1"/>
                    <a:pt x="3" y="1"/>
                  </a:cubicBezTo>
                  <a:cubicBezTo>
                    <a:pt x="3" y="1"/>
                    <a:pt x="3" y="0"/>
                    <a:pt x="3" y="0"/>
                  </a:cubicBezTo>
                  <a:cubicBezTo>
                    <a:pt x="1" y="0"/>
                    <a:pt x="1" y="0"/>
                    <a:pt x="1" y="0"/>
                  </a:cubicBezTo>
                  <a:cubicBezTo>
                    <a:pt x="1" y="0"/>
                    <a:pt x="0" y="1"/>
                    <a:pt x="0" y="1"/>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90" name="Freeform 274">
              <a:extLst>
                <a:ext uri="{FF2B5EF4-FFF2-40B4-BE49-F238E27FC236}">
                  <a16:creationId xmlns:a16="http://schemas.microsoft.com/office/drawing/2014/main" id="{C145F5C2-8C0D-4F77-86BC-1204BCA4ACAC}"/>
                </a:ext>
              </a:extLst>
            </p:cNvPr>
            <p:cNvSpPr>
              <a:spLocks noEditPoints="1"/>
            </p:cNvSpPr>
            <p:nvPr/>
          </p:nvSpPr>
          <p:spPr bwMode="auto">
            <a:xfrm>
              <a:off x="13391449" y="2080380"/>
              <a:ext cx="12617" cy="34247"/>
            </a:xfrm>
            <a:custGeom>
              <a:avLst/>
              <a:gdLst>
                <a:gd name="T0" fmla="*/ 3 w 3"/>
                <a:gd name="T1" fmla="*/ 8 h 8"/>
                <a:gd name="T2" fmla="*/ 1 w 3"/>
                <a:gd name="T3" fmla="*/ 8 h 8"/>
                <a:gd name="T4" fmla="*/ 0 w 3"/>
                <a:gd name="T5" fmla="*/ 8 h 8"/>
                <a:gd name="T6" fmla="*/ 0 w 3"/>
                <a:gd name="T7" fmla="*/ 1 h 8"/>
                <a:gd name="T8" fmla="*/ 1 w 3"/>
                <a:gd name="T9" fmla="*/ 0 h 8"/>
                <a:gd name="T10" fmla="*/ 3 w 3"/>
                <a:gd name="T11" fmla="*/ 0 h 8"/>
                <a:gd name="T12" fmla="*/ 3 w 3"/>
                <a:gd name="T13" fmla="*/ 1 h 8"/>
                <a:gd name="T14" fmla="*/ 3 w 3"/>
                <a:gd name="T15" fmla="*/ 8 h 8"/>
                <a:gd name="T16" fmla="*/ 3 w 3"/>
                <a:gd name="T17" fmla="*/ 8 h 8"/>
                <a:gd name="T18" fmla="*/ 1 w 3"/>
                <a:gd name="T19" fmla="*/ 1 h 8"/>
                <a:gd name="T20" fmla="*/ 1 w 3"/>
                <a:gd name="T21" fmla="*/ 8 h 8"/>
                <a:gd name="T22" fmla="*/ 3 w 3"/>
                <a:gd name="T23" fmla="*/ 8 h 8"/>
                <a:gd name="T24" fmla="*/ 3 w 3"/>
                <a:gd name="T25" fmla="*/ 1 h 8"/>
                <a:gd name="T26" fmla="*/ 1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8"/>
                  </a:moveTo>
                  <a:cubicBezTo>
                    <a:pt x="1" y="8"/>
                    <a:pt x="1" y="8"/>
                    <a:pt x="1" y="8"/>
                  </a:cubicBezTo>
                  <a:cubicBezTo>
                    <a:pt x="0" y="8"/>
                    <a:pt x="0" y="8"/>
                    <a:pt x="0" y="8"/>
                  </a:cubicBezTo>
                  <a:cubicBezTo>
                    <a:pt x="0" y="1"/>
                    <a:pt x="0" y="1"/>
                    <a:pt x="0" y="1"/>
                  </a:cubicBezTo>
                  <a:cubicBezTo>
                    <a:pt x="0" y="0"/>
                    <a:pt x="0" y="0"/>
                    <a:pt x="1" y="0"/>
                  </a:cubicBezTo>
                  <a:cubicBezTo>
                    <a:pt x="3" y="0"/>
                    <a:pt x="3" y="0"/>
                    <a:pt x="3" y="0"/>
                  </a:cubicBezTo>
                  <a:cubicBezTo>
                    <a:pt x="3" y="0"/>
                    <a:pt x="3" y="0"/>
                    <a:pt x="3" y="1"/>
                  </a:cubicBezTo>
                  <a:cubicBezTo>
                    <a:pt x="3" y="8"/>
                    <a:pt x="3" y="8"/>
                    <a:pt x="3" y="8"/>
                  </a:cubicBezTo>
                  <a:cubicBezTo>
                    <a:pt x="3" y="8"/>
                    <a:pt x="3" y="8"/>
                    <a:pt x="3" y="8"/>
                  </a:cubicBezTo>
                  <a:close/>
                  <a:moveTo>
                    <a:pt x="1" y="1"/>
                  </a:moveTo>
                  <a:cubicBezTo>
                    <a:pt x="1" y="8"/>
                    <a:pt x="1" y="8"/>
                    <a:pt x="1" y="8"/>
                  </a:cubicBezTo>
                  <a:cubicBezTo>
                    <a:pt x="3" y="8"/>
                    <a:pt x="3" y="8"/>
                    <a:pt x="3" y="8"/>
                  </a:cubicBezTo>
                  <a:cubicBezTo>
                    <a:pt x="3" y="1"/>
                    <a:pt x="3" y="1"/>
                    <a:pt x="3" y="1"/>
                  </a:cubicBezTo>
                  <a:lnTo>
                    <a:pt x="1"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91" name="Freeform 275">
              <a:extLst>
                <a:ext uri="{FF2B5EF4-FFF2-40B4-BE49-F238E27FC236}">
                  <a16:creationId xmlns:a16="http://schemas.microsoft.com/office/drawing/2014/main" id="{C47051C0-98CE-49F2-8A8D-CD53401F965D}"/>
                </a:ext>
              </a:extLst>
            </p:cNvPr>
            <p:cNvSpPr>
              <a:spLocks/>
            </p:cNvSpPr>
            <p:nvPr/>
          </p:nvSpPr>
          <p:spPr bwMode="auto">
            <a:xfrm>
              <a:off x="13382436" y="2080380"/>
              <a:ext cx="9012" cy="34247"/>
            </a:xfrm>
            <a:custGeom>
              <a:avLst/>
              <a:gdLst>
                <a:gd name="T0" fmla="*/ 0 w 2"/>
                <a:gd name="T1" fmla="*/ 1 h 8"/>
                <a:gd name="T2" fmla="*/ 0 w 2"/>
                <a:gd name="T3" fmla="*/ 8 h 8"/>
                <a:gd name="T4" fmla="*/ 0 w 2"/>
                <a:gd name="T5" fmla="*/ 8 h 8"/>
                <a:gd name="T6" fmla="*/ 2 w 2"/>
                <a:gd name="T7" fmla="*/ 8 h 8"/>
                <a:gd name="T8" fmla="*/ 2 w 2"/>
                <a:gd name="T9" fmla="*/ 8 h 8"/>
                <a:gd name="T10" fmla="*/ 2 w 2"/>
                <a:gd name="T11" fmla="*/ 1 h 8"/>
                <a:gd name="T12" fmla="*/ 2 w 2"/>
                <a:gd name="T13" fmla="*/ 0 h 8"/>
                <a:gd name="T14" fmla="*/ 0 w 2"/>
                <a:gd name="T15" fmla="*/ 0 h 8"/>
                <a:gd name="T16" fmla="*/ 0 w 2"/>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0" y="1"/>
                  </a:moveTo>
                  <a:cubicBezTo>
                    <a:pt x="0" y="8"/>
                    <a:pt x="0" y="8"/>
                    <a:pt x="0" y="8"/>
                  </a:cubicBezTo>
                  <a:cubicBezTo>
                    <a:pt x="0" y="8"/>
                    <a:pt x="0" y="8"/>
                    <a:pt x="0" y="8"/>
                  </a:cubicBezTo>
                  <a:cubicBezTo>
                    <a:pt x="2" y="8"/>
                    <a:pt x="2" y="8"/>
                    <a:pt x="2" y="8"/>
                  </a:cubicBezTo>
                  <a:cubicBezTo>
                    <a:pt x="2" y="8"/>
                    <a:pt x="2" y="8"/>
                    <a:pt x="2" y="8"/>
                  </a:cubicBezTo>
                  <a:cubicBezTo>
                    <a:pt x="2" y="1"/>
                    <a:pt x="2" y="1"/>
                    <a:pt x="2" y="1"/>
                  </a:cubicBezTo>
                  <a:cubicBezTo>
                    <a:pt x="2" y="1"/>
                    <a:pt x="2" y="0"/>
                    <a:pt x="2" y="0"/>
                  </a:cubicBezTo>
                  <a:cubicBezTo>
                    <a:pt x="0" y="0"/>
                    <a:pt x="0" y="0"/>
                    <a:pt x="0" y="0"/>
                  </a:cubicBezTo>
                  <a:cubicBezTo>
                    <a:pt x="0" y="0"/>
                    <a:pt x="0" y="1"/>
                    <a:pt x="0" y="1"/>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92" name="Freeform 276">
              <a:extLst>
                <a:ext uri="{FF2B5EF4-FFF2-40B4-BE49-F238E27FC236}">
                  <a16:creationId xmlns:a16="http://schemas.microsoft.com/office/drawing/2014/main" id="{23EDE100-0732-4265-8F95-A2FC7CC6DD66}"/>
                </a:ext>
              </a:extLst>
            </p:cNvPr>
            <p:cNvSpPr>
              <a:spLocks noEditPoints="1"/>
            </p:cNvSpPr>
            <p:nvPr/>
          </p:nvSpPr>
          <p:spPr bwMode="auto">
            <a:xfrm>
              <a:off x="13378831" y="2080380"/>
              <a:ext cx="16222" cy="34247"/>
            </a:xfrm>
            <a:custGeom>
              <a:avLst/>
              <a:gdLst>
                <a:gd name="T0" fmla="*/ 3 w 4"/>
                <a:gd name="T1" fmla="*/ 8 h 8"/>
                <a:gd name="T2" fmla="*/ 1 w 4"/>
                <a:gd name="T3" fmla="*/ 8 h 8"/>
                <a:gd name="T4" fmla="*/ 0 w 4"/>
                <a:gd name="T5" fmla="*/ 8 h 8"/>
                <a:gd name="T6" fmla="*/ 0 w 4"/>
                <a:gd name="T7" fmla="*/ 1 h 8"/>
                <a:gd name="T8" fmla="*/ 1 w 4"/>
                <a:gd name="T9" fmla="*/ 0 h 8"/>
                <a:gd name="T10" fmla="*/ 3 w 4"/>
                <a:gd name="T11" fmla="*/ 0 h 8"/>
                <a:gd name="T12" fmla="*/ 4 w 4"/>
                <a:gd name="T13" fmla="*/ 1 h 8"/>
                <a:gd name="T14" fmla="*/ 4 w 4"/>
                <a:gd name="T15" fmla="*/ 8 h 8"/>
                <a:gd name="T16" fmla="*/ 3 w 4"/>
                <a:gd name="T17" fmla="*/ 8 h 8"/>
                <a:gd name="T18" fmla="*/ 1 w 4"/>
                <a:gd name="T19" fmla="*/ 1 h 8"/>
                <a:gd name="T20" fmla="*/ 1 w 4"/>
                <a:gd name="T21" fmla="*/ 8 h 8"/>
                <a:gd name="T22" fmla="*/ 3 w 4"/>
                <a:gd name="T23" fmla="*/ 8 h 8"/>
                <a:gd name="T24" fmla="*/ 3 w 4"/>
                <a:gd name="T25" fmla="*/ 1 h 8"/>
                <a:gd name="T26" fmla="*/ 1 w 4"/>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3" y="8"/>
                  </a:moveTo>
                  <a:cubicBezTo>
                    <a:pt x="1" y="8"/>
                    <a:pt x="1" y="8"/>
                    <a:pt x="1" y="8"/>
                  </a:cubicBezTo>
                  <a:cubicBezTo>
                    <a:pt x="1" y="8"/>
                    <a:pt x="0" y="8"/>
                    <a:pt x="0" y="8"/>
                  </a:cubicBezTo>
                  <a:cubicBezTo>
                    <a:pt x="0" y="1"/>
                    <a:pt x="0" y="1"/>
                    <a:pt x="0" y="1"/>
                  </a:cubicBezTo>
                  <a:cubicBezTo>
                    <a:pt x="0" y="0"/>
                    <a:pt x="1" y="0"/>
                    <a:pt x="1" y="0"/>
                  </a:cubicBezTo>
                  <a:cubicBezTo>
                    <a:pt x="3" y="0"/>
                    <a:pt x="3" y="0"/>
                    <a:pt x="3" y="0"/>
                  </a:cubicBezTo>
                  <a:cubicBezTo>
                    <a:pt x="3" y="0"/>
                    <a:pt x="4" y="0"/>
                    <a:pt x="4" y="1"/>
                  </a:cubicBezTo>
                  <a:cubicBezTo>
                    <a:pt x="4" y="8"/>
                    <a:pt x="4" y="8"/>
                    <a:pt x="4" y="8"/>
                  </a:cubicBezTo>
                  <a:cubicBezTo>
                    <a:pt x="4" y="8"/>
                    <a:pt x="3" y="8"/>
                    <a:pt x="3" y="8"/>
                  </a:cubicBezTo>
                  <a:close/>
                  <a:moveTo>
                    <a:pt x="1" y="1"/>
                  </a:moveTo>
                  <a:cubicBezTo>
                    <a:pt x="1" y="8"/>
                    <a:pt x="1" y="8"/>
                    <a:pt x="1" y="8"/>
                  </a:cubicBezTo>
                  <a:cubicBezTo>
                    <a:pt x="3" y="8"/>
                    <a:pt x="3" y="8"/>
                    <a:pt x="3" y="8"/>
                  </a:cubicBezTo>
                  <a:cubicBezTo>
                    <a:pt x="3" y="1"/>
                    <a:pt x="3" y="1"/>
                    <a:pt x="3" y="1"/>
                  </a:cubicBezTo>
                  <a:lnTo>
                    <a:pt x="1"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93" name="Freeform 277">
              <a:extLst>
                <a:ext uri="{FF2B5EF4-FFF2-40B4-BE49-F238E27FC236}">
                  <a16:creationId xmlns:a16="http://schemas.microsoft.com/office/drawing/2014/main" id="{3BE05BBD-DB66-4B60-BD31-F1AADF824F72}"/>
                </a:ext>
              </a:extLst>
            </p:cNvPr>
            <p:cNvSpPr>
              <a:spLocks/>
            </p:cNvSpPr>
            <p:nvPr/>
          </p:nvSpPr>
          <p:spPr bwMode="auto">
            <a:xfrm>
              <a:off x="13369819" y="2080380"/>
              <a:ext cx="12617" cy="34247"/>
            </a:xfrm>
            <a:custGeom>
              <a:avLst/>
              <a:gdLst>
                <a:gd name="T0" fmla="*/ 0 w 3"/>
                <a:gd name="T1" fmla="*/ 1 h 8"/>
                <a:gd name="T2" fmla="*/ 0 w 3"/>
                <a:gd name="T3" fmla="*/ 8 h 8"/>
                <a:gd name="T4" fmla="*/ 1 w 3"/>
                <a:gd name="T5" fmla="*/ 8 h 8"/>
                <a:gd name="T6" fmla="*/ 2 w 3"/>
                <a:gd name="T7" fmla="*/ 8 h 8"/>
                <a:gd name="T8" fmla="*/ 3 w 3"/>
                <a:gd name="T9" fmla="*/ 8 h 8"/>
                <a:gd name="T10" fmla="*/ 3 w 3"/>
                <a:gd name="T11" fmla="*/ 1 h 8"/>
                <a:gd name="T12" fmla="*/ 2 w 3"/>
                <a:gd name="T13" fmla="*/ 0 h 8"/>
                <a:gd name="T14" fmla="*/ 1 w 3"/>
                <a:gd name="T15" fmla="*/ 0 h 8"/>
                <a:gd name="T16" fmla="*/ 0 w 3"/>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0" y="1"/>
                  </a:moveTo>
                  <a:cubicBezTo>
                    <a:pt x="0" y="8"/>
                    <a:pt x="0" y="8"/>
                    <a:pt x="0" y="8"/>
                  </a:cubicBezTo>
                  <a:cubicBezTo>
                    <a:pt x="0" y="8"/>
                    <a:pt x="0" y="8"/>
                    <a:pt x="1" y="8"/>
                  </a:cubicBezTo>
                  <a:cubicBezTo>
                    <a:pt x="2" y="8"/>
                    <a:pt x="2" y="8"/>
                    <a:pt x="2" y="8"/>
                  </a:cubicBezTo>
                  <a:cubicBezTo>
                    <a:pt x="3" y="8"/>
                    <a:pt x="3" y="8"/>
                    <a:pt x="3" y="8"/>
                  </a:cubicBezTo>
                  <a:cubicBezTo>
                    <a:pt x="3" y="1"/>
                    <a:pt x="3" y="1"/>
                    <a:pt x="3" y="1"/>
                  </a:cubicBezTo>
                  <a:cubicBezTo>
                    <a:pt x="3" y="1"/>
                    <a:pt x="3" y="0"/>
                    <a:pt x="2" y="0"/>
                  </a:cubicBezTo>
                  <a:cubicBezTo>
                    <a:pt x="1" y="0"/>
                    <a:pt x="1" y="0"/>
                    <a:pt x="1" y="0"/>
                  </a:cubicBezTo>
                  <a:cubicBezTo>
                    <a:pt x="0" y="0"/>
                    <a:pt x="0" y="1"/>
                    <a:pt x="0" y="1"/>
                  </a:cubicBezTo>
                  <a:close/>
                </a:path>
              </a:pathLst>
            </a:custGeom>
            <a:solidFill>
              <a:srgbClr val="6F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94" name="Freeform 278">
              <a:extLst>
                <a:ext uri="{FF2B5EF4-FFF2-40B4-BE49-F238E27FC236}">
                  <a16:creationId xmlns:a16="http://schemas.microsoft.com/office/drawing/2014/main" id="{BA772C2C-97F6-48FF-8E17-010B777352F0}"/>
                </a:ext>
              </a:extLst>
            </p:cNvPr>
            <p:cNvSpPr>
              <a:spLocks noEditPoints="1"/>
            </p:cNvSpPr>
            <p:nvPr/>
          </p:nvSpPr>
          <p:spPr bwMode="auto">
            <a:xfrm>
              <a:off x="13369819" y="2080380"/>
              <a:ext cx="12617" cy="34247"/>
            </a:xfrm>
            <a:custGeom>
              <a:avLst/>
              <a:gdLst>
                <a:gd name="T0" fmla="*/ 2 w 3"/>
                <a:gd name="T1" fmla="*/ 8 h 8"/>
                <a:gd name="T2" fmla="*/ 1 w 3"/>
                <a:gd name="T3" fmla="*/ 8 h 8"/>
                <a:gd name="T4" fmla="*/ 0 w 3"/>
                <a:gd name="T5" fmla="*/ 8 h 8"/>
                <a:gd name="T6" fmla="*/ 0 w 3"/>
                <a:gd name="T7" fmla="*/ 1 h 8"/>
                <a:gd name="T8" fmla="*/ 1 w 3"/>
                <a:gd name="T9" fmla="*/ 0 h 8"/>
                <a:gd name="T10" fmla="*/ 2 w 3"/>
                <a:gd name="T11" fmla="*/ 0 h 8"/>
                <a:gd name="T12" fmla="*/ 3 w 3"/>
                <a:gd name="T13" fmla="*/ 1 h 8"/>
                <a:gd name="T14" fmla="*/ 3 w 3"/>
                <a:gd name="T15" fmla="*/ 8 h 8"/>
                <a:gd name="T16" fmla="*/ 2 w 3"/>
                <a:gd name="T17" fmla="*/ 8 h 8"/>
                <a:gd name="T18" fmla="*/ 1 w 3"/>
                <a:gd name="T19" fmla="*/ 1 h 8"/>
                <a:gd name="T20" fmla="*/ 1 w 3"/>
                <a:gd name="T21" fmla="*/ 8 h 8"/>
                <a:gd name="T22" fmla="*/ 2 w 3"/>
                <a:gd name="T23" fmla="*/ 8 h 8"/>
                <a:gd name="T24" fmla="*/ 2 w 3"/>
                <a:gd name="T25" fmla="*/ 1 h 8"/>
                <a:gd name="T26" fmla="*/ 1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2" y="8"/>
                  </a:moveTo>
                  <a:cubicBezTo>
                    <a:pt x="1" y="8"/>
                    <a:pt x="1" y="8"/>
                    <a:pt x="1" y="8"/>
                  </a:cubicBezTo>
                  <a:cubicBezTo>
                    <a:pt x="0" y="8"/>
                    <a:pt x="0" y="8"/>
                    <a:pt x="0" y="8"/>
                  </a:cubicBezTo>
                  <a:cubicBezTo>
                    <a:pt x="0" y="1"/>
                    <a:pt x="0" y="1"/>
                    <a:pt x="0" y="1"/>
                  </a:cubicBezTo>
                  <a:cubicBezTo>
                    <a:pt x="0" y="0"/>
                    <a:pt x="0" y="0"/>
                    <a:pt x="1" y="0"/>
                  </a:cubicBezTo>
                  <a:cubicBezTo>
                    <a:pt x="2" y="0"/>
                    <a:pt x="2" y="0"/>
                    <a:pt x="2" y="0"/>
                  </a:cubicBezTo>
                  <a:cubicBezTo>
                    <a:pt x="3" y="0"/>
                    <a:pt x="3" y="0"/>
                    <a:pt x="3" y="1"/>
                  </a:cubicBezTo>
                  <a:cubicBezTo>
                    <a:pt x="3" y="8"/>
                    <a:pt x="3" y="8"/>
                    <a:pt x="3" y="8"/>
                  </a:cubicBezTo>
                  <a:cubicBezTo>
                    <a:pt x="3" y="8"/>
                    <a:pt x="3" y="8"/>
                    <a:pt x="2" y="8"/>
                  </a:cubicBezTo>
                  <a:close/>
                  <a:moveTo>
                    <a:pt x="1" y="1"/>
                  </a:moveTo>
                  <a:cubicBezTo>
                    <a:pt x="1" y="8"/>
                    <a:pt x="1" y="8"/>
                    <a:pt x="1" y="8"/>
                  </a:cubicBezTo>
                  <a:cubicBezTo>
                    <a:pt x="2" y="8"/>
                    <a:pt x="2" y="8"/>
                    <a:pt x="2" y="8"/>
                  </a:cubicBezTo>
                  <a:cubicBezTo>
                    <a:pt x="2" y="1"/>
                    <a:pt x="2" y="1"/>
                    <a:pt x="2" y="1"/>
                  </a:cubicBezTo>
                  <a:lnTo>
                    <a:pt x="1"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95" name="Oval 279">
              <a:extLst>
                <a:ext uri="{FF2B5EF4-FFF2-40B4-BE49-F238E27FC236}">
                  <a16:creationId xmlns:a16="http://schemas.microsoft.com/office/drawing/2014/main" id="{485651A1-15B4-4353-82E8-6C0030380A31}"/>
                </a:ext>
              </a:extLst>
            </p:cNvPr>
            <p:cNvSpPr>
              <a:spLocks noChangeArrowheads="1"/>
            </p:cNvSpPr>
            <p:nvPr/>
          </p:nvSpPr>
          <p:spPr bwMode="auto">
            <a:xfrm>
              <a:off x="13360807" y="2156084"/>
              <a:ext cx="64889" cy="59481"/>
            </a:xfrm>
            <a:prstGeom prst="ellipse">
              <a:avLst/>
            </a:prstGeom>
            <a:solidFill>
              <a:srgbClr val="BF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396" name="Freeform 280">
              <a:extLst>
                <a:ext uri="{FF2B5EF4-FFF2-40B4-BE49-F238E27FC236}">
                  <a16:creationId xmlns:a16="http://schemas.microsoft.com/office/drawing/2014/main" id="{7B8ED238-4EC8-4ACA-BAAC-3FEBE0B8A8A0}"/>
                </a:ext>
              </a:extLst>
            </p:cNvPr>
            <p:cNvSpPr>
              <a:spLocks noEditPoints="1"/>
            </p:cNvSpPr>
            <p:nvPr/>
          </p:nvSpPr>
          <p:spPr bwMode="auto">
            <a:xfrm>
              <a:off x="13357202" y="2152479"/>
              <a:ext cx="68494" cy="66691"/>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1 h 16"/>
                <a:gd name="T12" fmla="*/ 2 w 16"/>
                <a:gd name="T13" fmla="*/ 8 h 16"/>
                <a:gd name="T14" fmla="*/ 8 w 16"/>
                <a:gd name="T15" fmla="*/ 15 h 16"/>
                <a:gd name="T16" fmla="*/ 15 w 16"/>
                <a:gd name="T17" fmla="*/ 8 h 16"/>
                <a:gd name="T18" fmla="*/ 8 w 16"/>
                <a:gd name="T19"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3" y="0"/>
                    <a:pt x="16" y="4"/>
                    <a:pt x="16" y="8"/>
                  </a:cubicBezTo>
                  <a:cubicBezTo>
                    <a:pt x="16" y="12"/>
                    <a:pt x="13" y="16"/>
                    <a:pt x="8" y="16"/>
                  </a:cubicBezTo>
                  <a:close/>
                  <a:moveTo>
                    <a:pt x="8" y="1"/>
                  </a:moveTo>
                  <a:cubicBezTo>
                    <a:pt x="5" y="1"/>
                    <a:pt x="2" y="4"/>
                    <a:pt x="2" y="8"/>
                  </a:cubicBezTo>
                  <a:cubicBezTo>
                    <a:pt x="2" y="12"/>
                    <a:pt x="5" y="15"/>
                    <a:pt x="8" y="15"/>
                  </a:cubicBezTo>
                  <a:cubicBezTo>
                    <a:pt x="12" y="15"/>
                    <a:pt x="15" y="12"/>
                    <a:pt x="15" y="8"/>
                  </a:cubicBezTo>
                  <a:cubicBezTo>
                    <a:pt x="15" y="4"/>
                    <a:pt x="12" y="1"/>
                    <a:pt x="8" y="1"/>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sp>
        <p:nvSpPr>
          <p:cNvPr id="2397" name="Rectangle 2396">
            <a:extLst>
              <a:ext uri="{FF2B5EF4-FFF2-40B4-BE49-F238E27FC236}">
                <a16:creationId xmlns:a16="http://schemas.microsoft.com/office/drawing/2014/main" id="{4A233AC3-8BF9-4A76-ADE1-BE7A313C0F85}"/>
              </a:ext>
            </a:extLst>
          </p:cNvPr>
          <p:cNvSpPr/>
          <p:nvPr/>
        </p:nvSpPr>
        <p:spPr bwMode="auto">
          <a:xfrm rot="5400000">
            <a:off x="10380334" y="4533864"/>
            <a:ext cx="572891" cy="127809"/>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cs typeface="Segoe UI" pitchFamily="34" charset="0"/>
            </a:endParaRPr>
          </a:p>
        </p:txBody>
      </p:sp>
      <p:grpSp>
        <p:nvGrpSpPr>
          <p:cNvPr id="2398" name="Group 2397">
            <a:extLst>
              <a:ext uri="{FF2B5EF4-FFF2-40B4-BE49-F238E27FC236}">
                <a16:creationId xmlns:a16="http://schemas.microsoft.com/office/drawing/2014/main" id="{4034F406-4B25-4CC8-B4DA-D7E2387E960D}"/>
              </a:ext>
            </a:extLst>
          </p:cNvPr>
          <p:cNvGrpSpPr/>
          <p:nvPr/>
        </p:nvGrpSpPr>
        <p:grpSpPr>
          <a:xfrm>
            <a:off x="9157512" y="2443560"/>
            <a:ext cx="1701194" cy="800061"/>
            <a:chOff x="5761038" y="1656271"/>
            <a:chExt cx="1690417" cy="794993"/>
          </a:xfrm>
        </p:grpSpPr>
        <p:grpSp>
          <p:nvGrpSpPr>
            <p:cNvPr id="2399" name="Group 2398">
              <a:extLst>
                <a:ext uri="{FF2B5EF4-FFF2-40B4-BE49-F238E27FC236}">
                  <a16:creationId xmlns:a16="http://schemas.microsoft.com/office/drawing/2014/main" id="{900556FD-EE6F-47BB-83EF-6177E3B43731}"/>
                </a:ext>
              </a:extLst>
            </p:cNvPr>
            <p:cNvGrpSpPr/>
            <p:nvPr/>
          </p:nvGrpSpPr>
          <p:grpSpPr>
            <a:xfrm>
              <a:off x="5924605" y="1656271"/>
              <a:ext cx="1526850" cy="794993"/>
              <a:chOff x="5921110" y="1731837"/>
              <a:chExt cx="1526850" cy="685800"/>
            </a:xfrm>
          </p:grpSpPr>
          <p:sp>
            <p:nvSpPr>
              <p:cNvPr id="2410" name="Rectangle 2409">
                <a:extLst>
                  <a:ext uri="{FF2B5EF4-FFF2-40B4-BE49-F238E27FC236}">
                    <a16:creationId xmlns:a16="http://schemas.microsoft.com/office/drawing/2014/main" id="{A06F855F-509C-4F20-AB87-EA50BF4F12A0}"/>
                  </a:ext>
                </a:extLst>
              </p:cNvPr>
              <p:cNvSpPr/>
              <p:nvPr/>
            </p:nvSpPr>
            <p:spPr bwMode="auto">
              <a:xfrm>
                <a:off x="5921110" y="1733359"/>
                <a:ext cx="1526850" cy="682755"/>
              </a:xfrm>
              <a:prstGeom prst="rect">
                <a:avLst/>
              </a:prstGeom>
              <a:noFill/>
              <a:ln w="1270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89620" tIns="89620" rIns="134429" bIns="143392" numCol="1" spcCol="0" rtlCol="0" fromWordArt="0" anchor="t" anchorCtr="0" forceAA="0" compatLnSpc="1">
                <a:prstTxWarp prst="textNoShape">
                  <a:avLst/>
                </a:prstTxWarp>
                <a:noAutofit/>
              </a:bodyPr>
              <a:lstStyle/>
              <a:p>
                <a:pPr defTabSz="913852" fontAlgn="base">
                  <a:lnSpc>
                    <a:spcPct val="85000"/>
                  </a:lnSpc>
                  <a:spcBef>
                    <a:spcPct val="0"/>
                  </a:spcBef>
                  <a:spcAft>
                    <a:spcPts val="588"/>
                  </a:spcAft>
                  <a:defRPr/>
                </a:pPr>
                <a:endParaRPr lang="en-US" sz="1100" kern="0" dirty="0">
                  <a:solidFill>
                    <a:srgbClr val="505050"/>
                  </a:solidFill>
                  <a:latin typeface="Segoe UI Light"/>
                </a:endParaRPr>
              </a:p>
            </p:txBody>
          </p:sp>
          <p:sp>
            <p:nvSpPr>
              <p:cNvPr id="2411" name="Rectangle 2410">
                <a:extLst>
                  <a:ext uri="{FF2B5EF4-FFF2-40B4-BE49-F238E27FC236}">
                    <a16:creationId xmlns:a16="http://schemas.microsoft.com/office/drawing/2014/main" id="{2372715A-B92D-4D06-B5D9-11AC19CDCC17}"/>
                  </a:ext>
                </a:extLst>
              </p:cNvPr>
              <p:cNvSpPr/>
              <p:nvPr/>
            </p:nvSpPr>
            <p:spPr bwMode="auto">
              <a:xfrm rot="5400000">
                <a:off x="5592614" y="2060333"/>
                <a:ext cx="685800" cy="28807"/>
              </a:xfrm>
              <a:prstGeom prst="rect">
                <a:avLst/>
              </a:prstGeom>
              <a:solidFill>
                <a:schemeClr val="bg1">
                  <a:lumMod val="65000"/>
                </a:schemeClr>
              </a:solidFill>
              <a:ln w="12700"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143392" tIns="143392" rIns="134429" bIns="143392" numCol="1" spcCol="0" rtlCol="0" fromWordArt="0" anchor="t" anchorCtr="0" forceAA="0" compatLnSpc="1">
                <a:prstTxWarp prst="textNoShape">
                  <a:avLst/>
                </a:prstTxWarp>
                <a:noAutofit/>
              </a:bodyPr>
              <a:lstStyle/>
              <a:p>
                <a:pPr defTabSz="913852" fontAlgn="base">
                  <a:lnSpc>
                    <a:spcPct val="85000"/>
                  </a:lnSpc>
                  <a:spcBef>
                    <a:spcPct val="0"/>
                  </a:spcBef>
                  <a:spcAft>
                    <a:spcPts val="588"/>
                  </a:spcAft>
                  <a:defRPr/>
                </a:pPr>
                <a:endParaRPr lang="en-US" sz="1175" kern="0" dirty="0">
                  <a:solidFill>
                    <a:srgbClr val="505050"/>
                  </a:solidFill>
                  <a:latin typeface="Segoe UI Light"/>
                </a:endParaRPr>
              </a:p>
            </p:txBody>
          </p:sp>
        </p:grpSp>
        <p:grpSp>
          <p:nvGrpSpPr>
            <p:cNvPr id="2407" name="Group 2406">
              <a:extLst>
                <a:ext uri="{FF2B5EF4-FFF2-40B4-BE49-F238E27FC236}">
                  <a16:creationId xmlns:a16="http://schemas.microsoft.com/office/drawing/2014/main" id="{3CCEE672-1B99-49B9-9FEF-5E0D530BBB2D}"/>
                </a:ext>
              </a:extLst>
            </p:cNvPr>
            <p:cNvGrpSpPr/>
            <p:nvPr/>
          </p:nvGrpSpPr>
          <p:grpSpPr>
            <a:xfrm>
              <a:off x="5761038" y="1884964"/>
              <a:ext cx="337607" cy="337607"/>
              <a:chOff x="8358225" y="2185205"/>
              <a:chExt cx="314175" cy="314175"/>
            </a:xfrm>
          </p:grpSpPr>
          <p:sp>
            <p:nvSpPr>
              <p:cNvPr id="2408" name="Oval 2407">
                <a:extLst>
                  <a:ext uri="{FF2B5EF4-FFF2-40B4-BE49-F238E27FC236}">
                    <a16:creationId xmlns:a16="http://schemas.microsoft.com/office/drawing/2014/main" id="{AA2F9328-7A7E-468C-A2FD-03459A9215BA}"/>
                  </a:ext>
                </a:extLst>
              </p:cNvPr>
              <p:cNvSpPr/>
              <p:nvPr/>
            </p:nvSpPr>
            <p:spPr bwMode="auto">
              <a:xfrm>
                <a:off x="8358225" y="2185205"/>
                <a:ext cx="314175" cy="314175"/>
              </a:xfrm>
              <a:prstGeom prst="ellipse">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2409" name="Freeform 5">
                <a:extLst>
                  <a:ext uri="{FF2B5EF4-FFF2-40B4-BE49-F238E27FC236}">
                    <a16:creationId xmlns:a16="http://schemas.microsoft.com/office/drawing/2014/main" id="{0467F2DA-5A85-4B57-A03E-48AB459D72C7}"/>
                  </a:ext>
                </a:extLst>
              </p:cNvPr>
              <p:cNvSpPr>
                <a:spLocks noEditPoints="1"/>
              </p:cNvSpPr>
              <p:nvPr/>
            </p:nvSpPr>
            <p:spPr bwMode="auto">
              <a:xfrm>
                <a:off x="8445392" y="2251503"/>
                <a:ext cx="146824" cy="167507"/>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grpSp>
        <p:nvGrpSpPr>
          <p:cNvPr id="2412" name="Group 2411">
            <a:extLst>
              <a:ext uri="{FF2B5EF4-FFF2-40B4-BE49-F238E27FC236}">
                <a16:creationId xmlns:a16="http://schemas.microsoft.com/office/drawing/2014/main" id="{4E3AFBF4-A656-4130-BFFE-D0A1B0B61E84}"/>
              </a:ext>
            </a:extLst>
          </p:cNvPr>
          <p:cNvGrpSpPr/>
          <p:nvPr/>
        </p:nvGrpSpPr>
        <p:grpSpPr>
          <a:xfrm>
            <a:off x="9157512" y="3328379"/>
            <a:ext cx="1701194" cy="800061"/>
            <a:chOff x="5761038" y="2535484"/>
            <a:chExt cx="1690417" cy="794993"/>
          </a:xfrm>
        </p:grpSpPr>
        <p:grpSp>
          <p:nvGrpSpPr>
            <p:cNvPr id="2413" name="Group 2412">
              <a:extLst>
                <a:ext uri="{FF2B5EF4-FFF2-40B4-BE49-F238E27FC236}">
                  <a16:creationId xmlns:a16="http://schemas.microsoft.com/office/drawing/2014/main" id="{77DE7B4F-AA1B-4D35-93E5-DC0967000D94}"/>
                </a:ext>
              </a:extLst>
            </p:cNvPr>
            <p:cNvGrpSpPr/>
            <p:nvPr/>
          </p:nvGrpSpPr>
          <p:grpSpPr>
            <a:xfrm>
              <a:off x="5924605" y="2535484"/>
              <a:ext cx="1526850" cy="794993"/>
              <a:chOff x="5913103" y="2482969"/>
              <a:chExt cx="1526850" cy="685800"/>
            </a:xfrm>
          </p:grpSpPr>
          <p:sp>
            <p:nvSpPr>
              <p:cNvPr id="2417" name="Rectangle 2416">
                <a:extLst>
                  <a:ext uri="{FF2B5EF4-FFF2-40B4-BE49-F238E27FC236}">
                    <a16:creationId xmlns:a16="http://schemas.microsoft.com/office/drawing/2014/main" id="{02524171-8A30-42F2-ABBD-807033B134CC}"/>
                  </a:ext>
                </a:extLst>
              </p:cNvPr>
              <p:cNvSpPr/>
              <p:nvPr/>
            </p:nvSpPr>
            <p:spPr bwMode="auto">
              <a:xfrm>
                <a:off x="5913103" y="2484491"/>
                <a:ext cx="1526850" cy="682755"/>
              </a:xfrm>
              <a:prstGeom prst="rect">
                <a:avLst/>
              </a:prstGeom>
              <a:noFill/>
              <a:ln w="1270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89620" tIns="89620" rIns="134429" bIns="143392" numCol="1" spcCol="0" rtlCol="0" fromWordArt="0" anchor="t" anchorCtr="0" forceAA="0" compatLnSpc="1">
                <a:prstTxWarp prst="textNoShape">
                  <a:avLst/>
                </a:prstTxWarp>
                <a:noAutofit/>
              </a:bodyPr>
              <a:lstStyle/>
              <a:p>
                <a:pPr defTabSz="913852" fontAlgn="base">
                  <a:lnSpc>
                    <a:spcPct val="85000"/>
                  </a:lnSpc>
                  <a:spcBef>
                    <a:spcPct val="0"/>
                  </a:spcBef>
                  <a:spcAft>
                    <a:spcPts val="588"/>
                  </a:spcAft>
                  <a:defRPr/>
                </a:pPr>
                <a:endParaRPr lang="en-US" sz="1100" kern="0" dirty="0">
                  <a:solidFill>
                    <a:srgbClr val="505050"/>
                  </a:solidFill>
                  <a:latin typeface="Segoe UI Light"/>
                </a:endParaRPr>
              </a:p>
            </p:txBody>
          </p:sp>
          <p:sp>
            <p:nvSpPr>
              <p:cNvPr id="2418" name="Rectangle 2417">
                <a:extLst>
                  <a:ext uri="{FF2B5EF4-FFF2-40B4-BE49-F238E27FC236}">
                    <a16:creationId xmlns:a16="http://schemas.microsoft.com/office/drawing/2014/main" id="{74256498-7DEA-4CC9-BE4A-96E0B2F2C7F0}"/>
                  </a:ext>
                </a:extLst>
              </p:cNvPr>
              <p:cNvSpPr/>
              <p:nvPr/>
            </p:nvSpPr>
            <p:spPr bwMode="auto">
              <a:xfrm rot="5400000">
                <a:off x="5584607" y="2811465"/>
                <a:ext cx="685800" cy="28807"/>
              </a:xfrm>
              <a:prstGeom prst="rect">
                <a:avLst/>
              </a:prstGeom>
              <a:solidFill>
                <a:schemeClr val="bg1">
                  <a:lumMod val="65000"/>
                </a:schemeClr>
              </a:solidFill>
              <a:ln w="12700"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143392" tIns="143392" rIns="134429" bIns="143392" numCol="1" spcCol="0" rtlCol="0" fromWordArt="0" anchor="t" anchorCtr="0" forceAA="0" compatLnSpc="1">
                <a:prstTxWarp prst="textNoShape">
                  <a:avLst/>
                </a:prstTxWarp>
                <a:noAutofit/>
              </a:bodyPr>
              <a:lstStyle/>
              <a:p>
                <a:pPr defTabSz="913852" fontAlgn="base">
                  <a:lnSpc>
                    <a:spcPct val="85000"/>
                  </a:lnSpc>
                  <a:spcBef>
                    <a:spcPct val="0"/>
                  </a:spcBef>
                  <a:spcAft>
                    <a:spcPts val="588"/>
                  </a:spcAft>
                  <a:defRPr/>
                </a:pPr>
                <a:endParaRPr lang="en-US" sz="1175" kern="0" dirty="0">
                  <a:solidFill>
                    <a:srgbClr val="505050"/>
                  </a:solidFill>
                  <a:latin typeface="Segoe UI Light"/>
                </a:endParaRPr>
              </a:p>
            </p:txBody>
          </p:sp>
        </p:grpSp>
        <p:grpSp>
          <p:nvGrpSpPr>
            <p:cNvPr id="2414" name="Group 2413">
              <a:extLst>
                <a:ext uri="{FF2B5EF4-FFF2-40B4-BE49-F238E27FC236}">
                  <a16:creationId xmlns:a16="http://schemas.microsoft.com/office/drawing/2014/main" id="{04D85784-0F3A-4FBE-9C1B-C50D85E0EF5D}"/>
                </a:ext>
              </a:extLst>
            </p:cNvPr>
            <p:cNvGrpSpPr/>
            <p:nvPr/>
          </p:nvGrpSpPr>
          <p:grpSpPr>
            <a:xfrm>
              <a:off x="5761038" y="2764175"/>
              <a:ext cx="337607" cy="337610"/>
              <a:chOff x="4981200" y="2041353"/>
              <a:chExt cx="314175" cy="314178"/>
            </a:xfrm>
          </p:grpSpPr>
          <p:sp>
            <p:nvSpPr>
              <p:cNvPr id="2415" name="Oval 2414">
                <a:extLst>
                  <a:ext uri="{FF2B5EF4-FFF2-40B4-BE49-F238E27FC236}">
                    <a16:creationId xmlns:a16="http://schemas.microsoft.com/office/drawing/2014/main" id="{5643D85D-8AFA-4D1E-A1AF-3EBA9D5388F9}"/>
                  </a:ext>
                </a:extLst>
              </p:cNvPr>
              <p:cNvSpPr/>
              <p:nvPr/>
            </p:nvSpPr>
            <p:spPr bwMode="auto">
              <a:xfrm>
                <a:off x="4981200" y="2041353"/>
                <a:ext cx="314175" cy="314178"/>
              </a:xfrm>
              <a:prstGeom prst="ellipse">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2416" name="Freeform 5">
                <a:extLst>
                  <a:ext uri="{FF2B5EF4-FFF2-40B4-BE49-F238E27FC236}">
                    <a16:creationId xmlns:a16="http://schemas.microsoft.com/office/drawing/2014/main" id="{6B0BF731-998A-4A50-A5FB-26EE5F154A38}"/>
                  </a:ext>
                </a:extLst>
              </p:cNvPr>
              <p:cNvSpPr>
                <a:spLocks noEditPoints="1"/>
              </p:cNvSpPr>
              <p:nvPr/>
            </p:nvSpPr>
            <p:spPr bwMode="auto">
              <a:xfrm>
                <a:off x="5067450" y="2112471"/>
                <a:ext cx="146824" cy="167507"/>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grpSp>
        <p:nvGrpSpPr>
          <p:cNvPr id="2419" name="Group 2418">
            <a:extLst>
              <a:ext uri="{FF2B5EF4-FFF2-40B4-BE49-F238E27FC236}">
                <a16:creationId xmlns:a16="http://schemas.microsoft.com/office/drawing/2014/main" id="{8392C3F0-5430-4E97-ACF5-0B6D7FF3B809}"/>
              </a:ext>
            </a:extLst>
          </p:cNvPr>
          <p:cNvGrpSpPr/>
          <p:nvPr/>
        </p:nvGrpSpPr>
        <p:grpSpPr>
          <a:xfrm>
            <a:off x="9157512" y="4213197"/>
            <a:ext cx="1701194" cy="800061"/>
            <a:chOff x="5761038" y="3414697"/>
            <a:chExt cx="1690417" cy="794993"/>
          </a:xfrm>
        </p:grpSpPr>
        <p:grpSp>
          <p:nvGrpSpPr>
            <p:cNvPr id="2420" name="Group 2419">
              <a:extLst>
                <a:ext uri="{FF2B5EF4-FFF2-40B4-BE49-F238E27FC236}">
                  <a16:creationId xmlns:a16="http://schemas.microsoft.com/office/drawing/2014/main" id="{A2108D46-9449-4389-A832-0AA64403D45E}"/>
                </a:ext>
              </a:extLst>
            </p:cNvPr>
            <p:cNvGrpSpPr/>
            <p:nvPr/>
          </p:nvGrpSpPr>
          <p:grpSpPr>
            <a:xfrm>
              <a:off x="5924605" y="3414697"/>
              <a:ext cx="1526850" cy="794993"/>
              <a:chOff x="5926169" y="3311105"/>
              <a:chExt cx="1526850" cy="685800"/>
            </a:xfrm>
          </p:grpSpPr>
          <p:sp>
            <p:nvSpPr>
              <p:cNvPr id="2424" name="Rectangle 2423">
                <a:extLst>
                  <a:ext uri="{FF2B5EF4-FFF2-40B4-BE49-F238E27FC236}">
                    <a16:creationId xmlns:a16="http://schemas.microsoft.com/office/drawing/2014/main" id="{C2B117BA-6515-4FD3-A00F-54CFF956BC87}"/>
                  </a:ext>
                </a:extLst>
              </p:cNvPr>
              <p:cNvSpPr/>
              <p:nvPr/>
            </p:nvSpPr>
            <p:spPr bwMode="auto">
              <a:xfrm>
                <a:off x="5926169" y="3312627"/>
                <a:ext cx="1526850" cy="682755"/>
              </a:xfrm>
              <a:prstGeom prst="rect">
                <a:avLst/>
              </a:prstGeom>
              <a:noFill/>
              <a:ln w="1270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89620" tIns="89620" rIns="134429" bIns="143392" numCol="1" spcCol="0" rtlCol="0" fromWordArt="0" anchor="t" anchorCtr="0" forceAA="0" compatLnSpc="1">
                <a:prstTxWarp prst="textNoShape">
                  <a:avLst/>
                </a:prstTxWarp>
                <a:noAutofit/>
              </a:bodyPr>
              <a:lstStyle/>
              <a:p>
                <a:pPr defTabSz="913852" fontAlgn="base">
                  <a:lnSpc>
                    <a:spcPct val="85000"/>
                  </a:lnSpc>
                  <a:spcBef>
                    <a:spcPct val="0"/>
                  </a:spcBef>
                  <a:spcAft>
                    <a:spcPts val="588"/>
                  </a:spcAft>
                  <a:defRPr/>
                </a:pPr>
                <a:endParaRPr lang="en-US" sz="1100" kern="0" dirty="0">
                  <a:solidFill>
                    <a:srgbClr val="505050"/>
                  </a:solidFill>
                  <a:latin typeface="Segoe UI Light"/>
                </a:endParaRPr>
              </a:p>
            </p:txBody>
          </p:sp>
          <p:sp>
            <p:nvSpPr>
              <p:cNvPr id="2425" name="Rectangle 2424">
                <a:extLst>
                  <a:ext uri="{FF2B5EF4-FFF2-40B4-BE49-F238E27FC236}">
                    <a16:creationId xmlns:a16="http://schemas.microsoft.com/office/drawing/2014/main" id="{5DC22938-B9A5-4843-87A8-B0402EB7E3E4}"/>
                  </a:ext>
                </a:extLst>
              </p:cNvPr>
              <p:cNvSpPr/>
              <p:nvPr/>
            </p:nvSpPr>
            <p:spPr bwMode="auto">
              <a:xfrm rot="5400000">
                <a:off x="5597673" y="3639601"/>
                <a:ext cx="685800" cy="28807"/>
              </a:xfrm>
              <a:prstGeom prst="rect">
                <a:avLst/>
              </a:prstGeom>
              <a:solidFill>
                <a:schemeClr val="bg1">
                  <a:lumMod val="65000"/>
                </a:schemeClr>
              </a:solidFill>
              <a:ln w="12700"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143392" tIns="143392" rIns="134429" bIns="143392" numCol="1" spcCol="0" rtlCol="0" fromWordArt="0" anchor="t" anchorCtr="0" forceAA="0" compatLnSpc="1">
                <a:prstTxWarp prst="textNoShape">
                  <a:avLst/>
                </a:prstTxWarp>
                <a:noAutofit/>
              </a:bodyPr>
              <a:lstStyle/>
              <a:p>
                <a:pPr defTabSz="913852" fontAlgn="base">
                  <a:lnSpc>
                    <a:spcPct val="85000"/>
                  </a:lnSpc>
                  <a:spcBef>
                    <a:spcPct val="0"/>
                  </a:spcBef>
                  <a:spcAft>
                    <a:spcPts val="588"/>
                  </a:spcAft>
                  <a:defRPr/>
                </a:pPr>
                <a:endParaRPr lang="en-US" sz="1175" kern="0" dirty="0">
                  <a:solidFill>
                    <a:srgbClr val="505050"/>
                  </a:solidFill>
                  <a:latin typeface="Segoe UI Light"/>
                </a:endParaRPr>
              </a:p>
            </p:txBody>
          </p:sp>
        </p:grpSp>
        <p:grpSp>
          <p:nvGrpSpPr>
            <p:cNvPr id="2421" name="Group 2420">
              <a:extLst>
                <a:ext uri="{FF2B5EF4-FFF2-40B4-BE49-F238E27FC236}">
                  <a16:creationId xmlns:a16="http://schemas.microsoft.com/office/drawing/2014/main" id="{116B26CE-6EC3-484B-BE6F-2B3A78043FE4}"/>
                </a:ext>
              </a:extLst>
            </p:cNvPr>
            <p:cNvGrpSpPr/>
            <p:nvPr/>
          </p:nvGrpSpPr>
          <p:grpSpPr>
            <a:xfrm>
              <a:off x="5761038" y="3643390"/>
              <a:ext cx="337607" cy="337607"/>
              <a:chOff x="11232903" y="2559499"/>
              <a:chExt cx="314175" cy="314175"/>
            </a:xfrm>
          </p:grpSpPr>
          <p:sp>
            <p:nvSpPr>
              <p:cNvPr id="2422" name="Oval 2421">
                <a:extLst>
                  <a:ext uri="{FF2B5EF4-FFF2-40B4-BE49-F238E27FC236}">
                    <a16:creationId xmlns:a16="http://schemas.microsoft.com/office/drawing/2014/main" id="{CFBBC071-6534-4A4D-BDC5-F0A81733B221}"/>
                  </a:ext>
                </a:extLst>
              </p:cNvPr>
              <p:cNvSpPr/>
              <p:nvPr/>
            </p:nvSpPr>
            <p:spPr bwMode="auto">
              <a:xfrm>
                <a:off x="11232903" y="2559499"/>
                <a:ext cx="314175" cy="314175"/>
              </a:xfrm>
              <a:prstGeom prst="ellipse">
                <a:avLst/>
              </a:prstGeom>
              <a:solidFill>
                <a:schemeClr val="accent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23" name="Freeform 5">
                <a:extLst>
                  <a:ext uri="{FF2B5EF4-FFF2-40B4-BE49-F238E27FC236}">
                    <a16:creationId xmlns:a16="http://schemas.microsoft.com/office/drawing/2014/main" id="{42D32212-7E34-440E-A3EC-1AF2BFDD5EB4}"/>
                  </a:ext>
                </a:extLst>
              </p:cNvPr>
              <p:cNvSpPr>
                <a:spLocks noEditPoints="1"/>
              </p:cNvSpPr>
              <p:nvPr/>
            </p:nvSpPr>
            <p:spPr bwMode="auto">
              <a:xfrm>
                <a:off x="11319477" y="2626850"/>
                <a:ext cx="146824" cy="167507"/>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grpSp>
        <p:nvGrpSpPr>
          <p:cNvPr id="2426" name="Group 2425">
            <a:extLst>
              <a:ext uri="{FF2B5EF4-FFF2-40B4-BE49-F238E27FC236}">
                <a16:creationId xmlns:a16="http://schemas.microsoft.com/office/drawing/2014/main" id="{8BE7A929-DDB5-49CD-B3E2-B46F9253A370}"/>
              </a:ext>
            </a:extLst>
          </p:cNvPr>
          <p:cNvGrpSpPr/>
          <p:nvPr/>
        </p:nvGrpSpPr>
        <p:grpSpPr>
          <a:xfrm>
            <a:off x="10068518" y="4616821"/>
            <a:ext cx="270770" cy="237594"/>
            <a:chOff x="9827309" y="3012003"/>
            <a:chExt cx="269055" cy="236088"/>
          </a:xfrm>
        </p:grpSpPr>
        <p:sp>
          <p:nvSpPr>
            <p:cNvPr id="2427" name="Freeform 525">
              <a:extLst>
                <a:ext uri="{FF2B5EF4-FFF2-40B4-BE49-F238E27FC236}">
                  <a16:creationId xmlns:a16="http://schemas.microsoft.com/office/drawing/2014/main" id="{BA774246-0319-468C-A77C-FF1E6B785AFA}"/>
                </a:ext>
              </a:extLst>
            </p:cNvPr>
            <p:cNvSpPr>
              <a:spLocks/>
            </p:cNvSpPr>
            <p:nvPr/>
          </p:nvSpPr>
          <p:spPr bwMode="auto">
            <a:xfrm>
              <a:off x="9955771" y="3213844"/>
              <a:ext cx="81111" cy="30642"/>
            </a:xfrm>
            <a:custGeom>
              <a:avLst/>
              <a:gdLst>
                <a:gd name="T0" fmla="*/ 19 w 19"/>
                <a:gd name="T1" fmla="*/ 4 h 7"/>
                <a:gd name="T2" fmla="*/ 19 w 19"/>
                <a:gd name="T3" fmla="*/ 4 h 7"/>
                <a:gd name="T4" fmla="*/ 16 w 19"/>
                <a:gd name="T5" fmla="*/ 1 h 7"/>
                <a:gd name="T6" fmla="*/ 16 w 19"/>
                <a:gd name="T7" fmla="*/ 1 h 7"/>
                <a:gd name="T8" fmla="*/ 13 w 19"/>
                <a:gd name="T9" fmla="*/ 0 h 7"/>
                <a:gd name="T10" fmla="*/ 10 w 19"/>
                <a:gd name="T11" fmla="*/ 0 h 7"/>
                <a:gd name="T12" fmla="*/ 3 w 19"/>
                <a:gd name="T13" fmla="*/ 1 h 7"/>
                <a:gd name="T14" fmla="*/ 3 w 19"/>
                <a:gd name="T15" fmla="*/ 1 h 7"/>
                <a:gd name="T16" fmla="*/ 3 w 19"/>
                <a:gd name="T17" fmla="*/ 1 h 7"/>
                <a:gd name="T18" fmla="*/ 0 w 19"/>
                <a:gd name="T19" fmla="*/ 3 h 7"/>
                <a:gd name="T20" fmla="*/ 0 w 19"/>
                <a:gd name="T21" fmla="*/ 4 h 7"/>
                <a:gd name="T22" fmla="*/ 4 w 19"/>
                <a:gd name="T23" fmla="*/ 2 h 7"/>
                <a:gd name="T24" fmla="*/ 10 w 19"/>
                <a:gd name="T25" fmla="*/ 1 h 7"/>
                <a:gd name="T26" fmla="*/ 12 w 19"/>
                <a:gd name="T27" fmla="*/ 2 h 7"/>
                <a:gd name="T28" fmla="*/ 14 w 19"/>
                <a:gd name="T29" fmla="*/ 2 h 7"/>
                <a:gd name="T30" fmla="*/ 16 w 19"/>
                <a:gd name="T31" fmla="*/ 4 h 7"/>
                <a:gd name="T32" fmla="*/ 13 w 19"/>
                <a:gd name="T33" fmla="*/ 7 h 7"/>
                <a:gd name="T34" fmla="*/ 17 w 19"/>
                <a:gd name="T35" fmla="*/ 6 h 7"/>
                <a:gd name="T36" fmla="*/ 19 w 19"/>
                <a:gd name="T3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7">
                  <a:moveTo>
                    <a:pt x="19" y="4"/>
                  </a:moveTo>
                  <a:cubicBezTo>
                    <a:pt x="19" y="4"/>
                    <a:pt x="19" y="4"/>
                    <a:pt x="19" y="4"/>
                  </a:cubicBezTo>
                  <a:cubicBezTo>
                    <a:pt x="16" y="1"/>
                    <a:pt x="16" y="1"/>
                    <a:pt x="16" y="1"/>
                  </a:cubicBezTo>
                  <a:cubicBezTo>
                    <a:pt x="16" y="1"/>
                    <a:pt x="16" y="1"/>
                    <a:pt x="16" y="1"/>
                  </a:cubicBezTo>
                  <a:cubicBezTo>
                    <a:pt x="16" y="1"/>
                    <a:pt x="15" y="0"/>
                    <a:pt x="13" y="0"/>
                  </a:cubicBezTo>
                  <a:cubicBezTo>
                    <a:pt x="12" y="0"/>
                    <a:pt x="10" y="0"/>
                    <a:pt x="10" y="0"/>
                  </a:cubicBezTo>
                  <a:cubicBezTo>
                    <a:pt x="3" y="1"/>
                    <a:pt x="3" y="1"/>
                    <a:pt x="3" y="1"/>
                  </a:cubicBezTo>
                  <a:cubicBezTo>
                    <a:pt x="3" y="1"/>
                    <a:pt x="3" y="1"/>
                    <a:pt x="3" y="1"/>
                  </a:cubicBezTo>
                  <a:cubicBezTo>
                    <a:pt x="3" y="1"/>
                    <a:pt x="3" y="1"/>
                    <a:pt x="3" y="1"/>
                  </a:cubicBezTo>
                  <a:cubicBezTo>
                    <a:pt x="0" y="3"/>
                    <a:pt x="0" y="3"/>
                    <a:pt x="0" y="3"/>
                  </a:cubicBezTo>
                  <a:cubicBezTo>
                    <a:pt x="0" y="4"/>
                    <a:pt x="0" y="4"/>
                    <a:pt x="0" y="4"/>
                  </a:cubicBezTo>
                  <a:cubicBezTo>
                    <a:pt x="4" y="2"/>
                    <a:pt x="4" y="2"/>
                    <a:pt x="4" y="2"/>
                  </a:cubicBezTo>
                  <a:cubicBezTo>
                    <a:pt x="10" y="1"/>
                    <a:pt x="10" y="1"/>
                    <a:pt x="10" y="1"/>
                  </a:cubicBezTo>
                  <a:cubicBezTo>
                    <a:pt x="10" y="2"/>
                    <a:pt x="11" y="2"/>
                    <a:pt x="12" y="2"/>
                  </a:cubicBezTo>
                  <a:cubicBezTo>
                    <a:pt x="12" y="2"/>
                    <a:pt x="13" y="2"/>
                    <a:pt x="14" y="2"/>
                  </a:cubicBezTo>
                  <a:cubicBezTo>
                    <a:pt x="16" y="4"/>
                    <a:pt x="16" y="4"/>
                    <a:pt x="16" y="4"/>
                  </a:cubicBezTo>
                  <a:cubicBezTo>
                    <a:pt x="13" y="7"/>
                    <a:pt x="13" y="7"/>
                    <a:pt x="13" y="7"/>
                  </a:cubicBezTo>
                  <a:cubicBezTo>
                    <a:pt x="17" y="6"/>
                    <a:pt x="17" y="6"/>
                    <a:pt x="17" y="6"/>
                  </a:cubicBezTo>
                  <a:cubicBezTo>
                    <a:pt x="19" y="4"/>
                    <a:pt x="19" y="4"/>
                    <a:pt x="19" y="4"/>
                  </a:cubicBezTo>
                  <a:close/>
                </a:path>
              </a:pathLst>
            </a:custGeom>
            <a:solidFill>
              <a:srgbClr val="4D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28" name="Freeform 526">
              <a:extLst>
                <a:ext uri="{FF2B5EF4-FFF2-40B4-BE49-F238E27FC236}">
                  <a16:creationId xmlns:a16="http://schemas.microsoft.com/office/drawing/2014/main" id="{85FC1DCD-0CC2-4A18-B7E0-366525C6BB18}"/>
                </a:ext>
              </a:extLst>
            </p:cNvPr>
            <p:cNvSpPr>
              <a:spLocks noEditPoints="1"/>
            </p:cNvSpPr>
            <p:nvPr/>
          </p:nvSpPr>
          <p:spPr bwMode="auto">
            <a:xfrm>
              <a:off x="9950364" y="3210239"/>
              <a:ext cx="93728" cy="37852"/>
            </a:xfrm>
            <a:custGeom>
              <a:avLst/>
              <a:gdLst>
                <a:gd name="T0" fmla="*/ 11 w 22"/>
                <a:gd name="T1" fmla="*/ 9 h 9"/>
                <a:gd name="T2" fmla="*/ 16 w 22"/>
                <a:gd name="T3" fmla="*/ 5 h 9"/>
                <a:gd name="T4" fmla="*/ 14 w 22"/>
                <a:gd name="T5" fmla="*/ 4 h 9"/>
                <a:gd name="T6" fmla="*/ 13 w 22"/>
                <a:gd name="T7" fmla="*/ 4 h 9"/>
                <a:gd name="T8" fmla="*/ 10 w 22"/>
                <a:gd name="T9" fmla="*/ 3 h 9"/>
                <a:gd name="T10" fmla="*/ 6 w 22"/>
                <a:gd name="T11" fmla="*/ 3 h 9"/>
                <a:gd name="T12" fmla="*/ 0 w 22"/>
                <a:gd name="T13" fmla="*/ 7 h 9"/>
                <a:gd name="T14" fmla="*/ 0 w 22"/>
                <a:gd name="T15" fmla="*/ 3 h 9"/>
                <a:gd name="T16" fmla="*/ 3 w 22"/>
                <a:gd name="T17" fmla="*/ 1 h 9"/>
                <a:gd name="T18" fmla="*/ 3 w 22"/>
                <a:gd name="T19" fmla="*/ 1 h 9"/>
                <a:gd name="T20" fmla="*/ 4 w 22"/>
                <a:gd name="T21" fmla="*/ 1 h 9"/>
                <a:gd name="T22" fmla="*/ 4 w 22"/>
                <a:gd name="T23" fmla="*/ 1 h 9"/>
                <a:gd name="T24" fmla="*/ 10 w 22"/>
                <a:gd name="T25" fmla="*/ 1 h 9"/>
                <a:gd name="T26" fmla="*/ 15 w 22"/>
                <a:gd name="T27" fmla="*/ 0 h 9"/>
                <a:gd name="T28" fmla="*/ 17 w 22"/>
                <a:gd name="T29" fmla="*/ 2 h 9"/>
                <a:gd name="T30" fmla="*/ 18 w 22"/>
                <a:gd name="T31" fmla="*/ 2 h 9"/>
                <a:gd name="T32" fmla="*/ 21 w 22"/>
                <a:gd name="T33" fmla="*/ 4 h 9"/>
                <a:gd name="T34" fmla="*/ 22 w 22"/>
                <a:gd name="T35" fmla="*/ 5 h 9"/>
                <a:gd name="T36" fmla="*/ 21 w 22"/>
                <a:gd name="T37" fmla="*/ 5 h 9"/>
                <a:gd name="T38" fmla="*/ 22 w 22"/>
                <a:gd name="T39" fmla="*/ 5 h 9"/>
                <a:gd name="T40" fmla="*/ 21 w 22"/>
                <a:gd name="T41" fmla="*/ 6 h 9"/>
                <a:gd name="T42" fmla="*/ 18 w 22"/>
                <a:gd name="T43" fmla="*/ 8 h 9"/>
                <a:gd name="T44" fmla="*/ 11 w 22"/>
                <a:gd name="T45" fmla="*/ 9 h 9"/>
                <a:gd name="T46" fmla="*/ 18 w 22"/>
                <a:gd name="T47" fmla="*/ 5 h 9"/>
                <a:gd name="T48" fmla="*/ 19 w 22"/>
                <a:gd name="T49" fmla="*/ 5 h 9"/>
                <a:gd name="T50" fmla="*/ 17 w 22"/>
                <a:gd name="T51" fmla="*/ 7 h 9"/>
                <a:gd name="T52" fmla="*/ 18 w 22"/>
                <a:gd name="T53" fmla="*/ 6 h 9"/>
                <a:gd name="T54" fmla="*/ 19 w 22"/>
                <a:gd name="T55" fmla="*/ 5 h 9"/>
                <a:gd name="T56" fmla="*/ 18 w 22"/>
                <a:gd name="T57" fmla="*/ 5 h 9"/>
                <a:gd name="T58" fmla="*/ 15 w 22"/>
                <a:gd name="T59" fmla="*/ 2 h 9"/>
                <a:gd name="T60" fmla="*/ 18 w 22"/>
                <a:gd name="T61" fmla="*/ 4 h 9"/>
                <a:gd name="T62" fmla="*/ 18 w 22"/>
                <a:gd name="T63" fmla="*/ 4 h 9"/>
                <a:gd name="T64" fmla="*/ 16 w 22"/>
                <a:gd name="T65" fmla="*/ 2 h 9"/>
                <a:gd name="T66" fmla="*/ 16 w 22"/>
                <a:gd name="T67" fmla="*/ 2 h 9"/>
                <a:gd name="T68" fmla="*/ 14 w 22"/>
                <a:gd name="T69" fmla="*/ 2 h 9"/>
                <a:gd name="T70" fmla="*/ 11 w 22"/>
                <a:gd name="T71" fmla="*/ 2 h 9"/>
                <a:gd name="T72" fmla="*/ 13 w 22"/>
                <a:gd name="T73" fmla="*/ 2 h 9"/>
                <a:gd name="T74" fmla="*/ 15 w 22"/>
                <a:gd name="T75" fmla="*/ 2 h 9"/>
                <a:gd name="T76" fmla="*/ 2 w 22"/>
                <a:gd name="T77" fmla="*/ 4 h 9"/>
                <a:gd name="T78" fmla="*/ 2 w 22"/>
                <a:gd name="T79" fmla="*/ 4 h 9"/>
                <a:gd name="T80" fmla="*/ 4 w 22"/>
                <a:gd name="T81" fmla="*/ 2 h 9"/>
                <a:gd name="T82" fmla="*/ 4 w 22"/>
                <a:gd name="T83" fmla="*/ 2 h 9"/>
                <a:gd name="T84" fmla="*/ 2 w 22"/>
                <a:gd name="T8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 h="9">
                  <a:moveTo>
                    <a:pt x="11" y="9"/>
                  </a:moveTo>
                  <a:cubicBezTo>
                    <a:pt x="16" y="5"/>
                    <a:pt x="16" y="5"/>
                    <a:pt x="16" y="5"/>
                  </a:cubicBezTo>
                  <a:cubicBezTo>
                    <a:pt x="14" y="4"/>
                    <a:pt x="14" y="4"/>
                    <a:pt x="14" y="4"/>
                  </a:cubicBezTo>
                  <a:cubicBezTo>
                    <a:pt x="14" y="4"/>
                    <a:pt x="13" y="4"/>
                    <a:pt x="13" y="4"/>
                  </a:cubicBezTo>
                  <a:cubicBezTo>
                    <a:pt x="12" y="4"/>
                    <a:pt x="11" y="3"/>
                    <a:pt x="10" y="3"/>
                  </a:cubicBezTo>
                  <a:cubicBezTo>
                    <a:pt x="6" y="3"/>
                    <a:pt x="6" y="3"/>
                    <a:pt x="6" y="3"/>
                  </a:cubicBezTo>
                  <a:cubicBezTo>
                    <a:pt x="0" y="7"/>
                    <a:pt x="0" y="7"/>
                    <a:pt x="0" y="7"/>
                  </a:cubicBezTo>
                  <a:cubicBezTo>
                    <a:pt x="0" y="3"/>
                    <a:pt x="0" y="3"/>
                    <a:pt x="0" y="3"/>
                  </a:cubicBezTo>
                  <a:cubicBezTo>
                    <a:pt x="3" y="1"/>
                    <a:pt x="3" y="1"/>
                    <a:pt x="3" y="1"/>
                  </a:cubicBezTo>
                  <a:cubicBezTo>
                    <a:pt x="3" y="1"/>
                    <a:pt x="3" y="1"/>
                    <a:pt x="3" y="1"/>
                  </a:cubicBezTo>
                  <a:cubicBezTo>
                    <a:pt x="4" y="1"/>
                    <a:pt x="4" y="1"/>
                    <a:pt x="4" y="1"/>
                  </a:cubicBezTo>
                  <a:cubicBezTo>
                    <a:pt x="4" y="1"/>
                    <a:pt x="4" y="1"/>
                    <a:pt x="4" y="1"/>
                  </a:cubicBezTo>
                  <a:cubicBezTo>
                    <a:pt x="10" y="1"/>
                    <a:pt x="10" y="1"/>
                    <a:pt x="10" y="1"/>
                  </a:cubicBezTo>
                  <a:cubicBezTo>
                    <a:pt x="11" y="0"/>
                    <a:pt x="13" y="0"/>
                    <a:pt x="15" y="0"/>
                  </a:cubicBezTo>
                  <a:cubicBezTo>
                    <a:pt x="15" y="0"/>
                    <a:pt x="17" y="1"/>
                    <a:pt x="17" y="2"/>
                  </a:cubicBezTo>
                  <a:cubicBezTo>
                    <a:pt x="18" y="2"/>
                    <a:pt x="18" y="2"/>
                    <a:pt x="18" y="2"/>
                  </a:cubicBezTo>
                  <a:cubicBezTo>
                    <a:pt x="21" y="4"/>
                    <a:pt x="21" y="4"/>
                    <a:pt x="21" y="4"/>
                  </a:cubicBezTo>
                  <a:cubicBezTo>
                    <a:pt x="22" y="5"/>
                    <a:pt x="22" y="5"/>
                    <a:pt x="22" y="5"/>
                  </a:cubicBezTo>
                  <a:cubicBezTo>
                    <a:pt x="21" y="5"/>
                    <a:pt x="21" y="5"/>
                    <a:pt x="21" y="5"/>
                  </a:cubicBezTo>
                  <a:cubicBezTo>
                    <a:pt x="22" y="5"/>
                    <a:pt x="22" y="5"/>
                    <a:pt x="22" y="5"/>
                  </a:cubicBezTo>
                  <a:cubicBezTo>
                    <a:pt x="21" y="6"/>
                    <a:pt x="21" y="6"/>
                    <a:pt x="21" y="6"/>
                  </a:cubicBezTo>
                  <a:cubicBezTo>
                    <a:pt x="18" y="8"/>
                    <a:pt x="18" y="8"/>
                    <a:pt x="18" y="8"/>
                  </a:cubicBezTo>
                  <a:lnTo>
                    <a:pt x="11" y="9"/>
                  </a:lnTo>
                  <a:close/>
                  <a:moveTo>
                    <a:pt x="18" y="5"/>
                  </a:moveTo>
                  <a:cubicBezTo>
                    <a:pt x="19" y="5"/>
                    <a:pt x="19" y="5"/>
                    <a:pt x="19" y="5"/>
                  </a:cubicBezTo>
                  <a:cubicBezTo>
                    <a:pt x="17" y="7"/>
                    <a:pt x="17" y="7"/>
                    <a:pt x="17" y="7"/>
                  </a:cubicBezTo>
                  <a:cubicBezTo>
                    <a:pt x="18" y="6"/>
                    <a:pt x="18" y="6"/>
                    <a:pt x="18" y="6"/>
                  </a:cubicBezTo>
                  <a:cubicBezTo>
                    <a:pt x="19" y="5"/>
                    <a:pt x="19" y="5"/>
                    <a:pt x="19" y="5"/>
                  </a:cubicBezTo>
                  <a:lnTo>
                    <a:pt x="18" y="5"/>
                  </a:lnTo>
                  <a:close/>
                  <a:moveTo>
                    <a:pt x="15" y="2"/>
                  </a:moveTo>
                  <a:cubicBezTo>
                    <a:pt x="18" y="4"/>
                    <a:pt x="18" y="4"/>
                    <a:pt x="18" y="4"/>
                  </a:cubicBezTo>
                  <a:cubicBezTo>
                    <a:pt x="18" y="4"/>
                    <a:pt x="18" y="4"/>
                    <a:pt x="18" y="4"/>
                  </a:cubicBezTo>
                  <a:cubicBezTo>
                    <a:pt x="16" y="2"/>
                    <a:pt x="16" y="2"/>
                    <a:pt x="16" y="2"/>
                  </a:cubicBezTo>
                  <a:cubicBezTo>
                    <a:pt x="16" y="2"/>
                    <a:pt x="16" y="2"/>
                    <a:pt x="16" y="2"/>
                  </a:cubicBezTo>
                  <a:cubicBezTo>
                    <a:pt x="16" y="2"/>
                    <a:pt x="15" y="2"/>
                    <a:pt x="14" y="2"/>
                  </a:cubicBezTo>
                  <a:cubicBezTo>
                    <a:pt x="13" y="1"/>
                    <a:pt x="12" y="2"/>
                    <a:pt x="11" y="2"/>
                  </a:cubicBezTo>
                  <a:cubicBezTo>
                    <a:pt x="12" y="2"/>
                    <a:pt x="12" y="2"/>
                    <a:pt x="13" y="2"/>
                  </a:cubicBezTo>
                  <a:cubicBezTo>
                    <a:pt x="13" y="2"/>
                    <a:pt x="14" y="2"/>
                    <a:pt x="15" y="2"/>
                  </a:cubicBezTo>
                  <a:close/>
                  <a:moveTo>
                    <a:pt x="2" y="4"/>
                  </a:moveTo>
                  <a:cubicBezTo>
                    <a:pt x="2" y="4"/>
                    <a:pt x="2" y="4"/>
                    <a:pt x="2" y="4"/>
                  </a:cubicBezTo>
                  <a:cubicBezTo>
                    <a:pt x="4" y="2"/>
                    <a:pt x="4" y="2"/>
                    <a:pt x="4" y="2"/>
                  </a:cubicBezTo>
                  <a:cubicBezTo>
                    <a:pt x="4" y="2"/>
                    <a:pt x="4" y="2"/>
                    <a:pt x="4" y="2"/>
                  </a:cubicBezTo>
                  <a:lnTo>
                    <a:pt x="2" y="4"/>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29" name="Rectangle 527">
              <a:extLst>
                <a:ext uri="{FF2B5EF4-FFF2-40B4-BE49-F238E27FC236}">
                  <a16:creationId xmlns:a16="http://schemas.microsoft.com/office/drawing/2014/main" id="{9A6058CD-B2A5-4E95-9C29-AFA177761152}"/>
                </a:ext>
              </a:extLst>
            </p:cNvPr>
            <p:cNvSpPr>
              <a:spLocks noChangeArrowheads="1"/>
            </p:cNvSpPr>
            <p:nvPr/>
          </p:nvSpPr>
          <p:spPr bwMode="auto">
            <a:xfrm>
              <a:off x="9943154" y="3028190"/>
              <a:ext cx="147802" cy="72099"/>
            </a:xfrm>
            <a:prstGeom prst="rect">
              <a:avLst/>
            </a:prstGeom>
            <a:solidFill>
              <a:srgbClr val="BCC1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30" name="Freeform 528">
              <a:extLst>
                <a:ext uri="{FF2B5EF4-FFF2-40B4-BE49-F238E27FC236}">
                  <a16:creationId xmlns:a16="http://schemas.microsoft.com/office/drawing/2014/main" id="{791EF69B-65A1-4996-802E-02BFBDB1CC15}"/>
                </a:ext>
              </a:extLst>
            </p:cNvPr>
            <p:cNvSpPr>
              <a:spLocks noEditPoints="1"/>
            </p:cNvSpPr>
            <p:nvPr/>
          </p:nvSpPr>
          <p:spPr bwMode="auto">
            <a:xfrm>
              <a:off x="9937747" y="3022783"/>
              <a:ext cx="158617" cy="81111"/>
            </a:xfrm>
            <a:custGeom>
              <a:avLst/>
              <a:gdLst>
                <a:gd name="T0" fmla="*/ 88 w 88"/>
                <a:gd name="T1" fmla="*/ 45 h 45"/>
                <a:gd name="T2" fmla="*/ 0 w 88"/>
                <a:gd name="T3" fmla="*/ 45 h 45"/>
                <a:gd name="T4" fmla="*/ 0 w 88"/>
                <a:gd name="T5" fmla="*/ 0 h 45"/>
                <a:gd name="T6" fmla="*/ 88 w 88"/>
                <a:gd name="T7" fmla="*/ 0 h 45"/>
                <a:gd name="T8" fmla="*/ 88 w 88"/>
                <a:gd name="T9" fmla="*/ 45 h 45"/>
                <a:gd name="T10" fmla="*/ 5 w 88"/>
                <a:gd name="T11" fmla="*/ 43 h 45"/>
                <a:gd name="T12" fmla="*/ 83 w 88"/>
                <a:gd name="T13" fmla="*/ 43 h 45"/>
                <a:gd name="T14" fmla="*/ 83 w 88"/>
                <a:gd name="T15" fmla="*/ 3 h 45"/>
                <a:gd name="T16" fmla="*/ 5 w 88"/>
                <a:gd name="T17" fmla="*/ 3 h 45"/>
                <a:gd name="T18" fmla="*/ 5 w 88"/>
                <a:gd name="T19"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5">
                  <a:moveTo>
                    <a:pt x="88" y="45"/>
                  </a:moveTo>
                  <a:lnTo>
                    <a:pt x="0" y="45"/>
                  </a:lnTo>
                  <a:lnTo>
                    <a:pt x="0" y="0"/>
                  </a:lnTo>
                  <a:lnTo>
                    <a:pt x="88" y="0"/>
                  </a:lnTo>
                  <a:lnTo>
                    <a:pt x="88" y="45"/>
                  </a:lnTo>
                  <a:close/>
                  <a:moveTo>
                    <a:pt x="5" y="43"/>
                  </a:moveTo>
                  <a:lnTo>
                    <a:pt x="83" y="43"/>
                  </a:lnTo>
                  <a:lnTo>
                    <a:pt x="83" y="3"/>
                  </a:lnTo>
                  <a:lnTo>
                    <a:pt x="5" y="3"/>
                  </a:lnTo>
                  <a:lnTo>
                    <a:pt x="5" y="43"/>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31" name="Freeform 529">
              <a:extLst>
                <a:ext uri="{FF2B5EF4-FFF2-40B4-BE49-F238E27FC236}">
                  <a16:creationId xmlns:a16="http://schemas.microsoft.com/office/drawing/2014/main" id="{BB33C562-2A8B-48ED-B83C-F08FD9F3D3D0}"/>
                </a:ext>
              </a:extLst>
            </p:cNvPr>
            <p:cNvSpPr>
              <a:spLocks/>
            </p:cNvSpPr>
            <p:nvPr/>
          </p:nvSpPr>
          <p:spPr bwMode="auto">
            <a:xfrm>
              <a:off x="9971994" y="3062437"/>
              <a:ext cx="72099" cy="63086"/>
            </a:xfrm>
            <a:custGeom>
              <a:avLst/>
              <a:gdLst>
                <a:gd name="T0" fmla="*/ 14 w 40"/>
                <a:gd name="T1" fmla="*/ 0 h 35"/>
                <a:gd name="T2" fmla="*/ 0 w 40"/>
                <a:gd name="T3" fmla="*/ 35 h 35"/>
                <a:gd name="T4" fmla="*/ 40 w 40"/>
                <a:gd name="T5" fmla="*/ 35 h 35"/>
                <a:gd name="T6" fmla="*/ 31 w 40"/>
                <a:gd name="T7" fmla="*/ 0 h 35"/>
                <a:gd name="T8" fmla="*/ 14 w 40"/>
                <a:gd name="T9" fmla="*/ 0 h 35"/>
              </a:gdLst>
              <a:ahLst/>
              <a:cxnLst>
                <a:cxn ang="0">
                  <a:pos x="T0" y="T1"/>
                </a:cxn>
                <a:cxn ang="0">
                  <a:pos x="T2" y="T3"/>
                </a:cxn>
                <a:cxn ang="0">
                  <a:pos x="T4" y="T5"/>
                </a:cxn>
                <a:cxn ang="0">
                  <a:pos x="T6" y="T7"/>
                </a:cxn>
                <a:cxn ang="0">
                  <a:pos x="T8" y="T9"/>
                </a:cxn>
              </a:cxnLst>
              <a:rect l="0" t="0" r="r" b="b"/>
              <a:pathLst>
                <a:path w="40" h="35">
                  <a:moveTo>
                    <a:pt x="14" y="0"/>
                  </a:moveTo>
                  <a:lnTo>
                    <a:pt x="0" y="35"/>
                  </a:lnTo>
                  <a:lnTo>
                    <a:pt x="40" y="35"/>
                  </a:lnTo>
                  <a:lnTo>
                    <a:pt x="31" y="0"/>
                  </a:lnTo>
                  <a:lnTo>
                    <a:pt x="14" y="0"/>
                  </a:lnTo>
                  <a:close/>
                </a:path>
              </a:pathLst>
            </a:custGeom>
            <a:solidFill>
              <a:srgbClr val="A7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32" name="Freeform 530">
              <a:extLst>
                <a:ext uri="{FF2B5EF4-FFF2-40B4-BE49-F238E27FC236}">
                  <a16:creationId xmlns:a16="http://schemas.microsoft.com/office/drawing/2014/main" id="{98BDD986-ECE7-4A32-9AC5-7197A43E5306}"/>
                </a:ext>
              </a:extLst>
            </p:cNvPr>
            <p:cNvSpPr>
              <a:spLocks noEditPoints="1"/>
            </p:cNvSpPr>
            <p:nvPr/>
          </p:nvSpPr>
          <p:spPr bwMode="auto">
            <a:xfrm>
              <a:off x="9968389" y="3062437"/>
              <a:ext cx="81111" cy="63086"/>
            </a:xfrm>
            <a:custGeom>
              <a:avLst/>
              <a:gdLst>
                <a:gd name="T0" fmla="*/ 45 w 45"/>
                <a:gd name="T1" fmla="*/ 35 h 35"/>
                <a:gd name="T2" fmla="*/ 0 w 45"/>
                <a:gd name="T3" fmla="*/ 35 h 35"/>
                <a:gd name="T4" fmla="*/ 16 w 45"/>
                <a:gd name="T5" fmla="*/ 0 h 35"/>
                <a:gd name="T6" fmla="*/ 33 w 45"/>
                <a:gd name="T7" fmla="*/ 0 h 35"/>
                <a:gd name="T8" fmla="*/ 45 w 45"/>
                <a:gd name="T9" fmla="*/ 35 h 35"/>
                <a:gd name="T10" fmla="*/ 4 w 45"/>
                <a:gd name="T11" fmla="*/ 33 h 35"/>
                <a:gd name="T12" fmla="*/ 40 w 45"/>
                <a:gd name="T13" fmla="*/ 33 h 35"/>
                <a:gd name="T14" fmla="*/ 30 w 45"/>
                <a:gd name="T15" fmla="*/ 2 h 35"/>
                <a:gd name="T16" fmla="*/ 19 w 45"/>
                <a:gd name="T17" fmla="*/ 2 h 35"/>
                <a:gd name="T18" fmla="*/ 4 w 45"/>
                <a:gd name="T19"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5">
                  <a:moveTo>
                    <a:pt x="45" y="35"/>
                  </a:moveTo>
                  <a:lnTo>
                    <a:pt x="0" y="35"/>
                  </a:lnTo>
                  <a:lnTo>
                    <a:pt x="16" y="0"/>
                  </a:lnTo>
                  <a:lnTo>
                    <a:pt x="33" y="0"/>
                  </a:lnTo>
                  <a:lnTo>
                    <a:pt x="45" y="35"/>
                  </a:lnTo>
                  <a:close/>
                  <a:moveTo>
                    <a:pt x="4" y="33"/>
                  </a:moveTo>
                  <a:lnTo>
                    <a:pt x="40" y="33"/>
                  </a:lnTo>
                  <a:lnTo>
                    <a:pt x="30" y="2"/>
                  </a:lnTo>
                  <a:lnTo>
                    <a:pt x="19" y="2"/>
                  </a:lnTo>
                  <a:lnTo>
                    <a:pt x="4" y="33"/>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33" name="Freeform 531">
              <a:extLst>
                <a:ext uri="{FF2B5EF4-FFF2-40B4-BE49-F238E27FC236}">
                  <a16:creationId xmlns:a16="http://schemas.microsoft.com/office/drawing/2014/main" id="{3ED536AC-4AAB-465A-9C08-445096A48BBC}"/>
                </a:ext>
              </a:extLst>
            </p:cNvPr>
            <p:cNvSpPr>
              <a:spLocks/>
            </p:cNvSpPr>
            <p:nvPr/>
          </p:nvSpPr>
          <p:spPr bwMode="auto">
            <a:xfrm>
              <a:off x="9984611" y="3125523"/>
              <a:ext cx="43259" cy="68494"/>
            </a:xfrm>
            <a:custGeom>
              <a:avLst/>
              <a:gdLst>
                <a:gd name="T0" fmla="*/ 5 w 24"/>
                <a:gd name="T1" fmla="*/ 0 h 38"/>
                <a:gd name="T2" fmla="*/ 0 w 24"/>
                <a:gd name="T3" fmla="*/ 38 h 38"/>
                <a:gd name="T4" fmla="*/ 24 w 24"/>
                <a:gd name="T5" fmla="*/ 38 h 38"/>
                <a:gd name="T6" fmla="*/ 21 w 24"/>
                <a:gd name="T7" fmla="*/ 0 h 38"/>
                <a:gd name="T8" fmla="*/ 5 w 24"/>
                <a:gd name="T9" fmla="*/ 0 h 38"/>
              </a:gdLst>
              <a:ahLst/>
              <a:cxnLst>
                <a:cxn ang="0">
                  <a:pos x="T0" y="T1"/>
                </a:cxn>
                <a:cxn ang="0">
                  <a:pos x="T2" y="T3"/>
                </a:cxn>
                <a:cxn ang="0">
                  <a:pos x="T4" y="T5"/>
                </a:cxn>
                <a:cxn ang="0">
                  <a:pos x="T6" y="T7"/>
                </a:cxn>
                <a:cxn ang="0">
                  <a:pos x="T8" y="T9"/>
                </a:cxn>
              </a:cxnLst>
              <a:rect l="0" t="0" r="r" b="b"/>
              <a:pathLst>
                <a:path w="24" h="38">
                  <a:moveTo>
                    <a:pt x="5" y="0"/>
                  </a:moveTo>
                  <a:lnTo>
                    <a:pt x="0" y="38"/>
                  </a:lnTo>
                  <a:lnTo>
                    <a:pt x="24" y="38"/>
                  </a:lnTo>
                  <a:lnTo>
                    <a:pt x="21" y="0"/>
                  </a:lnTo>
                  <a:lnTo>
                    <a:pt x="5" y="0"/>
                  </a:lnTo>
                  <a:close/>
                </a:path>
              </a:pathLst>
            </a:custGeom>
            <a:solidFill>
              <a:srgbClr val="A9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34" name="Freeform 532">
              <a:extLst>
                <a:ext uri="{FF2B5EF4-FFF2-40B4-BE49-F238E27FC236}">
                  <a16:creationId xmlns:a16="http://schemas.microsoft.com/office/drawing/2014/main" id="{75954CCF-23F3-4A27-A3A5-917C845D9D9B}"/>
                </a:ext>
              </a:extLst>
            </p:cNvPr>
            <p:cNvSpPr>
              <a:spLocks noEditPoints="1"/>
            </p:cNvSpPr>
            <p:nvPr/>
          </p:nvSpPr>
          <p:spPr bwMode="auto">
            <a:xfrm>
              <a:off x="9984611" y="3121918"/>
              <a:ext cx="43259" cy="75704"/>
            </a:xfrm>
            <a:custGeom>
              <a:avLst/>
              <a:gdLst>
                <a:gd name="T0" fmla="*/ 24 w 24"/>
                <a:gd name="T1" fmla="*/ 42 h 42"/>
                <a:gd name="T2" fmla="*/ 0 w 24"/>
                <a:gd name="T3" fmla="*/ 42 h 42"/>
                <a:gd name="T4" fmla="*/ 3 w 24"/>
                <a:gd name="T5" fmla="*/ 0 h 42"/>
                <a:gd name="T6" fmla="*/ 24 w 24"/>
                <a:gd name="T7" fmla="*/ 0 h 42"/>
                <a:gd name="T8" fmla="*/ 24 w 24"/>
                <a:gd name="T9" fmla="*/ 42 h 42"/>
                <a:gd name="T10" fmla="*/ 3 w 24"/>
                <a:gd name="T11" fmla="*/ 40 h 42"/>
                <a:gd name="T12" fmla="*/ 21 w 24"/>
                <a:gd name="T13" fmla="*/ 40 h 42"/>
                <a:gd name="T14" fmla="*/ 21 w 24"/>
                <a:gd name="T15" fmla="*/ 2 h 42"/>
                <a:gd name="T16" fmla="*/ 7 w 24"/>
                <a:gd name="T17" fmla="*/ 2 h 42"/>
                <a:gd name="T18" fmla="*/ 3 w 24"/>
                <a:gd name="T19"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2">
                  <a:moveTo>
                    <a:pt x="24" y="42"/>
                  </a:moveTo>
                  <a:lnTo>
                    <a:pt x="0" y="42"/>
                  </a:lnTo>
                  <a:lnTo>
                    <a:pt x="3" y="0"/>
                  </a:lnTo>
                  <a:lnTo>
                    <a:pt x="24" y="0"/>
                  </a:lnTo>
                  <a:lnTo>
                    <a:pt x="24" y="42"/>
                  </a:lnTo>
                  <a:close/>
                  <a:moveTo>
                    <a:pt x="3" y="40"/>
                  </a:moveTo>
                  <a:lnTo>
                    <a:pt x="21" y="40"/>
                  </a:lnTo>
                  <a:lnTo>
                    <a:pt x="21" y="2"/>
                  </a:lnTo>
                  <a:lnTo>
                    <a:pt x="7" y="2"/>
                  </a:lnTo>
                  <a:lnTo>
                    <a:pt x="3" y="40"/>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36" name="Freeform 533">
              <a:extLst>
                <a:ext uri="{FF2B5EF4-FFF2-40B4-BE49-F238E27FC236}">
                  <a16:creationId xmlns:a16="http://schemas.microsoft.com/office/drawing/2014/main" id="{EEB31A14-B317-4516-813A-D58D1FFDEA95}"/>
                </a:ext>
              </a:extLst>
            </p:cNvPr>
            <p:cNvSpPr>
              <a:spLocks/>
            </p:cNvSpPr>
            <p:nvPr/>
          </p:nvSpPr>
          <p:spPr bwMode="auto">
            <a:xfrm>
              <a:off x="9993623" y="3103894"/>
              <a:ext cx="28839" cy="50469"/>
            </a:xfrm>
            <a:custGeom>
              <a:avLst/>
              <a:gdLst>
                <a:gd name="T0" fmla="*/ 4 w 7"/>
                <a:gd name="T1" fmla="*/ 12 h 12"/>
                <a:gd name="T2" fmla="*/ 3 w 7"/>
                <a:gd name="T3" fmla="*/ 12 h 12"/>
                <a:gd name="T4" fmla="*/ 0 w 7"/>
                <a:gd name="T5" fmla="*/ 10 h 12"/>
                <a:gd name="T6" fmla="*/ 0 w 7"/>
                <a:gd name="T7" fmla="*/ 3 h 12"/>
                <a:gd name="T8" fmla="*/ 3 w 7"/>
                <a:gd name="T9" fmla="*/ 0 h 12"/>
                <a:gd name="T10" fmla="*/ 4 w 7"/>
                <a:gd name="T11" fmla="*/ 0 h 12"/>
                <a:gd name="T12" fmla="*/ 7 w 7"/>
                <a:gd name="T13" fmla="*/ 3 h 12"/>
                <a:gd name="T14" fmla="*/ 7 w 7"/>
                <a:gd name="T15" fmla="*/ 10 h 12"/>
                <a:gd name="T16" fmla="*/ 4 w 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2">
                  <a:moveTo>
                    <a:pt x="4" y="12"/>
                  </a:moveTo>
                  <a:cubicBezTo>
                    <a:pt x="3" y="12"/>
                    <a:pt x="3" y="12"/>
                    <a:pt x="3" y="12"/>
                  </a:cubicBezTo>
                  <a:cubicBezTo>
                    <a:pt x="1" y="12"/>
                    <a:pt x="0" y="11"/>
                    <a:pt x="0" y="10"/>
                  </a:cubicBezTo>
                  <a:cubicBezTo>
                    <a:pt x="0" y="3"/>
                    <a:pt x="0" y="3"/>
                    <a:pt x="0" y="3"/>
                  </a:cubicBezTo>
                  <a:cubicBezTo>
                    <a:pt x="0" y="1"/>
                    <a:pt x="1" y="0"/>
                    <a:pt x="3" y="0"/>
                  </a:cubicBezTo>
                  <a:cubicBezTo>
                    <a:pt x="4" y="0"/>
                    <a:pt x="4" y="0"/>
                    <a:pt x="4" y="0"/>
                  </a:cubicBezTo>
                  <a:cubicBezTo>
                    <a:pt x="5" y="0"/>
                    <a:pt x="7" y="1"/>
                    <a:pt x="7" y="3"/>
                  </a:cubicBezTo>
                  <a:cubicBezTo>
                    <a:pt x="7" y="10"/>
                    <a:pt x="7" y="10"/>
                    <a:pt x="7" y="10"/>
                  </a:cubicBezTo>
                  <a:cubicBezTo>
                    <a:pt x="7" y="11"/>
                    <a:pt x="5" y="12"/>
                    <a:pt x="4" y="12"/>
                  </a:cubicBezTo>
                  <a:close/>
                </a:path>
              </a:pathLst>
            </a:custGeom>
            <a:solidFill>
              <a:srgbClr val="DB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37" name="Freeform 534">
              <a:extLst>
                <a:ext uri="{FF2B5EF4-FFF2-40B4-BE49-F238E27FC236}">
                  <a16:creationId xmlns:a16="http://schemas.microsoft.com/office/drawing/2014/main" id="{41382BD4-C194-497F-95BC-5768E94F7BEE}"/>
                </a:ext>
              </a:extLst>
            </p:cNvPr>
            <p:cNvSpPr>
              <a:spLocks noEditPoints="1"/>
            </p:cNvSpPr>
            <p:nvPr/>
          </p:nvSpPr>
          <p:spPr bwMode="auto">
            <a:xfrm>
              <a:off x="9990018" y="3100289"/>
              <a:ext cx="32444" cy="59481"/>
            </a:xfrm>
            <a:custGeom>
              <a:avLst/>
              <a:gdLst>
                <a:gd name="T0" fmla="*/ 5 w 8"/>
                <a:gd name="T1" fmla="*/ 14 h 14"/>
                <a:gd name="T2" fmla="*/ 4 w 8"/>
                <a:gd name="T3" fmla="*/ 14 h 14"/>
                <a:gd name="T4" fmla="*/ 0 w 8"/>
                <a:gd name="T5" fmla="*/ 11 h 14"/>
                <a:gd name="T6" fmla="*/ 0 w 8"/>
                <a:gd name="T7" fmla="*/ 4 h 14"/>
                <a:gd name="T8" fmla="*/ 4 w 8"/>
                <a:gd name="T9" fmla="*/ 0 h 14"/>
                <a:gd name="T10" fmla="*/ 5 w 8"/>
                <a:gd name="T11" fmla="*/ 0 h 14"/>
                <a:gd name="T12" fmla="*/ 8 w 8"/>
                <a:gd name="T13" fmla="*/ 4 h 14"/>
                <a:gd name="T14" fmla="*/ 8 w 8"/>
                <a:gd name="T15" fmla="*/ 11 h 14"/>
                <a:gd name="T16" fmla="*/ 5 w 8"/>
                <a:gd name="T17" fmla="*/ 14 h 14"/>
                <a:gd name="T18" fmla="*/ 4 w 8"/>
                <a:gd name="T19" fmla="*/ 2 h 14"/>
                <a:gd name="T20" fmla="*/ 2 w 8"/>
                <a:gd name="T21" fmla="*/ 4 h 14"/>
                <a:gd name="T22" fmla="*/ 2 w 8"/>
                <a:gd name="T23" fmla="*/ 11 h 14"/>
                <a:gd name="T24" fmla="*/ 4 w 8"/>
                <a:gd name="T25" fmla="*/ 13 h 14"/>
                <a:gd name="T26" fmla="*/ 5 w 8"/>
                <a:gd name="T27" fmla="*/ 13 h 14"/>
                <a:gd name="T28" fmla="*/ 7 w 8"/>
                <a:gd name="T29" fmla="*/ 11 h 14"/>
                <a:gd name="T30" fmla="*/ 7 w 8"/>
                <a:gd name="T31" fmla="*/ 4 h 14"/>
                <a:gd name="T32" fmla="*/ 5 w 8"/>
                <a:gd name="T33" fmla="*/ 2 h 14"/>
                <a:gd name="T34" fmla="*/ 4 w 8"/>
                <a:gd name="T3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5" y="14"/>
                  </a:moveTo>
                  <a:cubicBezTo>
                    <a:pt x="4" y="14"/>
                    <a:pt x="4" y="14"/>
                    <a:pt x="4" y="14"/>
                  </a:cubicBezTo>
                  <a:cubicBezTo>
                    <a:pt x="2" y="14"/>
                    <a:pt x="0" y="13"/>
                    <a:pt x="0" y="11"/>
                  </a:cubicBezTo>
                  <a:cubicBezTo>
                    <a:pt x="0" y="4"/>
                    <a:pt x="0" y="4"/>
                    <a:pt x="0" y="4"/>
                  </a:cubicBezTo>
                  <a:cubicBezTo>
                    <a:pt x="0" y="2"/>
                    <a:pt x="2" y="0"/>
                    <a:pt x="4" y="0"/>
                  </a:cubicBezTo>
                  <a:cubicBezTo>
                    <a:pt x="5" y="0"/>
                    <a:pt x="5" y="0"/>
                    <a:pt x="5" y="0"/>
                  </a:cubicBezTo>
                  <a:cubicBezTo>
                    <a:pt x="7" y="0"/>
                    <a:pt x="8" y="2"/>
                    <a:pt x="8" y="4"/>
                  </a:cubicBezTo>
                  <a:cubicBezTo>
                    <a:pt x="8" y="11"/>
                    <a:pt x="8" y="11"/>
                    <a:pt x="8" y="11"/>
                  </a:cubicBezTo>
                  <a:cubicBezTo>
                    <a:pt x="8" y="13"/>
                    <a:pt x="7" y="14"/>
                    <a:pt x="5" y="14"/>
                  </a:cubicBezTo>
                  <a:close/>
                  <a:moveTo>
                    <a:pt x="4" y="2"/>
                  </a:moveTo>
                  <a:cubicBezTo>
                    <a:pt x="3" y="2"/>
                    <a:pt x="2" y="3"/>
                    <a:pt x="2" y="4"/>
                  </a:cubicBezTo>
                  <a:cubicBezTo>
                    <a:pt x="2" y="11"/>
                    <a:pt x="2" y="11"/>
                    <a:pt x="2" y="11"/>
                  </a:cubicBezTo>
                  <a:cubicBezTo>
                    <a:pt x="2" y="12"/>
                    <a:pt x="3" y="13"/>
                    <a:pt x="4" y="13"/>
                  </a:cubicBezTo>
                  <a:cubicBezTo>
                    <a:pt x="5" y="13"/>
                    <a:pt x="5" y="13"/>
                    <a:pt x="5" y="13"/>
                  </a:cubicBezTo>
                  <a:cubicBezTo>
                    <a:pt x="6" y="13"/>
                    <a:pt x="7" y="12"/>
                    <a:pt x="7" y="11"/>
                  </a:cubicBezTo>
                  <a:cubicBezTo>
                    <a:pt x="7" y="4"/>
                    <a:pt x="7" y="4"/>
                    <a:pt x="7" y="4"/>
                  </a:cubicBezTo>
                  <a:cubicBezTo>
                    <a:pt x="7" y="3"/>
                    <a:pt x="6" y="2"/>
                    <a:pt x="5" y="2"/>
                  </a:cubicBezTo>
                  <a:lnTo>
                    <a:pt x="4" y="2"/>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38" name="Freeform 535">
              <a:extLst>
                <a:ext uri="{FF2B5EF4-FFF2-40B4-BE49-F238E27FC236}">
                  <a16:creationId xmlns:a16="http://schemas.microsoft.com/office/drawing/2014/main" id="{E5DD1C3F-332C-4914-82F7-253E68894A81}"/>
                </a:ext>
              </a:extLst>
            </p:cNvPr>
            <p:cNvSpPr>
              <a:spLocks/>
            </p:cNvSpPr>
            <p:nvPr/>
          </p:nvSpPr>
          <p:spPr bwMode="auto">
            <a:xfrm>
              <a:off x="9997228" y="3185005"/>
              <a:ext cx="21630" cy="34247"/>
            </a:xfrm>
            <a:custGeom>
              <a:avLst/>
              <a:gdLst>
                <a:gd name="T0" fmla="*/ 3 w 5"/>
                <a:gd name="T1" fmla="*/ 8 h 8"/>
                <a:gd name="T2" fmla="*/ 2 w 5"/>
                <a:gd name="T3" fmla="*/ 8 h 8"/>
                <a:gd name="T4" fmla="*/ 0 w 5"/>
                <a:gd name="T5" fmla="*/ 6 h 8"/>
                <a:gd name="T6" fmla="*/ 0 w 5"/>
                <a:gd name="T7" fmla="*/ 2 h 8"/>
                <a:gd name="T8" fmla="*/ 2 w 5"/>
                <a:gd name="T9" fmla="*/ 0 h 8"/>
                <a:gd name="T10" fmla="*/ 3 w 5"/>
                <a:gd name="T11" fmla="*/ 0 h 8"/>
                <a:gd name="T12" fmla="*/ 5 w 5"/>
                <a:gd name="T13" fmla="*/ 2 h 8"/>
                <a:gd name="T14" fmla="*/ 5 w 5"/>
                <a:gd name="T15" fmla="*/ 6 h 8"/>
                <a:gd name="T16" fmla="*/ 3 w 5"/>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3" y="8"/>
                  </a:moveTo>
                  <a:cubicBezTo>
                    <a:pt x="2" y="8"/>
                    <a:pt x="2" y="8"/>
                    <a:pt x="2" y="8"/>
                  </a:cubicBezTo>
                  <a:cubicBezTo>
                    <a:pt x="1" y="8"/>
                    <a:pt x="0" y="7"/>
                    <a:pt x="0" y="6"/>
                  </a:cubicBezTo>
                  <a:cubicBezTo>
                    <a:pt x="0" y="2"/>
                    <a:pt x="0" y="2"/>
                    <a:pt x="0" y="2"/>
                  </a:cubicBezTo>
                  <a:cubicBezTo>
                    <a:pt x="0" y="1"/>
                    <a:pt x="1" y="0"/>
                    <a:pt x="2" y="0"/>
                  </a:cubicBezTo>
                  <a:cubicBezTo>
                    <a:pt x="3" y="0"/>
                    <a:pt x="3" y="0"/>
                    <a:pt x="3" y="0"/>
                  </a:cubicBezTo>
                  <a:cubicBezTo>
                    <a:pt x="4" y="0"/>
                    <a:pt x="5" y="1"/>
                    <a:pt x="5" y="2"/>
                  </a:cubicBezTo>
                  <a:cubicBezTo>
                    <a:pt x="5" y="6"/>
                    <a:pt x="5" y="6"/>
                    <a:pt x="5" y="6"/>
                  </a:cubicBezTo>
                  <a:cubicBezTo>
                    <a:pt x="5" y="7"/>
                    <a:pt x="4" y="8"/>
                    <a:pt x="3" y="8"/>
                  </a:cubicBezTo>
                  <a:close/>
                </a:path>
              </a:pathLst>
            </a:custGeom>
            <a:solidFill>
              <a:srgbClr val="DB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39" name="Freeform 536">
              <a:extLst>
                <a:ext uri="{FF2B5EF4-FFF2-40B4-BE49-F238E27FC236}">
                  <a16:creationId xmlns:a16="http://schemas.microsoft.com/office/drawing/2014/main" id="{CF9D8A23-5E62-4743-8690-B6B33B2024E2}"/>
                </a:ext>
              </a:extLst>
            </p:cNvPr>
            <p:cNvSpPr>
              <a:spLocks noEditPoints="1"/>
            </p:cNvSpPr>
            <p:nvPr/>
          </p:nvSpPr>
          <p:spPr bwMode="auto">
            <a:xfrm>
              <a:off x="9997228" y="3181400"/>
              <a:ext cx="21630" cy="41457"/>
            </a:xfrm>
            <a:custGeom>
              <a:avLst/>
              <a:gdLst>
                <a:gd name="T0" fmla="*/ 3 w 5"/>
                <a:gd name="T1" fmla="*/ 10 h 10"/>
                <a:gd name="T2" fmla="*/ 2 w 5"/>
                <a:gd name="T3" fmla="*/ 10 h 10"/>
                <a:gd name="T4" fmla="*/ 0 w 5"/>
                <a:gd name="T5" fmla="*/ 7 h 10"/>
                <a:gd name="T6" fmla="*/ 0 w 5"/>
                <a:gd name="T7" fmla="*/ 3 h 10"/>
                <a:gd name="T8" fmla="*/ 2 w 5"/>
                <a:gd name="T9" fmla="*/ 0 h 10"/>
                <a:gd name="T10" fmla="*/ 3 w 5"/>
                <a:gd name="T11" fmla="*/ 0 h 10"/>
                <a:gd name="T12" fmla="*/ 5 w 5"/>
                <a:gd name="T13" fmla="*/ 3 h 10"/>
                <a:gd name="T14" fmla="*/ 5 w 5"/>
                <a:gd name="T15" fmla="*/ 7 h 10"/>
                <a:gd name="T16" fmla="*/ 3 w 5"/>
                <a:gd name="T17" fmla="*/ 10 h 10"/>
                <a:gd name="T18" fmla="*/ 2 w 5"/>
                <a:gd name="T19" fmla="*/ 1 h 10"/>
                <a:gd name="T20" fmla="*/ 1 w 5"/>
                <a:gd name="T21" fmla="*/ 3 h 10"/>
                <a:gd name="T22" fmla="*/ 1 w 5"/>
                <a:gd name="T23" fmla="*/ 7 h 10"/>
                <a:gd name="T24" fmla="*/ 2 w 5"/>
                <a:gd name="T25" fmla="*/ 8 h 10"/>
                <a:gd name="T26" fmla="*/ 3 w 5"/>
                <a:gd name="T27" fmla="*/ 8 h 10"/>
                <a:gd name="T28" fmla="*/ 4 w 5"/>
                <a:gd name="T29" fmla="*/ 7 h 10"/>
                <a:gd name="T30" fmla="*/ 4 w 5"/>
                <a:gd name="T31" fmla="*/ 3 h 10"/>
                <a:gd name="T32" fmla="*/ 3 w 5"/>
                <a:gd name="T33" fmla="*/ 1 h 10"/>
                <a:gd name="T34" fmla="*/ 2 w 5"/>
                <a:gd name="T3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0">
                  <a:moveTo>
                    <a:pt x="3" y="10"/>
                  </a:moveTo>
                  <a:cubicBezTo>
                    <a:pt x="2" y="10"/>
                    <a:pt x="2" y="10"/>
                    <a:pt x="2" y="10"/>
                  </a:cubicBezTo>
                  <a:cubicBezTo>
                    <a:pt x="1" y="10"/>
                    <a:pt x="0" y="8"/>
                    <a:pt x="0" y="7"/>
                  </a:cubicBezTo>
                  <a:cubicBezTo>
                    <a:pt x="0" y="3"/>
                    <a:pt x="0" y="3"/>
                    <a:pt x="0" y="3"/>
                  </a:cubicBezTo>
                  <a:cubicBezTo>
                    <a:pt x="0" y="1"/>
                    <a:pt x="1" y="0"/>
                    <a:pt x="2" y="0"/>
                  </a:cubicBezTo>
                  <a:cubicBezTo>
                    <a:pt x="3" y="0"/>
                    <a:pt x="3" y="0"/>
                    <a:pt x="3" y="0"/>
                  </a:cubicBezTo>
                  <a:cubicBezTo>
                    <a:pt x="4" y="0"/>
                    <a:pt x="5" y="1"/>
                    <a:pt x="5" y="3"/>
                  </a:cubicBezTo>
                  <a:cubicBezTo>
                    <a:pt x="5" y="7"/>
                    <a:pt x="5" y="7"/>
                    <a:pt x="5" y="7"/>
                  </a:cubicBezTo>
                  <a:cubicBezTo>
                    <a:pt x="5" y="8"/>
                    <a:pt x="4" y="10"/>
                    <a:pt x="3" y="10"/>
                  </a:cubicBezTo>
                  <a:close/>
                  <a:moveTo>
                    <a:pt x="2" y="1"/>
                  </a:moveTo>
                  <a:cubicBezTo>
                    <a:pt x="1" y="1"/>
                    <a:pt x="1" y="2"/>
                    <a:pt x="1" y="3"/>
                  </a:cubicBezTo>
                  <a:cubicBezTo>
                    <a:pt x="1" y="7"/>
                    <a:pt x="1" y="7"/>
                    <a:pt x="1" y="7"/>
                  </a:cubicBezTo>
                  <a:cubicBezTo>
                    <a:pt x="1" y="8"/>
                    <a:pt x="1" y="8"/>
                    <a:pt x="2" y="8"/>
                  </a:cubicBezTo>
                  <a:cubicBezTo>
                    <a:pt x="3" y="8"/>
                    <a:pt x="3" y="8"/>
                    <a:pt x="3" y="8"/>
                  </a:cubicBezTo>
                  <a:cubicBezTo>
                    <a:pt x="3" y="8"/>
                    <a:pt x="4" y="8"/>
                    <a:pt x="4" y="7"/>
                  </a:cubicBezTo>
                  <a:cubicBezTo>
                    <a:pt x="4" y="3"/>
                    <a:pt x="4" y="3"/>
                    <a:pt x="4" y="3"/>
                  </a:cubicBezTo>
                  <a:cubicBezTo>
                    <a:pt x="4" y="2"/>
                    <a:pt x="3" y="1"/>
                    <a:pt x="3" y="1"/>
                  </a:cubicBezTo>
                  <a:lnTo>
                    <a:pt x="2" y="1"/>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40" name="Oval 537">
              <a:extLst>
                <a:ext uri="{FF2B5EF4-FFF2-40B4-BE49-F238E27FC236}">
                  <a16:creationId xmlns:a16="http://schemas.microsoft.com/office/drawing/2014/main" id="{915782B1-0EAC-4E56-9920-9B469CA63C74}"/>
                </a:ext>
              </a:extLst>
            </p:cNvPr>
            <p:cNvSpPr>
              <a:spLocks noChangeArrowheads="1"/>
            </p:cNvSpPr>
            <p:nvPr/>
          </p:nvSpPr>
          <p:spPr bwMode="auto">
            <a:xfrm>
              <a:off x="9997228" y="3210239"/>
              <a:ext cx="21630" cy="18025"/>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41" name="Freeform 538">
              <a:extLst>
                <a:ext uri="{FF2B5EF4-FFF2-40B4-BE49-F238E27FC236}">
                  <a16:creationId xmlns:a16="http://schemas.microsoft.com/office/drawing/2014/main" id="{C79C7F37-685F-4728-A2DF-2957AC83C4C3}"/>
                </a:ext>
              </a:extLst>
            </p:cNvPr>
            <p:cNvSpPr>
              <a:spLocks noEditPoints="1"/>
            </p:cNvSpPr>
            <p:nvPr/>
          </p:nvSpPr>
          <p:spPr bwMode="auto">
            <a:xfrm>
              <a:off x="9993623" y="3206634"/>
              <a:ext cx="28839" cy="21630"/>
            </a:xfrm>
            <a:custGeom>
              <a:avLst/>
              <a:gdLst>
                <a:gd name="T0" fmla="*/ 3 w 7"/>
                <a:gd name="T1" fmla="*/ 5 h 5"/>
                <a:gd name="T2" fmla="*/ 0 w 7"/>
                <a:gd name="T3" fmla="*/ 3 h 5"/>
                <a:gd name="T4" fmla="*/ 3 w 7"/>
                <a:gd name="T5" fmla="*/ 0 h 5"/>
                <a:gd name="T6" fmla="*/ 7 w 7"/>
                <a:gd name="T7" fmla="*/ 3 h 5"/>
                <a:gd name="T8" fmla="*/ 3 w 7"/>
                <a:gd name="T9" fmla="*/ 5 h 5"/>
                <a:gd name="T10" fmla="*/ 3 w 7"/>
                <a:gd name="T11" fmla="*/ 1 h 5"/>
                <a:gd name="T12" fmla="*/ 1 w 7"/>
                <a:gd name="T13" fmla="*/ 3 h 5"/>
                <a:gd name="T14" fmla="*/ 3 w 7"/>
                <a:gd name="T15" fmla="*/ 4 h 5"/>
                <a:gd name="T16" fmla="*/ 6 w 7"/>
                <a:gd name="T17" fmla="*/ 3 h 5"/>
                <a:gd name="T18" fmla="*/ 3 w 7"/>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3" y="5"/>
                  </a:moveTo>
                  <a:cubicBezTo>
                    <a:pt x="1" y="5"/>
                    <a:pt x="0" y="4"/>
                    <a:pt x="0" y="3"/>
                  </a:cubicBezTo>
                  <a:cubicBezTo>
                    <a:pt x="0" y="1"/>
                    <a:pt x="1" y="0"/>
                    <a:pt x="3" y="0"/>
                  </a:cubicBezTo>
                  <a:cubicBezTo>
                    <a:pt x="5" y="0"/>
                    <a:pt x="7" y="1"/>
                    <a:pt x="7" y="3"/>
                  </a:cubicBezTo>
                  <a:cubicBezTo>
                    <a:pt x="7" y="4"/>
                    <a:pt x="5" y="5"/>
                    <a:pt x="3" y="5"/>
                  </a:cubicBezTo>
                  <a:close/>
                  <a:moveTo>
                    <a:pt x="3" y="1"/>
                  </a:moveTo>
                  <a:cubicBezTo>
                    <a:pt x="2" y="1"/>
                    <a:pt x="1" y="2"/>
                    <a:pt x="1" y="3"/>
                  </a:cubicBezTo>
                  <a:cubicBezTo>
                    <a:pt x="1" y="3"/>
                    <a:pt x="2" y="4"/>
                    <a:pt x="3" y="4"/>
                  </a:cubicBezTo>
                  <a:cubicBezTo>
                    <a:pt x="5" y="4"/>
                    <a:pt x="6" y="3"/>
                    <a:pt x="6" y="3"/>
                  </a:cubicBezTo>
                  <a:cubicBezTo>
                    <a:pt x="6" y="2"/>
                    <a:pt x="5" y="1"/>
                    <a:pt x="3" y="1"/>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42" name="Oval 539">
              <a:extLst>
                <a:ext uri="{FF2B5EF4-FFF2-40B4-BE49-F238E27FC236}">
                  <a16:creationId xmlns:a16="http://schemas.microsoft.com/office/drawing/2014/main" id="{3D072AC4-65C5-4CA0-A311-F335E4BB7AEE}"/>
                </a:ext>
              </a:extLst>
            </p:cNvPr>
            <p:cNvSpPr>
              <a:spLocks noChangeArrowheads="1"/>
            </p:cNvSpPr>
            <p:nvPr/>
          </p:nvSpPr>
          <p:spPr bwMode="auto">
            <a:xfrm>
              <a:off x="9984611" y="3112906"/>
              <a:ext cx="46864" cy="34247"/>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43" name="Freeform 540">
              <a:extLst>
                <a:ext uri="{FF2B5EF4-FFF2-40B4-BE49-F238E27FC236}">
                  <a16:creationId xmlns:a16="http://schemas.microsoft.com/office/drawing/2014/main" id="{2D1AA038-205A-41FC-9E3B-D82ED1A52757}"/>
                </a:ext>
              </a:extLst>
            </p:cNvPr>
            <p:cNvSpPr>
              <a:spLocks noEditPoints="1"/>
            </p:cNvSpPr>
            <p:nvPr/>
          </p:nvSpPr>
          <p:spPr bwMode="auto">
            <a:xfrm>
              <a:off x="9981006" y="3112906"/>
              <a:ext cx="50469" cy="37852"/>
            </a:xfrm>
            <a:custGeom>
              <a:avLst/>
              <a:gdLst>
                <a:gd name="T0" fmla="*/ 6 w 12"/>
                <a:gd name="T1" fmla="*/ 9 h 9"/>
                <a:gd name="T2" fmla="*/ 0 w 12"/>
                <a:gd name="T3" fmla="*/ 4 h 9"/>
                <a:gd name="T4" fmla="*/ 6 w 12"/>
                <a:gd name="T5" fmla="*/ 0 h 9"/>
                <a:gd name="T6" fmla="*/ 12 w 12"/>
                <a:gd name="T7" fmla="*/ 4 h 9"/>
                <a:gd name="T8" fmla="*/ 6 w 12"/>
                <a:gd name="T9" fmla="*/ 9 h 9"/>
                <a:gd name="T10" fmla="*/ 6 w 12"/>
                <a:gd name="T11" fmla="*/ 1 h 9"/>
                <a:gd name="T12" fmla="*/ 2 w 12"/>
                <a:gd name="T13" fmla="*/ 4 h 9"/>
                <a:gd name="T14" fmla="*/ 6 w 12"/>
                <a:gd name="T15" fmla="*/ 7 h 9"/>
                <a:gd name="T16" fmla="*/ 11 w 12"/>
                <a:gd name="T17" fmla="*/ 4 h 9"/>
                <a:gd name="T18" fmla="*/ 6 w 12"/>
                <a:gd name="T19"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9">
                  <a:moveTo>
                    <a:pt x="6" y="9"/>
                  </a:moveTo>
                  <a:cubicBezTo>
                    <a:pt x="3" y="9"/>
                    <a:pt x="0" y="7"/>
                    <a:pt x="0" y="4"/>
                  </a:cubicBezTo>
                  <a:cubicBezTo>
                    <a:pt x="0" y="2"/>
                    <a:pt x="3" y="0"/>
                    <a:pt x="6" y="0"/>
                  </a:cubicBezTo>
                  <a:cubicBezTo>
                    <a:pt x="10" y="0"/>
                    <a:pt x="12" y="2"/>
                    <a:pt x="12" y="4"/>
                  </a:cubicBezTo>
                  <a:cubicBezTo>
                    <a:pt x="12" y="7"/>
                    <a:pt x="10" y="9"/>
                    <a:pt x="6" y="9"/>
                  </a:cubicBezTo>
                  <a:close/>
                  <a:moveTo>
                    <a:pt x="6" y="1"/>
                  </a:moveTo>
                  <a:cubicBezTo>
                    <a:pt x="4" y="1"/>
                    <a:pt x="2" y="3"/>
                    <a:pt x="2" y="4"/>
                  </a:cubicBezTo>
                  <a:cubicBezTo>
                    <a:pt x="2" y="6"/>
                    <a:pt x="4" y="7"/>
                    <a:pt x="6" y="7"/>
                  </a:cubicBezTo>
                  <a:cubicBezTo>
                    <a:pt x="9" y="7"/>
                    <a:pt x="11" y="6"/>
                    <a:pt x="11" y="4"/>
                  </a:cubicBezTo>
                  <a:cubicBezTo>
                    <a:pt x="11" y="3"/>
                    <a:pt x="9" y="1"/>
                    <a:pt x="6" y="1"/>
                  </a:cubicBez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sp>
          <p:nvSpPr>
            <p:cNvPr id="2444" name="Oval 2443">
              <a:extLst>
                <a:ext uri="{FF2B5EF4-FFF2-40B4-BE49-F238E27FC236}">
                  <a16:creationId xmlns:a16="http://schemas.microsoft.com/office/drawing/2014/main" id="{38B80855-D625-44DF-B433-3E1D40936037}"/>
                </a:ext>
              </a:extLst>
            </p:cNvPr>
            <p:cNvSpPr/>
            <p:nvPr/>
          </p:nvSpPr>
          <p:spPr bwMode="auto">
            <a:xfrm>
              <a:off x="9827309" y="3012003"/>
              <a:ext cx="91440" cy="91440"/>
            </a:xfrm>
            <a:prstGeom prst="ellipse">
              <a:avLst/>
            </a:prstGeom>
            <a:solidFill>
              <a:srgbClr val="6BC08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45" name="Rectangle 2444">
            <a:extLst>
              <a:ext uri="{FF2B5EF4-FFF2-40B4-BE49-F238E27FC236}">
                <a16:creationId xmlns:a16="http://schemas.microsoft.com/office/drawing/2014/main" id="{FB7CE475-C1AB-461B-8515-75D6A0B8737F}"/>
              </a:ext>
            </a:extLst>
          </p:cNvPr>
          <p:cNvSpPr/>
          <p:nvPr/>
        </p:nvSpPr>
        <p:spPr bwMode="auto">
          <a:xfrm>
            <a:off x="5333814" y="2109415"/>
            <a:ext cx="6409338" cy="2980588"/>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89620" tIns="89620" rIns="134429" bIns="143392" numCol="1" spcCol="0" rtlCol="0" fromWordArt="0" anchor="t" anchorCtr="0" forceAA="0" compatLnSpc="1">
            <a:prstTxWarp prst="textNoShape">
              <a:avLst/>
            </a:prstTxWarp>
            <a:noAutofit/>
          </a:bodyPr>
          <a:lstStyle/>
          <a:p>
            <a:pPr defTabSz="914027" fontAlgn="base">
              <a:lnSpc>
                <a:spcPct val="90000"/>
              </a:lnSpc>
              <a:spcBef>
                <a:spcPct val="0"/>
              </a:spcBef>
              <a:spcAft>
                <a:spcPct val="0"/>
              </a:spcAft>
              <a:defRPr/>
            </a:pPr>
            <a:endParaRPr lang="en-US" sz="1372" dirty="0" err="1">
              <a:solidFill>
                <a:prstClr val="white">
                  <a:lumMod val="50000"/>
                </a:prstClr>
              </a:solidFill>
              <a:latin typeface="Arial"/>
              <a:cs typeface="Segoe UI" pitchFamily="34" charset="0"/>
            </a:endParaRPr>
          </a:p>
        </p:txBody>
      </p:sp>
      <p:grpSp>
        <p:nvGrpSpPr>
          <p:cNvPr id="2446" name="Group 2445">
            <a:extLst>
              <a:ext uri="{FF2B5EF4-FFF2-40B4-BE49-F238E27FC236}">
                <a16:creationId xmlns:a16="http://schemas.microsoft.com/office/drawing/2014/main" id="{F9C32BBA-B5BD-4575-BF7C-947ECD7B92D8}"/>
              </a:ext>
            </a:extLst>
          </p:cNvPr>
          <p:cNvGrpSpPr/>
          <p:nvPr/>
        </p:nvGrpSpPr>
        <p:grpSpPr>
          <a:xfrm>
            <a:off x="8137400" y="4671604"/>
            <a:ext cx="991517" cy="1358746"/>
            <a:chOff x="-1473199" y="5695950"/>
            <a:chExt cx="849249" cy="1187449"/>
          </a:xfrm>
        </p:grpSpPr>
        <p:sp>
          <p:nvSpPr>
            <p:cNvPr id="2447" name="Freeform: Shape 2446">
              <a:extLst>
                <a:ext uri="{FF2B5EF4-FFF2-40B4-BE49-F238E27FC236}">
                  <a16:creationId xmlns:a16="http://schemas.microsoft.com/office/drawing/2014/main" id="{11CC535F-5FED-4D59-8F03-DB0755437BF0}"/>
                </a:ext>
              </a:extLst>
            </p:cNvPr>
            <p:cNvSpPr/>
            <p:nvPr/>
          </p:nvSpPr>
          <p:spPr bwMode="auto">
            <a:xfrm>
              <a:off x="-1270674" y="5976828"/>
              <a:ext cx="194776" cy="516789"/>
            </a:xfrm>
            <a:custGeom>
              <a:avLst/>
              <a:gdLst>
                <a:gd name="connsiteX0" fmla="*/ 91440 w 403860"/>
                <a:gd name="connsiteY0" fmla="*/ 0 h 1531620"/>
                <a:gd name="connsiteX1" fmla="*/ 0 w 403860"/>
                <a:gd name="connsiteY1" fmla="*/ 693420 h 1531620"/>
                <a:gd name="connsiteX2" fmla="*/ 381000 w 403860"/>
                <a:gd name="connsiteY2" fmla="*/ 1531620 h 1531620"/>
                <a:gd name="connsiteX3" fmla="*/ 403860 w 403860"/>
                <a:gd name="connsiteY3" fmla="*/ 1478280 h 1531620"/>
                <a:gd name="connsiteX4" fmla="*/ 15240 w 403860"/>
                <a:gd name="connsiteY4" fmla="*/ 693420 h 1531620"/>
                <a:gd name="connsiteX5" fmla="*/ 129540 w 403860"/>
                <a:gd name="connsiteY5" fmla="*/ 38100 h 1531620"/>
                <a:gd name="connsiteX6" fmla="*/ 91440 w 403860"/>
                <a:gd name="connsiteY6" fmla="*/ 0 h 1531620"/>
                <a:gd name="connsiteX0" fmla="*/ 91440 w 403860"/>
                <a:gd name="connsiteY0" fmla="*/ 0 h 1531620"/>
                <a:gd name="connsiteX1" fmla="*/ 0 w 403860"/>
                <a:gd name="connsiteY1" fmla="*/ 693420 h 1531620"/>
                <a:gd name="connsiteX2" fmla="*/ 381000 w 403860"/>
                <a:gd name="connsiteY2" fmla="*/ 1531620 h 1531620"/>
                <a:gd name="connsiteX3" fmla="*/ 403860 w 403860"/>
                <a:gd name="connsiteY3" fmla="*/ 1478280 h 1531620"/>
                <a:gd name="connsiteX4" fmla="*/ 129540 w 403860"/>
                <a:gd name="connsiteY4" fmla="*/ 38100 h 1531620"/>
                <a:gd name="connsiteX5" fmla="*/ 91440 w 403860"/>
                <a:gd name="connsiteY5" fmla="*/ 0 h 1531620"/>
                <a:gd name="connsiteX0" fmla="*/ 0 w 312420"/>
                <a:gd name="connsiteY0" fmla="*/ 0 h 1531620"/>
                <a:gd name="connsiteX1" fmla="*/ 289560 w 312420"/>
                <a:gd name="connsiteY1" fmla="*/ 1531620 h 1531620"/>
                <a:gd name="connsiteX2" fmla="*/ 312420 w 312420"/>
                <a:gd name="connsiteY2" fmla="*/ 1478280 h 1531620"/>
                <a:gd name="connsiteX3" fmla="*/ 38100 w 312420"/>
                <a:gd name="connsiteY3" fmla="*/ 38100 h 1531620"/>
                <a:gd name="connsiteX4" fmla="*/ 0 w 312420"/>
                <a:gd name="connsiteY4" fmla="*/ 0 h 1531620"/>
                <a:gd name="connsiteX0" fmla="*/ 0 w 731520"/>
                <a:gd name="connsiteY0" fmla="*/ 0 h 1943100"/>
                <a:gd name="connsiteX1" fmla="*/ 289560 w 731520"/>
                <a:gd name="connsiteY1" fmla="*/ 1531620 h 1943100"/>
                <a:gd name="connsiteX2" fmla="*/ 731520 w 731520"/>
                <a:gd name="connsiteY2" fmla="*/ 1943100 h 1943100"/>
                <a:gd name="connsiteX3" fmla="*/ 38100 w 731520"/>
                <a:gd name="connsiteY3" fmla="*/ 38100 h 1943100"/>
                <a:gd name="connsiteX4" fmla="*/ 0 w 731520"/>
                <a:gd name="connsiteY4" fmla="*/ 0 h 1943100"/>
                <a:gd name="connsiteX0" fmla="*/ 0 w 731520"/>
                <a:gd name="connsiteY0" fmla="*/ 0 h 1988820"/>
                <a:gd name="connsiteX1" fmla="*/ 685800 w 731520"/>
                <a:gd name="connsiteY1" fmla="*/ 1988820 h 1988820"/>
                <a:gd name="connsiteX2" fmla="*/ 731520 w 731520"/>
                <a:gd name="connsiteY2" fmla="*/ 1943100 h 1988820"/>
                <a:gd name="connsiteX3" fmla="*/ 38100 w 731520"/>
                <a:gd name="connsiteY3" fmla="*/ 38100 h 1988820"/>
                <a:gd name="connsiteX4" fmla="*/ 0 w 731520"/>
                <a:gd name="connsiteY4" fmla="*/ 0 h 1988820"/>
                <a:gd name="connsiteX0" fmla="*/ 0 w 731520"/>
                <a:gd name="connsiteY0" fmla="*/ 0 h 1988820"/>
                <a:gd name="connsiteX1" fmla="*/ 685800 w 731520"/>
                <a:gd name="connsiteY1" fmla="*/ 1988820 h 1988820"/>
                <a:gd name="connsiteX2" fmla="*/ 731520 w 731520"/>
                <a:gd name="connsiteY2" fmla="*/ 1943100 h 1988820"/>
                <a:gd name="connsiteX3" fmla="*/ 38100 w 731520"/>
                <a:gd name="connsiteY3" fmla="*/ 38100 h 1988820"/>
                <a:gd name="connsiteX4" fmla="*/ 0 w 731520"/>
                <a:gd name="connsiteY4" fmla="*/ 0 h 1988820"/>
                <a:gd name="connsiteX0" fmla="*/ 99307 w 830827"/>
                <a:gd name="connsiteY0" fmla="*/ 0 h 1988820"/>
                <a:gd name="connsiteX1" fmla="*/ 785107 w 830827"/>
                <a:gd name="connsiteY1" fmla="*/ 1988820 h 1988820"/>
                <a:gd name="connsiteX2" fmla="*/ 830827 w 830827"/>
                <a:gd name="connsiteY2" fmla="*/ 1943100 h 1988820"/>
                <a:gd name="connsiteX3" fmla="*/ 137407 w 830827"/>
                <a:gd name="connsiteY3" fmla="*/ 38100 h 1988820"/>
                <a:gd name="connsiteX4" fmla="*/ 99307 w 830827"/>
                <a:gd name="connsiteY4" fmla="*/ 0 h 1988820"/>
                <a:gd name="connsiteX0" fmla="*/ 99307 w 830827"/>
                <a:gd name="connsiteY0" fmla="*/ 0 h 1988820"/>
                <a:gd name="connsiteX1" fmla="*/ 785107 w 830827"/>
                <a:gd name="connsiteY1" fmla="*/ 1988820 h 1988820"/>
                <a:gd name="connsiteX2" fmla="*/ 830827 w 830827"/>
                <a:gd name="connsiteY2" fmla="*/ 1943100 h 1988820"/>
                <a:gd name="connsiteX3" fmla="*/ 137407 w 830827"/>
                <a:gd name="connsiteY3" fmla="*/ 38100 h 1988820"/>
                <a:gd name="connsiteX4" fmla="*/ 99307 w 830827"/>
                <a:gd name="connsiteY4" fmla="*/ 0 h 1988820"/>
                <a:gd name="connsiteX0" fmla="*/ 99307 w 834379"/>
                <a:gd name="connsiteY0" fmla="*/ 0 h 1988820"/>
                <a:gd name="connsiteX1" fmla="*/ 785107 w 834379"/>
                <a:gd name="connsiteY1" fmla="*/ 1988820 h 1988820"/>
                <a:gd name="connsiteX2" fmla="*/ 830827 w 834379"/>
                <a:gd name="connsiteY2" fmla="*/ 1943100 h 1988820"/>
                <a:gd name="connsiteX3" fmla="*/ 137407 w 834379"/>
                <a:gd name="connsiteY3" fmla="*/ 38100 h 1988820"/>
                <a:gd name="connsiteX4" fmla="*/ 99307 w 834379"/>
                <a:gd name="connsiteY4" fmla="*/ 0 h 1988820"/>
                <a:gd name="connsiteX0" fmla="*/ 39299 w 774371"/>
                <a:gd name="connsiteY0" fmla="*/ 0 h 1988820"/>
                <a:gd name="connsiteX1" fmla="*/ 725099 w 774371"/>
                <a:gd name="connsiteY1" fmla="*/ 1988820 h 1988820"/>
                <a:gd name="connsiteX2" fmla="*/ 770819 w 774371"/>
                <a:gd name="connsiteY2" fmla="*/ 1943100 h 1988820"/>
                <a:gd name="connsiteX3" fmla="*/ 77399 w 774371"/>
                <a:gd name="connsiteY3" fmla="*/ 38100 h 1988820"/>
                <a:gd name="connsiteX4" fmla="*/ 39299 w 774371"/>
                <a:gd name="connsiteY4" fmla="*/ 0 h 1988820"/>
                <a:gd name="connsiteX0" fmla="*/ 57583 w 792655"/>
                <a:gd name="connsiteY0" fmla="*/ 0 h 1988820"/>
                <a:gd name="connsiteX1" fmla="*/ 743383 w 792655"/>
                <a:gd name="connsiteY1" fmla="*/ 1988820 h 1988820"/>
                <a:gd name="connsiteX2" fmla="*/ 789103 w 792655"/>
                <a:gd name="connsiteY2" fmla="*/ 1943100 h 1988820"/>
                <a:gd name="connsiteX3" fmla="*/ 95683 w 792655"/>
                <a:gd name="connsiteY3" fmla="*/ 38100 h 1988820"/>
                <a:gd name="connsiteX4" fmla="*/ 57583 w 792655"/>
                <a:gd name="connsiteY4" fmla="*/ 0 h 1988820"/>
                <a:gd name="connsiteX0" fmla="*/ 58435 w 793507"/>
                <a:gd name="connsiteY0" fmla="*/ 0 h 1950720"/>
                <a:gd name="connsiteX1" fmla="*/ 728995 w 793507"/>
                <a:gd name="connsiteY1" fmla="*/ 1950720 h 1950720"/>
                <a:gd name="connsiteX2" fmla="*/ 789955 w 793507"/>
                <a:gd name="connsiteY2" fmla="*/ 1943100 h 1950720"/>
                <a:gd name="connsiteX3" fmla="*/ 96535 w 793507"/>
                <a:gd name="connsiteY3" fmla="*/ 38100 h 1950720"/>
                <a:gd name="connsiteX4" fmla="*/ 58435 w 793507"/>
                <a:gd name="connsiteY4" fmla="*/ 0 h 1950720"/>
                <a:gd name="connsiteX0" fmla="*/ 60547 w 795619"/>
                <a:gd name="connsiteY0" fmla="*/ 0 h 1950720"/>
                <a:gd name="connsiteX1" fmla="*/ 731107 w 795619"/>
                <a:gd name="connsiteY1" fmla="*/ 1950720 h 1950720"/>
                <a:gd name="connsiteX2" fmla="*/ 792067 w 795619"/>
                <a:gd name="connsiteY2" fmla="*/ 1943100 h 1950720"/>
                <a:gd name="connsiteX3" fmla="*/ 98647 w 795619"/>
                <a:gd name="connsiteY3" fmla="*/ 38100 h 1950720"/>
                <a:gd name="connsiteX4" fmla="*/ 60547 w 795619"/>
                <a:gd name="connsiteY4" fmla="*/ 0 h 1950720"/>
                <a:gd name="connsiteX0" fmla="*/ 60547 w 795619"/>
                <a:gd name="connsiteY0" fmla="*/ 0 h 1950720"/>
                <a:gd name="connsiteX1" fmla="*/ 731107 w 795619"/>
                <a:gd name="connsiteY1" fmla="*/ 1950720 h 1950720"/>
                <a:gd name="connsiteX2" fmla="*/ 792067 w 795619"/>
                <a:gd name="connsiteY2" fmla="*/ 1897380 h 1950720"/>
                <a:gd name="connsiteX3" fmla="*/ 98647 w 795619"/>
                <a:gd name="connsiteY3" fmla="*/ 38100 h 1950720"/>
                <a:gd name="connsiteX4" fmla="*/ 60547 w 795619"/>
                <a:gd name="connsiteY4" fmla="*/ 0 h 1950720"/>
                <a:gd name="connsiteX0" fmla="*/ 58863 w 793935"/>
                <a:gd name="connsiteY0" fmla="*/ 0 h 1912620"/>
                <a:gd name="connsiteX1" fmla="*/ 757998 w 793935"/>
                <a:gd name="connsiteY1" fmla="*/ 1912620 h 1912620"/>
                <a:gd name="connsiteX2" fmla="*/ 790383 w 793935"/>
                <a:gd name="connsiteY2" fmla="*/ 1897380 h 1912620"/>
                <a:gd name="connsiteX3" fmla="*/ 96963 w 793935"/>
                <a:gd name="connsiteY3" fmla="*/ 38100 h 1912620"/>
                <a:gd name="connsiteX4" fmla="*/ 58863 w 793935"/>
                <a:gd name="connsiteY4" fmla="*/ 0 h 1912620"/>
                <a:gd name="connsiteX0" fmla="*/ 60271 w 795343"/>
                <a:gd name="connsiteY0" fmla="*/ 0 h 1912620"/>
                <a:gd name="connsiteX1" fmla="*/ 759406 w 795343"/>
                <a:gd name="connsiteY1" fmla="*/ 1912620 h 1912620"/>
                <a:gd name="connsiteX2" fmla="*/ 791791 w 795343"/>
                <a:gd name="connsiteY2" fmla="*/ 1897380 h 1912620"/>
                <a:gd name="connsiteX3" fmla="*/ 98371 w 795343"/>
                <a:gd name="connsiteY3" fmla="*/ 38100 h 1912620"/>
                <a:gd name="connsiteX4" fmla="*/ 60271 w 795343"/>
                <a:gd name="connsiteY4" fmla="*/ 0 h 1912620"/>
                <a:gd name="connsiteX0" fmla="*/ 60271 w 791791"/>
                <a:gd name="connsiteY0" fmla="*/ 0 h 1912620"/>
                <a:gd name="connsiteX1" fmla="*/ 759406 w 791791"/>
                <a:gd name="connsiteY1" fmla="*/ 1912620 h 1912620"/>
                <a:gd name="connsiteX2" fmla="*/ 791791 w 791791"/>
                <a:gd name="connsiteY2" fmla="*/ 1897380 h 1912620"/>
                <a:gd name="connsiteX3" fmla="*/ 98371 w 791791"/>
                <a:gd name="connsiteY3" fmla="*/ 38100 h 1912620"/>
                <a:gd name="connsiteX4" fmla="*/ 60271 w 791791"/>
                <a:gd name="connsiteY4" fmla="*/ 0 h 1912620"/>
                <a:gd name="connsiteX0" fmla="*/ 60271 w 791791"/>
                <a:gd name="connsiteY0" fmla="*/ 0 h 1912620"/>
                <a:gd name="connsiteX1" fmla="*/ 759406 w 791791"/>
                <a:gd name="connsiteY1" fmla="*/ 1912620 h 1912620"/>
                <a:gd name="connsiteX2" fmla="*/ 791791 w 791791"/>
                <a:gd name="connsiteY2" fmla="*/ 1897380 h 1912620"/>
                <a:gd name="connsiteX3" fmla="*/ 98371 w 791791"/>
                <a:gd name="connsiteY3" fmla="*/ 38100 h 1912620"/>
                <a:gd name="connsiteX4" fmla="*/ 60271 w 791791"/>
                <a:gd name="connsiteY4" fmla="*/ 0 h 1912620"/>
                <a:gd name="connsiteX0" fmla="*/ 60271 w 791791"/>
                <a:gd name="connsiteY0" fmla="*/ 0 h 1912620"/>
                <a:gd name="connsiteX1" fmla="*/ 759406 w 791791"/>
                <a:gd name="connsiteY1" fmla="*/ 1912620 h 1912620"/>
                <a:gd name="connsiteX2" fmla="*/ 791791 w 791791"/>
                <a:gd name="connsiteY2" fmla="*/ 1897380 h 1912620"/>
                <a:gd name="connsiteX3" fmla="*/ 98371 w 791791"/>
                <a:gd name="connsiteY3" fmla="*/ 38100 h 1912620"/>
                <a:gd name="connsiteX4" fmla="*/ 60271 w 791791"/>
                <a:gd name="connsiteY4" fmla="*/ 0 h 191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791" h="1912620">
                  <a:moveTo>
                    <a:pt x="60271" y="0"/>
                  </a:moveTo>
                  <a:cubicBezTo>
                    <a:pt x="-221669" y="396240"/>
                    <a:pt x="566366" y="582295"/>
                    <a:pt x="759406" y="1912620"/>
                  </a:cubicBezTo>
                  <a:lnTo>
                    <a:pt x="791791" y="1897380"/>
                  </a:lnTo>
                  <a:cubicBezTo>
                    <a:pt x="646376" y="592455"/>
                    <a:pt x="-199444" y="328930"/>
                    <a:pt x="98371" y="38100"/>
                  </a:cubicBezTo>
                  <a:lnTo>
                    <a:pt x="60271"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48" name="Freeform: Shape 2447">
              <a:extLst>
                <a:ext uri="{FF2B5EF4-FFF2-40B4-BE49-F238E27FC236}">
                  <a16:creationId xmlns:a16="http://schemas.microsoft.com/office/drawing/2014/main" id="{B1A6E017-E39C-4129-A92D-6E680FA5EBDB}"/>
                </a:ext>
              </a:extLst>
            </p:cNvPr>
            <p:cNvSpPr/>
            <p:nvPr/>
          </p:nvSpPr>
          <p:spPr bwMode="auto">
            <a:xfrm>
              <a:off x="-978777" y="5984805"/>
              <a:ext cx="132834" cy="102303"/>
            </a:xfrm>
            <a:custGeom>
              <a:avLst/>
              <a:gdLst>
                <a:gd name="connsiteX0" fmla="*/ 657225 w 657225"/>
                <a:gd name="connsiteY0" fmla="*/ 0 h 361950"/>
                <a:gd name="connsiteX1" fmla="*/ 657225 w 657225"/>
                <a:gd name="connsiteY1" fmla="*/ 361950 h 361950"/>
                <a:gd name="connsiteX2" fmla="*/ 0 w 657225"/>
                <a:gd name="connsiteY2" fmla="*/ 352425 h 361950"/>
                <a:gd name="connsiteX3" fmla="*/ 123825 w 657225"/>
                <a:gd name="connsiteY3" fmla="*/ 285750 h 361950"/>
                <a:gd name="connsiteX4" fmla="*/ 590550 w 657225"/>
                <a:gd name="connsiteY4" fmla="*/ 314325 h 361950"/>
                <a:gd name="connsiteX5" fmla="*/ 657225 w 657225"/>
                <a:gd name="connsiteY5" fmla="*/ 0 h 361950"/>
                <a:gd name="connsiteX0" fmla="*/ 657225 w 657225"/>
                <a:gd name="connsiteY0" fmla="*/ 0 h 361950"/>
                <a:gd name="connsiteX1" fmla="*/ 657225 w 657225"/>
                <a:gd name="connsiteY1" fmla="*/ 361950 h 361950"/>
                <a:gd name="connsiteX2" fmla="*/ 0 w 657225"/>
                <a:gd name="connsiteY2" fmla="*/ 352425 h 361950"/>
                <a:gd name="connsiteX3" fmla="*/ 123825 w 657225"/>
                <a:gd name="connsiteY3" fmla="*/ 285750 h 361950"/>
                <a:gd name="connsiteX4" fmla="*/ 600075 w 657225"/>
                <a:gd name="connsiteY4" fmla="*/ 271462 h 361950"/>
                <a:gd name="connsiteX5" fmla="*/ 657225 w 657225"/>
                <a:gd name="connsiteY5" fmla="*/ 0 h 361950"/>
                <a:gd name="connsiteX0" fmla="*/ 657225 w 657225"/>
                <a:gd name="connsiteY0" fmla="*/ 47625 h 409575"/>
                <a:gd name="connsiteX1" fmla="*/ 657225 w 657225"/>
                <a:gd name="connsiteY1" fmla="*/ 409575 h 409575"/>
                <a:gd name="connsiteX2" fmla="*/ 0 w 657225"/>
                <a:gd name="connsiteY2" fmla="*/ 400050 h 409575"/>
                <a:gd name="connsiteX3" fmla="*/ 123825 w 657225"/>
                <a:gd name="connsiteY3" fmla="*/ 333375 h 409575"/>
                <a:gd name="connsiteX4" fmla="*/ 600075 w 657225"/>
                <a:gd name="connsiteY4" fmla="*/ 319087 h 409575"/>
                <a:gd name="connsiteX5" fmla="*/ 609600 w 657225"/>
                <a:gd name="connsiteY5" fmla="*/ 0 h 409575"/>
                <a:gd name="connsiteX6" fmla="*/ 657225 w 657225"/>
                <a:gd name="connsiteY6" fmla="*/ 47625 h 409575"/>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600075 w 657225"/>
                <a:gd name="connsiteY4" fmla="*/ 323850 h 414338"/>
                <a:gd name="connsiteX5" fmla="*/ 609600 w 657225"/>
                <a:gd name="connsiteY5" fmla="*/ 4763 h 414338"/>
                <a:gd name="connsiteX6" fmla="*/ 657225 w 657225"/>
                <a:gd name="connsiteY6"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576262 w 657225"/>
                <a:gd name="connsiteY4" fmla="*/ 221456 h 414338"/>
                <a:gd name="connsiteX5" fmla="*/ 609600 w 657225"/>
                <a:gd name="connsiteY5" fmla="*/ 4763 h 414338"/>
                <a:gd name="connsiteX6" fmla="*/ 657225 w 657225"/>
                <a:gd name="connsiteY6"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576262 w 657225"/>
                <a:gd name="connsiteY4" fmla="*/ 221456 h 414338"/>
                <a:gd name="connsiteX5" fmla="*/ 609600 w 657225"/>
                <a:gd name="connsiteY5" fmla="*/ 4763 h 414338"/>
                <a:gd name="connsiteX6" fmla="*/ 657225 w 657225"/>
                <a:gd name="connsiteY6"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04813"/>
                <a:gd name="connsiteX1" fmla="*/ 0 w 657225"/>
                <a:gd name="connsiteY1" fmla="*/ 404813 h 404813"/>
                <a:gd name="connsiteX2" fmla="*/ 123825 w 657225"/>
                <a:gd name="connsiteY2" fmla="*/ 330994 h 404813"/>
                <a:gd name="connsiteX3" fmla="*/ 609600 w 657225"/>
                <a:gd name="connsiteY3" fmla="*/ 4763 h 404813"/>
                <a:gd name="connsiteX4" fmla="*/ 657225 w 657225"/>
                <a:gd name="connsiteY4" fmla="*/ 0 h 404813"/>
                <a:gd name="connsiteX0" fmla="*/ 657225 w 657225"/>
                <a:gd name="connsiteY0" fmla="*/ 0 h 404813"/>
                <a:gd name="connsiteX1" fmla="*/ 0 w 657225"/>
                <a:gd name="connsiteY1" fmla="*/ 404813 h 404813"/>
                <a:gd name="connsiteX2" fmla="*/ 123825 w 657225"/>
                <a:gd name="connsiteY2" fmla="*/ 330994 h 404813"/>
                <a:gd name="connsiteX3" fmla="*/ 609600 w 657225"/>
                <a:gd name="connsiteY3" fmla="*/ 4763 h 404813"/>
                <a:gd name="connsiteX4" fmla="*/ 657225 w 657225"/>
                <a:gd name="connsiteY4" fmla="*/ 0 h 404813"/>
                <a:gd name="connsiteX0" fmla="*/ 657225 w 679302"/>
                <a:gd name="connsiteY0" fmla="*/ 0 h 404813"/>
                <a:gd name="connsiteX1" fmla="*/ 0 w 679302"/>
                <a:gd name="connsiteY1" fmla="*/ 404813 h 404813"/>
                <a:gd name="connsiteX2" fmla="*/ 123825 w 679302"/>
                <a:gd name="connsiteY2" fmla="*/ 330994 h 404813"/>
                <a:gd name="connsiteX3" fmla="*/ 609600 w 679302"/>
                <a:gd name="connsiteY3" fmla="*/ 4763 h 404813"/>
                <a:gd name="connsiteX4" fmla="*/ 657225 w 679302"/>
                <a:gd name="connsiteY4" fmla="*/ 0 h 404813"/>
                <a:gd name="connsiteX0" fmla="*/ 657225 w 715183"/>
                <a:gd name="connsiteY0" fmla="*/ 0 h 404813"/>
                <a:gd name="connsiteX1" fmla="*/ 0 w 715183"/>
                <a:gd name="connsiteY1" fmla="*/ 404813 h 404813"/>
                <a:gd name="connsiteX2" fmla="*/ 123825 w 715183"/>
                <a:gd name="connsiteY2" fmla="*/ 330994 h 404813"/>
                <a:gd name="connsiteX3" fmla="*/ 609600 w 715183"/>
                <a:gd name="connsiteY3" fmla="*/ 4763 h 404813"/>
                <a:gd name="connsiteX4" fmla="*/ 657225 w 715183"/>
                <a:gd name="connsiteY4" fmla="*/ 0 h 404813"/>
                <a:gd name="connsiteX0" fmla="*/ 657225 w 715183"/>
                <a:gd name="connsiteY0" fmla="*/ 0 h 404813"/>
                <a:gd name="connsiteX1" fmla="*/ 0 w 715183"/>
                <a:gd name="connsiteY1" fmla="*/ 404813 h 404813"/>
                <a:gd name="connsiteX2" fmla="*/ 123825 w 715183"/>
                <a:gd name="connsiteY2" fmla="*/ 330994 h 404813"/>
                <a:gd name="connsiteX3" fmla="*/ 609600 w 715183"/>
                <a:gd name="connsiteY3" fmla="*/ 4763 h 404813"/>
                <a:gd name="connsiteX4" fmla="*/ 657225 w 715183"/>
                <a:gd name="connsiteY4" fmla="*/ 0 h 404813"/>
                <a:gd name="connsiteX0" fmla="*/ 657225 w 672708"/>
                <a:gd name="connsiteY0" fmla="*/ 0 h 404813"/>
                <a:gd name="connsiteX1" fmla="*/ 0 w 672708"/>
                <a:gd name="connsiteY1" fmla="*/ 404813 h 404813"/>
                <a:gd name="connsiteX2" fmla="*/ 123825 w 672708"/>
                <a:gd name="connsiteY2" fmla="*/ 330994 h 404813"/>
                <a:gd name="connsiteX3" fmla="*/ 609600 w 672708"/>
                <a:gd name="connsiteY3" fmla="*/ 4763 h 404813"/>
                <a:gd name="connsiteX4" fmla="*/ 657225 w 672708"/>
                <a:gd name="connsiteY4" fmla="*/ 0 h 404813"/>
                <a:gd name="connsiteX0" fmla="*/ 657225 w 659259"/>
                <a:gd name="connsiteY0" fmla="*/ 0 h 404813"/>
                <a:gd name="connsiteX1" fmla="*/ 0 w 659259"/>
                <a:gd name="connsiteY1" fmla="*/ 404813 h 404813"/>
                <a:gd name="connsiteX2" fmla="*/ 123825 w 659259"/>
                <a:gd name="connsiteY2" fmla="*/ 330994 h 404813"/>
                <a:gd name="connsiteX3" fmla="*/ 609600 w 659259"/>
                <a:gd name="connsiteY3" fmla="*/ 4763 h 404813"/>
                <a:gd name="connsiteX4" fmla="*/ 657225 w 659259"/>
                <a:gd name="connsiteY4" fmla="*/ 0 h 404813"/>
                <a:gd name="connsiteX0" fmla="*/ 657225 w 659259"/>
                <a:gd name="connsiteY0" fmla="*/ 0 h 404813"/>
                <a:gd name="connsiteX1" fmla="*/ 0 w 659259"/>
                <a:gd name="connsiteY1" fmla="*/ 404813 h 404813"/>
                <a:gd name="connsiteX2" fmla="*/ 123825 w 659259"/>
                <a:gd name="connsiteY2" fmla="*/ 330994 h 404813"/>
                <a:gd name="connsiteX3" fmla="*/ 609600 w 659259"/>
                <a:gd name="connsiteY3" fmla="*/ 4763 h 404813"/>
                <a:gd name="connsiteX4" fmla="*/ 657225 w 659259"/>
                <a:gd name="connsiteY4" fmla="*/ 0 h 404813"/>
                <a:gd name="connsiteX0" fmla="*/ 657225 w 659259"/>
                <a:gd name="connsiteY0" fmla="*/ 0 h 404813"/>
                <a:gd name="connsiteX1" fmla="*/ 0 w 659259"/>
                <a:gd name="connsiteY1" fmla="*/ 404813 h 404813"/>
                <a:gd name="connsiteX2" fmla="*/ 123825 w 659259"/>
                <a:gd name="connsiteY2" fmla="*/ 330994 h 404813"/>
                <a:gd name="connsiteX3" fmla="*/ 609600 w 659259"/>
                <a:gd name="connsiteY3" fmla="*/ 4763 h 404813"/>
                <a:gd name="connsiteX4" fmla="*/ 657225 w 659259"/>
                <a:gd name="connsiteY4" fmla="*/ 0 h 404813"/>
                <a:gd name="connsiteX0" fmla="*/ 538163 w 548241"/>
                <a:gd name="connsiteY0" fmla="*/ 0 h 378619"/>
                <a:gd name="connsiteX1" fmla="*/ 0 w 548241"/>
                <a:gd name="connsiteY1" fmla="*/ 378619 h 378619"/>
                <a:gd name="connsiteX2" fmla="*/ 4763 w 548241"/>
                <a:gd name="connsiteY2" fmla="*/ 330994 h 378619"/>
                <a:gd name="connsiteX3" fmla="*/ 490538 w 548241"/>
                <a:gd name="connsiteY3" fmla="*/ 4763 h 378619"/>
                <a:gd name="connsiteX4" fmla="*/ 538163 w 548241"/>
                <a:gd name="connsiteY4" fmla="*/ 0 h 378619"/>
                <a:gd name="connsiteX0" fmla="*/ 538163 w 539991"/>
                <a:gd name="connsiteY0" fmla="*/ 0 h 378619"/>
                <a:gd name="connsiteX1" fmla="*/ 0 w 539991"/>
                <a:gd name="connsiteY1" fmla="*/ 378619 h 378619"/>
                <a:gd name="connsiteX2" fmla="*/ 4763 w 539991"/>
                <a:gd name="connsiteY2" fmla="*/ 330994 h 378619"/>
                <a:gd name="connsiteX3" fmla="*/ 490538 w 539991"/>
                <a:gd name="connsiteY3" fmla="*/ 4763 h 378619"/>
                <a:gd name="connsiteX4" fmla="*/ 538163 w 539991"/>
                <a:gd name="connsiteY4" fmla="*/ 0 h 37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991" h="378619">
                  <a:moveTo>
                    <a:pt x="538163" y="0"/>
                  </a:moveTo>
                  <a:cubicBezTo>
                    <a:pt x="552452" y="125414"/>
                    <a:pt x="492920" y="296068"/>
                    <a:pt x="0" y="378619"/>
                  </a:cubicBezTo>
                  <a:lnTo>
                    <a:pt x="4763" y="330994"/>
                  </a:lnTo>
                  <a:cubicBezTo>
                    <a:pt x="440532" y="236537"/>
                    <a:pt x="490538" y="134938"/>
                    <a:pt x="490538" y="4763"/>
                  </a:cubicBezTo>
                  <a:lnTo>
                    <a:pt x="53816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49" name="Group 2448">
              <a:extLst>
                <a:ext uri="{FF2B5EF4-FFF2-40B4-BE49-F238E27FC236}">
                  <a16:creationId xmlns:a16="http://schemas.microsoft.com/office/drawing/2014/main" id="{5B129084-D750-43AE-96E5-C1AEBA750EAA}"/>
                </a:ext>
              </a:extLst>
            </p:cNvPr>
            <p:cNvGrpSpPr/>
            <p:nvPr/>
          </p:nvGrpSpPr>
          <p:grpSpPr>
            <a:xfrm>
              <a:off x="-1473199" y="5728311"/>
              <a:ext cx="849249" cy="1155088"/>
              <a:chOff x="-1473199" y="5728311"/>
              <a:chExt cx="849249" cy="1155088"/>
            </a:xfrm>
          </p:grpSpPr>
          <p:sp>
            <p:nvSpPr>
              <p:cNvPr id="2453" name="Oval 2099">
                <a:extLst>
                  <a:ext uri="{FF2B5EF4-FFF2-40B4-BE49-F238E27FC236}">
                    <a16:creationId xmlns:a16="http://schemas.microsoft.com/office/drawing/2014/main" id="{A3E48A65-C56F-488E-80CA-8856794CDEA7}"/>
                  </a:ext>
                </a:extLst>
              </p:cNvPr>
              <p:cNvSpPr/>
              <p:nvPr/>
            </p:nvSpPr>
            <p:spPr bwMode="auto">
              <a:xfrm>
                <a:off x="-1198565" y="5995344"/>
                <a:ext cx="299587" cy="356599"/>
              </a:xfrm>
              <a:custGeom>
                <a:avLst/>
                <a:gdLst>
                  <a:gd name="connsiteX0" fmla="*/ 0 w 159802"/>
                  <a:gd name="connsiteY0" fmla="*/ 84553 h 169105"/>
                  <a:gd name="connsiteX1" fmla="*/ 79901 w 159802"/>
                  <a:gd name="connsiteY1" fmla="*/ 0 h 169105"/>
                  <a:gd name="connsiteX2" fmla="*/ 159802 w 159802"/>
                  <a:gd name="connsiteY2" fmla="*/ 84553 h 169105"/>
                  <a:gd name="connsiteX3" fmla="*/ 79901 w 159802"/>
                  <a:gd name="connsiteY3" fmla="*/ 169106 h 169105"/>
                  <a:gd name="connsiteX4" fmla="*/ 0 w 159802"/>
                  <a:gd name="connsiteY4" fmla="*/ 84553 h 169105"/>
                  <a:gd name="connsiteX0" fmla="*/ 235 w 160037"/>
                  <a:gd name="connsiteY0" fmla="*/ 84553 h 207206"/>
                  <a:gd name="connsiteX1" fmla="*/ 80136 w 160037"/>
                  <a:gd name="connsiteY1" fmla="*/ 0 h 207206"/>
                  <a:gd name="connsiteX2" fmla="*/ 160037 w 160037"/>
                  <a:gd name="connsiteY2" fmla="*/ 84553 h 207206"/>
                  <a:gd name="connsiteX3" fmla="*/ 63467 w 160037"/>
                  <a:gd name="connsiteY3" fmla="*/ 207206 h 207206"/>
                  <a:gd name="connsiteX4" fmla="*/ 235 w 160037"/>
                  <a:gd name="connsiteY4" fmla="*/ 84553 h 207206"/>
                  <a:gd name="connsiteX0" fmla="*/ 26634 w 186436"/>
                  <a:gd name="connsiteY0" fmla="*/ 84553 h 216614"/>
                  <a:gd name="connsiteX1" fmla="*/ 106535 w 186436"/>
                  <a:gd name="connsiteY1" fmla="*/ 0 h 216614"/>
                  <a:gd name="connsiteX2" fmla="*/ 186436 w 186436"/>
                  <a:gd name="connsiteY2" fmla="*/ 84553 h 216614"/>
                  <a:gd name="connsiteX3" fmla="*/ 89866 w 186436"/>
                  <a:gd name="connsiteY3" fmla="*/ 207206 h 216614"/>
                  <a:gd name="connsiteX4" fmla="*/ 3288 w 186436"/>
                  <a:gd name="connsiteY4" fmla="*/ 194418 h 216614"/>
                  <a:gd name="connsiteX5" fmla="*/ 26634 w 186436"/>
                  <a:gd name="connsiteY5" fmla="*/ 84553 h 216614"/>
                  <a:gd name="connsiteX0" fmla="*/ 26634 w 190763"/>
                  <a:gd name="connsiteY0" fmla="*/ 84553 h 214386"/>
                  <a:gd name="connsiteX1" fmla="*/ 106535 w 190763"/>
                  <a:gd name="connsiteY1" fmla="*/ 0 h 214386"/>
                  <a:gd name="connsiteX2" fmla="*/ 186436 w 190763"/>
                  <a:gd name="connsiteY2" fmla="*/ 84553 h 214386"/>
                  <a:gd name="connsiteX3" fmla="*/ 179501 w 190763"/>
                  <a:gd name="connsiteY3" fmla="*/ 203943 h 214386"/>
                  <a:gd name="connsiteX4" fmla="*/ 89866 w 190763"/>
                  <a:gd name="connsiteY4" fmla="*/ 207206 h 214386"/>
                  <a:gd name="connsiteX5" fmla="*/ 3288 w 190763"/>
                  <a:gd name="connsiteY5" fmla="*/ 194418 h 214386"/>
                  <a:gd name="connsiteX6" fmla="*/ 26634 w 190763"/>
                  <a:gd name="connsiteY6" fmla="*/ 84553 h 214386"/>
                  <a:gd name="connsiteX0" fmla="*/ 26634 w 190763"/>
                  <a:gd name="connsiteY0" fmla="*/ 68026 h 214528"/>
                  <a:gd name="connsiteX1" fmla="*/ 106535 w 190763"/>
                  <a:gd name="connsiteY1" fmla="*/ 142 h 214528"/>
                  <a:gd name="connsiteX2" fmla="*/ 186436 w 190763"/>
                  <a:gd name="connsiteY2" fmla="*/ 84695 h 214528"/>
                  <a:gd name="connsiteX3" fmla="*/ 179501 w 190763"/>
                  <a:gd name="connsiteY3" fmla="*/ 204085 h 214528"/>
                  <a:gd name="connsiteX4" fmla="*/ 89866 w 190763"/>
                  <a:gd name="connsiteY4" fmla="*/ 207348 h 214528"/>
                  <a:gd name="connsiteX5" fmla="*/ 3288 w 190763"/>
                  <a:gd name="connsiteY5" fmla="*/ 194560 h 214528"/>
                  <a:gd name="connsiteX6" fmla="*/ 26634 w 190763"/>
                  <a:gd name="connsiteY6" fmla="*/ 68026 h 214528"/>
                  <a:gd name="connsiteX0" fmla="*/ 26634 w 185891"/>
                  <a:gd name="connsiteY0" fmla="*/ 67934 h 214436"/>
                  <a:gd name="connsiteX1" fmla="*/ 106535 w 185891"/>
                  <a:gd name="connsiteY1" fmla="*/ 50 h 214436"/>
                  <a:gd name="connsiteX2" fmla="*/ 172149 w 185891"/>
                  <a:gd name="connsiteY2" fmla="*/ 77460 h 214436"/>
                  <a:gd name="connsiteX3" fmla="*/ 179501 w 185891"/>
                  <a:gd name="connsiteY3" fmla="*/ 203993 h 214436"/>
                  <a:gd name="connsiteX4" fmla="*/ 89866 w 185891"/>
                  <a:gd name="connsiteY4" fmla="*/ 207256 h 214436"/>
                  <a:gd name="connsiteX5" fmla="*/ 3288 w 185891"/>
                  <a:gd name="connsiteY5" fmla="*/ 194468 h 214436"/>
                  <a:gd name="connsiteX6" fmla="*/ 26634 w 185891"/>
                  <a:gd name="connsiteY6" fmla="*/ 67934 h 214436"/>
                  <a:gd name="connsiteX0" fmla="*/ 26634 w 183002"/>
                  <a:gd name="connsiteY0" fmla="*/ 67951 h 214847"/>
                  <a:gd name="connsiteX1" fmla="*/ 106535 w 183002"/>
                  <a:gd name="connsiteY1" fmla="*/ 67 h 214847"/>
                  <a:gd name="connsiteX2" fmla="*/ 163553 w 183002"/>
                  <a:gd name="connsiteY2" fmla="*/ 79196 h 214847"/>
                  <a:gd name="connsiteX3" fmla="*/ 179501 w 183002"/>
                  <a:gd name="connsiteY3" fmla="*/ 204010 h 214847"/>
                  <a:gd name="connsiteX4" fmla="*/ 89866 w 183002"/>
                  <a:gd name="connsiteY4" fmla="*/ 207273 h 214847"/>
                  <a:gd name="connsiteX5" fmla="*/ 3288 w 183002"/>
                  <a:gd name="connsiteY5" fmla="*/ 194485 h 214847"/>
                  <a:gd name="connsiteX6" fmla="*/ 26634 w 183002"/>
                  <a:gd name="connsiteY6" fmla="*/ 67951 h 214847"/>
                  <a:gd name="connsiteX0" fmla="*/ 26634 w 186363"/>
                  <a:gd name="connsiteY0" fmla="*/ 67951 h 214847"/>
                  <a:gd name="connsiteX1" fmla="*/ 106535 w 186363"/>
                  <a:gd name="connsiteY1" fmla="*/ 67 h 214847"/>
                  <a:gd name="connsiteX2" fmla="*/ 163553 w 186363"/>
                  <a:gd name="connsiteY2" fmla="*/ 79196 h 214847"/>
                  <a:gd name="connsiteX3" fmla="*/ 179501 w 186363"/>
                  <a:gd name="connsiteY3" fmla="*/ 204010 h 214847"/>
                  <a:gd name="connsiteX4" fmla="*/ 89866 w 186363"/>
                  <a:gd name="connsiteY4" fmla="*/ 207273 h 214847"/>
                  <a:gd name="connsiteX5" fmla="*/ 3288 w 186363"/>
                  <a:gd name="connsiteY5" fmla="*/ 194485 h 214847"/>
                  <a:gd name="connsiteX6" fmla="*/ 26634 w 186363"/>
                  <a:gd name="connsiteY6" fmla="*/ 67951 h 214847"/>
                  <a:gd name="connsiteX0" fmla="*/ 26634 w 186363"/>
                  <a:gd name="connsiteY0" fmla="*/ 67951 h 214847"/>
                  <a:gd name="connsiteX1" fmla="*/ 106535 w 186363"/>
                  <a:gd name="connsiteY1" fmla="*/ 67 h 214847"/>
                  <a:gd name="connsiteX2" fmla="*/ 163553 w 186363"/>
                  <a:gd name="connsiteY2" fmla="*/ 79196 h 214847"/>
                  <a:gd name="connsiteX3" fmla="*/ 179501 w 186363"/>
                  <a:gd name="connsiteY3" fmla="*/ 204010 h 214847"/>
                  <a:gd name="connsiteX4" fmla="*/ 89866 w 186363"/>
                  <a:gd name="connsiteY4" fmla="*/ 207273 h 214847"/>
                  <a:gd name="connsiteX5" fmla="*/ 3288 w 186363"/>
                  <a:gd name="connsiteY5" fmla="*/ 194485 h 214847"/>
                  <a:gd name="connsiteX6" fmla="*/ 26634 w 186363"/>
                  <a:gd name="connsiteY6" fmla="*/ 67951 h 214847"/>
                  <a:gd name="connsiteX0" fmla="*/ 26634 w 190255"/>
                  <a:gd name="connsiteY0" fmla="*/ 67946 h 214884"/>
                  <a:gd name="connsiteX1" fmla="*/ 106535 w 190255"/>
                  <a:gd name="connsiteY1" fmla="*/ 62 h 214884"/>
                  <a:gd name="connsiteX2" fmla="*/ 172149 w 190255"/>
                  <a:gd name="connsiteY2" fmla="*/ 78618 h 214884"/>
                  <a:gd name="connsiteX3" fmla="*/ 179501 w 190255"/>
                  <a:gd name="connsiteY3" fmla="*/ 204005 h 214884"/>
                  <a:gd name="connsiteX4" fmla="*/ 89866 w 190255"/>
                  <a:gd name="connsiteY4" fmla="*/ 207268 h 214884"/>
                  <a:gd name="connsiteX5" fmla="*/ 3288 w 190255"/>
                  <a:gd name="connsiteY5" fmla="*/ 194480 h 214884"/>
                  <a:gd name="connsiteX6" fmla="*/ 26634 w 190255"/>
                  <a:gd name="connsiteY6" fmla="*/ 67946 h 214884"/>
                  <a:gd name="connsiteX0" fmla="*/ 17439 w 193667"/>
                  <a:gd name="connsiteY0" fmla="*/ 67379 h 214890"/>
                  <a:gd name="connsiteX1" fmla="*/ 109947 w 193667"/>
                  <a:gd name="connsiteY1" fmla="*/ 68 h 214890"/>
                  <a:gd name="connsiteX2" fmla="*/ 175561 w 193667"/>
                  <a:gd name="connsiteY2" fmla="*/ 78624 h 214890"/>
                  <a:gd name="connsiteX3" fmla="*/ 182913 w 193667"/>
                  <a:gd name="connsiteY3" fmla="*/ 204011 h 214890"/>
                  <a:gd name="connsiteX4" fmla="*/ 93278 w 193667"/>
                  <a:gd name="connsiteY4" fmla="*/ 207274 h 214890"/>
                  <a:gd name="connsiteX5" fmla="*/ 6700 w 193667"/>
                  <a:gd name="connsiteY5" fmla="*/ 194486 h 214890"/>
                  <a:gd name="connsiteX6" fmla="*/ 17439 w 193667"/>
                  <a:gd name="connsiteY6" fmla="*/ 67379 h 214890"/>
                  <a:gd name="connsiteX0" fmla="*/ 17439 w 184372"/>
                  <a:gd name="connsiteY0" fmla="*/ 67522 h 214367"/>
                  <a:gd name="connsiteX1" fmla="*/ 109947 w 184372"/>
                  <a:gd name="connsiteY1" fmla="*/ 211 h 214367"/>
                  <a:gd name="connsiteX2" fmla="*/ 140606 w 184372"/>
                  <a:gd name="connsiteY2" fmla="*/ 87936 h 214367"/>
                  <a:gd name="connsiteX3" fmla="*/ 182913 w 184372"/>
                  <a:gd name="connsiteY3" fmla="*/ 204154 h 214367"/>
                  <a:gd name="connsiteX4" fmla="*/ 93278 w 184372"/>
                  <a:gd name="connsiteY4" fmla="*/ 207417 h 214367"/>
                  <a:gd name="connsiteX5" fmla="*/ 6700 w 184372"/>
                  <a:gd name="connsiteY5" fmla="*/ 194629 h 214367"/>
                  <a:gd name="connsiteX6" fmla="*/ 17439 w 184372"/>
                  <a:gd name="connsiteY6" fmla="*/ 67522 h 214367"/>
                  <a:gd name="connsiteX0" fmla="*/ 30462 w 180204"/>
                  <a:gd name="connsiteY0" fmla="*/ 79944 h 214182"/>
                  <a:gd name="connsiteX1" fmla="*/ 105779 w 180204"/>
                  <a:gd name="connsiteY1" fmla="*/ 26 h 214182"/>
                  <a:gd name="connsiteX2" fmla="*/ 136438 w 180204"/>
                  <a:gd name="connsiteY2" fmla="*/ 87751 h 214182"/>
                  <a:gd name="connsiteX3" fmla="*/ 178745 w 180204"/>
                  <a:gd name="connsiteY3" fmla="*/ 203969 h 214182"/>
                  <a:gd name="connsiteX4" fmla="*/ 89110 w 180204"/>
                  <a:gd name="connsiteY4" fmla="*/ 207232 h 214182"/>
                  <a:gd name="connsiteX5" fmla="*/ 2532 w 180204"/>
                  <a:gd name="connsiteY5" fmla="*/ 194444 h 214182"/>
                  <a:gd name="connsiteX6" fmla="*/ 30462 w 180204"/>
                  <a:gd name="connsiteY6" fmla="*/ 79944 h 214182"/>
                  <a:gd name="connsiteX0" fmla="*/ 30462 w 180774"/>
                  <a:gd name="connsiteY0" fmla="*/ 79988 h 215671"/>
                  <a:gd name="connsiteX1" fmla="*/ 105779 w 180774"/>
                  <a:gd name="connsiteY1" fmla="*/ 70 h 215671"/>
                  <a:gd name="connsiteX2" fmla="*/ 141786 w 180774"/>
                  <a:gd name="connsiteY2" fmla="*/ 67930 h 215671"/>
                  <a:gd name="connsiteX3" fmla="*/ 178745 w 180774"/>
                  <a:gd name="connsiteY3" fmla="*/ 204013 h 215671"/>
                  <a:gd name="connsiteX4" fmla="*/ 89110 w 180774"/>
                  <a:gd name="connsiteY4" fmla="*/ 207276 h 215671"/>
                  <a:gd name="connsiteX5" fmla="*/ 2532 w 180774"/>
                  <a:gd name="connsiteY5" fmla="*/ 194488 h 215671"/>
                  <a:gd name="connsiteX6" fmla="*/ 30462 w 180774"/>
                  <a:gd name="connsiteY6" fmla="*/ 79988 h 215671"/>
                  <a:gd name="connsiteX0" fmla="*/ 30462 w 182797"/>
                  <a:gd name="connsiteY0" fmla="*/ 79988 h 215671"/>
                  <a:gd name="connsiteX1" fmla="*/ 105779 w 182797"/>
                  <a:gd name="connsiteY1" fmla="*/ 70 h 215671"/>
                  <a:gd name="connsiteX2" fmla="*/ 141786 w 182797"/>
                  <a:gd name="connsiteY2" fmla="*/ 67930 h 215671"/>
                  <a:gd name="connsiteX3" fmla="*/ 178745 w 182797"/>
                  <a:gd name="connsiteY3" fmla="*/ 204013 h 215671"/>
                  <a:gd name="connsiteX4" fmla="*/ 89110 w 182797"/>
                  <a:gd name="connsiteY4" fmla="*/ 207276 h 215671"/>
                  <a:gd name="connsiteX5" fmla="*/ 2532 w 182797"/>
                  <a:gd name="connsiteY5" fmla="*/ 194488 h 215671"/>
                  <a:gd name="connsiteX6" fmla="*/ 30462 w 182797"/>
                  <a:gd name="connsiteY6" fmla="*/ 79988 h 215671"/>
                  <a:gd name="connsiteX0" fmla="*/ 30462 w 182797"/>
                  <a:gd name="connsiteY0" fmla="*/ 79988 h 215671"/>
                  <a:gd name="connsiteX1" fmla="*/ 105779 w 182797"/>
                  <a:gd name="connsiteY1" fmla="*/ 70 h 215671"/>
                  <a:gd name="connsiteX2" fmla="*/ 141786 w 182797"/>
                  <a:gd name="connsiteY2" fmla="*/ 67930 h 215671"/>
                  <a:gd name="connsiteX3" fmla="*/ 178745 w 182797"/>
                  <a:gd name="connsiteY3" fmla="*/ 204013 h 215671"/>
                  <a:gd name="connsiteX4" fmla="*/ 89110 w 182797"/>
                  <a:gd name="connsiteY4" fmla="*/ 207276 h 215671"/>
                  <a:gd name="connsiteX5" fmla="*/ 2532 w 182797"/>
                  <a:gd name="connsiteY5" fmla="*/ 194488 h 215671"/>
                  <a:gd name="connsiteX6" fmla="*/ 30462 w 182797"/>
                  <a:gd name="connsiteY6" fmla="*/ 79988 h 215671"/>
                  <a:gd name="connsiteX0" fmla="*/ 30462 w 180242"/>
                  <a:gd name="connsiteY0" fmla="*/ 80131 h 216373"/>
                  <a:gd name="connsiteX1" fmla="*/ 105779 w 180242"/>
                  <a:gd name="connsiteY1" fmla="*/ 213 h 216373"/>
                  <a:gd name="connsiteX2" fmla="*/ 147134 w 180242"/>
                  <a:gd name="connsiteY2" fmla="*/ 60433 h 216373"/>
                  <a:gd name="connsiteX3" fmla="*/ 178745 w 180242"/>
                  <a:gd name="connsiteY3" fmla="*/ 204156 h 216373"/>
                  <a:gd name="connsiteX4" fmla="*/ 89110 w 180242"/>
                  <a:gd name="connsiteY4" fmla="*/ 207419 h 216373"/>
                  <a:gd name="connsiteX5" fmla="*/ 2532 w 180242"/>
                  <a:gd name="connsiteY5" fmla="*/ 194631 h 216373"/>
                  <a:gd name="connsiteX6" fmla="*/ 30462 w 180242"/>
                  <a:gd name="connsiteY6" fmla="*/ 80131 h 216373"/>
                  <a:gd name="connsiteX0" fmla="*/ 32441 w 179929"/>
                  <a:gd name="connsiteY0" fmla="*/ 67727 h 216194"/>
                  <a:gd name="connsiteX1" fmla="*/ 105466 w 179929"/>
                  <a:gd name="connsiteY1" fmla="*/ 34 h 216194"/>
                  <a:gd name="connsiteX2" fmla="*/ 146821 w 179929"/>
                  <a:gd name="connsiteY2" fmla="*/ 60254 h 216194"/>
                  <a:gd name="connsiteX3" fmla="*/ 178432 w 179929"/>
                  <a:gd name="connsiteY3" fmla="*/ 203977 h 216194"/>
                  <a:gd name="connsiteX4" fmla="*/ 88797 w 179929"/>
                  <a:gd name="connsiteY4" fmla="*/ 207240 h 216194"/>
                  <a:gd name="connsiteX5" fmla="*/ 2219 w 179929"/>
                  <a:gd name="connsiteY5" fmla="*/ 194452 h 216194"/>
                  <a:gd name="connsiteX6" fmla="*/ 32441 w 179929"/>
                  <a:gd name="connsiteY6" fmla="*/ 67727 h 216194"/>
                  <a:gd name="connsiteX0" fmla="*/ 43958 w 191446"/>
                  <a:gd name="connsiteY0" fmla="*/ 67727 h 216194"/>
                  <a:gd name="connsiteX1" fmla="*/ 116983 w 191446"/>
                  <a:gd name="connsiteY1" fmla="*/ 34 h 216194"/>
                  <a:gd name="connsiteX2" fmla="*/ 158338 w 191446"/>
                  <a:gd name="connsiteY2" fmla="*/ 60254 h 216194"/>
                  <a:gd name="connsiteX3" fmla="*/ 189949 w 191446"/>
                  <a:gd name="connsiteY3" fmla="*/ 203977 h 216194"/>
                  <a:gd name="connsiteX4" fmla="*/ 100314 w 191446"/>
                  <a:gd name="connsiteY4" fmla="*/ 207240 h 216194"/>
                  <a:gd name="connsiteX5" fmla="*/ 13736 w 191446"/>
                  <a:gd name="connsiteY5" fmla="*/ 194452 h 216194"/>
                  <a:gd name="connsiteX6" fmla="*/ 43958 w 191446"/>
                  <a:gd name="connsiteY6" fmla="*/ 67727 h 216194"/>
                  <a:gd name="connsiteX0" fmla="*/ 32441 w 179929"/>
                  <a:gd name="connsiteY0" fmla="*/ 63115 h 216166"/>
                  <a:gd name="connsiteX1" fmla="*/ 105466 w 179929"/>
                  <a:gd name="connsiteY1" fmla="*/ 6 h 216166"/>
                  <a:gd name="connsiteX2" fmla="*/ 146821 w 179929"/>
                  <a:gd name="connsiteY2" fmla="*/ 60226 h 216166"/>
                  <a:gd name="connsiteX3" fmla="*/ 178432 w 179929"/>
                  <a:gd name="connsiteY3" fmla="*/ 203949 h 216166"/>
                  <a:gd name="connsiteX4" fmla="*/ 88797 w 179929"/>
                  <a:gd name="connsiteY4" fmla="*/ 207212 h 216166"/>
                  <a:gd name="connsiteX5" fmla="*/ 2219 w 179929"/>
                  <a:gd name="connsiteY5" fmla="*/ 194424 h 216166"/>
                  <a:gd name="connsiteX6" fmla="*/ 32441 w 179929"/>
                  <a:gd name="connsiteY6" fmla="*/ 63115 h 216166"/>
                  <a:gd name="connsiteX0" fmla="*/ 31406 w 178894"/>
                  <a:gd name="connsiteY0" fmla="*/ 63115 h 216166"/>
                  <a:gd name="connsiteX1" fmla="*/ 104431 w 178894"/>
                  <a:gd name="connsiteY1" fmla="*/ 6 h 216166"/>
                  <a:gd name="connsiteX2" fmla="*/ 145786 w 178894"/>
                  <a:gd name="connsiteY2" fmla="*/ 60226 h 216166"/>
                  <a:gd name="connsiteX3" fmla="*/ 177397 w 178894"/>
                  <a:gd name="connsiteY3" fmla="*/ 203949 h 216166"/>
                  <a:gd name="connsiteX4" fmla="*/ 87762 w 178894"/>
                  <a:gd name="connsiteY4" fmla="*/ 207212 h 216166"/>
                  <a:gd name="connsiteX5" fmla="*/ 1184 w 178894"/>
                  <a:gd name="connsiteY5" fmla="*/ 194424 h 216166"/>
                  <a:gd name="connsiteX6" fmla="*/ 31406 w 178894"/>
                  <a:gd name="connsiteY6" fmla="*/ 63115 h 216166"/>
                  <a:gd name="connsiteX0" fmla="*/ 32998 w 180486"/>
                  <a:gd name="connsiteY0" fmla="*/ 63115 h 216166"/>
                  <a:gd name="connsiteX1" fmla="*/ 106023 w 180486"/>
                  <a:gd name="connsiteY1" fmla="*/ 6 h 216166"/>
                  <a:gd name="connsiteX2" fmla="*/ 147378 w 180486"/>
                  <a:gd name="connsiteY2" fmla="*/ 60226 h 216166"/>
                  <a:gd name="connsiteX3" fmla="*/ 178989 w 180486"/>
                  <a:gd name="connsiteY3" fmla="*/ 203949 h 216166"/>
                  <a:gd name="connsiteX4" fmla="*/ 89354 w 180486"/>
                  <a:gd name="connsiteY4" fmla="*/ 207212 h 216166"/>
                  <a:gd name="connsiteX5" fmla="*/ 2776 w 180486"/>
                  <a:gd name="connsiteY5" fmla="*/ 194424 h 216166"/>
                  <a:gd name="connsiteX6" fmla="*/ 32998 w 180486"/>
                  <a:gd name="connsiteY6" fmla="*/ 63115 h 216166"/>
                  <a:gd name="connsiteX0" fmla="*/ 32998 w 181606"/>
                  <a:gd name="connsiteY0" fmla="*/ 63115 h 216166"/>
                  <a:gd name="connsiteX1" fmla="*/ 106023 w 181606"/>
                  <a:gd name="connsiteY1" fmla="*/ 6 h 216166"/>
                  <a:gd name="connsiteX2" fmla="*/ 147378 w 181606"/>
                  <a:gd name="connsiteY2" fmla="*/ 60226 h 216166"/>
                  <a:gd name="connsiteX3" fmla="*/ 178989 w 181606"/>
                  <a:gd name="connsiteY3" fmla="*/ 203949 h 216166"/>
                  <a:gd name="connsiteX4" fmla="*/ 89354 w 181606"/>
                  <a:gd name="connsiteY4" fmla="*/ 207212 h 216166"/>
                  <a:gd name="connsiteX5" fmla="*/ 2776 w 181606"/>
                  <a:gd name="connsiteY5" fmla="*/ 194424 h 216166"/>
                  <a:gd name="connsiteX6" fmla="*/ 32998 w 181606"/>
                  <a:gd name="connsiteY6" fmla="*/ 63115 h 21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606" h="216166">
                    <a:moveTo>
                      <a:pt x="32998" y="63115"/>
                    </a:moveTo>
                    <a:cubicBezTo>
                      <a:pt x="22700" y="21543"/>
                      <a:pt x="86960" y="488"/>
                      <a:pt x="106023" y="6"/>
                    </a:cubicBezTo>
                    <a:cubicBezTo>
                      <a:pt x="125086" y="-476"/>
                      <a:pt x="133589" y="31968"/>
                      <a:pt x="147378" y="60226"/>
                    </a:cubicBezTo>
                    <a:cubicBezTo>
                      <a:pt x="148368" y="87147"/>
                      <a:pt x="161154" y="179451"/>
                      <a:pt x="178989" y="203949"/>
                    </a:cubicBezTo>
                    <a:cubicBezTo>
                      <a:pt x="196824" y="228447"/>
                      <a:pt x="118723" y="208799"/>
                      <a:pt x="89354" y="207212"/>
                    </a:cubicBezTo>
                    <a:cubicBezTo>
                      <a:pt x="59985" y="205625"/>
                      <a:pt x="-15337" y="218440"/>
                      <a:pt x="2776" y="194424"/>
                    </a:cubicBezTo>
                    <a:cubicBezTo>
                      <a:pt x="20889" y="170408"/>
                      <a:pt x="43296" y="104687"/>
                      <a:pt x="32998" y="63115"/>
                    </a:cubicBezTo>
                    <a:close/>
                  </a:path>
                </a:pathLst>
              </a:custGeom>
              <a:solidFill>
                <a:schemeClr val="bg1">
                  <a:lumMod val="85000"/>
                </a:schemeClr>
              </a:solidFill>
              <a:ln w="9525">
                <a:noFill/>
                <a:round/>
                <a:headEnd/>
                <a:tailEnd/>
              </a:ln>
            </p:spPr>
            <p:txBody>
              <a:bodyPr vert="horz" wrap="square" lIns="91417" tIns="45707" rIns="91417" bIns="45707"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50">
                  <a:defRPr/>
                </a:pPr>
                <a:endParaRPr lang="en-US" sz="1799" kern="0" dirty="0" err="1">
                  <a:solidFill>
                    <a:srgbClr val="505050"/>
                  </a:solidFill>
                  <a:latin typeface="Segoe UI"/>
                </a:endParaRPr>
              </a:p>
            </p:txBody>
          </p:sp>
          <p:sp>
            <p:nvSpPr>
              <p:cNvPr id="2456" name="Freeform: Shape 2455">
                <a:extLst>
                  <a:ext uri="{FF2B5EF4-FFF2-40B4-BE49-F238E27FC236}">
                    <a16:creationId xmlns:a16="http://schemas.microsoft.com/office/drawing/2014/main" id="{873FCAED-8D90-40A3-9736-B931B2E76CBE}"/>
                  </a:ext>
                </a:extLst>
              </p:cNvPr>
              <p:cNvSpPr/>
              <p:nvPr/>
            </p:nvSpPr>
            <p:spPr bwMode="auto">
              <a:xfrm>
                <a:off x="-1220254" y="6168349"/>
                <a:ext cx="345039" cy="48546"/>
              </a:xfrm>
              <a:custGeom>
                <a:avLst/>
                <a:gdLst>
                  <a:gd name="connsiteX0" fmla="*/ 0 w 16078200"/>
                  <a:gd name="connsiteY0" fmla="*/ 381000 h 381000"/>
                  <a:gd name="connsiteX1" fmla="*/ 1409700 w 16078200"/>
                  <a:gd name="connsiteY1" fmla="*/ 0 h 381000"/>
                  <a:gd name="connsiteX2" fmla="*/ 14630400 w 16078200"/>
                  <a:gd name="connsiteY2" fmla="*/ 0 h 381000"/>
                  <a:gd name="connsiteX3" fmla="*/ 16078200 w 16078200"/>
                  <a:gd name="connsiteY3" fmla="*/ 228600 h 381000"/>
                  <a:gd name="connsiteX4" fmla="*/ 0 w 16078200"/>
                  <a:gd name="connsiteY4" fmla="*/ 381000 h 381000"/>
                  <a:gd name="connsiteX0" fmla="*/ 0 w 15845972"/>
                  <a:gd name="connsiteY0" fmla="*/ 351972 h 351972"/>
                  <a:gd name="connsiteX1" fmla="*/ 1177472 w 15845972"/>
                  <a:gd name="connsiteY1" fmla="*/ 0 h 351972"/>
                  <a:gd name="connsiteX2" fmla="*/ 14398172 w 15845972"/>
                  <a:gd name="connsiteY2" fmla="*/ 0 h 351972"/>
                  <a:gd name="connsiteX3" fmla="*/ 15845972 w 15845972"/>
                  <a:gd name="connsiteY3" fmla="*/ 228600 h 351972"/>
                  <a:gd name="connsiteX4" fmla="*/ 0 w 15845972"/>
                  <a:gd name="connsiteY4" fmla="*/ 351972 h 351972"/>
                  <a:gd name="connsiteX0" fmla="*/ 0 w 15845972"/>
                  <a:gd name="connsiteY0" fmla="*/ 351972 h 1504713"/>
                  <a:gd name="connsiteX1" fmla="*/ 1177472 w 15845972"/>
                  <a:gd name="connsiteY1" fmla="*/ 0 h 1504713"/>
                  <a:gd name="connsiteX2" fmla="*/ 14398172 w 15845972"/>
                  <a:gd name="connsiteY2" fmla="*/ 0 h 1504713"/>
                  <a:gd name="connsiteX3" fmla="*/ 15845972 w 15845972"/>
                  <a:gd name="connsiteY3" fmla="*/ 228600 h 1504713"/>
                  <a:gd name="connsiteX4" fmla="*/ 0 w 15845972"/>
                  <a:gd name="connsiteY4" fmla="*/ 351972 h 1504713"/>
                  <a:gd name="connsiteX0" fmla="*/ 0 w 15845972"/>
                  <a:gd name="connsiteY0" fmla="*/ 351972 h 1650915"/>
                  <a:gd name="connsiteX1" fmla="*/ 1177472 w 15845972"/>
                  <a:gd name="connsiteY1" fmla="*/ 0 h 1650915"/>
                  <a:gd name="connsiteX2" fmla="*/ 14398172 w 15845972"/>
                  <a:gd name="connsiteY2" fmla="*/ 0 h 1650915"/>
                  <a:gd name="connsiteX3" fmla="*/ 15845972 w 15845972"/>
                  <a:gd name="connsiteY3" fmla="*/ 228600 h 1650915"/>
                  <a:gd name="connsiteX4" fmla="*/ 0 w 15845972"/>
                  <a:gd name="connsiteY4" fmla="*/ 351972 h 1650915"/>
                  <a:gd name="connsiteX0" fmla="*/ 0 w 15845972"/>
                  <a:gd name="connsiteY0" fmla="*/ 351972 h 1542074"/>
                  <a:gd name="connsiteX1" fmla="*/ 1177472 w 15845972"/>
                  <a:gd name="connsiteY1" fmla="*/ 0 h 1542074"/>
                  <a:gd name="connsiteX2" fmla="*/ 14398172 w 15845972"/>
                  <a:gd name="connsiteY2" fmla="*/ 0 h 1542074"/>
                  <a:gd name="connsiteX3" fmla="*/ 15845972 w 15845972"/>
                  <a:gd name="connsiteY3" fmla="*/ 228600 h 1542074"/>
                  <a:gd name="connsiteX4" fmla="*/ 0 w 15845972"/>
                  <a:gd name="connsiteY4" fmla="*/ 351972 h 1542074"/>
                  <a:gd name="connsiteX0" fmla="*/ 0 w 15845972"/>
                  <a:gd name="connsiteY0" fmla="*/ 351972 h 1661170"/>
                  <a:gd name="connsiteX1" fmla="*/ 1177472 w 15845972"/>
                  <a:gd name="connsiteY1" fmla="*/ 0 h 1661170"/>
                  <a:gd name="connsiteX2" fmla="*/ 14398172 w 15845972"/>
                  <a:gd name="connsiteY2" fmla="*/ 0 h 1661170"/>
                  <a:gd name="connsiteX3" fmla="*/ 15845972 w 15845972"/>
                  <a:gd name="connsiteY3" fmla="*/ 228600 h 1661170"/>
                  <a:gd name="connsiteX4" fmla="*/ 0 w 15845972"/>
                  <a:gd name="connsiteY4" fmla="*/ 351972 h 1661170"/>
                  <a:gd name="connsiteX0" fmla="*/ 0 w 15889515"/>
                  <a:gd name="connsiteY0" fmla="*/ 366486 h 1670566"/>
                  <a:gd name="connsiteX1" fmla="*/ 1221015 w 15889515"/>
                  <a:gd name="connsiteY1" fmla="*/ 0 h 1670566"/>
                  <a:gd name="connsiteX2" fmla="*/ 14441715 w 15889515"/>
                  <a:gd name="connsiteY2" fmla="*/ 0 h 1670566"/>
                  <a:gd name="connsiteX3" fmla="*/ 15889515 w 15889515"/>
                  <a:gd name="connsiteY3" fmla="*/ 228600 h 1670566"/>
                  <a:gd name="connsiteX4" fmla="*/ 0 w 15889515"/>
                  <a:gd name="connsiteY4" fmla="*/ 366486 h 1670566"/>
                  <a:gd name="connsiteX0" fmla="*/ 0 w 15889515"/>
                  <a:gd name="connsiteY0" fmla="*/ 366486 h 1670566"/>
                  <a:gd name="connsiteX1" fmla="*/ 1221015 w 15889515"/>
                  <a:gd name="connsiteY1" fmla="*/ 58057 h 1670566"/>
                  <a:gd name="connsiteX2" fmla="*/ 14441715 w 15889515"/>
                  <a:gd name="connsiteY2" fmla="*/ 0 h 1670566"/>
                  <a:gd name="connsiteX3" fmla="*/ 15889515 w 15889515"/>
                  <a:gd name="connsiteY3" fmla="*/ 228600 h 1670566"/>
                  <a:gd name="connsiteX4" fmla="*/ 0 w 15889515"/>
                  <a:gd name="connsiteY4" fmla="*/ 366486 h 1670566"/>
                  <a:gd name="connsiteX0" fmla="*/ 0 w 15889515"/>
                  <a:gd name="connsiteY0" fmla="*/ 366486 h 1670566"/>
                  <a:gd name="connsiteX1" fmla="*/ 1221015 w 15889515"/>
                  <a:gd name="connsiteY1" fmla="*/ 58057 h 1670566"/>
                  <a:gd name="connsiteX2" fmla="*/ 14441715 w 15889515"/>
                  <a:gd name="connsiteY2" fmla="*/ 0 h 1670566"/>
                  <a:gd name="connsiteX3" fmla="*/ 15889515 w 15889515"/>
                  <a:gd name="connsiteY3" fmla="*/ 228600 h 1670566"/>
                  <a:gd name="connsiteX4" fmla="*/ 0 w 15889515"/>
                  <a:gd name="connsiteY4" fmla="*/ 366486 h 1670566"/>
                  <a:gd name="connsiteX0" fmla="*/ 0 w 15889515"/>
                  <a:gd name="connsiteY0" fmla="*/ 366486 h 1670566"/>
                  <a:gd name="connsiteX1" fmla="*/ 1221015 w 15889515"/>
                  <a:gd name="connsiteY1" fmla="*/ 58057 h 1670566"/>
                  <a:gd name="connsiteX2" fmla="*/ 14441715 w 15889515"/>
                  <a:gd name="connsiteY2" fmla="*/ 0 h 1670566"/>
                  <a:gd name="connsiteX3" fmla="*/ 15889515 w 15889515"/>
                  <a:gd name="connsiteY3" fmla="*/ 228600 h 1670566"/>
                  <a:gd name="connsiteX4" fmla="*/ 0 w 15889515"/>
                  <a:gd name="connsiteY4" fmla="*/ 366486 h 1670566"/>
                  <a:gd name="connsiteX0" fmla="*/ 0 w 15947572"/>
                  <a:gd name="connsiteY0" fmla="*/ 366486 h 1680835"/>
                  <a:gd name="connsiteX1" fmla="*/ 1221015 w 15947572"/>
                  <a:gd name="connsiteY1" fmla="*/ 58057 h 1680835"/>
                  <a:gd name="connsiteX2" fmla="*/ 14441715 w 15947572"/>
                  <a:gd name="connsiteY2" fmla="*/ 0 h 1680835"/>
                  <a:gd name="connsiteX3" fmla="*/ 15947572 w 15947572"/>
                  <a:gd name="connsiteY3" fmla="*/ 257628 h 1680835"/>
                  <a:gd name="connsiteX4" fmla="*/ 0 w 15947572"/>
                  <a:gd name="connsiteY4" fmla="*/ 366486 h 1680835"/>
                  <a:gd name="connsiteX0" fmla="*/ 29935 w 14726556"/>
                  <a:gd name="connsiteY0" fmla="*/ 1389998 h 2411411"/>
                  <a:gd name="connsiteX1" fmla="*/ -1 w 14726556"/>
                  <a:gd name="connsiteY1" fmla="*/ 58057 h 2411411"/>
                  <a:gd name="connsiteX2" fmla="*/ 13220699 w 14726556"/>
                  <a:gd name="connsiteY2" fmla="*/ 0 h 2411411"/>
                  <a:gd name="connsiteX3" fmla="*/ 14726556 w 14726556"/>
                  <a:gd name="connsiteY3" fmla="*/ 257628 h 2411411"/>
                  <a:gd name="connsiteX4" fmla="*/ 29935 w 14726556"/>
                  <a:gd name="connsiteY4" fmla="*/ 1389998 h 2411411"/>
                  <a:gd name="connsiteX0" fmla="*/ 29935 w 13220701"/>
                  <a:gd name="connsiteY0" fmla="*/ 1389998 h 2684357"/>
                  <a:gd name="connsiteX1" fmla="*/ -1 w 13220701"/>
                  <a:gd name="connsiteY1" fmla="*/ 58057 h 2684357"/>
                  <a:gd name="connsiteX2" fmla="*/ 13220699 w 13220701"/>
                  <a:gd name="connsiteY2" fmla="*/ 0 h 2684357"/>
                  <a:gd name="connsiteX3" fmla="*/ 12224654 w 13220701"/>
                  <a:gd name="connsiteY3" fmla="*/ 1224280 h 2684357"/>
                  <a:gd name="connsiteX4" fmla="*/ 29935 w 13220701"/>
                  <a:gd name="connsiteY4" fmla="*/ 1389998 h 2684357"/>
                  <a:gd name="connsiteX0" fmla="*/ 29935 w 12224655"/>
                  <a:gd name="connsiteY0" fmla="*/ 1331941 h 2626300"/>
                  <a:gd name="connsiteX1" fmla="*/ -1 w 12224655"/>
                  <a:gd name="connsiteY1" fmla="*/ 0 h 2626300"/>
                  <a:gd name="connsiteX2" fmla="*/ 11969750 w 12224655"/>
                  <a:gd name="connsiteY2" fmla="*/ 339976 h 2626300"/>
                  <a:gd name="connsiteX3" fmla="*/ 12224654 w 12224655"/>
                  <a:gd name="connsiteY3" fmla="*/ 1166223 h 2626300"/>
                  <a:gd name="connsiteX4" fmla="*/ 29935 w 12224655"/>
                  <a:gd name="connsiteY4" fmla="*/ 1331941 h 2626300"/>
                  <a:gd name="connsiteX0" fmla="*/ 0 w 12194720"/>
                  <a:gd name="connsiteY0" fmla="*/ 1161356 h 2455715"/>
                  <a:gd name="connsiteX1" fmla="*/ 481818 w 12194720"/>
                  <a:gd name="connsiteY1" fmla="*/ 0 h 2455715"/>
                  <a:gd name="connsiteX2" fmla="*/ 11939815 w 12194720"/>
                  <a:gd name="connsiteY2" fmla="*/ 169391 h 2455715"/>
                  <a:gd name="connsiteX3" fmla="*/ 12194719 w 12194720"/>
                  <a:gd name="connsiteY3" fmla="*/ 995638 h 2455715"/>
                  <a:gd name="connsiteX4" fmla="*/ 0 w 12194720"/>
                  <a:gd name="connsiteY4" fmla="*/ 1161356 h 2455715"/>
                  <a:gd name="connsiteX0" fmla="*/ 0 w 12194720"/>
                  <a:gd name="connsiteY0" fmla="*/ 991966 h 2286325"/>
                  <a:gd name="connsiteX1" fmla="*/ 709263 w 12194720"/>
                  <a:gd name="connsiteY1" fmla="*/ 456090 h 2286325"/>
                  <a:gd name="connsiteX2" fmla="*/ 11939815 w 12194720"/>
                  <a:gd name="connsiteY2" fmla="*/ 1 h 2286325"/>
                  <a:gd name="connsiteX3" fmla="*/ 12194719 w 12194720"/>
                  <a:gd name="connsiteY3" fmla="*/ 826248 h 2286325"/>
                  <a:gd name="connsiteX4" fmla="*/ 0 w 12194720"/>
                  <a:gd name="connsiteY4" fmla="*/ 991966 h 2286325"/>
                  <a:gd name="connsiteX0" fmla="*/ 0 w 12311998"/>
                  <a:gd name="connsiteY0" fmla="*/ 885352 h 2217621"/>
                  <a:gd name="connsiteX1" fmla="*/ 826541 w 12311998"/>
                  <a:gd name="connsiteY1" fmla="*/ 456090 h 2217621"/>
                  <a:gd name="connsiteX2" fmla="*/ 12057093 w 12311998"/>
                  <a:gd name="connsiteY2" fmla="*/ 1 h 2217621"/>
                  <a:gd name="connsiteX3" fmla="*/ 12311997 w 12311998"/>
                  <a:gd name="connsiteY3" fmla="*/ 826248 h 2217621"/>
                  <a:gd name="connsiteX4" fmla="*/ 0 w 12311998"/>
                  <a:gd name="connsiteY4" fmla="*/ 885352 h 2217621"/>
                  <a:gd name="connsiteX0" fmla="*/ 0 w 12311998"/>
                  <a:gd name="connsiteY0" fmla="*/ 885352 h 2217621"/>
                  <a:gd name="connsiteX1" fmla="*/ 783895 w 12311998"/>
                  <a:gd name="connsiteY1" fmla="*/ 530723 h 2217621"/>
                  <a:gd name="connsiteX2" fmla="*/ 12057093 w 12311998"/>
                  <a:gd name="connsiteY2" fmla="*/ 1 h 2217621"/>
                  <a:gd name="connsiteX3" fmla="*/ 12311997 w 12311998"/>
                  <a:gd name="connsiteY3" fmla="*/ 826248 h 2217621"/>
                  <a:gd name="connsiteX4" fmla="*/ 0 w 12311998"/>
                  <a:gd name="connsiteY4" fmla="*/ 885352 h 2217621"/>
                  <a:gd name="connsiteX0" fmla="*/ 0 w 12311998"/>
                  <a:gd name="connsiteY0" fmla="*/ 416242 h 1748511"/>
                  <a:gd name="connsiteX1" fmla="*/ 783895 w 12311998"/>
                  <a:gd name="connsiteY1" fmla="*/ 61613 h 1748511"/>
                  <a:gd name="connsiteX2" fmla="*/ 11811877 w 12311998"/>
                  <a:gd name="connsiteY2" fmla="*/ 0 h 1748511"/>
                  <a:gd name="connsiteX3" fmla="*/ 12311997 w 12311998"/>
                  <a:gd name="connsiteY3" fmla="*/ 357138 h 1748511"/>
                  <a:gd name="connsiteX4" fmla="*/ 0 w 12311998"/>
                  <a:gd name="connsiteY4" fmla="*/ 416242 h 1748511"/>
                  <a:gd name="connsiteX0" fmla="*/ 0 w 12482582"/>
                  <a:gd name="connsiteY0" fmla="*/ 416242 h 1721781"/>
                  <a:gd name="connsiteX1" fmla="*/ 783895 w 12482582"/>
                  <a:gd name="connsiteY1" fmla="*/ 61613 h 1721781"/>
                  <a:gd name="connsiteX2" fmla="*/ 11811877 w 12482582"/>
                  <a:gd name="connsiteY2" fmla="*/ 0 h 1721781"/>
                  <a:gd name="connsiteX3" fmla="*/ 12482582 w 12482582"/>
                  <a:gd name="connsiteY3" fmla="*/ 282505 h 1721781"/>
                  <a:gd name="connsiteX4" fmla="*/ 0 w 12482582"/>
                  <a:gd name="connsiteY4" fmla="*/ 416242 h 1721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582" h="1721781">
                    <a:moveTo>
                      <a:pt x="0" y="416242"/>
                    </a:moveTo>
                    <a:lnTo>
                      <a:pt x="783895" y="61613"/>
                    </a:lnTo>
                    <a:cubicBezTo>
                      <a:pt x="5161767" y="1493689"/>
                      <a:pt x="9320862" y="832152"/>
                      <a:pt x="11811877" y="0"/>
                    </a:cubicBezTo>
                    <a:lnTo>
                      <a:pt x="12482582" y="282505"/>
                    </a:lnTo>
                    <a:cubicBezTo>
                      <a:pt x="10379219" y="1383172"/>
                      <a:pt x="6472163" y="2813518"/>
                      <a:pt x="0" y="416242"/>
                    </a:cubicBezTo>
                    <a:close/>
                  </a:path>
                </a:pathLst>
              </a:cu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57" name="Freeform 929">
                <a:extLst>
                  <a:ext uri="{FF2B5EF4-FFF2-40B4-BE49-F238E27FC236}">
                    <a16:creationId xmlns:a16="http://schemas.microsoft.com/office/drawing/2014/main" id="{73716EF7-47A6-4B5B-ABF8-BFFDB1BFF546}"/>
                  </a:ext>
                </a:extLst>
              </p:cNvPr>
              <p:cNvSpPr>
                <a:spLocks/>
              </p:cNvSpPr>
              <p:nvPr/>
            </p:nvSpPr>
            <p:spPr bwMode="auto">
              <a:xfrm>
                <a:off x="-1444290" y="6175251"/>
                <a:ext cx="784607" cy="708148"/>
              </a:xfrm>
              <a:custGeom>
                <a:avLst/>
                <a:gdLst>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29379 w 553405"/>
                  <a:gd name="connsiteY52" fmla="*/ 17047 h 551547"/>
                  <a:gd name="connsiteX53" fmla="*/ 142943 w 553405"/>
                  <a:gd name="connsiteY53" fmla="*/ 13520 h 551547"/>
                  <a:gd name="connsiteX54" fmla="*/ 157028 w 553405"/>
                  <a:gd name="connsiteY54" fmla="*/ 10581 h 551547"/>
                  <a:gd name="connsiteX55" fmla="*/ 171114 w 553405"/>
                  <a:gd name="connsiteY55" fmla="*/ 8230 h 551547"/>
                  <a:gd name="connsiteX56" fmla="*/ 189894 w 553405"/>
                  <a:gd name="connsiteY56" fmla="*/ 5291 h 551547"/>
                  <a:gd name="connsiteX57" fmla="*/ 209197 w 553405"/>
                  <a:gd name="connsiteY57" fmla="*/ 3527 h 551547"/>
                  <a:gd name="connsiteX58" fmla="*/ 227977 w 553405"/>
                  <a:gd name="connsiteY58" fmla="*/ 1764 h 551547"/>
                  <a:gd name="connsiteX59" fmla="*/ 246758 w 553405"/>
                  <a:gd name="connsiteY59" fmla="*/ 588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42943 w 553405"/>
                  <a:gd name="connsiteY52" fmla="*/ 13520 h 551547"/>
                  <a:gd name="connsiteX53" fmla="*/ 157028 w 553405"/>
                  <a:gd name="connsiteY53" fmla="*/ 10581 h 551547"/>
                  <a:gd name="connsiteX54" fmla="*/ 171114 w 553405"/>
                  <a:gd name="connsiteY54" fmla="*/ 8230 h 551547"/>
                  <a:gd name="connsiteX55" fmla="*/ 189894 w 553405"/>
                  <a:gd name="connsiteY55" fmla="*/ 5291 h 551547"/>
                  <a:gd name="connsiteX56" fmla="*/ 209197 w 553405"/>
                  <a:gd name="connsiteY56" fmla="*/ 3527 h 551547"/>
                  <a:gd name="connsiteX57" fmla="*/ 227977 w 553405"/>
                  <a:gd name="connsiteY57" fmla="*/ 1764 h 551547"/>
                  <a:gd name="connsiteX58" fmla="*/ 246758 w 553405"/>
                  <a:gd name="connsiteY58" fmla="*/ 588 h 551547"/>
                  <a:gd name="connsiteX59" fmla="*/ 265539 w 553405"/>
                  <a:gd name="connsiteY59"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57028 w 553405"/>
                  <a:gd name="connsiteY52" fmla="*/ 10581 h 551547"/>
                  <a:gd name="connsiteX53" fmla="*/ 171114 w 553405"/>
                  <a:gd name="connsiteY53" fmla="*/ 8230 h 551547"/>
                  <a:gd name="connsiteX54" fmla="*/ 189894 w 553405"/>
                  <a:gd name="connsiteY54" fmla="*/ 5291 h 551547"/>
                  <a:gd name="connsiteX55" fmla="*/ 209197 w 553405"/>
                  <a:gd name="connsiteY55" fmla="*/ 3527 h 551547"/>
                  <a:gd name="connsiteX56" fmla="*/ 227977 w 553405"/>
                  <a:gd name="connsiteY56" fmla="*/ 1764 h 551547"/>
                  <a:gd name="connsiteX57" fmla="*/ 246758 w 553405"/>
                  <a:gd name="connsiteY57" fmla="*/ 588 h 551547"/>
                  <a:gd name="connsiteX58" fmla="*/ 265539 w 553405"/>
                  <a:gd name="connsiteY58"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71114 w 553405"/>
                  <a:gd name="connsiteY52" fmla="*/ 8230 h 551547"/>
                  <a:gd name="connsiteX53" fmla="*/ 189894 w 553405"/>
                  <a:gd name="connsiteY53" fmla="*/ 5291 h 551547"/>
                  <a:gd name="connsiteX54" fmla="*/ 209197 w 553405"/>
                  <a:gd name="connsiteY54" fmla="*/ 3527 h 551547"/>
                  <a:gd name="connsiteX55" fmla="*/ 227977 w 553405"/>
                  <a:gd name="connsiteY55" fmla="*/ 1764 h 551547"/>
                  <a:gd name="connsiteX56" fmla="*/ 246758 w 553405"/>
                  <a:gd name="connsiteY56" fmla="*/ 588 h 551547"/>
                  <a:gd name="connsiteX57" fmla="*/ 265539 w 553405"/>
                  <a:gd name="connsiteY57"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89894 w 553405"/>
                  <a:gd name="connsiteY52" fmla="*/ 5291 h 551547"/>
                  <a:gd name="connsiteX53" fmla="*/ 209197 w 553405"/>
                  <a:gd name="connsiteY53" fmla="*/ 3527 h 551547"/>
                  <a:gd name="connsiteX54" fmla="*/ 227977 w 553405"/>
                  <a:gd name="connsiteY54" fmla="*/ 1764 h 551547"/>
                  <a:gd name="connsiteX55" fmla="*/ 246758 w 553405"/>
                  <a:gd name="connsiteY55" fmla="*/ 588 h 551547"/>
                  <a:gd name="connsiteX56" fmla="*/ 265539 w 553405"/>
                  <a:gd name="connsiteY56"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09197 w 553405"/>
                  <a:gd name="connsiteY52" fmla="*/ 3527 h 551547"/>
                  <a:gd name="connsiteX53" fmla="*/ 227977 w 553405"/>
                  <a:gd name="connsiteY53" fmla="*/ 1764 h 551547"/>
                  <a:gd name="connsiteX54" fmla="*/ 246758 w 553405"/>
                  <a:gd name="connsiteY54" fmla="*/ 588 h 551547"/>
                  <a:gd name="connsiteX55" fmla="*/ 265539 w 553405"/>
                  <a:gd name="connsiteY55"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27977 w 553405"/>
                  <a:gd name="connsiteY52" fmla="*/ 1764 h 551547"/>
                  <a:gd name="connsiteX53" fmla="*/ 246758 w 553405"/>
                  <a:gd name="connsiteY53" fmla="*/ 588 h 551547"/>
                  <a:gd name="connsiteX54" fmla="*/ 265539 w 553405"/>
                  <a:gd name="connsiteY54"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46758 w 553405"/>
                  <a:gd name="connsiteY52" fmla="*/ 588 h 551547"/>
                  <a:gd name="connsiteX53" fmla="*/ 265539 w 553405"/>
                  <a:gd name="connsiteY53"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65539 w 553405"/>
                  <a:gd name="connsiteY52" fmla="*/ 0 h 551547"/>
                  <a:gd name="connsiteX0" fmla="*/ 115293 w 553405"/>
                  <a:gd name="connsiteY0" fmla="*/ 20574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0" fmla="*/ 115293 w 553405"/>
                  <a:gd name="connsiteY0" fmla="*/ 19986 h 550959"/>
                  <a:gd name="connsiteX1" fmla="*/ 303622 w 553405"/>
                  <a:gd name="connsiteY1" fmla="*/ 0 h 550959"/>
                  <a:gd name="connsiteX2" fmla="*/ 322925 w 553405"/>
                  <a:gd name="connsiteY2" fmla="*/ 1176 h 550959"/>
                  <a:gd name="connsiteX3" fmla="*/ 344835 w 553405"/>
                  <a:gd name="connsiteY3" fmla="*/ 2939 h 550959"/>
                  <a:gd name="connsiteX4" fmla="*/ 366746 w 553405"/>
                  <a:gd name="connsiteY4" fmla="*/ 5290 h 550959"/>
                  <a:gd name="connsiteX5" fmla="*/ 388657 w 553405"/>
                  <a:gd name="connsiteY5" fmla="*/ 8230 h 550959"/>
                  <a:gd name="connsiteX6" fmla="*/ 411090 w 553405"/>
                  <a:gd name="connsiteY6" fmla="*/ 12932 h 550959"/>
                  <a:gd name="connsiteX7" fmla="*/ 432479 w 553405"/>
                  <a:gd name="connsiteY7" fmla="*/ 18223 h 550959"/>
                  <a:gd name="connsiteX8" fmla="*/ 453868 w 553405"/>
                  <a:gd name="connsiteY8" fmla="*/ 24101 h 550959"/>
                  <a:gd name="connsiteX9" fmla="*/ 474735 w 553405"/>
                  <a:gd name="connsiteY9" fmla="*/ 31743 h 550959"/>
                  <a:gd name="connsiteX10" fmla="*/ 495603 w 553405"/>
                  <a:gd name="connsiteY10" fmla="*/ 40560 h 550959"/>
                  <a:gd name="connsiteX11" fmla="*/ 499776 w 553405"/>
                  <a:gd name="connsiteY11" fmla="*/ 42912 h 550959"/>
                  <a:gd name="connsiteX12" fmla="*/ 502907 w 553405"/>
                  <a:gd name="connsiteY12" fmla="*/ 45851 h 550959"/>
                  <a:gd name="connsiteX13" fmla="*/ 503950 w 553405"/>
                  <a:gd name="connsiteY13" fmla="*/ 47614 h 550959"/>
                  <a:gd name="connsiteX14" fmla="*/ 504993 w 553405"/>
                  <a:gd name="connsiteY14" fmla="*/ 49378 h 550959"/>
                  <a:gd name="connsiteX15" fmla="*/ 505515 w 553405"/>
                  <a:gd name="connsiteY15" fmla="*/ 51729 h 550959"/>
                  <a:gd name="connsiteX16" fmla="*/ 506037 w 553405"/>
                  <a:gd name="connsiteY16" fmla="*/ 55256 h 550959"/>
                  <a:gd name="connsiteX17" fmla="*/ 520122 w 553405"/>
                  <a:gd name="connsiteY17" fmla="*/ 170471 h 550959"/>
                  <a:gd name="connsiteX18" fmla="*/ 526904 w 553405"/>
                  <a:gd name="connsiteY18" fmla="*/ 228079 h 550959"/>
                  <a:gd name="connsiteX19" fmla="*/ 534208 w 553405"/>
                  <a:gd name="connsiteY19" fmla="*/ 286274 h 550959"/>
                  <a:gd name="connsiteX20" fmla="*/ 540990 w 553405"/>
                  <a:gd name="connsiteY20" fmla="*/ 352699 h 550959"/>
                  <a:gd name="connsiteX21" fmla="*/ 544120 w 553405"/>
                  <a:gd name="connsiteY21" fmla="*/ 386793 h 550959"/>
                  <a:gd name="connsiteX22" fmla="*/ 546728 w 553405"/>
                  <a:gd name="connsiteY22" fmla="*/ 419712 h 550959"/>
                  <a:gd name="connsiteX23" fmla="*/ 548815 w 553405"/>
                  <a:gd name="connsiteY23" fmla="*/ 453806 h 550959"/>
                  <a:gd name="connsiteX24" fmla="*/ 550902 w 553405"/>
                  <a:gd name="connsiteY24" fmla="*/ 486725 h 550959"/>
                  <a:gd name="connsiteX25" fmla="*/ 552467 w 553405"/>
                  <a:gd name="connsiteY25" fmla="*/ 520819 h 550959"/>
                  <a:gd name="connsiteX26" fmla="*/ 553405 w 553405"/>
                  <a:gd name="connsiteY26" fmla="*/ 550959 h 550959"/>
                  <a:gd name="connsiteX27" fmla="*/ 0 w 553405"/>
                  <a:gd name="connsiteY27" fmla="*/ 550959 h 550959"/>
                  <a:gd name="connsiteX28" fmla="*/ 0 w 553405"/>
                  <a:gd name="connsiteY28" fmla="*/ 536690 h 550959"/>
                  <a:gd name="connsiteX29" fmla="*/ 1044 w 553405"/>
                  <a:gd name="connsiteY29" fmla="*/ 512589 h 550959"/>
                  <a:gd name="connsiteX30" fmla="*/ 2609 w 553405"/>
                  <a:gd name="connsiteY30" fmla="*/ 479083 h 550959"/>
                  <a:gd name="connsiteX31" fmla="*/ 5217 w 553405"/>
                  <a:gd name="connsiteY31" fmla="*/ 444988 h 550959"/>
                  <a:gd name="connsiteX32" fmla="*/ 10434 w 553405"/>
                  <a:gd name="connsiteY32" fmla="*/ 377976 h 550959"/>
                  <a:gd name="connsiteX33" fmla="*/ 17216 w 553405"/>
                  <a:gd name="connsiteY33" fmla="*/ 305672 h 550959"/>
                  <a:gd name="connsiteX34" fmla="*/ 25041 w 553405"/>
                  <a:gd name="connsiteY34" fmla="*/ 233369 h 550959"/>
                  <a:gd name="connsiteX35" fmla="*/ 34432 w 553405"/>
                  <a:gd name="connsiteY35" fmla="*/ 155188 h 550959"/>
                  <a:gd name="connsiteX36" fmla="*/ 44344 w 553405"/>
                  <a:gd name="connsiteY36" fmla="*/ 75830 h 550959"/>
                  <a:gd name="connsiteX37" fmla="*/ 45909 w 553405"/>
                  <a:gd name="connsiteY37" fmla="*/ 67601 h 550959"/>
                  <a:gd name="connsiteX38" fmla="*/ 46430 w 553405"/>
                  <a:gd name="connsiteY38" fmla="*/ 64074 h 550959"/>
                  <a:gd name="connsiteX39" fmla="*/ 46430 w 553405"/>
                  <a:gd name="connsiteY39" fmla="*/ 59959 h 550959"/>
                  <a:gd name="connsiteX40" fmla="*/ 46952 w 553405"/>
                  <a:gd name="connsiteY40" fmla="*/ 54668 h 550959"/>
                  <a:gd name="connsiteX41" fmla="*/ 47995 w 553405"/>
                  <a:gd name="connsiteY41" fmla="*/ 51141 h 550959"/>
                  <a:gd name="connsiteX42" fmla="*/ 49561 w 553405"/>
                  <a:gd name="connsiteY42" fmla="*/ 48202 h 550959"/>
                  <a:gd name="connsiteX43" fmla="*/ 51126 w 553405"/>
                  <a:gd name="connsiteY43" fmla="*/ 45851 h 550959"/>
                  <a:gd name="connsiteX44" fmla="*/ 53212 w 553405"/>
                  <a:gd name="connsiteY44" fmla="*/ 43499 h 550959"/>
                  <a:gd name="connsiteX45" fmla="*/ 55299 w 553405"/>
                  <a:gd name="connsiteY45" fmla="*/ 41736 h 550959"/>
                  <a:gd name="connsiteX46" fmla="*/ 61038 w 553405"/>
                  <a:gd name="connsiteY46" fmla="*/ 38797 h 550959"/>
                  <a:gd name="connsiteX47" fmla="*/ 74601 w 553405"/>
                  <a:gd name="connsiteY47" fmla="*/ 32919 h 550959"/>
                  <a:gd name="connsiteX48" fmla="*/ 88165 w 553405"/>
                  <a:gd name="connsiteY48" fmla="*/ 28216 h 550959"/>
                  <a:gd name="connsiteX49" fmla="*/ 101208 w 553405"/>
                  <a:gd name="connsiteY49" fmla="*/ 23513 h 550959"/>
                  <a:gd name="connsiteX50" fmla="*/ 115293 w 553405"/>
                  <a:gd name="connsiteY50" fmla="*/ 19986 h 550959"/>
                  <a:gd name="connsiteX0" fmla="*/ 115293 w 553405"/>
                  <a:gd name="connsiteY0" fmla="*/ 18810 h 549783"/>
                  <a:gd name="connsiteX1" fmla="*/ 322925 w 553405"/>
                  <a:gd name="connsiteY1" fmla="*/ 0 h 549783"/>
                  <a:gd name="connsiteX2" fmla="*/ 344835 w 553405"/>
                  <a:gd name="connsiteY2" fmla="*/ 1763 h 549783"/>
                  <a:gd name="connsiteX3" fmla="*/ 366746 w 553405"/>
                  <a:gd name="connsiteY3" fmla="*/ 4114 h 549783"/>
                  <a:gd name="connsiteX4" fmla="*/ 388657 w 553405"/>
                  <a:gd name="connsiteY4" fmla="*/ 7054 h 549783"/>
                  <a:gd name="connsiteX5" fmla="*/ 411090 w 553405"/>
                  <a:gd name="connsiteY5" fmla="*/ 11756 h 549783"/>
                  <a:gd name="connsiteX6" fmla="*/ 432479 w 553405"/>
                  <a:gd name="connsiteY6" fmla="*/ 17047 h 549783"/>
                  <a:gd name="connsiteX7" fmla="*/ 453868 w 553405"/>
                  <a:gd name="connsiteY7" fmla="*/ 22925 h 549783"/>
                  <a:gd name="connsiteX8" fmla="*/ 474735 w 553405"/>
                  <a:gd name="connsiteY8" fmla="*/ 30567 h 549783"/>
                  <a:gd name="connsiteX9" fmla="*/ 495603 w 553405"/>
                  <a:gd name="connsiteY9" fmla="*/ 39384 h 549783"/>
                  <a:gd name="connsiteX10" fmla="*/ 499776 w 553405"/>
                  <a:gd name="connsiteY10" fmla="*/ 41736 h 549783"/>
                  <a:gd name="connsiteX11" fmla="*/ 502907 w 553405"/>
                  <a:gd name="connsiteY11" fmla="*/ 44675 h 549783"/>
                  <a:gd name="connsiteX12" fmla="*/ 503950 w 553405"/>
                  <a:gd name="connsiteY12" fmla="*/ 46438 h 549783"/>
                  <a:gd name="connsiteX13" fmla="*/ 504993 w 553405"/>
                  <a:gd name="connsiteY13" fmla="*/ 48202 h 549783"/>
                  <a:gd name="connsiteX14" fmla="*/ 505515 w 553405"/>
                  <a:gd name="connsiteY14" fmla="*/ 50553 h 549783"/>
                  <a:gd name="connsiteX15" fmla="*/ 506037 w 553405"/>
                  <a:gd name="connsiteY15" fmla="*/ 54080 h 549783"/>
                  <a:gd name="connsiteX16" fmla="*/ 520122 w 553405"/>
                  <a:gd name="connsiteY16" fmla="*/ 169295 h 549783"/>
                  <a:gd name="connsiteX17" fmla="*/ 526904 w 553405"/>
                  <a:gd name="connsiteY17" fmla="*/ 226903 h 549783"/>
                  <a:gd name="connsiteX18" fmla="*/ 534208 w 553405"/>
                  <a:gd name="connsiteY18" fmla="*/ 285098 h 549783"/>
                  <a:gd name="connsiteX19" fmla="*/ 540990 w 553405"/>
                  <a:gd name="connsiteY19" fmla="*/ 351523 h 549783"/>
                  <a:gd name="connsiteX20" fmla="*/ 544120 w 553405"/>
                  <a:gd name="connsiteY20" fmla="*/ 385617 h 549783"/>
                  <a:gd name="connsiteX21" fmla="*/ 546728 w 553405"/>
                  <a:gd name="connsiteY21" fmla="*/ 418536 h 549783"/>
                  <a:gd name="connsiteX22" fmla="*/ 548815 w 553405"/>
                  <a:gd name="connsiteY22" fmla="*/ 452630 h 549783"/>
                  <a:gd name="connsiteX23" fmla="*/ 550902 w 553405"/>
                  <a:gd name="connsiteY23" fmla="*/ 485549 h 549783"/>
                  <a:gd name="connsiteX24" fmla="*/ 552467 w 553405"/>
                  <a:gd name="connsiteY24" fmla="*/ 519643 h 549783"/>
                  <a:gd name="connsiteX25" fmla="*/ 553405 w 553405"/>
                  <a:gd name="connsiteY25" fmla="*/ 549783 h 549783"/>
                  <a:gd name="connsiteX26" fmla="*/ 0 w 553405"/>
                  <a:gd name="connsiteY26" fmla="*/ 549783 h 549783"/>
                  <a:gd name="connsiteX27" fmla="*/ 0 w 553405"/>
                  <a:gd name="connsiteY27" fmla="*/ 535514 h 549783"/>
                  <a:gd name="connsiteX28" fmla="*/ 1044 w 553405"/>
                  <a:gd name="connsiteY28" fmla="*/ 511413 h 549783"/>
                  <a:gd name="connsiteX29" fmla="*/ 2609 w 553405"/>
                  <a:gd name="connsiteY29" fmla="*/ 477907 h 549783"/>
                  <a:gd name="connsiteX30" fmla="*/ 5217 w 553405"/>
                  <a:gd name="connsiteY30" fmla="*/ 443812 h 549783"/>
                  <a:gd name="connsiteX31" fmla="*/ 10434 w 553405"/>
                  <a:gd name="connsiteY31" fmla="*/ 376800 h 549783"/>
                  <a:gd name="connsiteX32" fmla="*/ 17216 w 553405"/>
                  <a:gd name="connsiteY32" fmla="*/ 304496 h 549783"/>
                  <a:gd name="connsiteX33" fmla="*/ 25041 w 553405"/>
                  <a:gd name="connsiteY33" fmla="*/ 232193 h 549783"/>
                  <a:gd name="connsiteX34" fmla="*/ 34432 w 553405"/>
                  <a:gd name="connsiteY34" fmla="*/ 154012 h 549783"/>
                  <a:gd name="connsiteX35" fmla="*/ 44344 w 553405"/>
                  <a:gd name="connsiteY35" fmla="*/ 74654 h 549783"/>
                  <a:gd name="connsiteX36" fmla="*/ 45909 w 553405"/>
                  <a:gd name="connsiteY36" fmla="*/ 66425 h 549783"/>
                  <a:gd name="connsiteX37" fmla="*/ 46430 w 553405"/>
                  <a:gd name="connsiteY37" fmla="*/ 62898 h 549783"/>
                  <a:gd name="connsiteX38" fmla="*/ 46430 w 553405"/>
                  <a:gd name="connsiteY38" fmla="*/ 58783 h 549783"/>
                  <a:gd name="connsiteX39" fmla="*/ 46952 w 553405"/>
                  <a:gd name="connsiteY39" fmla="*/ 53492 h 549783"/>
                  <a:gd name="connsiteX40" fmla="*/ 47995 w 553405"/>
                  <a:gd name="connsiteY40" fmla="*/ 49965 h 549783"/>
                  <a:gd name="connsiteX41" fmla="*/ 49561 w 553405"/>
                  <a:gd name="connsiteY41" fmla="*/ 47026 h 549783"/>
                  <a:gd name="connsiteX42" fmla="*/ 51126 w 553405"/>
                  <a:gd name="connsiteY42" fmla="*/ 44675 h 549783"/>
                  <a:gd name="connsiteX43" fmla="*/ 53212 w 553405"/>
                  <a:gd name="connsiteY43" fmla="*/ 42323 h 549783"/>
                  <a:gd name="connsiteX44" fmla="*/ 55299 w 553405"/>
                  <a:gd name="connsiteY44" fmla="*/ 40560 h 549783"/>
                  <a:gd name="connsiteX45" fmla="*/ 61038 w 553405"/>
                  <a:gd name="connsiteY45" fmla="*/ 37621 h 549783"/>
                  <a:gd name="connsiteX46" fmla="*/ 74601 w 553405"/>
                  <a:gd name="connsiteY46" fmla="*/ 31743 h 549783"/>
                  <a:gd name="connsiteX47" fmla="*/ 88165 w 553405"/>
                  <a:gd name="connsiteY47" fmla="*/ 27040 h 549783"/>
                  <a:gd name="connsiteX48" fmla="*/ 101208 w 553405"/>
                  <a:gd name="connsiteY48" fmla="*/ 22337 h 549783"/>
                  <a:gd name="connsiteX49" fmla="*/ 115293 w 553405"/>
                  <a:gd name="connsiteY49" fmla="*/ 18810 h 549783"/>
                  <a:gd name="connsiteX0" fmla="*/ 115293 w 553405"/>
                  <a:gd name="connsiteY0" fmla="*/ 17047 h 548020"/>
                  <a:gd name="connsiteX1" fmla="*/ 344835 w 553405"/>
                  <a:gd name="connsiteY1" fmla="*/ 0 h 548020"/>
                  <a:gd name="connsiteX2" fmla="*/ 366746 w 553405"/>
                  <a:gd name="connsiteY2" fmla="*/ 2351 h 548020"/>
                  <a:gd name="connsiteX3" fmla="*/ 388657 w 553405"/>
                  <a:gd name="connsiteY3" fmla="*/ 5291 h 548020"/>
                  <a:gd name="connsiteX4" fmla="*/ 411090 w 553405"/>
                  <a:gd name="connsiteY4" fmla="*/ 9993 h 548020"/>
                  <a:gd name="connsiteX5" fmla="*/ 432479 w 553405"/>
                  <a:gd name="connsiteY5" fmla="*/ 15284 h 548020"/>
                  <a:gd name="connsiteX6" fmla="*/ 453868 w 553405"/>
                  <a:gd name="connsiteY6" fmla="*/ 21162 h 548020"/>
                  <a:gd name="connsiteX7" fmla="*/ 474735 w 553405"/>
                  <a:gd name="connsiteY7" fmla="*/ 28804 h 548020"/>
                  <a:gd name="connsiteX8" fmla="*/ 495603 w 553405"/>
                  <a:gd name="connsiteY8" fmla="*/ 37621 h 548020"/>
                  <a:gd name="connsiteX9" fmla="*/ 499776 w 553405"/>
                  <a:gd name="connsiteY9" fmla="*/ 39973 h 548020"/>
                  <a:gd name="connsiteX10" fmla="*/ 502907 w 553405"/>
                  <a:gd name="connsiteY10" fmla="*/ 42912 h 548020"/>
                  <a:gd name="connsiteX11" fmla="*/ 503950 w 553405"/>
                  <a:gd name="connsiteY11" fmla="*/ 44675 h 548020"/>
                  <a:gd name="connsiteX12" fmla="*/ 504993 w 553405"/>
                  <a:gd name="connsiteY12" fmla="*/ 46439 h 548020"/>
                  <a:gd name="connsiteX13" fmla="*/ 505515 w 553405"/>
                  <a:gd name="connsiteY13" fmla="*/ 48790 h 548020"/>
                  <a:gd name="connsiteX14" fmla="*/ 506037 w 553405"/>
                  <a:gd name="connsiteY14" fmla="*/ 52317 h 548020"/>
                  <a:gd name="connsiteX15" fmla="*/ 520122 w 553405"/>
                  <a:gd name="connsiteY15" fmla="*/ 167532 h 548020"/>
                  <a:gd name="connsiteX16" fmla="*/ 526904 w 553405"/>
                  <a:gd name="connsiteY16" fmla="*/ 225140 h 548020"/>
                  <a:gd name="connsiteX17" fmla="*/ 534208 w 553405"/>
                  <a:gd name="connsiteY17" fmla="*/ 283335 h 548020"/>
                  <a:gd name="connsiteX18" fmla="*/ 540990 w 553405"/>
                  <a:gd name="connsiteY18" fmla="*/ 349760 h 548020"/>
                  <a:gd name="connsiteX19" fmla="*/ 544120 w 553405"/>
                  <a:gd name="connsiteY19" fmla="*/ 383854 h 548020"/>
                  <a:gd name="connsiteX20" fmla="*/ 546728 w 553405"/>
                  <a:gd name="connsiteY20" fmla="*/ 416773 h 548020"/>
                  <a:gd name="connsiteX21" fmla="*/ 548815 w 553405"/>
                  <a:gd name="connsiteY21" fmla="*/ 450867 h 548020"/>
                  <a:gd name="connsiteX22" fmla="*/ 550902 w 553405"/>
                  <a:gd name="connsiteY22" fmla="*/ 483786 h 548020"/>
                  <a:gd name="connsiteX23" fmla="*/ 552467 w 553405"/>
                  <a:gd name="connsiteY23" fmla="*/ 517880 h 548020"/>
                  <a:gd name="connsiteX24" fmla="*/ 553405 w 553405"/>
                  <a:gd name="connsiteY24" fmla="*/ 548020 h 548020"/>
                  <a:gd name="connsiteX25" fmla="*/ 0 w 553405"/>
                  <a:gd name="connsiteY25" fmla="*/ 548020 h 548020"/>
                  <a:gd name="connsiteX26" fmla="*/ 0 w 553405"/>
                  <a:gd name="connsiteY26" fmla="*/ 533751 h 548020"/>
                  <a:gd name="connsiteX27" fmla="*/ 1044 w 553405"/>
                  <a:gd name="connsiteY27" fmla="*/ 509650 h 548020"/>
                  <a:gd name="connsiteX28" fmla="*/ 2609 w 553405"/>
                  <a:gd name="connsiteY28" fmla="*/ 476144 h 548020"/>
                  <a:gd name="connsiteX29" fmla="*/ 5217 w 553405"/>
                  <a:gd name="connsiteY29" fmla="*/ 442049 h 548020"/>
                  <a:gd name="connsiteX30" fmla="*/ 10434 w 553405"/>
                  <a:gd name="connsiteY30" fmla="*/ 375037 h 548020"/>
                  <a:gd name="connsiteX31" fmla="*/ 17216 w 553405"/>
                  <a:gd name="connsiteY31" fmla="*/ 302733 h 548020"/>
                  <a:gd name="connsiteX32" fmla="*/ 25041 w 553405"/>
                  <a:gd name="connsiteY32" fmla="*/ 230430 h 548020"/>
                  <a:gd name="connsiteX33" fmla="*/ 34432 w 553405"/>
                  <a:gd name="connsiteY33" fmla="*/ 152249 h 548020"/>
                  <a:gd name="connsiteX34" fmla="*/ 44344 w 553405"/>
                  <a:gd name="connsiteY34" fmla="*/ 72891 h 548020"/>
                  <a:gd name="connsiteX35" fmla="*/ 45909 w 553405"/>
                  <a:gd name="connsiteY35" fmla="*/ 64662 h 548020"/>
                  <a:gd name="connsiteX36" fmla="*/ 46430 w 553405"/>
                  <a:gd name="connsiteY36" fmla="*/ 61135 h 548020"/>
                  <a:gd name="connsiteX37" fmla="*/ 46430 w 553405"/>
                  <a:gd name="connsiteY37" fmla="*/ 57020 h 548020"/>
                  <a:gd name="connsiteX38" fmla="*/ 46952 w 553405"/>
                  <a:gd name="connsiteY38" fmla="*/ 51729 h 548020"/>
                  <a:gd name="connsiteX39" fmla="*/ 47995 w 553405"/>
                  <a:gd name="connsiteY39" fmla="*/ 48202 h 548020"/>
                  <a:gd name="connsiteX40" fmla="*/ 49561 w 553405"/>
                  <a:gd name="connsiteY40" fmla="*/ 45263 h 548020"/>
                  <a:gd name="connsiteX41" fmla="*/ 51126 w 553405"/>
                  <a:gd name="connsiteY41" fmla="*/ 42912 h 548020"/>
                  <a:gd name="connsiteX42" fmla="*/ 53212 w 553405"/>
                  <a:gd name="connsiteY42" fmla="*/ 40560 h 548020"/>
                  <a:gd name="connsiteX43" fmla="*/ 55299 w 553405"/>
                  <a:gd name="connsiteY43" fmla="*/ 38797 h 548020"/>
                  <a:gd name="connsiteX44" fmla="*/ 61038 w 553405"/>
                  <a:gd name="connsiteY44" fmla="*/ 35858 h 548020"/>
                  <a:gd name="connsiteX45" fmla="*/ 74601 w 553405"/>
                  <a:gd name="connsiteY45" fmla="*/ 29980 h 548020"/>
                  <a:gd name="connsiteX46" fmla="*/ 88165 w 553405"/>
                  <a:gd name="connsiteY46" fmla="*/ 25277 h 548020"/>
                  <a:gd name="connsiteX47" fmla="*/ 101208 w 553405"/>
                  <a:gd name="connsiteY47" fmla="*/ 20574 h 548020"/>
                  <a:gd name="connsiteX48" fmla="*/ 115293 w 553405"/>
                  <a:gd name="connsiteY48" fmla="*/ 17047 h 548020"/>
                  <a:gd name="connsiteX0" fmla="*/ 115293 w 553405"/>
                  <a:gd name="connsiteY0" fmla="*/ 14696 h 545669"/>
                  <a:gd name="connsiteX1" fmla="*/ 366746 w 553405"/>
                  <a:gd name="connsiteY1" fmla="*/ 0 h 545669"/>
                  <a:gd name="connsiteX2" fmla="*/ 388657 w 553405"/>
                  <a:gd name="connsiteY2" fmla="*/ 2940 h 545669"/>
                  <a:gd name="connsiteX3" fmla="*/ 411090 w 553405"/>
                  <a:gd name="connsiteY3" fmla="*/ 7642 h 545669"/>
                  <a:gd name="connsiteX4" fmla="*/ 432479 w 553405"/>
                  <a:gd name="connsiteY4" fmla="*/ 12933 h 545669"/>
                  <a:gd name="connsiteX5" fmla="*/ 453868 w 553405"/>
                  <a:gd name="connsiteY5" fmla="*/ 18811 h 545669"/>
                  <a:gd name="connsiteX6" fmla="*/ 474735 w 553405"/>
                  <a:gd name="connsiteY6" fmla="*/ 26453 h 545669"/>
                  <a:gd name="connsiteX7" fmla="*/ 495603 w 553405"/>
                  <a:gd name="connsiteY7" fmla="*/ 35270 h 545669"/>
                  <a:gd name="connsiteX8" fmla="*/ 499776 w 553405"/>
                  <a:gd name="connsiteY8" fmla="*/ 37622 h 545669"/>
                  <a:gd name="connsiteX9" fmla="*/ 502907 w 553405"/>
                  <a:gd name="connsiteY9" fmla="*/ 40561 h 545669"/>
                  <a:gd name="connsiteX10" fmla="*/ 503950 w 553405"/>
                  <a:gd name="connsiteY10" fmla="*/ 42324 h 545669"/>
                  <a:gd name="connsiteX11" fmla="*/ 504993 w 553405"/>
                  <a:gd name="connsiteY11" fmla="*/ 44088 h 545669"/>
                  <a:gd name="connsiteX12" fmla="*/ 505515 w 553405"/>
                  <a:gd name="connsiteY12" fmla="*/ 46439 h 545669"/>
                  <a:gd name="connsiteX13" fmla="*/ 506037 w 553405"/>
                  <a:gd name="connsiteY13" fmla="*/ 49966 h 545669"/>
                  <a:gd name="connsiteX14" fmla="*/ 520122 w 553405"/>
                  <a:gd name="connsiteY14" fmla="*/ 165181 h 545669"/>
                  <a:gd name="connsiteX15" fmla="*/ 526904 w 553405"/>
                  <a:gd name="connsiteY15" fmla="*/ 222789 h 545669"/>
                  <a:gd name="connsiteX16" fmla="*/ 534208 w 553405"/>
                  <a:gd name="connsiteY16" fmla="*/ 280984 h 545669"/>
                  <a:gd name="connsiteX17" fmla="*/ 540990 w 553405"/>
                  <a:gd name="connsiteY17" fmla="*/ 347409 h 545669"/>
                  <a:gd name="connsiteX18" fmla="*/ 544120 w 553405"/>
                  <a:gd name="connsiteY18" fmla="*/ 381503 h 545669"/>
                  <a:gd name="connsiteX19" fmla="*/ 546728 w 553405"/>
                  <a:gd name="connsiteY19" fmla="*/ 414422 h 545669"/>
                  <a:gd name="connsiteX20" fmla="*/ 548815 w 553405"/>
                  <a:gd name="connsiteY20" fmla="*/ 448516 h 545669"/>
                  <a:gd name="connsiteX21" fmla="*/ 550902 w 553405"/>
                  <a:gd name="connsiteY21" fmla="*/ 481435 h 545669"/>
                  <a:gd name="connsiteX22" fmla="*/ 552467 w 553405"/>
                  <a:gd name="connsiteY22" fmla="*/ 515529 h 545669"/>
                  <a:gd name="connsiteX23" fmla="*/ 553405 w 553405"/>
                  <a:gd name="connsiteY23" fmla="*/ 545669 h 545669"/>
                  <a:gd name="connsiteX24" fmla="*/ 0 w 553405"/>
                  <a:gd name="connsiteY24" fmla="*/ 545669 h 545669"/>
                  <a:gd name="connsiteX25" fmla="*/ 0 w 553405"/>
                  <a:gd name="connsiteY25" fmla="*/ 531400 h 545669"/>
                  <a:gd name="connsiteX26" fmla="*/ 1044 w 553405"/>
                  <a:gd name="connsiteY26" fmla="*/ 507299 h 545669"/>
                  <a:gd name="connsiteX27" fmla="*/ 2609 w 553405"/>
                  <a:gd name="connsiteY27" fmla="*/ 473793 h 545669"/>
                  <a:gd name="connsiteX28" fmla="*/ 5217 w 553405"/>
                  <a:gd name="connsiteY28" fmla="*/ 439698 h 545669"/>
                  <a:gd name="connsiteX29" fmla="*/ 10434 w 553405"/>
                  <a:gd name="connsiteY29" fmla="*/ 372686 h 545669"/>
                  <a:gd name="connsiteX30" fmla="*/ 17216 w 553405"/>
                  <a:gd name="connsiteY30" fmla="*/ 300382 h 545669"/>
                  <a:gd name="connsiteX31" fmla="*/ 25041 w 553405"/>
                  <a:gd name="connsiteY31" fmla="*/ 228079 h 545669"/>
                  <a:gd name="connsiteX32" fmla="*/ 34432 w 553405"/>
                  <a:gd name="connsiteY32" fmla="*/ 149898 h 545669"/>
                  <a:gd name="connsiteX33" fmla="*/ 44344 w 553405"/>
                  <a:gd name="connsiteY33" fmla="*/ 70540 h 545669"/>
                  <a:gd name="connsiteX34" fmla="*/ 45909 w 553405"/>
                  <a:gd name="connsiteY34" fmla="*/ 62311 h 545669"/>
                  <a:gd name="connsiteX35" fmla="*/ 46430 w 553405"/>
                  <a:gd name="connsiteY35" fmla="*/ 58784 h 545669"/>
                  <a:gd name="connsiteX36" fmla="*/ 46430 w 553405"/>
                  <a:gd name="connsiteY36" fmla="*/ 54669 h 545669"/>
                  <a:gd name="connsiteX37" fmla="*/ 46952 w 553405"/>
                  <a:gd name="connsiteY37" fmla="*/ 49378 h 545669"/>
                  <a:gd name="connsiteX38" fmla="*/ 47995 w 553405"/>
                  <a:gd name="connsiteY38" fmla="*/ 45851 h 545669"/>
                  <a:gd name="connsiteX39" fmla="*/ 49561 w 553405"/>
                  <a:gd name="connsiteY39" fmla="*/ 42912 h 545669"/>
                  <a:gd name="connsiteX40" fmla="*/ 51126 w 553405"/>
                  <a:gd name="connsiteY40" fmla="*/ 40561 h 545669"/>
                  <a:gd name="connsiteX41" fmla="*/ 53212 w 553405"/>
                  <a:gd name="connsiteY41" fmla="*/ 38209 h 545669"/>
                  <a:gd name="connsiteX42" fmla="*/ 55299 w 553405"/>
                  <a:gd name="connsiteY42" fmla="*/ 36446 h 545669"/>
                  <a:gd name="connsiteX43" fmla="*/ 61038 w 553405"/>
                  <a:gd name="connsiteY43" fmla="*/ 33507 h 545669"/>
                  <a:gd name="connsiteX44" fmla="*/ 74601 w 553405"/>
                  <a:gd name="connsiteY44" fmla="*/ 27629 h 545669"/>
                  <a:gd name="connsiteX45" fmla="*/ 88165 w 553405"/>
                  <a:gd name="connsiteY45" fmla="*/ 22926 h 545669"/>
                  <a:gd name="connsiteX46" fmla="*/ 101208 w 553405"/>
                  <a:gd name="connsiteY46" fmla="*/ 18223 h 545669"/>
                  <a:gd name="connsiteX47" fmla="*/ 115293 w 553405"/>
                  <a:gd name="connsiteY47" fmla="*/ 14696 h 545669"/>
                  <a:gd name="connsiteX0" fmla="*/ 115293 w 553405"/>
                  <a:gd name="connsiteY0" fmla="*/ 11756 h 542729"/>
                  <a:gd name="connsiteX1" fmla="*/ 388657 w 553405"/>
                  <a:gd name="connsiteY1" fmla="*/ 0 h 542729"/>
                  <a:gd name="connsiteX2" fmla="*/ 411090 w 553405"/>
                  <a:gd name="connsiteY2" fmla="*/ 4702 h 542729"/>
                  <a:gd name="connsiteX3" fmla="*/ 432479 w 553405"/>
                  <a:gd name="connsiteY3" fmla="*/ 9993 h 542729"/>
                  <a:gd name="connsiteX4" fmla="*/ 453868 w 553405"/>
                  <a:gd name="connsiteY4" fmla="*/ 15871 h 542729"/>
                  <a:gd name="connsiteX5" fmla="*/ 474735 w 553405"/>
                  <a:gd name="connsiteY5" fmla="*/ 23513 h 542729"/>
                  <a:gd name="connsiteX6" fmla="*/ 495603 w 553405"/>
                  <a:gd name="connsiteY6" fmla="*/ 32330 h 542729"/>
                  <a:gd name="connsiteX7" fmla="*/ 499776 w 553405"/>
                  <a:gd name="connsiteY7" fmla="*/ 34682 h 542729"/>
                  <a:gd name="connsiteX8" fmla="*/ 502907 w 553405"/>
                  <a:gd name="connsiteY8" fmla="*/ 37621 h 542729"/>
                  <a:gd name="connsiteX9" fmla="*/ 503950 w 553405"/>
                  <a:gd name="connsiteY9" fmla="*/ 39384 h 542729"/>
                  <a:gd name="connsiteX10" fmla="*/ 504993 w 553405"/>
                  <a:gd name="connsiteY10" fmla="*/ 41148 h 542729"/>
                  <a:gd name="connsiteX11" fmla="*/ 505515 w 553405"/>
                  <a:gd name="connsiteY11" fmla="*/ 43499 h 542729"/>
                  <a:gd name="connsiteX12" fmla="*/ 506037 w 553405"/>
                  <a:gd name="connsiteY12" fmla="*/ 47026 h 542729"/>
                  <a:gd name="connsiteX13" fmla="*/ 520122 w 553405"/>
                  <a:gd name="connsiteY13" fmla="*/ 162241 h 542729"/>
                  <a:gd name="connsiteX14" fmla="*/ 526904 w 553405"/>
                  <a:gd name="connsiteY14" fmla="*/ 219849 h 542729"/>
                  <a:gd name="connsiteX15" fmla="*/ 534208 w 553405"/>
                  <a:gd name="connsiteY15" fmla="*/ 278044 h 542729"/>
                  <a:gd name="connsiteX16" fmla="*/ 540990 w 553405"/>
                  <a:gd name="connsiteY16" fmla="*/ 344469 h 542729"/>
                  <a:gd name="connsiteX17" fmla="*/ 544120 w 553405"/>
                  <a:gd name="connsiteY17" fmla="*/ 378563 h 542729"/>
                  <a:gd name="connsiteX18" fmla="*/ 546728 w 553405"/>
                  <a:gd name="connsiteY18" fmla="*/ 411482 h 542729"/>
                  <a:gd name="connsiteX19" fmla="*/ 548815 w 553405"/>
                  <a:gd name="connsiteY19" fmla="*/ 445576 h 542729"/>
                  <a:gd name="connsiteX20" fmla="*/ 550902 w 553405"/>
                  <a:gd name="connsiteY20" fmla="*/ 478495 h 542729"/>
                  <a:gd name="connsiteX21" fmla="*/ 552467 w 553405"/>
                  <a:gd name="connsiteY21" fmla="*/ 512589 h 542729"/>
                  <a:gd name="connsiteX22" fmla="*/ 553405 w 553405"/>
                  <a:gd name="connsiteY22" fmla="*/ 542729 h 542729"/>
                  <a:gd name="connsiteX23" fmla="*/ 0 w 553405"/>
                  <a:gd name="connsiteY23" fmla="*/ 542729 h 542729"/>
                  <a:gd name="connsiteX24" fmla="*/ 0 w 553405"/>
                  <a:gd name="connsiteY24" fmla="*/ 528460 h 542729"/>
                  <a:gd name="connsiteX25" fmla="*/ 1044 w 553405"/>
                  <a:gd name="connsiteY25" fmla="*/ 504359 h 542729"/>
                  <a:gd name="connsiteX26" fmla="*/ 2609 w 553405"/>
                  <a:gd name="connsiteY26" fmla="*/ 470853 h 542729"/>
                  <a:gd name="connsiteX27" fmla="*/ 5217 w 553405"/>
                  <a:gd name="connsiteY27" fmla="*/ 436758 h 542729"/>
                  <a:gd name="connsiteX28" fmla="*/ 10434 w 553405"/>
                  <a:gd name="connsiteY28" fmla="*/ 369746 h 542729"/>
                  <a:gd name="connsiteX29" fmla="*/ 17216 w 553405"/>
                  <a:gd name="connsiteY29" fmla="*/ 297442 h 542729"/>
                  <a:gd name="connsiteX30" fmla="*/ 25041 w 553405"/>
                  <a:gd name="connsiteY30" fmla="*/ 225139 h 542729"/>
                  <a:gd name="connsiteX31" fmla="*/ 34432 w 553405"/>
                  <a:gd name="connsiteY31" fmla="*/ 146958 h 542729"/>
                  <a:gd name="connsiteX32" fmla="*/ 44344 w 553405"/>
                  <a:gd name="connsiteY32" fmla="*/ 67600 h 542729"/>
                  <a:gd name="connsiteX33" fmla="*/ 45909 w 553405"/>
                  <a:gd name="connsiteY33" fmla="*/ 59371 h 542729"/>
                  <a:gd name="connsiteX34" fmla="*/ 46430 w 553405"/>
                  <a:gd name="connsiteY34" fmla="*/ 55844 h 542729"/>
                  <a:gd name="connsiteX35" fmla="*/ 46430 w 553405"/>
                  <a:gd name="connsiteY35" fmla="*/ 51729 h 542729"/>
                  <a:gd name="connsiteX36" fmla="*/ 46952 w 553405"/>
                  <a:gd name="connsiteY36" fmla="*/ 46438 h 542729"/>
                  <a:gd name="connsiteX37" fmla="*/ 47995 w 553405"/>
                  <a:gd name="connsiteY37" fmla="*/ 42911 h 542729"/>
                  <a:gd name="connsiteX38" fmla="*/ 49561 w 553405"/>
                  <a:gd name="connsiteY38" fmla="*/ 39972 h 542729"/>
                  <a:gd name="connsiteX39" fmla="*/ 51126 w 553405"/>
                  <a:gd name="connsiteY39" fmla="*/ 37621 h 542729"/>
                  <a:gd name="connsiteX40" fmla="*/ 53212 w 553405"/>
                  <a:gd name="connsiteY40" fmla="*/ 35269 h 542729"/>
                  <a:gd name="connsiteX41" fmla="*/ 55299 w 553405"/>
                  <a:gd name="connsiteY41" fmla="*/ 33506 h 542729"/>
                  <a:gd name="connsiteX42" fmla="*/ 61038 w 553405"/>
                  <a:gd name="connsiteY42" fmla="*/ 30567 h 542729"/>
                  <a:gd name="connsiteX43" fmla="*/ 74601 w 553405"/>
                  <a:gd name="connsiteY43" fmla="*/ 24689 h 542729"/>
                  <a:gd name="connsiteX44" fmla="*/ 88165 w 553405"/>
                  <a:gd name="connsiteY44" fmla="*/ 19986 h 542729"/>
                  <a:gd name="connsiteX45" fmla="*/ 101208 w 553405"/>
                  <a:gd name="connsiteY45" fmla="*/ 15283 h 542729"/>
                  <a:gd name="connsiteX46" fmla="*/ 115293 w 553405"/>
                  <a:gd name="connsiteY46" fmla="*/ 11756 h 542729"/>
                  <a:gd name="connsiteX0" fmla="*/ 115293 w 553405"/>
                  <a:gd name="connsiteY0" fmla="*/ 7054 h 538027"/>
                  <a:gd name="connsiteX1" fmla="*/ 411090 w 553405"/>
                  <a:gd name="connsiteY1" fmla="*/ 0 h 538027"/>
                  <a:gd name="connsiteX2" fmla="*/ 432479 w 553405"/>
                  <a:gd name="connsiteY2" fmla="*/ 5291 h 538027"/>
                  <a:gd name="connsiteX3" fmla="*/ 453868 w 553405"/>
                  <a:gd name="connsiteY3" fmla="*/ 11169 h 538027"/>
                  <a:gd name="connsiteX4" fmla="*/ 474735 w 553405"/>
                  <a:gd name="connsiteY4" fmla="*/ 18811 h 538027"/>
                  <a:gd name="connsiteX5" fmla="*/ 495603 w 553405"/>
                  <a:gd name="connsiteY5" fmla="*/ 27628 h 538027"/>
                  <a:gd name="connsiteX6" fmla="*/ 499776 w 553405"/>
                  <a:gd name="connsiteY6" fmla="*/ 29980 h 538027"/>
                  <a:gd name="connsiteX7" fmla="*/ 502907 w 553405"/>
                  <a:gd name="connsiteY7" fmla="*/ 32919 h 538027"/>
                  <a:gd name="connsiteX8" fmla="*/ 503950 w 553405"/>
                  <a:gd name="connsiteY8" fmla="*/ 34682 h 538027"/>
                  <a:gd name="connsiteX9" fmla="*/ 504993 w 553405"/>
                  <a:gd name="connsiteY9" fmla="*/ 36446 h 538027"/>
                  <a:gd name="connsiteX10" fmla="*/ 505515 w 553405"/>
                  <a:gd name="connsiteY10" fmla="*/ 38797 h 538027"/>
                  <a:gd name="connsiteX11" fmla="*/ 506037 w 553405"/>
                  <a:gd name="connsiteY11" fmla="*/ 42324 h 538027"/>
                  <a:gd name="connsiteX12" fmla="*/ 520122 w 553405"/>
                  <a:gd name="connsiteY12" fmla="*/ 157539 h 538027"/>
                  <a:gd name="connsiteX13" fmla="*/ 526904 w 553405"/>
                  <a:gd name="connsiteY13" fmla="*/ 215147 h 538027"/>
                  <a:gd name="connsiteX14" fmla="*/ 534208 w 553405"/>
                  <a:gd name="connsiteY14" fmla="*/ 273342 h 538027"/>
                  <a:gd name="connsiteX15" fmla="*/ 540990 w 553405"/>
                  <a:gd name="connsiteY15" fmla="*/ 339767 h 538027"/>
                  <a:gd name="connsiteX16" fmla="*/ 544120 w 553405"/>
                  <a:gd name="connsiteY16" fmla="*/ 373861 h 538027"/>
                  <a:gd name="connsiteX17" fmla="*/ 546728 w 553405"/>
                  <a:gd name="connsiteY17" fmla="*/ 406780 h 538027"/>
                  <a:gd name="connsiteX18" fmla="*/ 548815 w 553405"/>
                  <a:gd name="connsiteY18" fmla="*/ 440874 h 538027"/>
                  <a:gd name="connsiteX19" fmla="*/ 550902 w 553405"/>
                  <a:gd name="connsiteY19" fmla="*/ 473793 h 538027"/>
                  <a:gd name="connsiteX20" fmla="*/ 552467 w 553405"/>
                  <a:gd name="connsiteY20" fmla="*/ 507887 h 538027"/>
                  <a:gd name="connsiteX21" fmla="*/ 553405 w 553405"/>
                  <a:gd name="connsiteY21" fmla="*/ 538027 h 538027"/>
                  <a:gd name="connsiteX22" fmla="*/ 0 w 553405"/>
                  <a:gd name="connsiteY22" fmla="*/ 538027 h 538027"/>
                  <a:gd name="connsiteX23" fmla="*/ 0 w 553405"/>
                  <a:gd name="connsiteY23" fmla="*/ 523758 h 538027"/>
                  <a:gd name="connsiteX24" fmla="*/ 1044 w 553405"/>
                  <a:gd name="connsiteY24" fmla="*/ 499657 h 538027"/>
                  <a:gd name="connsiteX25" fmla="*/ 2609 w 553405"/>
                  <a:gd name="connsiteY25" fmla="*/ 466151 h 538027"/>
                  <a:gd name="connsiteX26" fmla="*/ 5217 w 553405"/>
                  <a:gd name="connsiteY26" fmla="*/ 432056 h 538027"/>
                  <a:gd name="connsiteX27" fmla="*/ 10434 w 553405"/>
                  <a:gd name="connsiteY27" fmla="*/ 365044 h 538027"/>
                  <a:gd name="connsiteX28" fmla="*/ 17216 w 553405"/>
                  <a:gd name="connsiteY28" fmla="*/ 292740 h 538027"/>
                  <a:gd name="connsiteX29" fmla="*/ 25041 w 553405"/>
                  <a:gd name="connsiteY29" fmla="*/ 220437 h 538027"/>
                  <a:gd name="connsiteX30" fmla="*/ 34432 w 553405"/>
                  <a:gd name="connsiteY30" fmla="*/ 142256 h 538027"/>
                  <a:gd name="connsiteX31" fmla="*/ 44344 w 553405"/>
                  <a:gd name="connsiteY31" fmla="*/ 62898 h 538027"/>
                  <a:gd name="connsiteX32" fmla="*/ 45909 w 553405"/>
                  <a:gd name="connsiteY32" fmla="*/ 54669 h 538027"/>
                  <a:gd name="connsiteX33" fmla="*/ 46430 w 553405"/>
                  <a:gd name="connsiteY33" fmla="*/ 51142 h 538027"/>
                  <a:gd name="connsiteX34" fmla="*/ 46430 w 553405"/>
                  <a:gd name="connsiteY34" fmla="*/ 47027 h 538027"/>
                  <a:gd name="connsiteX35" fmla="*/ 46952 w 553405"/>
                  <a:gd name="connsiteY35" fmla="*/ 41736 h 538027"/>
                  <a:gd name="connsiteX36" fmla="*/ 47995 w 553405"/>
                  <a:gd name="connsiteY36" fmla="*/ 38209 h 538027"/>
                  <a:gd name="connsiteX37" fmla="*/ 49561 w 553405"/>
                  <a:gd name="connsiteY37" fmla="*/ 35270 h 538027"/>
                  <a:gd name="connsiteX38" fmla="*/ 51126 w 553405"/>
                  <a:gd name="connsiteY38" fmla="*/ 32919 h 538027"/>
                  <a:gd name="connsiteX39" fmla="*/ 53212 w 553405"/>
                  <a:gd name="connsiteY39" fmla="*/ 30567 h 538027"/>
                  <a:gd name="connsiteX40" fmla="*/ 55299 w 553405"/>
                  <a:gd name="connsiteY40" fmla="*/ 28804 h 538027"/>
                  <a:gd name="connsiteX41" fmla="*/ 61038 w 553405"/>
                  <a:gd name="connsiteY41" fmla="*/ 25865 h 538027"/>
                  <a:gd name="connsiteX42" fmla="*/ 74601 w 553405"/>
                  <a:gd name="connsiteY42" fmla="*/ 19987 h 538027"/>
                  <a:gd name="connsiteX43" fmla="*/ 88165 w 553405"/>
                  <a:gd name="connsiteY43" fmla="*/ 15284 h 538027"/>
                  <a:gd name="connsiteX44" fmla="*/ 101208 w 553405"/>
                  <a:gd name="connsiteY44" fmla="*/ 10581 h 538027"/>
                  <a:gd name="connsiteX45" fmla="*/ 115293 w 553405"/>
                  <a:gd name="connsiteY45" fmla="*/ 7054 h 538027"/>
                  <a:gd name="connsiteX0" fmla="*/ 115293 w 553405"/>
                  <a:gd name="connsiteY0" fmla="*/ 1763 h 532736"/>
                  <a:gd name="connsiteX1" fmla="*/ 432479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5293 w 553405"/>
                  <a:gd name="connsiteY0" fmla="*/ 1763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63215 w 553405"/>
                  <a:gd name="connsiteY0" fmla="*/ 0 h 535088"/>
                  <a:gd name="connsiteX1" fmla="*/ 426337 w 553405"/>
                  <a:gd name="connsiteY1" fmla="*/ 2352 h 535088"/>
                  <a:gd name="connsiteX2" fmla="*/ 453868 w 553405"/>
                  <a:gd name="connsiteY2" fmla="*/ 8230 h 535088"/>
                  <a:gd name="connsiteX3" fmla="*/ 474735 w 553405"/>
                  <a:gd name="connsiteY3" fmla="*/ 15872 h 535088"/>
                  <a:gd name="connsiteX4" fmla="*/ 495603 w 553405"/>
                  <a:gd name="connsiteY4" fmla="*/ 24689 h 535088"/>
                  <a:gd name="connsiteX5" fmla="*/ 499776 w 553405"/>
                  <a:gd name="connsiteY5" fmla="*/ 27041 h 535088"/>
                  <a:gd name="connsiteX6" fmla="*/ 502907 w 553405"/>
                  <a:gd name="connsiteY6" fmla="*/ 29980 h 535088"/>
                  <a:gd name="connsiteX7" fmla="*/ 503950 w 553405"/>
                  <a:gd name="connsiteY7" fmla="*/ 31743 h 535088"/>
                  <a:gd name="connsiteX8" fmla="*/ 504993 w 553405"/>
                  <a:gd name="connsiteY8" fmla="*/ 33507 h 535088"/>
                  <a:gd name="connsiteX9" fmla="*/ 505515 w 553405"/>
                  <a:gd name="connsiteY9" fmla="*/ 35858 h 535088"/>
                  <a:gd name="connsiteX10" fmla="*/ 506037 w 553405"/>
                  <a:gd name="connsiteY10" fmla="*/ 39385 h 535088"/>
                  <a:gd name="connsiteX11" fmla="*/ 520122 w 553405"/>
                  <a:gd name="connsiteY11" fmla="*/ 154600 h 535088"/>
                  <a:gd name="connsiteX12" fmla="*/ 526904 w 553405"/>
                  <a:gd name="connsiteY12" fmla="*/ 212208 h 535088"/>
                  <a:gd name="connsiteX13" fmla="*/ 534208 w 553405"/>
                  <a:gd name="connsiteY13" fmla="*/ 270403 h 535088"/>
                  <a:gd name="connsiteX14" fmla="*/ 540990 w 553405"/>
                  <a:gd name="connsiteY14" fmla="*/ 336828 h 535088"/>
                  <a:gd name="connsiteX15" fmla="*/ 544120 w 553405"/>
                  <a:gd name="connsiteY15" fmla="*/ 370922 h 535088"/>
                  <a:gd name="connsiteX16" fmla="*/ 546728 w 553405"/>
                  <a:gd name="connsiteY16" fmla="*/ 403841 h 535088"/>
                  <a:gd name="connsiteX17" fmla="*/ 548815 w 553405"/>
                  <a:gd name="connsiteY17" fmla="*/ 437935 h 535088"/>
                  <a:gd name="connsiteX18" fmla="*/ 550902 w 553405"/>
                  <a:gd name="connsiteY18" fmla="*/ 470854 h 535088"/>
                  <a:gd name="connsiteX19" fmla="*/ 552467 w 553405"/>
                  <a:gd name="connsiteY19" fmla="*/ 504948 h 535088"/>
                  <a:gd name="connsiteX20" fmla="*/ 553405 w 553405"/>
                  <a:gd name="connsiteY20" fmla="*/ 535088 h 535088"/>
                  <a:gd name="connsiteX21" fmla="*/ 0 w 553405"/>
                  <a:gd name="connsiteY21" fmla="*/ 535088 h 535088"/>
                  <a:gd name="connsiteX22" fmla="*/ 0 w 553405"/>
                  <a:gd name="connsiteY22" fmla="*/ 520819 h 535088"/>
                  <a:gd name="connsiteX23" fmla="*/ 1044 w 553405"/>
                  <a:gd name="connsiteY23" fmla="*/ 496718 h 535088"/>
                  <a:gd name="connsiteX24" fmla="*/ 2609 w 553405"/>
                  <a:gd name="connsiteY24" fmla="*/ 463212 h 535088"/>
                  <a:gd name="connsiteX25" fmla="*/ 5217 w 553405"/>
                  <a:gd name="connsiteY25" fmla="*/ 429117 h 535088"/>
                  <a:gd name="connsiteX26" fmla="*/ 10434 w 553405"/>
                  <a:gd name="connsiteY26" fmla="*/ 362105 h 535088"/>
                  <a:gd name="connsiteX27" fmla="*/ 17216 w 553405"/>
                  <a:gd name="connsiteY27" fmla="*/ 289801 h 535088"/>
                  <a:gd name="connsiteX28" fmla="*/ 25041 w 553405"/>
                  <a:gd name="connsiteY28" fmla="*/ 217498 h 535088"/>
                  <a:gd name="connsiteX29" fmla="*/ 34432 w 553405"/>
                  <a:gd name="connsiteY29" fmla="*/ 139317 h 535088"/>
                  <a:gd name="connsiteX30" fmla="*/ 44344 w 553405"/>
                  <a:gd name="connsiteY30" fmla="*/ 59959 h 535088"/>
                  <a:gd name="connsiteX31" fmla="*/ 45909 w 553405"/>
                  <a:gd name="connsiteY31" fmla="*/ 51730 h 535088"/>
                  <a:gd name="connsiteX32" fmla="*/ 46430 w 553405"/>
                  <a:gd name="connsiteY32" fmla="*/ 48203 h 535088"/>
                  <a:gd name="connsiteX33" fmla="*/ 46430 w 553405"/>
                  <a:gd name="connsiteY33" fmla="*/ 44088 h 535088"/>
                  <a:gd name="connsiteX34" fmla="*/ 46952 w 553405"/>
                  <a:gd name="connsiteY34" fmla="*/ 38797 h 535088"/>
                  <a:gd name="connsiteX35" fmla="*/ 47995 w 553405"/>
                  <a:gd name="connsiteY35" fmla="*/ 35270 h 535088"/>
                  <a:gd name="connsiteX36" fmla="*/ 49561 w 553405"/>
                  <a:gd name="connsiteY36" fmla="*/ 32331 h 535088"/>
                  <a:gd name="connsiteX37" fmla="*/ 51126 w 553405"/>
                  <a:gd name="connsiteY37" fmla="*/ 29980 h 535088"/>
                  <a:gd name="connsiteX38" fmla="*/ 53212 w 553405"/>
                  <a:gd name="connsiteY38" fmla="*/ 27628 h 535088"/>
                  <a:gd name="connsiteX39" fmla="*/ 55299 w 553405"/>
                  <a:gd name="connsiteY39" fmla="*/ 25865 h 535088"/>
                  <a:gd name="connsiteX40" fmla="*/ 61038 w 553405"/>
                  <a:gd name="connsiteY40" fmla="*/ 22926 h 535088"/>
                  <a:gd name="connsiteX41" fmla="*/ 74601 w 553405"/>
                  <a:gd name="connsiteY41" fmla="*/ 17048 h 535088"/>
                  <a:gd name="connsiteX42" fmla="*/ 88165 w 553405"/>
                  <a:gd name="connsiteY42" fmla="*/ 12345 h 535088"/>
                  <a:gd name="connsiteX43" fmla="*/ 101208 w 553405"/>
                  <a:gd name="connsiteY43" fmla="*/ 7642 h 535088"/>
                  <a:gd name="connsiteX44" fmla="*/ 163215 w 553405"/>
                  <a:gd name="connsiteY44" fmla="*/ 0 h 535088"/>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44344 w 553405"/>
                  <a:gd name="connsiteY30" fmla="*/ 62476 h 537605"/>
                  <a:gd name="connsiteX31" fmla="*/ 45909 w 553405"/>
                  <a:gd name="connsiteY31" fmla="*/ 54247 h 537605"/>
                  <a:gd name="connsiteX32" fmla="*/ 46430 w 553405"/>
                  <a:gd name="connsiteY32" fmla="*/ 50720 h 537605"/>
                  <a:gd name="connsiteX33" fmla="*/ 46430 w 553405"/>
                  <a:gd name="connsiteY33" fmla="*/ 46605 h 537605"/>
                  <a:gd name="connsiteX34" fmla="*/ 46952 w 553405"/>
                  <a:gd name="connsiteY34" fmla="*/ 41314 h 537605"/>
                  <a:gd name="connsiteX35" fmla="*/ 47995 w 553405"/>
                  <a:gd name="connsiteY35" fmla="*/ 37787 h 537605"/>
                  <a:gd name="connsiteX36" fmla="*/ 49561 w 553405"/>
                  <a:gd name="connsiteY36" fmla="*/ 34848 h 537605"/>
                  <a:gd name="connsiteX37" fmla="*/ 51126 w 553405"/>
                  <a:gd name="connsiteY37" fmla="*/ 32497 h 537605"/>
                  <a:gd name="connsiteX38" fmla="*/ 53212 w 553405"/>
                  <a:gd name="connsiteY38" fmla="*/ 30145 h 537605"/>
                  <a:gd name="connsiteX39" fmla="*/ 55299 w 553405"/>
                  <a:gd name="connsiteY39" fmla="*/ 28382 h 537605"/>
                  <a:gd name="connsiteX40" fmla="*/ 61038 w 553405"/>
                  <a:gd name="connsiteY40" fmla="*/ 25443 h 537605"/>
                  <a:gd name="connsiteX41" fmla="*/ 74601 w 553405"/>
                  <a:gd name="connsiteY41" fmla="*/ 19565 h 537605"/>
                  <a:gd name="connsiteX42" fmla="*/ 88165 w 553405"/>
                  <a:gd name="connsiteY42" fmla="*/ 14862 h 537605"/>
                  <a:gd name="connsiteX43" fmla="*/ 101208 w 553405"/>
                  <a:gd name="connsiteY43" fmla="*/ 10159 h 537605"/>
                  <a:gd name="connsiteX44" fmla="*/ 163215 w 553405"/>
                  <a:gd name="connsiteY44"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44344 w 553405"/>
                  <a:gd name="connsiteY30" fmla="*/ 62476 h 537605"/>
                  <a:gd name="connsiteX31" fmla="*/ 45909 w 553405"/>
                  <a:gd name="connsiteY31" fmla="*/ 54247 h 537605"/>
                  <a:gd name="connsiteX32" fmla="*/ 46430 w 553405"/>
                  <a:gd name="connsiteY32" fmla="*/ 50720 h 537605"/>
                  <a:gd name="connsiteX33" fmla="*/ 46430 w 553405"/>
                  <a:gd name="connsiteY33" fmla="*/ 46605 h 537605"/>
                  <a:gd name="connsiteX34" fmla="*/ 46952 w 553405"/>
                  <a:gd name="connsiteY34" fmla="*/ 41314 h 537605"/>
                  <a:gd name="connsiteX35" fmla="*/ 47995 w 553405"/>
                  <a:gd name="connsiteY35" fmla="*/ 37787 h 537605"/>
                  <a:gd name="connsiteX36" fmla="*/ 49561 w 553405"/>
                  <a:gd name="connsiteY36" fmla="*/ 34848 h 537605"/>
                  <a:gd name="connsiteX37" fmla="*/ 51126 w 553405"/>
                  <a:gd name="connsiteY37" fmla="*/ 32497 h 537605"/>
                  <a:gd name="connsiteX38" fmla="*/ 53212 w 553405"/>
                  <a:gd name="connsiteY38" fmla="*/ 30145 h 537605"/>
                  <a:gd name="connsiteX39" fmla="*/ 61038 w 553405"/>
                  <a:gd name="connsiteY39" fmla="*/ 25443 h 537605"/>
                  <a:gd name="connsiteX40" fmla="*/ 74601 w 553405"/>
                  <a:gd name="connsiteY40" fmla="*/ 19565 h 537605"/>
                  <a:gd name="connsiteX41" fmla="*/ 88165 w 553405"/>
                  <a:gd name="connsiteY41" fmla="*/ 14862 h 537605"/>
                  <a:gd name="connsiteX42" fmla="*/ 101208 w 553405"/>
                  <a:gd name="connsiteY42" fmla="*/ 10159 h 537605"/>
                  <a:gd name="connsiteX43" fmla="*/ 163215 w 553405"/>
                  <a:gd name="connsiteY43"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44344 w 553405"/>
                  <a:gd name="connsiteY30" fmla="*/ 62476 h 537605"/>
                  <a:gd name="connsiteX31" fmla="*/ 45909 w 553405"/>
                  <a:gd name="connsiteY31" fmla="*/ 54247 h 537605"/>
                  <a:gd name="connsiteX32" fmla="*/ 46430 w 553405"/>
                  <a:gd name="connsiteY32" fmla="*/ 50720 h 537605"/>
                  <a:gd name="connsiteX33" fmla="*/ 46430 w 553405"/>
                  <a:gd name="connsiteY33" fmla="*/ 46605 h 537605"/>
                  <a:gd name="connsiteX34" fmla="*/ 46952 w 553405"/>
                  <a:gd name="connsiteY34" fmla="*/ 41314 h 537605"/>
                  <a:gd name="connsiteX35" fmla="*/ 47995 w 553405"/>
                  <a:gd name="connsiteY35" fmla="*/ 37787 h 537605"/>
                  <a:gd name="connsiteX36" fmla="*/ 49561 w 553405"/>
                  <a:gd name="connsiteY36" fmla="*/ 34848 h 537605"/>
                  <a:gd name="connsiteX37" fmla="*/ 53212 w 553405"/>
                  <a:gd name="connsiteY37" fmla="*/ 30145 h 537605"/>
                  <a:gd name="connsiteX38" fmla="*/ 61038 w 553405"/>
                  <a:gd name="connsiteY38" fmla="*/ 25443 h 537605"/>
                  <a:gd name="connsiteX39" fmla="*/ 74601 w 553405"/>
                  <a:gd name="connsiteY39" fmla="*/ 19565 h 537605"/>
                  <a:gd name="connsiteX40" fmla="*/ 88165 w 553405"/>
                  <a:gd name="connsiteY40" fmla="*/ 14862 h 537605"/>
                  <a:gd name="connsiteX41" fmla="*/ 101208 w 553405"/>
                  <a:gd name="connsiteY41" fmla="*/ 10159 h 537605"/>
                  <a:gd name="connsiteX42" fmla="*/ 163215 w 553405"/>
                  <a:gd name="connsiteY42"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44344 w 553405"/>
                  <a:gd name="connsiteY30" fmla="*/ 62476 h 537605"/>
                  <a:gd name="connsiteX31" fmla="*/ 45909 w 553405"/>
                  <a:gd name="connsiteY31" fmla="*/ 54247 h 537605"/>
                  <a:gd name="connsiteX32" fmla="*/ 46430 w 553405"/>
                  <a:gd name="connsiteY32" fmla="*/ 50720 h 537605"/>
                  <a:gd name="connsiteX33" fmla="*/ 46430 w 553405"/>
                  <a:gd name="connsiteY33" fmla="*/ 46605 h 537605"/>
                  <a:gd name="connsiteX34" fmla="*/ 46952 w 553405"/>
                  <a:gd name="connsiteY34" fmla="*/ 41314 h 537605"/>
                  <a:gd name="connsiteX35" fmla="*/ 47995 w 553405"/>
                  <a:gd name="connsiteY35" fmla="*/ 37787 h 537605"/>
                  <a:gd name="connsiteX36" fmla="*/ 53212 w 553405"/>
                  <a:gd name="connsiteY36" fmla="*/ 30145 h 537605"/>
                  <a:gd name="connsiteX37" fmla="*/ 61038 w 553405"/>
                  <a:gd name="connsiteY37" fmla="*/ 25443 h 537605"/>
                  <a:gd name="connsiteX38" fmla="*/ 74601 w 553405"/>
                  <a:gd name="connsiteY38" fmla="*/ 19565 h 537605"/>
                  <a:gd name="connsiteX39" fmla="*/ 88165 w 553405"/>
                  <a:gd name="connsiteY39" fmla="*/ 14862 h 537605"/>
                  <a:gd name="connsiteX40" fmla="*/ 101208 w 553405"/>
                  <a:gd name="connsiteY40" fmla="*/ 10159 h 537605"/>
                  <a:gd name="connsiteX41" fmla="*/ 163215 w 553405"/>
                  <a:gd name="connsiteY41"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44344 w 553405"/>
                  <a:gd name="connsiteY30" fmla="*/ 62476 h 537605"/>
                  <a:gd name="connsiteX31" fmla="*/ 45909 w 553405"/>
                  <a:gd name="connsiteY31" fmla="*/ 54247 h 537605"/>
                  <a:gd name="connsiteX32" fmla="*/ 46430 w 553405"/>
                  <a:gd name="connsiteY32" fmla="*/ 50720 h 537605"/>
                  <a:gd name="connsiteX33" fmla="*/ 46430 w 553405"/>
                  <a:gd name="connsiteY33" fmla="*/ 46605 h 537605"/>
                  <a:gd name="connsiteX34" fmla="*/ 46952 w 553405"/>
                  <a:gd name="connsiteY34" fmla="*/ 41314 h 537605"/>
                  <a:gd name="connsiteX35" fmla="*/ 53212 w 553405"/>
                  <a:gd name="connsiteY35" fmla="*/ 30145 h 537605"/>
                  <a:gd name="connsiteX36" fmla="*/ 61038 w 553405"/>
                  <a:gd name="connsiteY36" fmla="*/ 25443 h 537605"/>
                  <a:gd name="connsiteX37" fmla="*/ 74601 w 553405"/>
                  <a:gd name="connsiteY37" fmla="*/ 19565 h 537605"/>
                  <a:gd name="connsiteX38" fmla="*/ 88165 w 553405"/>
                  <a:gd name="connsiteY38" fmla="*/ 14862 h 537605"/>
                  <a:gd name="connsiteX39" fmla="*/ 101208 w 553405"/>
                  <a:gd name="connsiteY39" fmla="*/ 10159 h 537605"/>
                  <a:gd name="connsiteX40" fmla="*/ 163215 w 553405"/>
                  <a:gd name="connsiteY40"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44344 w 553405"/>
                  <a:gd name="connsiteY30" fmla="*/ 62476 h 537605"/>
                  <a:gd name="connsiteX31" fmla="*/ 45909 w 553405"/>
                  <a:gd name="connsiteY31" fmla="*/ 54247 h 537605"/>
                  <a:gd name="connsiteX32" fmla="*/ 46430 w 553405"/>
                  <a:gd name="connsiteY32" fmla="*/ 50720 h 537605"/>
                  <a:gd name="connsiteX33" fmla="*/ 46430 w 553405"/>
                  <a:gd name="connsiteY33" fmla="*/ 46605 h 537605"/>
                  <a:gd name="connsiteX34" fmla="*/ 53212 w 553405"/>
                  <a:gd name="connsiteY34" fmla="*/ 30145 h 537605"/>
                  <a:gd name="connsiteX35" fmla="*/ 61038 w 553405"/>
                  <a:gd name="connsiteY35" fmla="*/ 25443 h 537605"/>
                  <a:gd name="connsiteX36" fmla="*/ 74601 w 553405"/>
                  <a:gd name="connsiteY36" fmla="*/ 19565 h 537605"/>
                  <a:gd name="connsiteX37" fmla="*/ 88165 w 553405"/>
                  <a:gd name="connsiteY37" fmla="*/ 14862 h 537605"/>
                  <a:gd name="connsiteX38" fmla="*/ 101208 w 553405"/>
                  <a:gd name="connsiteY38" fmla="*/ 10159 h 537605"/>
                  <a:gd name="connsiteX39" fmla="*/ 163215 w 553405"/>
                  <a:gd name="connsiteY39"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44344 w 553405"/>
                  <a:gd name="connsiteY30" fmla="*/ 62476 h 537605"/>
                  <a:gd name="connsiteX31" fmla="*/ 45909 w 553405"/>
                  <a:gd name="connsiteY31" fmla="*/ 54247 h 537605"/>
                  <a:gd name="connsiteX32" fmla="*/ 46430 w 553405"/>
                  <a:gd name="connsiteY32" fmla="*/ 50720 h 537605"/>
                  <a:gd name="connsiteX33" fmla="*/ 53212 w 553405"/>
                  <a:gd name="connsiteY33" fmla="*/ 30145 h 537605"/>
                  <a:gd name="connsiteX34" fmla="*/ 61038 w 553405"/>
                  <a:gd name="connsiteY34" fmla="*/ 25443 h 537605"/>
                  <a:gd name="connsiteX35" fmla="*/ 74601 w 553405"/>
                  <a:gd name="connsiteY35" fmla="*/ 19565 h 537605"/>
                  <a:gd name="connsiteX36" fmla="*/ 88165 w 553405"/>
                  <a:gd name="connsiteY36" fmla="*/ 14862 h 537605"/>
                  <a:gd name="connsiteX37" fmla="*/ 101208 w 553405"/>
                  <a:gd name="connsiteY37" fmla="*/ 10159 h 537605"/>
                  <a:gd name="connsiteX38" fmla="*/ 163215 w 553405"/>
                  <a:gd name="connsiteY38"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44344 w 553405"/>
                  <a:gd name="connsiteY30" fmla="*/ 62476 h 537605"/>
                  <a:gd name="connsiteX31" fmla="*/ 45909 w 553405"/>
                  <a:gd name="connsiteY31" fmla="*/ 54247 h 537605"/>
                  <a:gd name="connsiteX32" fmla="*/ 53212 w 553405"/>
                  <a:gd name="connsiteY32" fmla="*/ 30145 h 537605"/>
                  <a:gd name="connsiteX33" fmla="*/ 61038 w 553405"/>
                  <a:gd name="connsiteY33" fmla="*/ 25443 h 537605"/>
                  <a:gd name="connsiteX34" fmla="*/ 74601 w 553405"/>
                  <a:gd name="connsiteY34" fmla="*/ 19565 h 537605"/>
                  <a:gd name="connsiteX35" fmla="*/ 88165 w 553405"/>
                  <a:gd name="connsiteY35" fmla="*/ 14862 h 537605"/>
                  <a:gd name="connsiteX36" fmla="*/ 101208 w 553405"/>
                  <a:gd name="connsiteY36" fmla="*/ 10159 h 537605"/>
                  <a:gd name="connsiteX37" fmla="*/ 163215 w 553405"/>
                  <a:gd name="connsiteY37"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44344 w 553405"/>
                  <a:gd name="connsiteY30" fmla="*/ 62476 h 537605"/>
                  <a:gd name="connsiteX31" fmla="*/ 53212 w 553405"/>
                  <a:gd name="connsiteY31" fmla="*/ 30145 h 537605"/>
                  <a:gd name="connsiteX32" fmla="*/ 61038 w 553405"/>
                  <a:gd name="connsiteY32" fmla="*/ 25443 h 537605"/>
                  <a:gd name="connsiteX33" fmla="*/ 74601 w 553405"/>
                  <a:gd name="connsiteY33" fmla="*/ 19565 h 537605"/>
                  <a:gd name="connsiteX34" fmla="*/ 88165 w 553405"/>
                  <a:gd name="connsiteY34" fmla="*/ 14862 h 537605"/>
                  <a:gd name="connsiteX35" fmla="*/ 101208 w 553405"/>
                  <a:gd name="connsiteY35" fmla="*/ 10159 h 537605"/>
                  <a:gd name="connsiteX36" fmla="*/ 163215 w 553405"/>
                  <a:gd name="connsiteY36"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44344 w 553405"/>
                  <a:gd name="connsiteY30" fmla="*/ 62476 h 537605"/>
                  <a:gd name="connsiteX31" fmla="*/ 53212 w 553405"/>
                  <a:gd name="connsiteY31" fmla="*/ 30145 h 537605"/>
                  <a:gd name="connsiteX32" fmla="*/ 61038 w 553405"/>
                  <a:gd name="connsiteY32" fmla="*/ 25443 h 537605"/>
                  <a:gd name="connsiteX33" fmla="*/ 74601 w 553405"/>
                  <a:gd name="connsiteY33" fmla="*/ 19565 h 537605"/>
                  <a:gd name="connsiteX34" fmla="*/ 88165 w 553405"/>
                  <a:gd name="connsiteY34" fmla="*/ 14862 h 537605"/>
                  <a:gd name="connsiteX35" fmla="*/ 101208 w 553405"/>
                  <a:gd name="connsiteY35" fmla="*/ 10159 h 537605"/>
                  <a:gd name="connsiteX36" fmla="*/ 163215 w 553405"/>
                  <a:gd name="connsiteY36"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44344 w 553405"/>
                  <a:gd name="connsiteY30" fmla="*/ 62476 h 537605"/>
                  <a:gd name="connsiteX31" fmla="*/ 68547 w 553405"/>
                  <a:gd name="connsiteY31" fmla="*/ 25121 h 537605"/>
                  <a:gd name="connsiteX32" fmla="*/ 61038 w 553405"/>
                  <a:gd name="connsiteY32" fmla="*/ 25443 h 537605"/>
                  <a:gd name="connsiteX33" fmla="*/ 74601 w 553405"/>
                  <a:gd name="connsiteY33" fmla="*/ 19565 h 537605"/>
                  <a:gd name="connsiteX34" fmla="*/ 88165 w 553405"/>
                  <a:gd name="connsiteY34" fmla="*/ 14862 h 537605"/>
                  <a:gd name="connsiteX35" fmla="*/ 101208 w 553405"/>
                  <a:gd name="connsiteY35" fmla="*/ 10159 h 537605"/>
                  <a:gd name="connsiteX36" fmla="*/ 163215 w 553405"/>
                  <a:gd name="connsiteY36"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60346 w 553405"/>
                  <a:gd name="connsiteY30" fmla="*/ 62476 h 537605"/>
                  <a:gd name="connsiteX31" fmla="*/ 68547 w 553405"/>
                  <a:gd name="connsiteY31" fmla="*/ 25121 h 537605"/>
                  <a:gd name="connsiteX32" fmla="*/ 61038 w 553405"/>
                  <a:gd name="connsiteY32" fmla="*/ 25443 h 537605"/>
                  <a:gd name="connsiteX33" fmla="*/ 74601 w 553405"/>
                  <a:gd name="connsiteY33" fmla="*/ 19565 h 537605"/>
                  <a:gd name="connsiteX34" fmla="*/ 88165 w 553405"/>
                  <a:gd name="connsiteY34" fmla="*/ 14862 h 537605"/>
                  <a:gd name="connsiteX35" fmla="*/ 101208 w 553405"/>
                  <a:gd name="connsiteY35" fmla="*/ 10159 h 537605"/>
                  <a:gd name="connsiteX36" fmla="*/ 163215 w 553405"/>
                  <a:gd name="connsiteY36"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60346 w 553405"/>
                  <a:gd name="connsiteY30" fmla="*/ 62476 h 537605"/>
                  <a:gd name="connsiteX31" fmla="*/ 68547 w 553405"/>
                  <a:gd name="connsiteY31" fmla="*/ 25121 h 537605"/>
                  <a:gd name="connsiteX32" fmla="*/ 61038 w 553405"/>
                  <a:gd name="connsiteY32" fmla="*/ 25443 h 537605"/>
                  <a:gd name="connsiteX33" fmla="*/ 74601 w 553405"/>
                  <a:gd name="connsiteY33" fmla="*/ 19565 h 537605"/>
                  <a:gd name="connsiteX34" fmla="*/ 88165 w 553405"/>
                  <a:gd name="connsiteY34" fmla="*/ 14862 h 537605"/>
                  <a:gd name="connsiteX35" fmla="*/ 101208 w 553405"/>
                  <a:gd name="connsiteY35" fmla="*/ 10159 h 537605"/>
                  <a:gd name="connsiteX36" fmla="*/ 163215 w 553405"/>
                  <a:gd name="connsiteY36"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60346 w 553405"/>
                  <a:gd name="connsiteY30" fmla="*/ 62476 h 537605"/>
                  <a:gd name="connsiteX31" fmla="*/ 68547 w 553405"/>
                  <a:gd name="connsiteY31" fmla="*/ 25121 h 537605"/>
                  <a:gd name="connsiteX32" fmla="*/ 61038 w 553405"/>
                  <a:gd name="connsiteY32" fmla="*/ 25443 h 537605"/>
                  <a:gd name="connsiteX33" fmla="*/ 74601 w 553405"/>
                  <a:gd name="connsiteY33" fmla="*/ 19565 h 537605"/>
                  <a:gd name="connsiteX34" fmla="*/ 88165 w 553405"/>
                  <a:gd name="connsiteY34" fmla="*/ 14862 h 537605"/>
                  <a:gd name="connsiteX35" fmla="*/ 101208 w 553405"/>
                  <a:gd name="connsiteY35" fmla="*/ 10159 h 537605"/>
                  <a:gd name="connsiteX36" fmla="*/ 163215 w 553405"/>
                  <a:gd name="connsiteY36"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499776 w 553405"/>
                  <a:gd name="connsiteY5" fmla="*/ 29558 h 537605"/>
                  <a:gd name="connsiteX6" fmla="*/ 502907 w 553405"/>
                  <a:gd name="connsiteY6" fmla="*/ 32497 h 537605"/>
                  <a:gd name="connsiteX7" fmla="*/ 503950 w 553405"/>
                  <a:gd name="connsiteY7" fmla="*/ 34260 h 537605"/>
                  <a:gd name="connsiteX8" fmla="*/ 504993 w 553405"/>
                  <a:gd name="connsiteY8" fmla="*/ 36024 h 537605"/>
                  <a:gd name="connsiteX9" fmla="*/ 505515 w 553405"/>
                  <a:gd name="connsiteY9" fmla="*/ 38375 h 537605"/>
                  <a:gd name="connsiteX10" fmla="*/ 506037 w 553405"/>
                  <a:gd name="connsiteY10" fmla="*/ 41902 h 537605"/>
                  <a:gd name="connsiteX11" fmla="*/ 520122 w 553405"/>
                  <a:gd name="connsiteY11" fmla="*/ 157117 h 537605"/>
                  <a:gd name="connsiteX12" fmla="*/ 526904 w 553405"/>
                  <a:gd name="connsiteY12" fmla="*/ 214725 h 537605"/>
                  <a:gd name="connsiteX13" fmla="*/ 534208 w 553405"/>
                  <a:gd name="connsiteY13" fmla="*/ 272920 h 537605"/>
                  <a:gd name="connsiteX14" fmla="*/ 540990 w 553405"/>
                  <a:gd name="connsiteY14" fmla="*/ 339345 h 537605"/>
                  <a:gd name="connsiteX15" fmla="*/ 544120 w 553405"/>
                  <a:gd name="connsiteY15" fmla="*/ 373439 h 537605"/>
                  <a:gd name="connsiteX16" fmla="*/ 546728 w 553405"/>
                  <a:gd name="connsiteY16" fmla="*/ 406358 h 537605"/>
                  <a:gd name="connsiteX17" fmla="*/ 548815 w 553405"/>
                  <a:gd name="connsiteY17" fmla="*/ 440452 h 537605"/>
                  <a:gd name="connsiteX18" fmla="*/ 550902 w 553405"/>
                  <a:gd name="connsiteY18" fmla="*/ 473371 h 537605"/>
                  <a:gd name="connsiteX19" fmla="*/ 552467 w 553405"/>
                  <a:gd name="connsiteY19" fmla="*/ 507465 h 537605"/>
                  <a:gd name="connsiteX20" fmla="*/ 553405 w 553405"/>
                  <a:gd name="connsiteY20" fmla="*/ 537605 h 537605"/>
                  <a:gd name="connsiteX21" fmla="*/ 0 w 553405"/>
                  <a:gd name="connsiteY21" fmla="*/ 537605 h 537605"/>
                  <a:gd name="connsiteX22" fmla="*/ 0 w 553405"/>
                  <a:gd name="connsiteY22" fmla="*/ 523336 h 537605"/>
                  <a:gd name="connsiteX23" fmla="*/ 1044 w 553405"/>
                  <a:gd name="connsiteY23" fmla="*/ 499235 h 537605"/>
                  <a:gd name="connsiteX24" fmla="*/ 2609 w 553405"/>
                  <a:gd name="connsiteY24" fmla="*/ 465729 h 537605"/>
                  <a:gd name="connsiteX25" fmla="*/ 5217 w 553405"/>
                  <a:gd name="connsiteY25" fmla="*/ 431634 h 537605"/>
                  <a:gd name="connsiteX26" fmla="*/ 10434 w 553405"/>
                  <a:gd name="connsiteY26" fmla="*/ 364622 h 537605"/>
                  <a:gd name="connsiteX27" fmla="*/ 17216 w 553405"/>
                  <a:gd name="connsiteY27" fmla="*/ 292318 h 537605"/>
                  <a:gd name="connsiteX28" fmla="*/ 25041 w 553405"/>
                  <a:gd name="connsiteY28" fmla="*/ 220015 h 537605"/>
                  <a:gd name="connsiteX29" fmla="*/ 34432 w 553405"/>
                  <a:gd name="connsiteY29" fmla="*/ 141834 h 537605"/>
                  <a:gd name="connsiteX30" fmla="*/ 60346 w 553405"/>
                  <a:gd name="connsiteY30" fmla="*/ 62476 h 537605"/>
                  <a:gd name="connsiteX31" fmla="*/ 68547 w 553405"/>
                  <a:gd name="connsiteY31" fmla="*/ 25121 h 537605"/>
                  <a:gd name="connsiteX32" fmla="*/ 74601 w 553405"/>
                  <a:gd name="connsiteY32" fmla="*/ 19565 h 537605"/>
                  <a:gd name="connsiteX33" fmla="*/ 88165 w 553405"/>
                  <a:gd name="connsiteY33" fmla="*/ 14862 h 537605"/>
                  <a:gd name="connsiteX34" fmla="*/ 101208 w 553405"/>
                  <a:gd name="connsiteY34" fmla="*/ 10159 h 537605"/>
                  <a:gd name="connsiteX35" fmla="*/ 163215 w 553405"/>
                  <a:gd name="connsiteY35"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502907 w 553405"/>
                  <a:gd name="connsiteY5" fmla="*/ 32497 h 537605"/>
                  <a:gd name="connsiteX6" fmla="*/ 503950 w 553405"/>
                  <a:gd name="connsiteY6" fmla="*/ 34260 h 537605"/>
                  <a:gd name="connsiteX7" fmla="*/ 504993 w 553405"/>
                  <a:gd name="connsiteY7" fmla="*/ 36024 h 537605"/>
                  <a:gd name="connsiteX8" fmla="*/ 505515 w 553405"/>
                  <a:gd name="connsiteY8" fmla="*/ 38375 h 537605"/>
                  <a:gd name="connsiteX9" fmla="*/ 506037 w 553405"/>
                  <a:gd name="connsiteY9" fmla="*/ 41902 h 537605"/>
                  <a:gd name="connsiteX10" fmla="*/ 520122 w 553405"/>
                  <a:gd name="connsiteY10" fmla="*/ 157117 h 537605"/>
                  <a:gd name="connsiteX11" fmla="*/ 526904 w 553405"/>
                  <a:gd name="connsiteY11" fmla="*/ 214725 h 537605"/>
                  <a:gd name="connsiteX12" fmla="*/ 534208 w 553405"/>
                  <a:gd name="connsiteY12" fmla="*/ 272920 h 537605"/>
                  <a:gd name="connsiteX13" fmla="*/ 540990 w 553405"/>
                  <a:gd name="connsiteY13" fmla="*/ 339345 h 537605"/>
                  <a:gd name="connsiteX14" fmla="*/ 544120 w 553405"/>
                  <a:gd name="connsiteY14" fmla="*/ 373439 h 537605"/>
                  <a:gd name="connsiteX15" fmla="*/ 546728 w 553405"/>
                  <a:gd name="connsiteY15" fmla="*/ 406358 h 537605"/>
                  <a:gd name="connsiteX16" fmla="*/ 548815 w 553405"/>
                  <a:gd name="connsiteY16" fmla="*/ 440452 h 537605"/>
                  <a:gd name="connsiteX17" fmla="*/ 550902 w 553405"/>
                  <a:gd name="connsiteY17" fmla="*/ 473371 h 537605"/>
                  <a:gd name="connsiteX18" fmla="*/ 552467 w 553405"/>
                  <a:gd name="connsiteY18" fmla="*/ 507465 h 537605"/>
                  <a:gd name="connsiteX19" fmla="*/ 553405 w 553405"/>
                  <a:gd name="connsiteY19" fmla="*/ 537605 h 537605"/>
                  <a:gd name="connsiteX20" fmla="*/ 0 w 553405"/>
                  <a:gd name="connsiteY20" fmla="*/ 537605 h 537605"/>
                  <a:gd name="connsiteX21" fmla="*/ 0 w 553405"/>
                  <a:gd name="connsiteY21" fmla="*/ 523336 h 537605"/>
                  <a:gd name="connsiteX22" fmla="*/ 1044 w 553405"/>
                  <a:gd name="connsiteY22" fmla="*/ 499235 h 537605"/>
                  <a:gd name="connsiteX23" fmla="*/ 2609 w 553405"/>
                  <a:gd name="connsiteY23" fmla="*/ 465729 h 537605"/>
                  <a:gd name="connsiteX24" fmla="*/ 5217 w 553405"/>
                  <a:gd name="connsiteY24" fmla="*/ 431634 h 537605"/>
                  <a:gd name="connsiteX25" fmla="*/ 10434 w 553405"/>
                  <a:gd name="connsiteY25" fmla="*/ 364622 h 537605"/>
                  <a:gd name="connsiteX26" fmla="*/ 17216 w 553405"/>
                  <a:gd name="connsiteY26" fmla="*/ 292318 h 537605"/>
                  <a:gd name="connsiteX27" fmla="*/ 25041 w 553405"/>
                  <a:gd name="connsiteY27" fmla="*/ 220015 h 537605"/>
                  <a:gd name="connsiteX28" fmla="*/ 34432 w 553405"/>
                  <a:gd name="connsiteY28" fmla="*/ 141834 h 537605"/>
                  <a:gd name="connsiteX29" fmla="*/ 60346 w 553405"/>
                  <a:gd name="connsiteY29" fmla="*/ 62476 h 537605"/>
                  <a:gd name="connsiteX30" fmla="*/ 68547 w 553405"/>
                  <a:gd name="connsiteY30" fmla="*/ 25121 h 537605"/>
                  <a:gd name="connsiteX31" fmla="*/ 74601 w 553405"/>
                  <a:gd name="connsiteY31" fmla="*/ 19565 h 537605"/>
                  <a:gd name="connsiteX32" fmla="*/ 88165 w 553405"/>
                  <a:gd name="connsiteY32" fmla="*/ 14862 h 537605"/>
                  <a:gd name="connsiteX33" fmla="*/ 101208 w 553405"/>
                  <a:gd name="connsiteY33" fmla="*/ 10159 h 537605"/>
                  <a:gd name="connsiteX34" fmla="*/ 163215 w 553405"/>
                  <a:gd name="connsiteY34"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503950 w 553405"/>
                  <a:gd name="connsiteY5" fmla="*/ 34260 h 537605"/>
                  <a:gd name="connsiteX6" fmla="*/ 504993 w 553405"/>
                  <a:gd name="connsiteY6" fmla="*/ 36024 h 537605"/>
                  <a:gd name="connsiteX7" fmla="*/ 505515 w 553405"/>
                  <a:gd name="connsiteY7" fmla="*/ 38375 h 537605"/>
                  <a:gd name="connsiteX8" fmla="*/ 506037 w 553405"/>
                  <a:gd name="connsiteY8" fmla="*/ 41902 h 537605"/>
                  <a:gd name="connsiteX9" fmla="*/ 520122 w 553405"/>
                  <a:gd name="connsiteY9" fmla="*/ 157117 h 537605"/>
                  <a:gd name="connsiteX10" fmla="*/ 526904 w 553405"/>
                  <a:gd name="connsiteY10" fmla="*/ 214725 h 537605"/>
                  <a:gd name="connsiteX11" fmla="*/ 534208 w 553405"/>
                  <a:gd name="connsiteY11" fmla="*/ 272920 h 537605"/>
                  <a:gd name="connsiteX12" fmla="*/ 540990 w 553405"/>
                  <a:gd name="connsiteY12" fmla="*/ 339345 h 537605"/>
                  <a:gd name="connsiteX13" fmla="*/ 544120 w 553405"/>
                  <a:gd name="connsiteY13" fmla="*/ 373439 h 537605"/>
                  <a:gd name="connsiteX14" fmla="*/ 546728 w 553405"/>
                  <a:gd name="connsiteY14" fmla="*/ 406358 h 537605"/>
                  <a:gd name="connsiteX15" fmla="*/ 548815 w 553405"/>
                  <a:gd name="connsiteY15" fmla="*/ 440452 h 537605"/>
                  <a:gd name="connsiteX16" fmla="*/ 550902 w 553405"/>
                  <a:gd name="connsiteY16" fmla="*/ 473371 h 537605"/>
                  <a:gd name="connsiteX17" fmla="*/ 552467 w 553405"/>
                  <a:gd name="connsiteY17" fmla="*/ 507465 h 537605"/>
                  <a:gd name="connsiteX18" fmla="*/ 553405 w 553405"/>
                  <a:gd name="connsiteY18" fmla="*/ 537605 h 537605"/>
                  <a:gd name="connsiteX19" fmla="*/ 0 w 553405"/>
                  <a:gd name="connsiteY19" fmla="*/ 537605 h 537605"/>
                  <a:gd name="connsiteX20" fmla="*/ 0 w 553405"/>
                  <a:gd name="connsiteY20" fmla="*/ 523336 h 537605"/>
                  <a:gd name="connsiteX21" fmla="*/ 1044 w 553405"/>
                  <a:gd name="connsiteY21" fmla="*/ 499235 h 537605"/>
                  <a:gd name="connsiteX22" fmla="*/ 2609 w 553405"/>
                  <a:gd name="connsiteY22" fmla="*/ 465729 h 537605"/>
                  <a:gd name="connsiteX23" fmla="*/ 5217 w 553405"/>
                  <a:gd name="connsiteY23" fmla="*/ 431634 h 537605"/>
                  <a:gd name="connsiteX24" fmla="*/ 10434 w 553405"/>
                  <a:gd name="connsiteY24" fmla="*/ 364622 h 537605"/>
                  <a:gd name="connsiteX25" fmla="*/ 17216 w 553405"/>
                  <a:gd name="connsiteY25" fmla="*/ 292318 h 537605"/>
                  <a:gd name="connsiteX26" fmla="*/ 25041 w 553405"/>
                  <a:gd name="connsiteY26" fmla="*/ 220015 h 537605"/>
                  <a:gd name="connsiteX27" fmla="*/ 34432 w 553405"/>
                  <a:gd name="connsiteY27" fmla="*/ 141834 h 537605"/>
                  <a:gd name="connsiteX28" fmla="*/ 60346 w 553405"/>
                  <a:gd name="connsiteY28" fmla="*/ 62476 h 537605"/>
                  <a:gd name="connsiteX29" fmla="*/ 68547 w 553405"/>
                  <a:gd name="connsiteY29" fmla="*/ 25121 h 537605"/>
                  <a:gd name="connsiteX30" fmla="*/ 74601 w 553405"/>
                  <a:gd name="connsiteY30" fmla="*/ 19565 h 537605"/>
                  <a:gd name="connsiteX31" fmla="*/ 88165 w 553405"/>
                  <a:gd name="connsiteY31" fmla="*/ 14862 h 537605"/>
                  <a:gd name="connsiteX32" fmla="*/ 101208 w 553405"/>
                  <a:gd name="connsiteY32" fmla="*/ 10159 h 537605"/>
                  <a:gd name="connsiteX33" fmla="*/ 163215 w 553405"/>
                  <a:gd name="connsiteY33"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503950 w 553405"/>
                  <a:gd name="connsiteY5" fmla="*/ 34260 h 537605"/>
                  <a:gd name="connsiteX6" fmla="*/ 505515 w 553405"/>
                  <a:gd name="connsiteY6" fmla="*/ 38375 h 537605"/>
                  <a:gd name="connsiteX7" fmla="*/ 506037 w 553405"/>
                  <a:gd name="connsiteY7" fmla="*/ 41902 h 537605"/>
                  <a:gd name="connsiteX8" fmla="*/ 520122 w 553405"/>
                  <a:gd name="connsiteY8" fmla="*/ 157117 h 537605"/>
                  <a:gd name="connsiteX9" fmla="*/ 526904 w 553405"/>
                  <a:gd name="connsiteY9" fmla="*/ 214725 h 537605"/>
                  <a:gd name="connsiteX10" fmla="*/ 534208 w 553405"/>
                  <a:gd name="connsiteY10" fmla="*/ 272920 h 537605"/>
                  <a:gd name="connsiteX11" fmla="*/ 540990 w 553405"/>
                  <a:gd name="connsiteY11" fmla="*/ 339345 h 537605"/>
                  <a:gd name="connsiteX12" fmla="*/ 544120 w 553405"/>
                  <a:gd name="connsiteY12" fmla="*/ 373439 h 537605"/>
                  <a:gd name="connsiteX13" fmla="*/ 546728 w 553405"/>
                  <a:gd name="connsiteY13" fmla="*/ 406358 h 537605"/>
                  <a:gd name="connsiteX14" fmla="*/ 548815 w 553405"/>
                  <a:gd name="connsiteY14" fmla="*/ 440452 h 537605"/>
                  <a:gd name="connsiteX15" fmla="*/ 550902 w 553405"/>
                  <a:gd name="connsiteY15" fmla="*/ 473371 h 537605"/>
                  <a:gd name="connsiteX16" fmla="*/ 552467 w 553405"/>
                  <a:gd name="connsiteY16" fmla="*/ 507465 h 537605"/>
                  <a:gd name="connsiteX17" fmla="*/ 553405 w 553405"/>
                  <a:gd name="connsiteY17" fmla="*/ 537605 h 537605"/>
                  <a:gd name="connsiteX18" fmla="*/ 0 w 553405"/>
                  <a:gd name="connsiteY18" fmla="*/ 537605 h 537605"/>
                  <a:gd name="connsiteX19" fmla="*/ 0 w 553405"/>
                  <a:gd name="connsiteY19" fmla="*/ 523336 h 537605"/>
                  <a:gd name="connsiteX20" fmla="*/ 1044 w 553405"/>
                  <a:gd name="connsiteY20" fmla="*/ 499235 h 537605"/>
                  <a:gd name="connsiteX21" fmla="*/ 2609 w 553405"/>
                  <a:gd name="connsiteY21" fmla="*/ 465729 h 537605"/>
                  <a:gd name="connsiteX22" fmla="*/ 5217 w 553405"/>
                  <a:gd name="connsiteY22" fmla="*/ 431634 h 537605"/>
                  <a:gd name="connsiteX23" fmla="*/ 10434 w 553405"/>
                  <a:gd name="connsiteY23" fmla="*/ 364622 h 537605"/>
                  <a:gd name="connsiteX24" fmla="*/ 17216 w 553405"/>
                  <a:gd name="connsiteY24" fmla="*/ 292318 h 537605"/>
                  <a:gd name="connsiteX25" fmla="*/ 25041 w 553405"/>
                  <a:gd name="connsiteY25" fmla="*/ 220015 h 537605"/>
                  <a:gd name="connsiteX26" fmla="*/ 34432 w 553405"/>
                  <a:gd name="connsiteY26" fmla="*/ 141834 h 537605"/>
                  <a:gd name="connsiteX27" fmla="*/ 60346 w 553405"/>
                  <a:gd name="connsiteY27" fmla="*/ 62476 h 537605"/>
                  <a:gd name="connsiteX28" fmla="*/ 68547 w 553405"/>
                  <a:gd name="connsiteY28" fmla="*/ 25121 h 537605"/>
                  <a:gd name="connsiteX29" fmla="*/ 74601 w 553405"/>
                  <a:gd name="connsiteY29" fmla="*/ 19565 h 537605"/>
                  <a:gd name="connsiteX30" fmla="*/ 88165 w 553405"/>
                  <a:gd name="connsiteY30" fmla="*/ 14862 h 537605"/>
                  <a:gd name="connsiteX31" fmla="*/ 101208 w 553405"/>
                  <a:gd name="connsiteY31" fmla="*/ 10159 h 537605"/>
                  <a:gd name="connsiteX32" fmla="*/ 163215 w 553405"/>
                  <a:gd name="connsiteY32"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503950 w 553405"/>
                  <a:gd name="connsiteY5" fmla="*/ 34260 h 537605"/>
                  <a:gd name="connsiteX6" fmla="*/ 506037 w 553405"/>
                  <a:gd name="connsiteY6" fmla="*/ 41902 h 537605"/>
                  <a:gd name="connsiteX7" fmla="*/ 520122 w 553405"/>
                  <a:gd name="connsiteY7" fmla="*/ 157117 h 537605"/>
                  <a:gd name="connsiteX8" fmla="*/ 526904 w 553405"/>
                  <a:gd name="connsiteY8" fmla="*/ 214725 h 537605"/>
                  <a:gd name="connsiteX9" fmla="*/ 534208 w 553405"/>
                  <a:gd name="connsiteY9" fmla="*/ 272920 h 537605"/>
                  <a:gd name="connsiteX10" fmla="*/ 540990 w 553405"/>
                  <a:gd name="connsiteY10" fmla="*/ 339345 h 537605"/>
                  <a:gd name="connsiteX11" fmla="*/ 544120 w 553405"/>
                  <a:gd name="connsiteY11" fmla="*/ 373439 h 537605"/>
                  <a:gd name="connsiteX12" fmla="*/ 546728 w 553405"/>
                  <a:gd name="connsiteY12" fmla="*/ 406358 h 537605"/>
                  <a:gd name="connsiteX13" fmla="*/ 548815 w 553405"/>
                  <a:gd name="connsiteY13" fmla="*/ 440452 h 537605"/>
                  <a:gd name="connsiteX14" fmla="*/ 550902 w 553405"/>
                  <a:gd name="connsiteY14" fmla="*/ 473371 h 537605"/>
                  <a:gd name="connsiteX15" fmla="*/ 552467 w 553405"/>
                  <a:gd name="connsiteY15" fmla="*/ 507465 h 537605"/>
                  <a:gd name="connsiteX16" fmla="*/ 553405 w 553405"/>
                  <a:gd name="connsiteY16" fmla="*/ 537605 h 537605"/>
                  <a:gd name="connsiteX17" fmla="*/ 0 w 553405"/>
                  <a:gd name="connsiteY17" fmla="*/ 537605 h 537605"/>
                  <a:gd name="connsiteX18" fmla="*/ 0 w 553405"/>
                  <a:gd name="connsiteY18" fmla="*/ 523336 h 537605"/>
                  <a:gd name="connsiteX19" fmla="*/ 1044 w 553405"/>
                  <a:gd name="connsiteY19" fmla="*/ 499235 h 537605"/>
                  <a:gd name="connsiteX20" fmla="*/ 2609 w 553405"/>
                  <a:gd name="connsiteY20" fmla="*/ 465729 h 537605"/>
                  <a:gd name="connsiteX21" fmla="*/ 5217 w 553405"/>
                  <a:gd name="connsiteY21" fmla="*/ 431634 h 537605"/>
                  <a:gd name="connsiteX22" fmla="*/ 10434 w 553405"/>
                  <a:gd name="connsiteY22" fmla="*/ 364622 h 537605"/>
                  <a:gd name="connsiteX23" fmla="*/ 17216 w 553405"/>
                  <a:gd name="connsiteY23" fmla="*/ 292318 h 537605"/>
                  <a:gd name="connsiteX24" fmla="*/ 25041 w 553405"/>
                  <a:gd name="connsiteY24" fmla="*/ 220015 h 537605"/>
                  <a:gd name="connsiteX25" fmla="*/ 34432 w 553405"/>
                  <a:gd name="connsiteY25" fmla="*/ 141834 h 537605"/>
                  <a:gd name="connsiteX26" fmla="*/ 60346 w 553405"/>
                  <a:gd name="connsiteY26" fmla="*/ 62476 h 537605"/>
                  <a:gd name="connsiteX27" fmla="*/ 68547 w 553405"/>
                  <a:gd name="connsiteY27" fmla="*/ 25121 h 537605"/>
                  <a:gd name="connsiteX28" fmla="*/ 74601 w 553405"/>
                  <a:gd name="connsiteY28" fmla="*/ 19565 h 537605"/>
                  <a:gd name="connsiteX29" fmla="*/ 88165 w 553405"/>
                  <a:gd name="connsiteY29" fmla="*/ 14862 h 537605"/>
                  <a:gd name="connsiteX30" fmla="*/ 101208 w 553405"/>
                  <a:gd name="connsiteY30" fmla="*/ 10159 h 537605"/>
                  <a:gd name="connsiteX31" fmla="*/ 163215 w 553405"/>
                  <a:gd name="connsiteY31"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5603 w 553405"/>
                  <a:gd name="connsiteY4" fmla="*/ 27206 h 537605"/>
                  <a:gd name="connsiteX5" fmla="*/ 506037 w 553405"/>
                  <a:gd name="connsiteY5" fmla="*/ 41902 h 537605"/>
                  <a:gd name="connsiteX6" fmla="*/ 520122 w 553405"/>
                  <a:gd name="connsiteY6" fmla="*/ 157117 h 537605"/>
                  <a:gd name="connsiteX7" fmla="*/ 526904 w 553405"/>
                  <a:gd name="connsiteY7" fmla="*/ 214725 h 537605"/>
                  <a:gd name="connsiteX8" fmla="*/ 534208 w 553405"/>
                  <a:gd name="connsiteY8" fmla="*/ 272920 h 537605"/>
                  <a:gd name="connsiteX9" fmla="*/ 540990 w 553405"/>
                  <a:gd name="connsiteY9" fmla="*/ 339345 h 537605"/>
                  <a:gd name="connsiteX10" fmla="*/ 544120 w 553405"/>
                  <a:gd name="connsiteY10" fmla="*/ 373439 h 537605"/>
                  <a:gd name="connsiteX11" fmla="*/ 546728 w 553405"/>
                  <a:gd name="connsiteY11" fmla="*/ 406358 h 537605"/>
                  <a:gd name="connsiteX12" fmla="*/ 548815 w 553405"/>
                  <a:gd name="connsiteY12" fmla="*/ 440452 h 537605"/>
                  <a:gd name="connsiteX13" fmla="*/ 550902 w 553405"/>
                  <a:gd name="connsiteY13" fmla="*/ 473371 h 537605"/>
                  <a:gd name="connsiteX14" fmla="*/ 552467 w 553405"/>
                  <a:gd name="connsiteY14" fmla="*/ 507465 h 537605"/>
                  <a:gd name="connsiteX15" fmla="*/ 553405 w 553405"/>
                  <a:gd name="connsiteY15" fmla="*/ 537605 h 537605"/>
                  <a:gd name="connsiteX16" fmla="*/ 0 w 553405"/>
                  <a:gd name="connsiteY16" fmla="*/ 537605 h 537605"/>
                  <a:gd name="connsiteX17" fmla="*/ 0 w 553405"/>
                  <a:gd name="connsiteY17" fmla="*/ 523336 h 537605"/>
                  <a:gd name="connsiteX18" fmla="*/ 1044 w 553405"/>
                  <a:gd name="connsiteY18" fmla="*/ 499235 h 537605"/>
                  <a:gd name="connsiteX19" fmla="*/ 2609 w 553405"/>
                  <a:gd name="connsiteY19" fmla="*/ 465729 h 537605"/>
                  <a:gd name="connsiteX20" fmla="*/ 5217 w 553405"/>
                  <a:gd name="connsiteY20" fmla="*/ 431634 h 537605"/>
                  <a:gd name="connsiteX21" fmla="*/ 10434 w 553405"/>
                  <a:gd name="connsiteY21" fmla="*/ 364622 h 537605"/>
                  <a:gd name="connsiteX22" fmla="*/ 17216 w 553405"/>
                  <a:gd name="connsiteY22" fmla="*/ 292318 h 537605"/>
                  <a:gd name="connsiteX23" fmla="*/ 25041 w 553405"/>
                  <a:gd name="connsiteY23" fmla="*/ 220015 h 537605"/>
                  <a:gd name="connsiteX24" fmla="*/ 34432 w 553405"/>
                  <a:gd name="connsiteY24" fmla="*/ 141834 h 537605"/>
                  <a:gd name="connsiteX25" fmla="*/ 60346 w 553405"/>
                  <a:gd name="connsiteY25" fmla="*/ 62476 h 537605"/>
                  <a:gd name="connsiteX26" fmla="*/ 68547 w 553405"/>
                  <a:gd name="connsiteY26" fmla="*/ 25121 h 537605"/>
                  <a:gd name="connsiteX27" fmla="*/ 74601 w 553405"/>
                  <a:gd name="connsiteY27" fmla="*/ 19565 h 537605"/>
                  <a:gd name="connsiteX28" fmla="*/ 88165 w 553405"/>
                  <a:gd name="connsiteY28" fmla="*/ 14862 h 537605"/>
                  <a:gd name="connsiteX29" fmla="*/ 101208 w 553405"/>
                  <a:gd name="connsiteY29" fmla="*/ 10159 h 537605"/>
                  <a:gd name="connsiteX30" fmla="*/ 163215 w 553405"/>
                  <a:gd name="connsiteY30"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506037 w 553405"/>
                  <a:gd name="connsiteY4" fmla="*/ 41902 h 537605"/>
                  <a:gd name="connsiteX5" fmla="*/ 520122 w 553405"/>
                  <a:gd name="connsiteY5" fmla="*/ 157117 h 537605"/>
                  <a:gd name="connsiteX6" fmla="*/ 526904 w 553405"/>
                  <a:gd name="connsiteY6" fmla="*/ 214725 h 537605"/>
                  <a:gd name="connsiteX7" fmla="*/ 534208 w 553405"/>
                  <a:gd name="connsiteY7" fmla="*/ 272920 h 537605"/>
                  <a:gd name="connsiteX8" fmla="*/ 540990 w 553405"/>
                  <a:gd name="connsiteY8" fmla="*/ 339345 h 537605"/>
                  <a:gd name="connsiteX9" fmla="*/ 544120 w 553405"/>
                  <a:gd name="connsiteY9" fmla="*/ 373439 h 537605"/>
                  <a:gd name="connsiteX10" fmla="*/ 546728 w 553405"/>
                  <a:gd name="connsiteY10" fmla="*/ 406358 h 537605"/>
                  <a:gd name="connsiteX11" fmla="*/ 548815 w 553405"/>
                  <a:gd name="connsiteY11" fmla="*/ 440452 h 537605"/>
                  <a:gd name="connsiteX12" fmla="*/ 550902 w 553405"/>
                  <a:gd name="connsiteY12" fmla="*/ 473371 h 537605"/>
                  <a:gd name="connsiteX13" fmla="*/ 552467 w 553405"/>
                  <a:gd name="connsiteY13" fmla="*/ 507465 h 537605"/>
                  <a:gd name="connsiteX14" fmla="*/ 553405 w 553405"/>
                  <a:gd name="connsiteY14" fmla="*/ 537605 h 537605"/>
                  <a:gd name="connsiteX15" fmla="*/ 0 w 553405"/>
                  <a:gd name="connsiteY15" fmla="*/ 537605 h 537605"/>
                  <a:gd name="connsiteX16" fmla="*/ 0 w 553405"/>
                  <a:gd name="connsiteY16" fmla="*/ 523336 h 537605"/>
                  <a:gd name="connsiteX17" fmla="*/ 1044 w 553405"/>
                  <a:gd name="connsiteY17" fmla="*/ 499235 h 537605"/>
                  <a:gd name="connsiteX18" fmla="*/ 2609 w 553405"/>
                  <a:gd name="connsiteY18" fmla="*/ 465729 h 537605"/>
                  <a:gd name="connsiteX19" fmla="*/ 5217 w 553405"/>
                  <a:gd name="connsiteY19" fmla="*/ 431634 h 537605"/>
                  <a:gd name="connsiteX20" fmla="*/ 10434 w 553405"/>
                  <a:gd name="connsiteY20" fmla="*/ 364622 h 537605"/>
                  <a:gd name="connsiteX21" fmla="*/ 17216 w 553405"/>
                  <a:gd name="connsiteY21" fmla="*/ 292318 h 537605"/>
                  <a:gd name="connsiteX22" fmla="*/ 25041 w 553405"/>
                  <a:gd name="connsiteY22" fmla="*/ 220015 h 537605"/>
                  <a:gd name="connsiteX23" fmla="*/ 34432 w 553405"/>
                  <a:gd name="connsiteY23" fmla="*/ 141834 h 537605"/>
                  <a:gd name="connsiteX24" fmla="*/ 60346 w 553405"/>
                  <a:gd name="connsiteY24" fmla="*/ 62476 h 537605"/>
                  <a:gd name="connsiteX25" fmla="*/ 68547 w 553405"/>
                  <a:gd name="connsiteY25" fmla="*/ 25121 h 537605"/>
                  <a:gd name="connsiteX26" fmla="*/ 74601 w 553405"/>
                  <a:gd name="connsiteY26" fmla="*/ 19565 h 537605"/>
                  <a:gd name="connsiteX27" fmla="*/ 88165 w 553405"/>
                  <a:gd name="connsiteY27" fmla="*/ 14862 h 537605"/>
                  <a:gd name="connsiteX28" fmla="*/ 101208 w 553405"/>
                  <a:gd name="connsiteY28" fmla="*/ 10159 h 537605"/>
                  <a:gd name="connsiteX29" fmla="*/ 163215 w 553405"/>
                  <a:gd name="connsiteY29"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1368 w 553405"/>
                  <a:gd name="connsiteY4" fmla="*/ 41184 h 537605"/>
                  <a:gd name="connsiteX5" fmla="*/ 520122 w 553405"/>
                  <a:gd name="connsiteY5" fmla="*/ 157117 h 537605"/>
                  <a:gd name="connsiteX6" fmla="*/ 526904 w 553405"/>
                  <a:gd name="connsiteY6" fmla="*/ 214725 h 537605"/>
                  <a:gd name="connsiteX7" fmla="*/ 534208 w 553405"/>
                  <a:gd name="connsiteY7" fmla="*/ 272920 h 537605"/>
                  <a:gd name="connsiteX8" fmla="*/ 540990 w 553405"/>
                  <a:gd name="connsiteY8" fmla="*/ 339345 h 537605"/>
                  <a:gd name="connsiteX9" fmla="*/ 544120 w 553405"/>
                  <a:gd name="connsiteY9" fmla="*/ 373439 h 537605"/>
                  <a:gd name="connsiteX10" fmla="*/ 546728 w 553405"/>
                  <a:gd name="connsiteY10" fmla="*/ 406358 h 537605"/>
                  <a:gd name="connsiteX11" fmla="*/ 548815 w 553405"/>
                  <a:gd name="connsiteY11" fmla="*/ 440452 h 537605"/>
                  <a:gd name="connsiteX12" fmla="*/ 550902 w 553405"/>
                  <a:gd name="connsiteY12" fmla="*/ 473371 h 537605"/>
                  <a:gd name="connsiteX13" fmla="*/ 552467 w 553405"/>
                  <a:gd name="connsiteY13" fmla="*/ 507465 h 537605"/>
                  <a:gd name="connsiteX14" fmla="*/ 553405 w 553405"/>
                  <a:gd name="connsiteY14" fmla="*/ 537605 h 537605"/>
                  <a:gd name="connsiteX15" fmla="*/ 0 w 553405"/>
                  <a:gd name="connsiteY15" fmla="*/ 537605 h 537605"/>
                  <a:gd name="connsiteX16" fmla="*/ 0 w 553405"/>
                  <a:gd name="connsiteY16" fmla="*/ 523336 h 537605"/>
                  <a:gd name="connsiteX17" fmla="*/ 1044 w 553405"/>
                  <a:gd name="connsiteY17" fmla="*/ 499235 h 537605"/>
                  <a:gd name="connsiteX18" fmla="*/ 2609 w 553405"/>
                  <a:gd name="connsiteY18" fmla="*/ 465729 h 537605"/>
                  <a:gd name="connsiteX19" fmla="*/ 5217 w 553405"/>
                  <a:gd name="connsiteY19" fmla="*/ 431634 h 537605"/>
                  <a:gd name="connsiteX20" fmla="*/ 10434 w 553405"/>
                  <a:gd name="connsiteY20" fmla="*/ 364622 h 537605"/>
                  <a:gd name="connsiteX21" fmla="*/ 17216 w 553405"/>
                  <a:gd name="connsiteY21" fmla="*/ 292318 h 537605"/>
                  <a:gd name="connsiteX22" fmla="*/ 25041 w 553405"/>
                  <a:gd name="connsiteY22" fmla="*/ 220015 h 537605"/>
                  <a:gd name="connsiteX23" fmla="*/ 34432 w 553405"/>
                  <a:gd name="connsiteY23" fmla="*/ 141834 h 537605"/>
                  <a:gd name="connsiteX24" fmla="*/ 60346 w 553405"/>
                  <a:gd name="connsiteY24" fmla="*/ 62476 h 537605"/>
                  <a:gd name="connsiteX25" fmla="*/ 68547 w 553405"/>
                  <a:gd name="connsiteY25" fmla="*/ 25121 h 537605"/>
                  <a:gd name="connsiteX26" fmla="*/ 74601 w 553405"/>
                  <a:gd name="connsiteY26" fmla="*/ 19565 h 537605"/>
                  <a:gd name="connsiteX27" fmla="*/ 88165 w 553405"/>
                  <a:gd name="connsiteY27" fmla="*/ 14862 h 537605"/>
                  <a:gd name="connsiteX28" fmla="*/ 101208 w 553405"/>
                  <a:gd name="connsiteY28" fmla="*/ 10159 h 537605"/>
                  <a:gd name="connsiteX29" fmla="*/ 163215 w 553405"/>
                  <a:gd name="connsiteY29"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1368 w 553405"/>
                  <a:gd name="connsiteY4" fmla="*/ 41184 h 537605"/>
                  <a:gd name="connsiteX5" fmla="*/ 506732 w 553405"/>
                  <a:gd name="connsiteY5" fmla="*/ 74602 h 537605"/>
                  <a:gd name="connsiteX6" fmla="*/ 520122 w 553405"/>
                  <a:gd name="connsiteY6" fmla="*/ 157117 h 537605"/>
                  <a:gd name="connsiteX7" fmla="*/ 526904 w 553405"/>
                  <a:gd name="connsiteY7" fmla="*/ 214725 h 537605"/>
                  <a:gd name="connsiteX8" fmla="*/ 534208 w 553405"/>
                  <a:gd name="connsiteY8" fmla="*/ 272920 h 537605"/>
                  <a:gd name="connsiteX9" fmla="*/ 540990 w 553405"/>
                  <a:gd name="connsiteY9" fmla="*/ 339345 h 537605"/>
                  <a:gd name="connsiteX10" fmla="*/ 544120 w 553405"/>
                  <a:gd name="connsiteY10" fmla="*/ 373439 h 537605"/>
                  <a:gd name="connsiteX11" fmla="*/ 546728 w 553405"/>
                  <a:gd name="connsiteY11" fmla="*/ 406358 h 537605"/>
                  <a:gd name="connsiteX12" fmla="*/ 548815 w 553405"/>
                  <a:gd name="connsiteY12" fmla="*/ 440452 h 537605"/>
                  <a:gd name="connsiteX13" fmla="*/ 550902 w 553405"/>
                  <a:gd name="connsiteY13" fmla="*/ 473371 h 537605"/>
                  <a:gd name="connsiteX14" fmla="*/ 552467 w 553405"/>
                  <a:gd name="connsiteY14" fmla="*/ 507465 h 537605"/>
                  <a:gd name="connsiteX15" fmla="*/ 553405 w 553405"/>
                  <a:gd name="connsiteY15" fmla="*/ 537605 h 537605"/>
                  <a:gd name="connsiteX16" fmla="*/ 0 w 553405"/>
                  <a:gd name="connsiteY16" fmla="*/ 537605 h 537605"/>
                  <a:gd name="connsiteX17" fmla="*/ 0 w 553405"/>
                  <a:gd name="connsiteY17" fmla="*/ 523336 h 537605"/>
                  <a:gd name="connsiteX18" fmla="*/ 1044 w 553405"/>
                  <a:gd name="connsiteY18" fmla="*/ 499235 h 537605"/>
                  <a:gd name="connsiteX19" fmla="*/ 2609 w 553405"/>
                  <a:gd name="connsiteY19" fmla="*/ 465729 h 537605"/>
                  <a:gd name="connsiteX20" fmla="*/ 5217 w 553405"/>
                  <a:gd name="connsiteY20" fmla="*/ 431634 h 537605"/>
                  <a:gd name="connsiteX21" fmla="*/ 10434 w 553405"/>
                  <a:gd name="connsiteY21" fmla="*/ 364622 h 537605"/>
                  <a:gd name="connsiteX22" fmla="*/ 17216 w 553405"/>
                  <a:gd name="connsiteY22" fmla="*/ 292318 h 537605"/>
                  <a:gd name="connsiteX23" fmla="*/ 25041 w 553405"/>
                  <a:gd name="connsiteY23" fmla="*/ 220015 h 537605"/>
                  <a:gd name="connsiteX24" fmla="*/ 34432 w 553405"/>
                  <a:gd name="connsiteY24" fmla="*/ 141834 h 537605"/>
                  <a:gd name="connsiteX25" fmla="*/ 60346 w 553405"/>
                  <a:gd name="connsiteY25" fmla="*/ 62476 h 537605"/>
                  <a:gd name="connsiteX26" fmla="*/ 68547 w 553405"/>
                  <a:gd name="connsiteY26" fmla="*/ 25121 h 537605"/>
                  <a:gd name="connsiteX27" fmla="*/ 74601 w 553405"/>
                  <a:gd name="connsiteY27" fmla="*/ 19565 h 537605"/>
                  <a:gd name="connsiteX28" fmla="*/ 88165 w 553405"/>
                  <a:gd name="connsiteY28" fmla="*/ 14862 h 537605"/>
                  <a:gd name="connsiteX29" fmla="*/ 101208 w 553405"/>
                  <a:gd name="connsiteY29" fmla="*/ 10159 h 537605"/>
                  <a:gd name="connsiteX30" fmla="*/ 163215 w 553405"/>
                  <a:gd name="connsiteY30"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1368 w 553405"/>
                  <a:gd name="connsiteY4" fmla="*/ 41184 h 537605"/>
                  <a:gd name="connsiteX5" fmla="*/ 520122 w 553405"/>
                  <a:gd name="connsiteY5" fmla="*/ 157117 h 537605"/>
                  <a:gd name="connsiteX6" fmla="*/ 526904 w 553405"/>
                  <a:gd name="connsiteY6" fmla="*/ 214725 h 537605"/>
                  <a:gd name="connsiteX7" fmla="*/ 534208 w 553405"/>
                  <a:gd name="connsiteY7" fmla="*/ 272920 h 537605"/>
                  <a:gd name="connsiteX8" fmla="*/ 540990 w 553405"/>
                  <a:gd name="connsiteY8" fmla="*/ 339345 h 537605"/>
                  <a:gd name="connsiteX9" fmla="*/ 544120 w 553405"/>
                  <a:gd name="connsiteY9" fmla="*/ 373439 h 537605"/>
                  <a:gd name="connsiteX10" fmla="*/ 546728 w 553405"/>
                  <a:gd name="connsiteY10" fmla="*/ 406358 h 537605"/>
                  <a:gd name="connsiteX11" fmla="*/ 548815 w 553405"/>
                  <a:gd name="connsiteY11" fmla="*/ 440452 h 537605"/>
                  <a:gd name="connsiteX12" fmla="*/ 550902 w 553405"/>
                  <a:gd name="connsiteY12" fmla="*/ 473371 h 537605"/>
                  <a:gd name="connsiteX13" fmla="*/ 552467 w 553405"/>
                  <a:gd name="connsiteY13" fmla="*/ 507465 h 537605"/>
                  <a:gd name="connsiteX14" fmla="*/ 553405 w 553405"/>
                  <a:gd name="connsiteY14" fmla="*/ 537605 h 537605"/>
                  <a:gd name="connsiteX15" fmla="*/ 0 w 553405"/>
                  <a:gd name="connsiteY15" fmla="*/ 537605 h 537605"/>
                  <a:gd name="connsiteX16" fmla="*/ 0 w 553405"/>
                  <a:gd name="connsiteY16" fmla="*/ 523336 h 537605"/>
                  <a:gd name="connsiteX17" fmla="*/ 1044 w 553405"/>
                  <a:gd name="connsiteY17" fmla="*/ 499235 h 537605"/>
                  <a:gd name="connsiteX18" fmla="*/ 2609 w 553405"/>
                  <a:gd name="connsiteY18" fmla="*/ 465729 h 537605"/>
                  <a:gd name="connsiteX19" fmla="*/ 5217 w 553405"/>
                  <a:gd name="connsiteY19" fmla="*/ 431634 h 537605"/>
                  <a:gd name="connsiteX20" fmla="*/ 10434 w 553405"/>
                  <a:gd name="connsiteY20" fmla="*/ 364622 h 537605"/>
                  <a:gd name="connsiteX21" fmla="*/ 17216 w 553405"/>
                  <a:gd name="connsiteY21" fmla="*/ 292318 h 537605"/>
                  <a:gd name="connsiteX22" fmla="*/ 25041 w 553405"/>
                  <a:gd name="connsiteY22" fmla="*/ 220015 h 537605"/>
                  <a:gd name="connsiteX23" fmla="*/ 34432 w 553405"/>
                  <a:gd name="connsiteY23" fmla="*/ 141834 h 537605"/>
                  <a:gd name="connsiteX24" fmla="*/ 60346 w 553405"/>
                  <a:gd name="connsiteY24" fmla="*/ 62476 h 537605"/>
                  <a:gd name="connsiteX25" fmla="*/ 68547 w 553405"/>
                  <a:gd name="connsiteY25" fmla="*/ 25121 h 537605"/>
                  <a:gd name="connsiteX26" fmla="*/ 74601 w 553405"/>
                  <a:gd name="connsiteY26" fmla="*/ 19565 h 537605"/>
                  <a:gd name="connsiteX27" fmla="*/ 88165 w 553405"/>
                  <a:gd name="connsiteY27" fmla="*/ 14862 h 537605"/>
                  <a:gd name="connsiteX28" fmla="*/ 101208 w 553405"/>
                  <a:gd name="connsiteY28" fmla="*/ 10159 h 537605"/>
                  <a:gd name="connsiteX29" fmla="*/ 163215 w 553405"/>
                  <a:gd name="connsiteY29"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1368 w 553405"/>
                  <a:gd name="connsiteY4" fmla="*/ 41184 h 537605"/>
                  <a:gd name="connsiteX5" fmla="*/ 520122 w 553405"/>
                  <a:gd name="connsiteY5" fmla="*/ 157117 h 537605"/>
                  <a:gd name="connsiteX6" fmla="*/ 526904 w 553405"/>
                  <a:gd name="connsiteY6" fmla="*/ 214725 h 537605"/>
                  <a:gd name="connsiteX7" fmla="*/ 534208 w 553405"/>
                  <a:gd name="connsiteY7" fmla="*/ 272920 h 537605"/>
                  <a:gd name="connsiteX8" fmla="*/ 540990 w 553405"/>
                  <a:gd name="connsiteY8" fmla="*/ 339345 h 537605"/>
                  <a:gd name="connsiteX9" fmla="*/ 544120 w 553405"/>
                  <a:gd name="connsiteY9" fmla="*/ 373439 h 537605"/>
                  <a:gd name="connsiteX10" fmla="*/ 546728 w 553405"/>
                  <a:gd name="connsiteY10" fmla="*/ 406358 h 537605"/>
                  <a:gd name="connsiteX11" fmla="*/ 548815 w 553405"/>
                  <a:gd name="connsiteY11" fmla="*/ 440452 h 537605"/>
                  <a:gd name="connsiteX12" fmla="*/ 550902 w 553405"/>
                  <a:gd name="connsiteY12" fmla="*/ 473371 h 537605"/>
                  <a:gd name="connsiteX13" fmla="*/ 552467 w 553405"/>
                  <a:gd name="connsiteY13" fmla="*/ 507465 h 537605"/>
                  <a:gd name="connsiteX14" fmla="*/ 553405 w 553405"/>
                  <a:gd name="connsiteY14" fmla="*/ 537605 h 537605"/>
                  <a:gd name="connsiteX15" fmla="*/ 0 w 553405"/>
                  <a:gd name="connsiteY15" fmla="*/ 537605 h 537605"/>
                  <a:gd name="connsiteX16" fmla="*/ 0 w 553405"/>
                  <a:gd name="connsiteY16" fmla="*/ 523336 h 537605"/>
                  <a:gd name="connsiteX17" fmla="*/ 1044 w 553405"/>
                  <a:gd name="connsiteY17" fmla="*/ 499235 h 537605"/>
                  <a:gd name="connsiteX18" fmla="*/ 2609 w 553405"/>
                  <a:gd name="connsiteY18" fmla="*/ 465729 h 537605"/>
                  <a:gd name="connsiteX19" fmla="*/ 5217 w 553405"/>
                  <a:gd name="connsiteY19" fmla="*/ 431634 h 537605"/>
                  <a:gd name="connsiteX20" fmla="*/ 10434 w 553405"/>
                  <a:gd name="connsiteY20" fmla="*/ 364622 h 537605"/>
                  <a:gd name="connsiteX21" fmla="*/ 17216 w 553405"/>
                  <a:gd name="connsiteY21" fmla="*/ 292318 h 537605"/>
                  <a:gd name="connsiteX22" fmla="*/ 25041 w 553405"/>
                  <a:gd name="connsiteY22" fmla="*/ 220015 h 537605"/>
                  <a:gd name="connsiteX23" fmla="*/ 34432 w 553405"/>
                  <a:gd name="connsiteY23" fmla="*/ 141834 h 537605"/>
                  <a:gd name="connsiteX24" fmla="*/ 60346 w 553405"/>
                  <a:gd name="connsiteY24" fmla="*/ 62476 h 537605"/>
                  <a:gd name="connsiteX25" fmla="*/ 68547 w 553405"/>
                  <a:gd name="connsiteY25" fmla="*/ 25121 h 537605"/>
                  <a:gd name="connsiteX26" fmla="*/ 74601 w 553405"/>
                  <a:gd name="connsiteY26" fmla="*/ 19565 h 537605"/>
                  <a:gd name="connsiteX27" fmla="*/ 88165 w 553405"/>
                  <a:gd name="connsiteY27" fmla="*/ 14862 h 537605"/>
                  <a:gd name="connsiteX28" fmla="*/ 101208 w 553405"/>
                  <a:gd name="connsiteY28" fmla="*/ 10159 h 537605"/>
                  <a:gd name="connsiteX29" fmla="*/ 163215 w 553405"/>
                  <a:gd name="connsiteY29"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1368 w 553405"/>
                  <a:gd name="connsiteY4" fmla="*/ 41184 h 537605"/>
                  <a:gd name="connsiteX5" fmla="*/ 520122 w 553405"/>
                  <a:gd name="connsiteY5" fmla="*/ 157117 h 537605"/>
                  <a:gd name="connsiteX6" fmla="*/ 526904 w 553405"/>
                  <a:gd name="connsiteY6" fmla="*/ 214725 h 537605"/>
                  <a:gd name="connsiteX7" fmla="*/ 534208 w 553405"/>
                  <a:gd name="connsiteY7" fmla="*/ 272920 h 537605"/>
                  <a:gd name="connsiteX8" fmla="*/ 540990 w 553405"/>
                  <a:gd name="connsiteY8" fmla="*/ 339345 h 537605"/>
                  <a:gd name="connsiteX9" fmla="*/ 544120 w 553405"/>
                  <a:gd name="connsiteY9" fmla="*/ 373439 h 537605"/>
                  <a:gd name="connsiteX10" fmla="*/ 546728 w 553405"/>
                  <a:gd name="connsiteY10" fmla="*/ 406358 h 537605"/>
                  <a:gd name="connsiteX11" fmla="*/ 548815 w 553405"/>
                  <a:gd name="connsiteY11" fmla="*/ 440452 h 537605"/>
                  <a:gd name="connsiteX12" fmla="*/ 550902 w 553405"/>
                  <a:gd name="connsiteY12" fmla="*/ 473371 h 537605"/>
                  <a:gd name="connsiteX13" fmla="*/ 552467 w 553405"/>
                  <a:gd name="connsiteY13" fmla="*/ 507465 h 537605"/>
                  <a:gd name="connsiteX14" fmla="*/ 553405 w 553405"/>
                  <a:gd name="connsiteY14" fmla="*/ 537605 h 537605"/>
                  <a:gd name="connsiteX15" fmla="*/ 0 w 553405"/>
                  <a:gd name="connsiteY15" fmla="*/ 537605 h 537605"/>
                  <a:gd name="connsiteX16" fmla="*/ 0 w 553405"/>
                  <a:gd name="connsiteY16" fmla="*/ 523336 h 537605"/>
                  <a:gd name="connsiteX17" fmla="*/ 1044 w 553405"/>
                  <a:gd name="connsiteY17" fmla="*/ 499235 h 537605"/>
                  <a:gd name="connsiteX18" fmla="*/ 2609 w 553405"/>
                  <a:gd name="connsiteY18" fmla="*/ 465729 h 537605"/>
                  <a:gd name="connsiteX19" fmla="*/ 5217 w 553405"/>
                  <a:gd name="connsiteY19" fmla="*/ 431634 h 537605"/>
                  <a:gd name="connsiteX20" fmla="*/ 10434 w 553405"/>
                  <a:gd name="connsiteY20" fmla="*/ 364622 h 537605"/>
                  <a:gd name="connsiteX21" fmla="*/ 17216 w 553405"/>
                  <a:gd name="connsiteY21" fmla="*/ 292318 h 537605"/>
                  <a:gd name="connsiteX22" fmla="*/ 25041 w 553405"/>
                  <a:gd name="connsiteY22" fmla="*/ 220015 h 537605"/>
                  <a:gd name="connsiteX23" fmla="*/ 34432 w 553405"/>
                  <a:gd name="connsiteY23" fmla="*/ 141834 h 537605"/>
                  <a:gd name="connsiteX24" fmla="*/ 60346 w 553405"/>
                  <a:gd name="connsiteY24" fmla="*/ 62476 h 537605"/>
                  <a:gd name="connsiteX25" fmla="*/ 68547 w 553405"/>
                  <a:gd name="connsiteY25" fmla="*/ 25121 h 537605"/>
                  <a:gd name="connsiteX26" fmla="*/ 74601 w 553405"/>
                  <a:gd name="connsiteY26" fmla="*/ 19565 h 537605"/>
                  <a:gd name="connsiteX27" fmla="*/ 88165 w 553405"/>
                  <a:gd name="connsiteY27" fmla="*/ 14862 h 537605"/>
                  <a:gd name="connsiteX28" fmla="*/ 101208 w 553405"/>
                  <a:gd name="connsiteY28" fmla="*/ 10159 h 537605"/>
                  <a:gd name="connsiteX29" fmla="*/ 163215 w 553405"/>
                  <a:gd name="connsiteY29"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1368 w 553405"/>
                  <a:gd name="connsiteY4" fmla="*/ 41184 h 537605"/>
                  <a:gd name="connsiteX5" fmla="*/ 520122 w 553405"/>
                  <a:gd name="connsiteY5" fmla="*/ 157117 h 537605"/>
                  <a:gd name="connsiteX6" fmla="*/ 526904 w 553405"/>
                  <a:gd name="connsiteY6" fmla="*/ 214725 h 537605"/>
                  <a:gd name="connsiteX7" fmla="*/ 534208 w 553405"/>
                  <a:gd name="connsiteY7" fmla="*/ 272920 h 537605"/>
                  <a:gd name="connsiteX8" fmla="*/ 540990 w 553405"/>
                  <a:gd name="connsiteY8" fmla="*/ 339345 h 537605"/>
                  <a:gd name="connsiteX9" fmla="*/ 544120 w 553405"/>
                  <a:gd name="connsiteY9" fmla="*/ 373439 h 537605"/>
                  <a:gd name="connsiteX10" fmla="*/ 546728 w 553405"/>
                  <a:gd name="connsiteY10" fmla="*/ 406358 h 537605"/>
                  <a:gd name="connsiteX11" fmla="*/ 548815 w 553405"/>
                  <a:gd name="connsiteY11" fmla="*/ 440452 h 537605"/>
                  <a:gd name="connsiteX12" fmla="*/ 550902 w 553405"/>
                  <a:gd name="connsiteY12" fmla="*/ 473371 h 537605"/>
                  <a:gd name="connsiteX13" fmla="*/ 552467 w 553405"/>
                  <a:gd name="connsiteY13" fmla="*/ 507465 h 537605"/>
                  <a:gd name="connsiteX14" fmla="*/ 553405 w 553405"/>
                  <a:gd name="connsiteY14" fmla="*/ 537605 h 537605"/>
                  <a:gd name="connsiteX15" fmla="*/ 0 w 553405"/>
                  <a:gd name="connsiteY15" fmla="*/ 537605 h 537605"/>
                  <a:gd name="connsiteX16" fmla="*/ 0 w 553405"/>
                  <a:gd name="connsiteY16" fmla="*/ 523336 h 537605"/>
                  <a:gd name="connsiteX17" fmla="*/ 1044 w 553405"/>
                  <a:gd name="connsiteY17" fmla="*/ 499235 h 537605"/>
                  <a:gd name="connsiteX18" fmla="*/ 2609 w 553405"/>
                  <a:gd name="connsiteY18" fmla="*/ 465729 h 537605"/>
                  <a:gd name="connsiteX19" fmla="*/ 5217 w 553405"/>
                  <a:gd name="connsiteY19" fmla="*/ 431634 h 537605"/>
                  <a:gd name="connsiteX20" fmla="*/ 10434 w 553405"/>
                  <a:gd name="connsiteY20" fmla="*/ 364622 h 537605"/>
                  <a:gd name="connsiteX21" fmla="*/ 17216 w 553405"/>
                  <a:gd name="connsiteY21" fmla="*/ 292318 h 537605"/>
                  <a:gd name="connsiteX22" fmla="*/ 25041 w 553405"/>
                  <a:gd name="connsiteY22" fmla="*/ 220015 h 537605"/>
                  <a:gd name="connsiteX23" fmla="*/ 34432 w 553405"/>
                  <a:gd name="connsiteY23" fmla="*/ 141834 h 537605"/>
                  <a:gd name="connsiteX24" fmla="*/ 60346 w 553405"/>
                  <a:gd name="connsiteY24" fmla="*/ 62476 h 537605"/>
                  <a:gd name="connsiteX25" fmla="*/ 68547 w 553405"/>
                  <a:gd name="connsiteY25" fmla="*/ 25121 h 537605"/>
                  <a:gd name="connsiteX26" fmla="*/ 74601 w 553405"/>
                  <a:gd name="connsiteY26" fmla="*/ 19565 h 537605"/>
                  <a:gd name="connsiteX27" fmla="*/ 88165 w 553405"/>
                  <a:gd name="connsiteY27" fmla="*/ 14862 h 537605"/>
                  <a:gd name="connsiteX28" fmla="*/ 101208 w 553405"/>
                  <a:gd name="connsiteY28" fmla="*/ 10159 h 537605"/>
                  <a:gd name="connsiteX29" fmla="*/ 163215 w 553405"/>
                  <a:gd name="connsiteY29"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1368 w 553405"/>
                  <a:gd name="connsiteY4" fmla="*/ 41184 h 537605"/>
                  <a:gd name="connsiteX5" fmla="*/ 520122 w 553405"/>
                  <a:gd name="connsiteY5" fmla="*/ 157117 h 537605"/>
                  <a:gd name="connsiteX6" fmla="*/ 526904 w 553405"/>
                  <a:gd name="connsiteY6" fmla="*/ 214725 h 537605"/>
                  <a:gd name="connsiteX7" fmla="*/ 534208 w 553405"/>
                  <a:gd name="connsiteY7" fmla="*/ 272920 h 537605"/>
                  <a:gd name="connsiteX8" fmla="*/ 540990 w 553405"/>
                  <a:gd name="connsiteY8" fmla="*/ 339345 h 537605"/>
                  <a:gd name="connsiteX9" fmla="*/ 544120 w 553405"/>
                  <a:gd name="connsiteY9" fmla="*/ 373439 h 537605"/>
                  <a:gd name="connsiteX10" fmla="*/ 546728 w 553405"/>
                  <a:gd name="connsiteY10" fmla="*/ 406358 h 537605"/>
                  <a:gd name="connsiteX11" fmla="*/ 548815 w 553405"/>
                  <a:gd name="connsiteY11" fmla="*/ 440452 h 537605"/>
                  <a:gd name="connsiteX12" fmla="*/ 550902 w 553405"/>
                  <a:gd name="connsiteY12" fmla="*/ 473371 h 537605"/>
                  <a:gd name="connsiteX13" fmla="*/ 552467 w 553405"/>
                  <a:gd name="connsiteY13" fmla="*/ 507465 h 537605"/>
                  <a:gd name="connsiteX14" fmla="*/ 553405 w 553405"/>
                  <a:gd name="connsiteY14" fmla="*/ 537605 h 537605"/>
                  <a:gd name="connsiteX15" fmla="*/ 0 w 553405"/>
                  <a:gd name="connsiteY15" fmla="*/ 537605 h 537605"/>
                  <a:gd name="connsiteX16" fmla="*/ 0 w 553405"/>
                  <a:gd name="connsiteY16" fmla="*/ 523336 h 537605"/>
                  <a:gd name="connsiteX17" fmla="*/ 1044 w 553405"/>
                  <a:gd name="connsiteY17" fmla="*/ 499235 h 537605"/>
                  <a:gd name="connsiteX18" fmla="*/ 2609 w 553405"/>
                  <a:gd name="connsiteY18" fmla="*/ 465729 h 537605"/>
                  <a:gd name="connsiteX19" fmla="*/ 5217 w 553405"/>
                  <a:gd name="connsiteY19" fmla="*/ 431634 h 537605"/>
                  <a:gd name="connsiteX20" fmla="*/ 10434 w 553405"/>
                  <a:gd name="connsiteY20" fmla="*/ 364622 h 537605"/>
                  <a:gd name="connsiteX21" fmla="*/ 17216 w 553405"/>
                  <a:gd name="connsiteY21" fmla="*/ 292318 h 537605"/>
                  <a:gd name="connsiteX22" fmla="*/ 25041 w 553405"/>
                  <a:gd name="connsiteY22" fmla="*/ 220015 h 537605"/>
                  <a:gd name="connsiteX23" fmla="*/ 34432 w 553405"/>
                  <a:gd name="connsiteY23" fmla="*/ 141834 h 537605"/>
                  <a:gd name="connsiteX24" fmla="*/ 60346 w 553405"/>
                  <a:gd name="connsiteY24" fmla="*/ 62476 h 537605"/>
                  <a:gd name="connsiteX25" fmla="*/ 68547 w 553405"/>
                  <a:gd name="connsiteY25" fmla="*/ 25121 h 537605"/>
                  <a:gd name="connsiteX26" fmla="*/ 88165 w 553405"/>
                  <a:gd name="connsiteY26" fmla="*/ 14862 h 537605"/>
                  <a:gd name="connsiteX27" fmla="*/ 101208 w 553405"/>
                  <a:gd name="connsiteY27" fmla="*/ 10159 h 537605"/>
                  <a:gd name="connsiteX28" fmla="*/ 163215 w 553405"/>
                  <a:gd name="connsiteY28"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1368 w 553405"/>
                  <a:gd name="connsiteY4" fmla="*/ 41184 h 537605"/>
                  <a:gd name="connsiteX5" fmla="*/ 520122 w 553405"/>
                  <a:gd name="connsiteY5" fmla="*/ 157117 h 537605"/>
                  <a:gd name="connsiteX6" fmla="*/ 526904 w 553405"/>
                  <a:gd name="connsiteY6" fmla="*/ 214725 h 537605"/>
                  <a:gd name="connsiteX7" fmla="*/ 534208 w 553405"/>
                  <a:gd name="connsiteY7" fmla="*/ 272920 h 537605"/>
                  <a:gd name="connsiteX8" fmla="*/ 540990 w 553405"/>
                  <a:gd name="connsiteY8" fmla="*/ 339345 h 537605"/>
                  <a:gd name="connsiteX9" fmla="*/ 544120 w 553405"/>
                  <a:gd name="connsiteY9" fmla="*/ 373439 h 537605"/>
                  <a:gd name="connsiteX10" fmla="*/ 546728 w 553405"/>
                  <a:gd name="connsiteY10" fmla="*/ 406358 h 537605"/>
                  <a:gd name="connsiteX11" fmla="*/ 548815 w 553405"/>
                  <a:gd name="connsiteY11" fmla="*/ 440452 h 537605"/>
                  <a:gd name="connsiteX12" fmla="*/ 550902 w 553405"/>
                  <a:gd name="connsiteY12" fmla="*/ 473371 h 537605"/>
                  <a:gd name="connsiteX13" fmla="*/ 552467 w 553405"/>
                  <a:gd name="connsiteY13" fmla="*/ 507465 h 537605"/>
                  <a:gd name="connsiteX14" fmla="*/ 553405 w 553405"/>
                  <a:gd name="connsiteY14" fmla="*/ 537605 h 537605"/>
                  <a:gd name="connsiteX15" fmla="*/ 0 w 553405"/>
                  <a:gd name="connsiteY15" fmla="*/ 537605 h 537605"/>
                  <a:gd name="connsiteX16" fmla="*/ 0 w 553405"/>
                  <a:gd name="connsiteY16" fmla="*/ 523336 h 537605"/>
                  <a:gd name="connsiteX17" fmla="*/ 1044 w 553405"/>
                  <a:gd name="connsiteY17" fmla="*/ 499235 h 537605"/>
                  <a:gd name="connsiteX18" fmla="*/ 2609 w 553405"/>
                  <a:gd name="connsiteY18" fmla="*/ 465729 h 537605"/>
                  <a:gd name="connsiteX19" fmla="*/ 5217 w 553405"/>
                  <a:gd name="connsiteY19" fmla="*/ 431634 h 537605"/>
                  <a:gd name="connsiteX20" fmla="*/ 10434 w 553405"/>
                  <a:gd name="connsiteY20" fmla="*/ 364622 h 537605"/>
                  <a:gd name="connsiteX21" fmla="*/ 17216 w 553405"/>
                  <a:gd name="connsiteY21" fmla="*/ 292318 h 537605"/>
                  <a:gd name="connsiteX22" fmla="*/ 25041 w 553405"/>
                  <a:gd name="connsiteY22" fmla="*/ 220015 h 537605"/>
                  <a:gd name="connsiteX23" fmla="*/ 34432 w 553405"/>
                  <a:gd name="connsiteY23" fmla="*/ 141834 h 537605"/>
                  <a:gd name="connsiteX24" fmla="*/ 60346 w 553405"/>
                  <a:gd name="connsiteY24" fmla="*/ 62476 h 537605"/>
                  <a:gd name="connsiteX25" fmla="*/ 68547 w 553405"/>
                  <a:gd name="connsiteY25" fmla="*/ 25121 h 537605"/>
                  <a:gd name="connsiteX26" fmla="*/ 101208 w 553405"/>
                  <a:gd name="connsiteY26" fmla="*/ 10159 h 537605"/>
                  <a:gd name="connsiteX27" fmla="*/ 163215 w 553405"/>
                  <a:gd name="connsiteY27"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1368 w 553405"/>
                  <a:gd name="connsiteY4" fmla="*/ 41184 h 537605"/>
                  <a:gd name="connsiteX5" fmla="*/ 520122 w 553405"/>
                  <a:gd name="connsiteY5" fmla="*/ 157117 h 537605"/>
                  <a:gd name="connsiteX6" fmla="*/ 526904 w 553405"/>
                  <a:gd name="connsiteY6" fmla="*/ 214725 h 537605"/>
                  <a:gd name="connsiteX7" fmla="*/ 534208 w 553405"/>
                  <a:gd name="connsiteY7" fmla="*/ 272920 h 537605"/>
                  <a:gd name="connsiteX8" fmla="*/ 540990 w 553405"/>
                  <a:gd name="connsiteY8" fmla="*/ 339345 h 537605"/>
                  <a:gd name="connsiteX9" fmla="*/ 544120 w 553405"/>
                  <a:gd name="connsiteY9" fmla="*/ 373439 h 537605"/>
                  <a:gd name="connsiteX10" fmla="*/ 546728 w 553405"/>
                  <a:gd name="connsiteY10" fmla="*/ 406358 h 537605"/>
                  <a:gd name="connsiteX11" fmla="*/ 548815 w 553405"/>
                  <a:gd name="connsiteY11" fmla="*/ 440452 h 537605"/>
                  <a:gd name="connsiteX12" fmla="*/ 550902 w 553405"/>
                  <a:gd name="connsiteY12" fmla="*/ 473371 h 537605"/>
                  <a:gd name="connsiteX13" fmla="*/ 552467 w 553405"/>
                  <a:gd name="connsiteY13" fmla="*/ 507465 h 537605"/>
                  <a:gd name="connsiteX14" fmla="*/ 553405 w 553405"/>
                  <a:gd name="connsiteY14" fmla="*/ 537605 h 537605"/>
                  <a:gd name="connsiteX15" fmla="*/ 0 w 553405"/>
                  <a:gd name="connsiteY15" fmla="*/ 537605 h 537605"/>
                  <a:gd name="connsiteX16" fmla="*/ 0 w 553405"/>
                  <a:gd name="connsiteY16" fmla="*/ 523336 h 537605"/>
                  <a:gd name="connsiteX17" fmla="*/ 1044 w 553405"/>
                  <a:gd name="connsiteY17" fmla="*/ 499235 h 537605"/>
                  <a:gd name="connsiteX18" fmla="*/ 2609 w 553405"/>
                  <a:gd name="connsiteY18" fmla="*/ 465729 h 537605"/>
                  <a:gd name="connsiteX19" fmla="*/ 5217 w 553405"/>
                  <a:gd name="connsiteY19" fmla="*/ 431634 h 537605"/>
                  <a:gd name="connsiteX20" fmla="*/ 10434 w 553405"/>
                  <a:gd name="connsiteY20" fmla="*/ 364622 h 537605"/>
                  <a:gd name="connsiteX21" fmla="*/ 17216 w 553405"/>
                  <a:gd name="connsiteY21" fmla="*/ 292318 h 537605"/>
                  <a:gd name="connsiteX22" fmla="*/ 25041 w 553405"/>
                  <a:gd name="connsiteY22" fmla="*/ 220015 h 537605"/>
                  <a:gd name="connsiteX23" fmla="*/ 34432 w 553405"/>
                  <a:gd name="connsiteY23" fmla="*/ 141834 h 537605"/>
                  <a:gd name="connsiteX24" fmla="*/ 60346 w 553405"/>
                  <a:gd name="connsiteY24" fmla="*/ 62476 h 537605"/>
                  <a:gd name="connsiteX25" fmla="*/ 68547 w 553405"/>
                  <a:gd name="connsiteY25" fmla="*/ 25121 h 537605"/>
                  <a:gd name="connsiteX26" fmla="*/ 163215 w 553405"/>
                  <a:gd name="connsiteY26"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1368 w 553405"/>
                  <a:gd name="connsiteY4" fmla="*/ 41184 h 537605"/>
                  <a:gd name="connsiteX5" fmla="*/ 520122 w 553405"/>
                  <a:gd name="connsiteY5" fmla="*/ 157117 h 537605"/>
                  <a:gd name="connsiteX6" fmla="*/ 526904 w 553405"/>
                  <a:gd name="connsiteY6" fmla="*/ 214725 h 537605"/>
                  <a:gd name="connsiteX7" fmla="*/ 534208 w 553405"/>
                  <a:gd name="connsiteY7" fmla="*/ 272920 h 537605"/>
                  <a:gd name="connsiteX8" fmla="*/ 540990 w 553405"/>
                  <a:gd name="connsiteY8" fmla="*/ 339345 h 537605"/>
                  <a:gd name="connsiteX9" fmla="*/ 544120 w 553405"/>
                  <a:gd name="connsiteY9" fmla="*/ 373439 h 537605"/>
                  <a:gd name="connsiteX10" fmla="*/ 546728 w 553405"/>
                  <a:gd name="connsiteY10" fmla="*/ 406358 h 537605"/>
                  <a:gd name="connsiteX11" fmla="*/ 548815 w 553405"/>
                  <a:gd name="connsiteY11" fmla="*/ 440452 h 537605"/>
                  <a:gd name="connsiteX12" fmla="*/ 550902 w 553405"/>
                  <a:gd name="connsiteY12" fmla="*/ 473371 h 537605"/>
                  <a:gd name="connsiteX13" fmla="*/ 552467 w 553405"/>
                  <a:gd name="connsiteY13" fmla="*/ 507465 h 537605"/>
                  <a:gd name="connsiteX14" fmla="*/ 553405 w 553405"/>
                  <a:gd name="connsiteY14" fmla="*/ 537605 h 537605"/>
                  <a:gd name="connsiteX15" fmla="*/ 0 w 553405"/>
                  <a:gd name="connsiteY15" fmla="*/ 537605 h 537605"/>
                  <a:gd name="connsiteX16" fmla="*/ 0 w 553405"/>
                  <a:gd name="connsiteY16" fmla="*/ 523336 h 537605"/>
                  <a:gd name="connsiteX17" fmla="*/ 1044 w 553405"/>
                  <a:gd name="connsiteY17" fmla="*/ 499235 h 537605"/>
                  <a:gd name="connsiteX18" fmla="*/ 2609 w 553405"/>
                  <a:gd name="connsiteY18" fmla="*/ 465729 h 537605"/>
                  <a:gd name="connsiteX19" fmla="*/ 5217 w 553405"/>
                  <a:gd name="connsiteY19" fmla="*/ 431634 h 537605"/>
                  <a:gd name="connsiteX20" fmla="*/ 10434 w 553405"/>
                  <a:gd name="connsiteY20" fmla="*/ 364622 h 537605"/>
                  <a:gd name="connsiteX21" fmla="*/ 17216 w 553405"/>
                  <a:gd name="connsiteY21" fmla="*/ 292318 h 537605"/>
                  <a:gd name="connsiteX22" fmla="*/ 25041 w 553405"/>
                  <a:gd name="connsiteY22" fmla="*/ 220015 h 537605"/>
                  <a:gd name="connsiteX23" fmla="*/ 34432 w 553405"/>
                  <a:gd name="connsiteY23" fmla="*/ 141834 h 537605"/>
                  <a:gd name="connsiteX24" fmla="*/ 60346 w 553405"/>
                  <a:gd name="connsiteY24" fmla="*/ 62476 h 537605"/>
                  <a:gd name="connsiteX25" fmla="*/ 68547 w 553405"/>
                  <a:gd name="connsiteY25" fmla="*/ 25121 h 537605"/>
                  <a:gd name="connsiteX26" fmla="*/ 163215 w 553405"/>
                  <a:gd name="connsiteY26" fmla="*/ 2517 h 537605"/>
                  <a:gd name="connsiteX0" fmla="*/ 163215 w 553405"/>
                  <a:gd name="connsiteY0" fmla="*/ 2517 h 537605"/>
                  <a:gd name="connsiteX1" fmla="*/ 397678 w 553405"/>
                  <a:gd name="connsiteY1" fmla="*/ 0 h 537605"/>
                  <a:gd name="connsiteX2" fmla="*/ 453868 w 553405"/>
                  <a:gd name="connsiteY2" fmla="*/ 10747 h 537605"/>
                  <a:gd name="connsiteX3" fmla="*/ 474735 w 553405"/>
                  <a:gd name="connsiteY3" fmla="*/ 18389 h 537605"/>
                  <a:gd name="connsiteX4" fmla="*/ 491368 w 553405"/>
                  <a:gd name="connsiteY4" fmla="*/ 41184 h 537605"/>
                  <a:gd name="connsiteX5" fmla="*/ 520122 w 553405"/>
                  <a:gd name="connsiteY5" fmla="*/ 157117 h 537605"/>
                  <a:gd name="connsiteX6" fmla="*/ 526904 w 553405"/>
                  <a:gd name="connsiteY6" fmla="*/ 214725 h 537605"/>
                  <a:gd name="connsiteX7" fmla="*/ 534208 w 553405"/>
                  <a:gd name="connsiteY7" fmla="*/ 272920 h 537605"/>
                  <a:gd name="connsiteX8" fmla="*/ 540990 w 553405"/>
                  <a:gd name="connsiteY8" fmla="*/ 339345 h 537605"/>
                  <a:gd name="connsiteX9" fmla="*/ 544120 w 553405"/>
                  <a:gd name="connsiteY9" fmla="*/ 373439 h 537605"/>
                  <a:gd name="connsiteX10" fmla="*/ 546728 w 553405"/>
                  <a:gd name="connsiteY10" fmla="*/ 406358 h 537605"/>
                  <a:gd name="connsiteX11" fmla="*/ 548815 w 553405"/>
                  <a:gd name="connsiteY11" fmla="*/ 440452 h 537605"/>
                  <a:gd name="connsiteX12" fmla="*/ 550902 w 553405"/>
                  <a:gd name="connsiteY12" fmla="*/ 473371 h 537605"/>
                  <a:gd name="connsiteX13" fmla="*/ 552467 w 553405"/>
                  <a:gd name="connsiteY13" fmla="*/ 507465 h 537605"/>
                  <a:gd name="connsiteX14" fmla="*/ 553405 w 553405"/>
                  <a:gd name="connsiteY14" fmla="*/ 537605 h 537605"/>
                  <a:gd name="connsiteX15" fmla="*/ 0 w 553405"/>
                  <a:gd name="connsiteY15" fmla="*/ 537605 h 537605"/>
                  <a:gd name="connsiteX16" fmla="*/ 0 w 553405"/>
                  <a:gd name="connsiteY16" fmla="*/ 523336 h 537605"/>
                  <a:gd name="connsiteX17" fmla="*/ 1044 w 553405"/>
                  <a:gd name="connsiteY17" fmla="*/ 499235 h 537605"/>
                  <a:gd name="connsiteX18" fmla="*/ 2609 w 553405"/>
                  <a:gd name="connsiteY18" fmla="*/ 465729 h 537605"/>
                  <a:gd name="connsiteX19" fmla="*/ 5217 w 553405"/>
                  <a:gd name="connsiteY19" fmla="*/ 431634 h 537605"/>
                  <a:gd name="connsiteX20" fmla="*/ 10434 w 553405"/>
                  <a:gd name="connsiteY20" fmla="*/ 364622 h 537605"/>
                  <a:gd name="connsiteX21" fmla="*/ 17216 w 553405"/>
                  <a:gd name="connsiteY21" fmla="*/ 292318 h 537605"/>
                  <a:gd name="connsiteX22" fmla="*/ 25041 w 553405"/>
                  <a:gd name="connsiteY22" fmla="*/ 220015 h 537605"/>
                  <a:gd name="connsiteX23" fmla="*/ 34432 w 553405"/>
                  <a:gd name="connsiteY23" fmla="*/ 141834 h 537605"/>
                  <a:gd name="connsiteX24" fmla="*/ 60346 w 553405"/>
                  <a:gd name="connsiteY24" fmla="*/ 62476 h 537605"/>
                  <a:gd name="connsiteX25" fmla="*/ 71881 w 553405"/>
                  <a:gd name="connsiteY25" fmla="*/ 25121 h 537605"/>
                  <a:gd name="connsiteX26" fmla="*/ 163215 w 553405"/>
                  <a:gd name="connsiteY26" fmla="*/ 2517 h 537605"/>
                  <a:gd name="connsiteX0" fmla="*/ 163215 w 553405"/>
                  <a:gd name="connsiteY0" fmla="*/ 2517 h 537605"/>
                  <a:gd name="connsiteX1" fmla="*/ 397678 w 553405"/>
                  <a:gd name="connsiteY1" fmla="*/ 0 h 537605"/>
                  <a:gd name="connsiteX2" fmla="*/ 453868 w 553405"/>
                  <a:gd name="connsiteY2" fmla="*/ 10747 h 537605"/>
                  <a:gd name="connsiteX3" fmla="*/ 491368 w 553405"/>
                  <a:gd name="connsiteY3" fmla="*/ 41184 h 537605"/>
                  <a:gd name="connsiteX4" fmla="*/ 520122 w 553405"/>
                  <a:gd name="connsiteY4" fmla="*/ 157117 h 537605"/>
                  <a:gd name="connsiteX5" fmla="*/ 526904 w 553405"/>
                  <a:gd name="connsiteY5" fmla="*/ 214725 h 537605"/>
                  <a:gd name="connsiteX6" fmla="*/ 534208 w 553405"/>
                  <a:gd name="connsiteY6" fmla="*/ 272920 h 537605"/>
                  <a:gd name="connsiteX7" fmla="*/ 540990 w 553405"/>
                  <a:gd name="connsiteY7" fmla="*/ 339345 h 537605"/>
                  <a:gd name="connsiteX8" fmla="*/ 544120 w 553405"/>
                  <a:gd name="connsiteY8" fmla="*/ 373439 h 537605"/>
                  <a:gd name="connsiteX9" fmla="*/ 546728 w 553405"/>
                  <a:gd name="connsiteY9" fmla="*/ 406358 h 537605"/>
                  <a:gd name="connsiteX10" fmla="*/ 548815 w 553405"/>
                  <a:gd name="connsiteY10" fmla="*/ 440452 h 537605"/>
                  <a:gd name="connsiteX11" fmla="*/ 550902 w 553405"/>
                  <a:gd name="connsiteY11" fmla="*/ 473371 h 537605"/>
                  <a:gd name="connsiteX12" fmla="*/ 552467 w 553405"/>
                  <a:gd name="connsiteY12" fmla="*/ 507465 h 537605"/>
                  <a:gd name="connsiteX13" fmla="*/ 553405 w 553405"/>
                  <a:gd name="connsiteY13" fmla="*/ 537605 h 537605"/>
                  <a:gd name="connsiteX14" fmla="*/ 0 w 553405"/>
                  <a:gd name="connsiteY14" fmla="*/ 537605 h 537605"/>
                  <a:gd name="connsiteX15" fmla="*/ 0 w 553405"/>
                  <a:gd name="connsiteY15" fmla="*/ 523336 h 537605"/>
                  <a:gd name="connsiteX16" fmla="*/ 1044 w 553405"/>
                  <a:gd name="connsiteY16" fmla="*/ 499235 h 537605"/>
                  <a:gd name="connsiteX17" fmla="*/ 2609 w 553405"/>
                  <a:gd name="connsiteY17" fmla="*/ 465729 h 537605"/>
                  <a:gd name="connsiteX18" fmla="*/ 5217 w 553405"/>
                  <a:gd name="connsiteY18" fmla="*/ 431634 h 537605"/>
                  <a:gd name="connsiteX19" fmla="*/ 10434 w 553405"/>
                  <a:gd name="connsiteY19" fmla="*/ 364622 h 537605"/>
                  <a:gd name="connsiteX20" fmla="*/ 17216 w 553405"/>
                  <a:gd name="connsiteY20" fmla="*/ 292318 h 537605"/>
                  <a:gd name="connsiteX21" fmla="*/ 25041 w 553405"/>
                  <a:gd name="connsiteY21" fmla="*/ 220015 h 537605"/>
                  <a:gd name="connsiteX22" fmla="*/ 34432 w 553405"/>
                  <a:gd name="connsiteY22" fmla="*/ 141834 h 537605"/>
                  <a:gd name="connsiteX23" fmla="*/ 60346 w 553405"/>
                  <a:gd name="connsiteY23" fmla="*/ 62476 h 537605"/>
                  <a:gd name="connsiteX24" fmla="*/ 71881 w 553405"/>
                  <a:gd name="connsiteY24" fmla="*/ 25121 h 537605"/>
                  <a:gd name="connsiteX25" fmla="*/ 163215 w 553405"/>
                  <a:gd name="connsiteY25" fmla="*/ 2517 h 537605"/>
                  <a:gd name="connsiteX0" fmla="*/ 163215 w 553405"/>
                  <a:gd name="connsiteY0" fmla="*/ 2517 h 537605"/>
                  <a:gd name="connsiteX1" fmla="*/ 397678 w 553405"/>
                  <a:gd name="connsiteY1" fmla="*/ 0 h 537605"/>
                  <a:gd name="connsiteX2" fmla="*/ 491368 w 553405"/>
                  <a:gd name="connsiteY2" fmla="*/ 41184 h 537605"/>
                  <a:gd name="connsiteX3" fmla="*/ 520122 w 553405"/>
                  <a:gd name="connsiteY3" fmla="*/ 157117 h 537605"/>
                  <a:gd name="connsiteX4" fmla="*/ 526904 w 553405"/>
                  <a:gd name="connsiteY4" fmla="*/ 214725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34432 w 553405"/>
                  <a:gd name="connsiteY21" fmla="*/ 141834 h 537605"/>
                  <a:gd name="connsiteX22" fmla="*/ 60346 w 553405"/>
                  <a:gd name="connsiteY22" fmla="*/ 62476 h 537605"/>
                  <a:gd name="connsiteX23" fmla="*/ 71881 w 553405"/>
                  <a:gd name="connsiteY23" fmla="*/ 25121 h 537605"/>
                  <a:gd name="connsiteX24" fmla="*/ 163215 w 553405"/>
                  <a:gd name="connsiteY24" fmla="*/ 2517 h 537605"/>
                  <a:gd name="connsiteX0" fmla="*/ 163215 w 553405"/>
                  <a:gd name="connsiteY0" fmla="*/ 2517 h 537605"/>
                  <a:gd name="connsiteX1" fmla="*/ 397678 w 553405"/>
                  <a:gd name="connsiteY1" fmla="*/ 0 h 537605"/>
                  <a:gd name="connsiteX2" fmla="*/ 491368 w 553405"/>
                  <a:gd name="connsiteY2" fmla="*/ 41184 h 537605"/>
                  <a:gd name="connsiteX3" fmla="*/ 520122 w 553405"/>
                  <a:gd name="connsiteY3" fmla="*/ 157117 h 537605"/>
                  <a:gd name="connsiteX4" fmla="*/ 526904 w 553405"/>
                  <a:gd name="connsiteY4" fmla="*/ 214725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34432 w 553405"/>
                  <a:gd name="connsiteY21" fmla="*/ 141834 h 537605"/>
                  <a:gd name="connsiteX22" fmla="*/ 60346 w 553405"/>
                  <a:gd name="connsiteY22" fmla="*/ 62476 h 537605"/>
                  <a:gd name="connsiteX23" fmla="*/ 71881 w 553405"/>
                  <a:gd name="connsiteY23" fmla="*/ 25121 h 537605"/>
                  <a:gd name="connsiteX24" fmla="*/ 163215 w 553405"/>
                  <a:gd name="connsiteY24" fmla="*/ 2517 h 537605"/>
                  <a:gd name="connsiteX0" fmla="*/ 163215 w 553405"/>
                  <a:gd name="connsiteY0" fmla="*/ 2517 h 537605"/>
                  <a:gd name="connsiteX1" fmla="*/ 397678 w 553405"/>
                  <a:gd name="connsiteY1" fmla="*/ 0 h 537605"/>
                  <a:gd name="connsiteX2" fmla="*/ 491368 w 553405"/>
                  <a:gd name="connsiteY2" fmla="*/ 41184 h 537605"/>
                  <a:gd name="connsiteX3" fmla="*/ 520122 w 553405"/>
                  <a:gd name="connsiteY3" fmla="*/ 157117 h 537605"/>
                  <a:gd name="connsiteX4" fmla="*/ 526904 w 553405"/>
                  <a:gd name="connsiteY4" fmla="*/ 214725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34432 w 553405"/>
                  <a:gd name="connsiteY21" fmla="*/ 141834 h 537605"/>
                  <a:gd name="connsiteX22" fmla="*/ 60346 w 553405"/>
                  <a:gd name="connsiteY22" fmla="*/ 62476 h 537605"/>
                  <a:gd name="connsiteX23" fmla="*/ 71881 w 553405"/>
                  <a:gd name="connsiteY23" fmla="*/ 25121 h 537605"/>
                  <a:gd name="connsiteX24" fmla="*/ 163215 w 553405"/>
                  <a:gd name="connsiteY24" fmla="*/ 2517 h 537605"/>
                  <a:gd name="connsiteX0" fmla="*/ 163215 w 553405"/>
                  <a:gd name="connsiteY0" fmla="*/ 2517 h 537605"/>
                  <a:gd name="connsiteX1" fmla="*/ 397678 w 553405"/>
                  <a:gd name="connsiteY1" fmla="*/ 0 h 537605"/>
                  <a:gd name="connsiteX2" fmla="*/ 491368 w 553405"/>
                  <a:gd name="connsiteY2" fmla="*/ 41184 h 537605"/>
                  <a:gd name="connsiteX3" fmla="*/ 520122 w 553405"/>
                  <a:gd name="connsiteY3" fmla="*/ 157117 h 537605"/>
                  <a:gd name="connsiteX4" fmla="*/ 526904 w 553405"/>
                  <a:gd name="connsiteY4" fmla="*/ 214725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34432 w 553405"/>
                  <a:gd name="connsiteY21" fmla="*/ 141834 h 537605"/>
                  <a:gd name="connsiteX22" fmla="*/ 60346 w 553405"/>
                  <a:gd name="connsiteY22" fmla="*/ 62476 h 537605"/>
                  <a:gd name="connsiteX23" fmla="*/ 71881 w 553405"/>
                  <a:gd name="connsiteY23" fmla="*/ 25121 h 537605"/>
                  <a:gd name="connsiteX24" fmla="*/ 163215 w 553405"/>
                  <a:gd name="connsiteY24" fmla="*/ 2517 h 537605"/>
                  <a:gd name="connsiteX0" fmla="*/ 163215 w 553405"/>
                  <a:gd name="connsiteY0" fmla="*/ 2517 h 537605"/>
                  <a:gd name="connsiteX1" fmla="*/ 397678 w 553405"/>
                  <a:gd name="connsiteY1" fmla="*/ 0 h 537605"/>
                  <a:gd name="connsiteX2" fmla="*/ 491368 w 553405"/>
                  <a:gd name="connsiteY2" fmla="*/ 41184 h 537605"/>
                  <a:gd name="connsiteX3" fmla="*/ 520122 w 553405"/>
                  <a:gd name="connsiteY3" fmla="*/ 157117 h 537605"/>
                  <a:gd name="connsiteX4" fmla="*/ 526904 w 553405"/>
                  <a:gd name="connsiteY4" fmla="*/ 214725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34432 w 553405"/>
                  <a:gd name="connsiteY21" fmla="*/ 141834 h 537605"/>
                  <a:gd name="connsiteX22" fmla="*/ 60346 w 553405"/>
                  <a:gd name="connsiteY22" fmla="*/ 62476 h 537605"/>
                  <a:gd name="connsiteX23" fmla="*/ 89379 w 553405"/>
                  <a:gd name="connsiteY23" fmla="*/ 19848 h 537605"/>
                  <a:gd name="connsiteX24" fmla="*/ 163215 w 553405"/>
                  <a:gd name="connsiteY24" fmla="*/ 2517 h 537605"/>
                  <a:gd name="connsiteX0" fmla="*/ 163215 w 553405"/>
                  <a:gd name="connsiteY0" fmla="*/ 2517 h 537605"/>
                  <a:gd name="connsiteX1" fmla="*/ 397678 w 553405"/>
                  <a:gd name="connsiteY1" fmla="*/ 0 h 537605"/>
                  <a:gd name="connsiteX2" fmla="*/ 491368 w 553405"/>
                  <a:gd name="connsiteY2" fmla="*/ 41184 h 537605"/>
                  <a:gd name="connsiteX3" fmla="*/ 520122 w 553405"/>
                  <a:gd name="connsiteY3" fmla="*/ 157117 h 537605"/>
                  <a:gd name="connsiteX4" fmla="*/ 526904 w 553405"/>
                  <a:gd name="connsiteY4" fmla="*/ 214725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43531 w 553405"/>
                  <a:gd name="connsiteY21" fmla="*/ 142587 h 537605"/>
                  <a:gd name="connsiteX22" fmla="*/ 60346 w 553405"/>
                  <a:gd name="connsiteY22" fmla="*/ 62476 h 537605"/>
                  <a:gd name="connsiteX23" fmla="*/ 89379 w 553405"/>
                  <a:gd name="connsiteY23" fmla="*/ 19848 h 537605"/>
                  <a:gd name="connsiteX24" fmla="*/ 163215 w 553405"/>
                  <a:gd name="connsiteY24" fmla="*/ 2517 h 537605"/>
                  <a:gd name="connsiteX0" fmla="*/ 163215 w 553405"/>
                  <a:gd name="connsiteY0" fmla="*/ 2517 h 537605"/>
                  <a:gd name="connsiteX1" fmla="*/ 397678 w 553405"/>
                  <a:gd name="connsiteY1" fmla="*/ 0 h 537605"/>
                  <a:gd name="connsiteX2" fmla="*/ 478070 w 553405"/>
                  <a:gd name="connsiteY2" fmla="*/ 35157 h 537605"/>
                  <a:gd name="connsiteX3" fmla="*/ 520122 w 553405"/>
                  <a:gd name="connsiteY3" fmla="*/ 157117 h 537605"/>
                  <a:gd name="connsiteX4" fmla="*/ 526904 w 553405"/>
                  <a:gd name="connsiteY4" fmla="*/ 214725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43531 w 553405"/>
                  <a:gd name="connsiteY21" fmla="*/ 142587 h 537605"/>
                  <a:gd name="connsiteX22" fmla="*/ 60346 w 553405"/>
                  <a:gd name="connsiteY22" fmla="*/ 62476 h 537605"/>
                  <a:gd name="connsiteX23" fmla="*/ 89379 w 553405"/>
                  <a:gd name="connsiteY23" fmla="*/ 19848 h 537605"/>
                  <a:gd name="connsiteX24" fmla="*/ 163215 w 553405"/>
                  <a:gd name="connsiteY24" fmla="*/ 2517 h 537605"/>
                  <a:gd name="connsiteX0" fmla="*/ 163215 w 553405"/>
                  <a:gd name="connsiteY0" fmla="*/ 2517 h 537605"/>
                  <a:gd name="connsiteX1" fmla="*/ 397678 w 553405"/>
                  <a:gd name="connsiteY1" fmla="*/ 0 h 537605"/>
                  <a:gd name="connsiteX2" fmla="*/ 478070 w 553405"/>
                  <a:gd name="connsiteY2" fmla="*/ 35157 h 537605"/>
                  <a:gd name="connsiteX3" fmla="*/ 511023 w 553405"/>
                  <a:gd name="connsiteY3" fmla="*/ 169924 h 537605"/>
                  <a:gd name="connsiteX4" fmla="*/ 526904 w 553405"/>
                  <a:gd name="connsiteY4" fmla="*/ 214725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43531 w 553405"/>
                  <a:gd name="connsiteY21" fmla="*/ 142587 h 537605"/>
                  <a:gd name="connsiteX22" fmla="*/ 60346 w 553405"/>
                  <a:gd name="connsiteY22" fmla="*/ 62476 h 537605"/>
                  <a:gd name="connsiteX23" fmla="*/ 89379 w 553405"/>
                  <a:gd name="connsiteY23" fmla="*/ 19848 h 537605"/>
                  <a:gd name="connsiteX24" fmla="*/ 163215 w 553405"/>
                  <a:gd name="connsiteY24" fmla="*/ 2517 h 537605"/>
                  <a:gd name="connsiteX0" fmla="*/ 163215 w 553405"/>
                  <a:gd name="connsiteY0" fmla="*/ 2517 h 537605"/>
                  <a:gd name="connsiteX1" fmla="*/ 397678 w 553405"/>
                  <a:gd name="connsiteY1" fmla="*/ 0 h 537605"/>
                  <a:gd name="connsiteX2" fmla="*/ 478070 w 553405"/>
                  <a:gd name="connsiteY2" fmla="*/ 35157 h 537605"/>
                  <a:gd name="connsiteX3" fmla="*/ 511023 w 553405"/>
                  <a:gd name="connsiteY3" fmla="*/ 169924 h 537605"/>
                  <a:gd name="connsiteX4" fmla="*/ 523405 w 553405"/>
                  <a:gd name="connsiteY4" fmla="*/ 222258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43531 w 553405"/>
                  <a:gd name="connsiteY21" fmla="*/ 142587 h 537605"/>
                  <a:gd name="connsiteX22" fmla="*/ 60346 w 553405"/>
                  <a:gd name="connsiteY22" fmla="*/ 62476 h 537605"/>
                  <a:gd name="connsiteX23" fmla="*/ 89379 w 553405"/>
                  <a:gd name="connsiteY23" fmla="*/ 19848 h 537605"/>
                  <a:gd name="connsiteX24" fmla="*/ 163215 w 553405"/>
                  <a:gd name="connsiteY24" fmla="*/ 2517 h 537605"/>
                  <a:gd name="connsiteX0" fmla="*/ 163215 w 553405"/>
                  <a:gd name="connsiteY0" fmla="*/ 2517 h 537605"/>
                  <a:gd name="connsiteX1" fmla="*/ 397678 w 553405"/>
                  <a:gd name="connsiteY1" fmla="*/ 0 h 537605"/>
                  <a:gd name="connsiteX2" fmla="*/ 479470 w 553405"/>
                  <a:gd name="connsiteY2" fmla="*/ 39677 h 537605"/>
                  <a:gd name="connsiteX3" fmla="*/ 511023 w 553405"/>
                  <a:gd name="connsiteY3" fmla="*/ 169924 h 537605"/>
                  <a:gd name="connsiteX4" fmla="*/ 523405 w 553405"/>
                  <a:gd name="connsiteY4" fmla="*/ 222258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43531 w 553405"/>
                  <a:gd name="connsiteY21" fmla="*/ 142587 h 537605"/>
                  <a:gd name="connsiteX22" fmla="*/ 60346 w 553405"/>
                  <a:gd name="connsiteY22" fmla="*/ 62476 h 537605"/>
                  <a:gd name="connsiteX23" fmla="*/ 89379 w 553405"/>
                  <a:gd name="connsiteY23" fmla="*/ 19848 h 537605"/>
                  <a:gd name="connsiteX24" fmla="*/ 163215 w 553405"/>
                  <a:gd name="connsiteY24" fmla="*/ 2517 h 537605"/>
                  <a:gd name="connsiteX0" fmla="*/ 163215 w 553405"/>
                  <a:gd name="connsiteY0" fmla="*/ 2517 h 537605"/>
                  <a:gd name="connsiteX1" fmla="*/ 397678 w 553405"/>
                  <a:gd name="connsiteY1" fmla="*/ 0 h 537605"/>
                  <a:gd name="connsiteX2" fmla="*/ 479470 w 553405"/>
                  <a:gd name="connsiteY2" fmla="*/ 39677 h 537605"/>
                  <a:gd name="connsiteX3" fmla="*/ 511023 w 553405"/>
                  <a:gd name="connsiteY3" fmla="*/ 169924 h 537605"/>
                  <a:gd name="connsiteX4" fmla="*/ 523405 w 553405"/>
                  <a:gd name="connsiteY4" fmla="*/ 222258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43531 w 553405"/>
                  <a:gd name="connsiteY21" fmla="*/ 142587 h 537605"/>
                  <a:gd name="connsiteX22" fmla="*/ 60346 w 553405"/>
                  <a:gd name="connsiteY22" fmla="*/ 62476 h 537605"/>
                  <a:gd name="connsiteX23" fmla="*/ 163215 w 553405"/>
                  <a:gd name="connsiteY23" fmla="*/ 2517 h 537605"/>
                  <a:gd name="connsiteX0" fmla="*/ 163215 w 553405"/>
                  <a:gd name="connsiteY0" fmla="*/ 2517 h 537605"/>
                  <a:gd name="connsiteX1" fmla="*/ 397678 w 553405"/>
                  <a:gd name="connsiteY1" fmla="*/ 0 h 537605"/>
                  <a:gd name="connsiteX2" fmla="*/ 479470 w 553405"/>
                  <a:gd name="connsiteY2" fmla="*/ 39677 h 537605"/>
                  <a:gd name="connsiteX3" fmla="*/ 511023 w 553405"/>
                  <a:gd name="connsiteY3" fmla="*/ 169924 h 537605"/>
                  <a:gd name="connsiteX4" fmla="*/ 523405 w 553405"/>
                  <a:gd name="connsiteY4" fmla="*/ 222258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43531 w 553405"/>
                  <a:gd name="connsiteY21" fmla="*/ 142587 h 537605"/>
                  <a:gd name="connsiteX22" fmla="*/ 60346 w 553405"/>
                  <a:gd name="connsiteY22" fmla="*/ 62476 h 537605"/>
                  <a:gd name="connsiteX23" fmla="*/ 163215 w 553405"/>
                  <a:gd name="connsiteY23" fmla="*/ 2517 h 537605"/>
                  <a:gd name="connsiteX0" fmla="*/ 163215 w 553405"/>
                  <a:gd name="connsiteY0" fmla="*/ 2517 h 537605"/>
                  <a:gd name="connsiteX1" fmla="*/ 397678 w 553405"/>
                  <a:gd name="connsiteY1" fmla="*/ 0 h 537605"/>
                  <a:gd name="connsiteX2" fmla="*/ 479470 w 553405"/>
                  <a:gd name="connsiteY2" fmla="*/ 39677 h 537605"/>
                  <a:gd name="connsiteX3" fmla="*/ 511023 w 553405"/>
                  <a:gd name="connsiteY3" fmla="*/ 169924 h 537605"/>
                  <a:gd name="connsiteX4" fmla="*/ 523405 w 553405"/>
                  <a:gd name="connsiteY4" fmla="*/ 222258 h 537605"/>
                  <a:gd name="connsiteX5" fmla="*/ 534208 w 553405"/>
                  <a:gd name="connsiteY5" fmla="*/ 272920 h 537605"/>
                  <a:gd name="connsiteX6" fmla="*/ 540990 w 553405"/>
                  <a:gd name="connsiteY6" fmla="*/ 339345 h 537605"/>
                  <a:gd name="connsiteX7" fmla="*/ 544120 w 553405"/>
                  <a:gd name="connsiteY7" fmla="*/ 373439 h 537605"/>
                  <a:gd name="connsiteX8" fmla="*/ 546728 w 553405"/>
                  <a:gd name="connsiteY8" fmla="*/ 406358 h 537605"/>
                  <a:gd name="connsiteX9" fmla="*/ 548815 w 553405"/>
                  <a:gd name="connsiteY9" fmla="*/ 440452 h 537605"/>
                  <a:gd name="connsiteX10" fmla="*/ 550902 w 553405"/>
                  <a:gd name="connsiteY10" fmla="*/ 473371 h 537605"/>
                  <a:gd name="connsiteX11" fmla="*/ 552467 w 553405"/>
                  <a:gd name="connsiteY11" fmla="*/ 507465 h 537605"/>
                  <a:gd name="connsiteX12" fmla="*/ 553405 w 553405"/>
                  <a:gd name="connsiteY12" fmla="*/ 537605 h 537605"/>
                  <a:gd name="connsiteX13" fmla="*/ 0 w 553405"/>
                  <a:gd name="connsiteY13" fmla="*/ 537605 h 537605"/>
                  <a:gd name="connsiteX14" fmla="*/ 0 w 553405"/>
                  <a:gd name="connsiteY14" fmla="*/ 523336 h 537605"/>
                  <a:gd name="connsiteX15" fmla="*/ 1044 w 553405"/>
                  <a:gd name="connsiteY15" fmla="*/ 499235 h 537605"/>
                  <a:gd name="connsiteX16" fmla="*/ 2609 w 553405"/>
                  <a:gd name="connsiteY16" fmla="*/ 465729 h 537605"/>
                  <a:gd name="connsiteX17" fmla="*/ 5217 w 553405"/>
                  <a:gd name="connsiteY17" fmla="*/ 431634 h 537605"/>
                  <a:gd name="connsiteX18" fmla="*/ 10434 w 553405"/>
                  <a:gd name="connsiteY18" fmla="*/ 364622 h 537605"/>
                  <a:gd name="connsiteX19" fmla="*/ 17216 w 553405"/>
                  <a:gd name="connsiteY19" fmla="*/ 292318 h 537605"/>
                  <a:gd name="connsiteX20" fmla="*/ 25041 w 553405"/>
                  <a:gd name="connsiteY20" fmla="*/ 220015 h 537605"/>
                  <a:gd name="connsiteX21" fmla="*/ 43531 w 553405"/>
                  <a:gd name="connsiteY21" fmla="*/ 142587 h 537605"/>
                  <a:gd name="connsiteX22" fmla="*/ 60346 w 553405"/>
                  <a:gd name="connsiteY22" fmla="*/ 62476 h 537605"/>
                  <a:gd name="connsiteX23" fmla="*/ 163215 w 553405"/>
                  <a:gd name="connsiteY23" fmla="*/ 2517 h 53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53405" h="537605">
                    <a:moveTo>
                      <a:pt x="163215" y="2517"/>
                    </a:moveTo>
                    <a:cubicBezTo>
                      <a:pt x="252337" y="40110"/>
                      <a:pt x="320158" y="37764"/>
                      <a:pt x="397678" y="0"/>
                    </a:cubicBezTo>
                    <a:cubicBezTo>
                      <a:pt x="452245" y="6551"/>
                      <a:pt x="478244" y="32408"/>
                      <a:pt x="479470" y="39677"/>
                    </a:cubicBezTo>
                    <a:cubicBezTo>
                      <a:pt x="490369" y="62798"/>
                      <a:pt x="505100" y="141001"/>
                      <a:pt x="511023" y="169924"/>
                    </a:cubicBezTo>
                    <a:lnTo>
                      <a:pt x="523405" y="222258"/>
                    </a:lnTo>
                    <a:lnTo>
                      <a:pt x="534208" y="272920"/>
                    </a:lnTo>
                    <a:lnTo>
                      <a:pt x="540990" y="339345"/>
                    </a:lnTo>
                    <a:lnTo>
                      <a:pt x="544120" y="373439"/>
                    </a:lnTo>
                    <a:lnTo>
                      <a:pt x="546728" y="406358"/>
                    </a:lnTo>
                    <a:lnTo>
                      <a:pt x="548815" y="440452"/>
                    </a:lnTo>
                    <a:lnTo>
                      <a:pt x="550902" y="473371"/>
                    </a:lnTo>
                    <a:cubicBezTo>
                      <a:pt x="551424" y="484736"/>
                      <a:pt x="551945" y="496100"/>
                      <a:pt x="552467" y="507465"/>
                    </a:cubicBezTo>
                    <a:cubicBezTo>
                      <a:pt x="552780" y="517512"/>
                      <a:pt x="553092" y="527558"/>
                      <a:pt x="553405" y="537605"/>
                    </a:cubicBezTo>
                    <a:lnTo>
                      <a:pt x="0" y="537605"/>
                    </a:lnTo>
                    <a:lnTo>
                      <a:pt x="0" y="523336"/>
                    </a:lnTo>
                    <a:lnTo>
                      <a:pt x="1044" y="499235"/>
                    </a:lnTo>
                    <a:cubicBezTo>
                      <a:pt x="1566" y="488066"/>
                      <a:pt x="2087" y="476898"/>
                      <a:pt x="2609" y="465729"/>
                    </a:cubicBezTo>
                    <a:lnTo>
                      <a:pt x="5217" y="431634"/>
                    </a:lnTo>
                    <a:lnTo>
                      <a:pt x="10434" y="364622"/>
                    </a:lnTo>
                    <a:lnTo>
                      <a:pt x="17216" y="292318"/>
                    </a:lnTo>
                    <a:lnTo>
                      <a:pt x="25041" y="220015"/>
                    </a:lnTo>
                    <a:lnTo>
                      <a:pt x="43531" y="142587"/>
                    </a:lnTo>
                    <a:lnTo>
                      <a:pt x="60346" y="62476"/>
                    </a:lnTo>
                    <a:cubicBezTo>
                      <a:pt x="63496" y="20297"/>
                      <a:pt x="106993" y="12930"/>
                      <a:pt x="163215" y="2517"/>
                    </a:cubicBezTo>
                    <a:close/>
                  </a:path>
                </a:pathLst>
              </a:custGeom>
              <a:solidFill>
                <a:schemeClr val="bg1">
                  <a:lumMod val="75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a:solidFill>
                    <a:srgbClr val="505050"/>
                  </a:solidFill>
                  <a:latin typeface="Arial"/>
                </a:endParaRPr>
              </a:p>
            </p:txBody>
          </p:sp>
          <p:sp>
            <p:nvSpPr>
              <p:cNvPr id="2458" name="Rounded Rectangle 680">
                <a:extLst>
                  <a:ext uri="{FF2B5EF4-FFF2-40B4-BE49-F238E27FC236}">
                    <a16:creationId xmlns:a16="http://schemas.microsoft.com/office/drawing/2014/main" id="{58416FE3-3BAE-4942-BB8C-23E874D90F51}"/>
                  </a:ext>
                </a:extLst>
              </p:cNvPr>
              <p:cNvSpPr/>
              <p:nvPr/>
            </p:nvSpPr>
            <p:spPr bwMode="auto">
              <a:xfrm>
                <a:off x="-1428661" y="6202813"/>
                <a:ext cx="749064" cy="362419"/>
              </a:xfrm>
              <a:custGeom>
                <a:avLst/>
                <a:gdLst>
                  <a:gd name="connsiteX0" fmla="*/ 0 w 2108788"/>
                  <a:gd name="connsiteY0" fmla="*/ 131613 h 789665"/>
                  <a:gd name="connsiteX1" fmla="*/ 131613 w 2108788"/>
                  <a:gd name="connsiteY1" fmla="*/ 0 h 789665"/>
                  <a:gd name="connsiteX2" fmla="*/ 1977175 w 2108788"/>
                  <a:gd name="connsiteY2" fmla="*/ 0 h 789665"/>
                  <a:gd name="connsiteX3" fmla="*/ 2108788 w 2108788"/>
                  <a:gd name="connsiteY3" fmla="*/ 131613 h 789665"/>
                  <a:gd name="connsiteX4" fmla="*/ 2108788 w 2108788"/>
                  <a:gd name="connsiteY4" fmla="*/ 658052 h 789665"/>
                  <a:gd name="connsiteX5" fmla="*/ 1977175 w 2108788"/>
                  <a:gd name="connsiteY5" fmla="*/ 789665 h 789665"/>
                  <a:gd name="connsiteX6" fmla="*/ 131613 w 2108788"/>
                  <a:gd name="connsiteY6" fmla="*/ 789665 h 789665"/>
                  <a:gd name="connsiteX7" fmla="*/ 0 w 2108788"/>
                  <a:gd name="connsiteY7" fmla="*/ 658052 h 789665"/>
                  <a:gd name="connsiteX8" fmla="*/ 0 w 2108788"/>
                  <a:gd name="connsiteY8" fmla="*/ 131613 h 789665"/>
                  <a:gd name="connsiteX0" fmla="*/ 63500 w 2172288"/>
                  <a:gd name="connsiteY0" fmla="*/ 131613 h 789722"/>
                  <a:gd name="connsiteX1" fmla="*/ 195113 w 2172288"/>
                  <a:gd name="connsiteY1" fmla="*/ 0 h 789722"/>
                  <a:gd name="connsiteX2" fmla="*/ 2040675 w 2172288"/>
                  <a:gd name="connsiteY2" fmla="*/ 0 h 789722"/>
                  <a:gd name="connsiteX3" fmla="*/ 2172288 w 2172288"/>
                  <a:gd name="connsiteY3" fmla="*/ 131613 h 789722"/>
                  <a:gd name="connsiteX4" fmla="*/ 2172288 w 2172288"/>
                  <a:gd name="connsiteY4" fmla="*/ 658052 h 789722"/>
                  <a:gd name="connsiteX5" fmla="*/ 2040675 w 2172288"/>
                  <a:gd name="connsiteY5" fmla="*/ 789665 h 789722"/>
                  <a:gd name="connsiteX6" fmla="*/ 195113 w 2172288"/>
                  <a:gd name="connsiteY6" fmla="*/ 789665 h 789722"/>
                  <a:gd name="connsiteX7" fmla="*/ 0 w 2172288"/>
                  <a:gd name="connsiteY7" fmla="*/ 721552 h 789722"/>
                  <a:gd name="connsiteX8" fmla="*/ 63500 w 2172288"/>
                  <a:gd name="connsiteY8" fmla="*/ 131613 h 789722"/>
                  <a:gd name="connsiteX0" fmla="*/ 63500 w 2235788"/>
                  <a:gd name="connsiteY0" fmla="*/ 131613 h 789722"/>
                  <a:gd name="connsiteX1" fmla="*/ 195113 w 2235788"/>
                  <a:gd name="connsiteY1" fmla="*/ 0 h 789722"/>
                  <a:gd name="connsiteX2" fmla="*/ 2040675 w 2235788"/>
                  <a:gd name="connsiteY2" fmla="*/ 0 h 789722"/>
                  <a:gd name="connsiteX3" fmla="*/ 2172288 w 2235788"/>
                  <a:gd name="connsiteY3" fmla="*/ 131613 h 789722"/>
                  <a:gd name="connsiteX4" fmla="*/ 2235788 w 2235788"/>
                  <a:gd name="connsiteY4" fmla="*/ 689802 h 789722"/>
                  <a:gd name="connsiteX5" fmla="*/ 2040675 w 2235788"/>
                  <a:gd name="connsiteY5" fmla="*/ 789665 h 789722"/>
                  <a:gd name="connsiteX6" fmla="*/ 195113 w 2235788"/>
                  <a:gd name="connsiteY6" fmla="*/ 789665 h 789722"/>
                  <a:gd name="connsiteX7" fmla="*/ 0 w 2235788"/>
                  <a:gd name="connsiteY7" fmla="*/ 721552 h 789722"/>
                  <a:gd name="connsiteX8" fmla="*/ 63500 w 2235788"/>
                  <a:gd name="connsiteY8" fmla="*/ 131613 h 789722"/>
                  <a:gd name="connsiteX0" fmla="*/ 63500 w 2235788"/>
                  <a:gd name="connsiteY0" fmla="*/ 186559 h 844668"/>
                  <a:gd name="connsiteX1" fmla="*/ 399909 w 2235788"/>
                  <a:gd name="connsiteY1" fmla="*/ 0 h 844668"/>
                  <a:gd name="connsiteX2" fmla="*/ 2040675 w 2235788"/>
                  <a:gd name="connsiteY2" fmla="*/ 54946 h 844668"/>
                  <a:gd name="connsiteX3" fmla="*/ 2172288 w 2235788"/>
                  <a:gd name="connsiteY3" fmla="*/ 186559 h 844668"/>
                  <a:gd name="connsiteX4" fmla="*/ 2235788 w 2235788"/>
                  <a:gd name="connsiteY4" fmla="*/ 744748 h 844668"/>
                  <a:gd name="connsiteX5" fmla="*/ 2040675 w 2235788"/>
                  <a:gd name="connsiteY5" fmla="*/ 844611 h 844668"/>
                  <a:gd name="connsiteX6" fmla="*/ 195113 w 2235788"/>
                  <a:gd name="connsiteY6" fmla="*/ 844611 h 844668"/>
                  <a:gd name="connsiteX7" fmla="*/ 0 w 2235788"/>
                  <a:gd name="connsiteY7" fmla="*/ 776498 h 844668"/>
                  <a:gd name="connsiteX8" fmla="*/ 63500 w 2235788"/>
                  <a:gd name="connsiteY8" fmla="*/ 186559 h 844668"/>
                  <a:gd name="connsiteX0" fmla="*/ 171292 w 2235788"/>
                  <a:gd name="connsiteY0" fmla="*/ 177401 h 844668"/>
                  <a:gd name="connsiteX1" fmla="*/ 399909 w 2235788"/>
                  <a:gd name="connsiteY1" fmla="*/ 0 h 844668"/>
                  <a:gd name="connsiteX2" fmla="*/ 2040675 w 2235788"/>
                  <a:gd name="connsiteY2" fmla="*/ 54946 h 844668"/>
                  <a:gd name="connsiteX3" fmla="*/ 2172288 w 2235788"/>
                  <a:gd name="connsiteY3" fmla="*/ 186559 h 844668"/>
                  <a:gd name="connsiteX4" fmla="*/ 2235788 w 2235788"/>
                  <a:gd name="connsiteY4" fmla="*/ 744748 h 844668"/>
                  <a:gd name="connsiteX5" fmla="*/ 2040675 w 2235788"/>
                  <a:gd name="connsiteY5" fmla="*/ 844611 h 844668"/>
                  <a:gd name="connsiteX6" fmla="*/ 195113 w 2235788"/>
                  <a:gd name="connsiteY6" fmla="*/ 844611 h 844668"/>
                  <a:gd name="connsiteX7" fmla="*/ 0 w 2235788"/>
                  <a:gd name="connsiteY7" fmla="*/ 776498 h 844668"/>
                  <a:gd name="connsiteX8" fmla="*/ 171292 w 2235788"/>
                  <a:gd name="connsiteY8" fmla="*/ 177401 h 844668"/>
                  <a:gd name="connsiteX0" fmla="*/ 171292 w 2235788"/>
                  <a:gd name="connsiteY0" fmla="*/ 177401 h 844668"/>
                  <a:gd name="connsiteX1" fmla="*/ 399909 w 2235788"/>
                  <a:gd name="connsiteY1" fmla="*/ 0 h 844668"/>
                  <a:gd name="connsiteX2" fmla="*/ 1911329 w 2235788"/>
                  <a:gd name="connsiteY2" fmla="*/ 36628 h 844668"/>
                  <a:gd name="connsiteX3" fmla="*/ 2172288 w 2235788"/>
                  <a:gd name="connsiteY3" fmla="*/ 186559 h 844668"/>
                  <a:gd name="connsiteX4" fmla="*/ 2235788 w 2235788"/>
                  <a:gd name="connsiteY4" fmla="*/ 744748 h 844668"/>
                  <a:gd name="connsiteX5" fmla="*/ 2040675 w 2235788"/>
                  <a:gd name="connsiteY5" fmla="*/ 844611 h 844668"/>
                  <a:gd name="connsiteX6" fmla="*/ 195113 w 2235788"/>
                  <a:gd name="connsiteY6" fmla="*/ 844611 h 844668"/>
                  <a:gd name="connsiteX7" fmla="*/ 0 w 2235788"/>
                  <a:gd name="connsiteY7" fmla="*/ 776498 h 844668"/>
                  <a:gd name="connsiteX8" fmla="*/ 171292 w 2235788"/>
                  <a:gd name="connsiteY8" fmla="*/ 177401 h 844668"/>
                  <a:gd name="connsiteX0" fmla="*/ 171292 w 2235788"/>
                  <a:gd name="connsiteY0" fmla="*/ 177401 h 844668"/>
                  <a:gd name="connsiteX1" fmla="*/ 399909 w 2235788"/>
                  <a:gd name="connsiteY1" fmla="*/ 0 h 844668"/>
                  <a:gd name="connsiteX2" fmla="*/ 1911329 w 2235788"/>
                  <a:gd name="connsiteY2" fmla="*/ 36628 h 844668"/>
                  <a:gd name="connsiteX3" fmla="*/ 2053718 w 2235788"/>
                  <a:gd name="connsiteY3" fmla="*/ 232351 h 844668"/>
                  <a:gd name="connsiteX4" fmla="*/ 2235788 w 2235788"/>
                  <a:gd name="connsiteY4" fmla="*/ 744748 h 844668"/>
                  <a:gd name="connsiteX5" fmla="*/ 2040675 w 2235788"/>
                  <a:gd name="connsiteY5" fmla="*/ 844611 h 844668"/>
                  <a:gd name="connsiteX6" fmla="*/ 195113 w 2235788"/>
                  <a:gd name="connsiteY6" fmla="*/ 844611 h 844668"/>
                  <a:gd name="connsiteX7" fmla="*/ 0 w 2235788"/>
                  <a:gd name="connsiteY7" fmla="*/ 776498 h 844668"/>
                  <a:gd name="connsiteX8" fmla="*/ 171292 w 2235788"/>
                  <a:gd name="connsiteY8" fmla="*/ 177401 h 844668"/>
                  <a:gd name="connsiteX0" fmla="*/ 171292 w 2235788"/>
                  <a:gd name="connsiteY0" fmla="*/ 177401 h 844668"/>
                  <a:gd name="connsiteX1" fmla="*/ 399909 w 2235788"/>
                  <a:gd name="connsiteY1" fmla="*/ 0 h 844668"/>
                  <a:gd name="connsiteX2" fmla="*/ 1825097 w 2235788"/>
                  <a:gd name="connsiteY2" fmla="*/ 45785 h 844668"/>
                  <a:gd name="connsiteX3" fmla="*/ 2053718 w 2235788"/>
                  <a:gd name="connsiteY3" fmla="*/ 232351 h 844668"/>
                  <a:gd name="connsiteX4" fmla="*/ 2235788 w 2235788"/>
                  <a:gd name="connsiteY4" fmla="*/ 744748 h 844668"/>
                  <a:gd name="connsiteX5" fmla="*/ 2040675 w 2235788"/>
                  <a:gd name="connsiteY5" fmla="*/ 844611 h 844668"/>
                  <a:gd name="connsiteX6" fmla="*/ 195113 w 2235788"/>
                  <a:gd name="connsiteY6" fmla="*/ 844611 h 844668"/>
                  <a:gd name="connsiteX7" fmla="*/ 0 w 2235788"/>
                  <a:gd name="connsiteY7" fmla="*/ 776498 h 844668"/>
                  <a:gd name="connsiteX8" fmla="*/ 171292 w 2235788"/>
                  <a:gd name="connsiteY8" fmla="*/ 177401 h 844668"/>
                  <a:gd name="connsiteX0" fmla="*/ 171292 w 2235788"/>
                  <a:gd name="connsiteY0" fmla="*/ 177401 h 844668"/>
                  <a:gd name="connsiteX1" fmla="*/ 399909 w 2235788"/>
                  <a:gd name="connsiteY1" fmla="*/ 0 h 844668"/>
                  <a:gd name="connsiteX2" fmla="*/ 1825097 w 2235788"/>
                  <a:gd name="connsiteY2" fmla="*/ 45785 h 844668"/>
                  <a:gd name="connsiteX3" fmla="*/ 2139950 w 2235788"/>
                  <a:gd name="connsiteY3" fmla="*/ 177405 h 844668"/>
                  <a:gd name="connsiteX4" fmla="*/ 2235788 w 2235788"/>
                  <a:gd name="connsiteY4" fmla="*/ 744748 h 844668"/>
                  <a:gd name="connsiteX5" fmla="*/ 2040675 w 2235788"/>
                  <a:gd name="connsiteY5" fmla="*/ 844611 h 844668"/>
                  <a:gd name="connsiteX6" fmla="*/ 195113 w 2235788"/>
                  <a:gd name="connsiteY6" fmla="*/ 844611 h 844668"/>
                  <a:gd name="connsiteX7" fmla="*/ 0 w 2235788"/>
                  <a:gd name="connsiteY7" fmla="*/ 776498 h 844668"/>
                  <a:gd name="connsiteX8" fmla="*/ 171292 w 2235788"/>
                  <a:gd name="connsiteY8" fmla="*/ 177401 h 844668"/>
                  <a:gd name="connsiteX0" fmla="*/ 85060 w 2235788"/>
                  <a:gd name="connsiteY0" fmla="*/ 195715 h 844668"/>
                  <a:gd name="connsiteX1" fmla="*/ 399909 w 2235788"/>
                  <a:gd name="connsiteY1" fmla="*/ 0 h 844668"/>
                  <a:gd name="connsiteX2" fmla="*/ 1825097 w 2235788"/>
                  <a:gd name="connsiteY2" fmla="*/ 45785 h 844668"/>
                  <a:gd name="connsiteX3" fmla="*/ 2139950 w 2235788"/>
                  <a:gd name="connsiteY3" fmla="*/ 177405 h 844668"/>
                  <a:gd name="connsiteX4" fmla="*/ 2235788 w 2235788"/>
                  <a:gd name="connsiteY4" fmla="*/ 744748 h 844668"/>
                  <a:gd name="connsiteX5" fmla="*/ 2040675 w 2235788"/>
                  <a:gd name="connsiteY5" fmla="*/ 844611 h 844668"/>
                  <a:gd name="connsiteX6" fmla="*/ 195113 w 2235788"/>
                  <a:gd name="connsiteY6" fmla="*/ 844611 h 844668"/>
                  <a:gd name="connsiteX7" fmla="*/ 0 w 2235788"/>
                  <a:gd name="connsiteY7" fmla="*/ 776498 h 844668"/>
                  <a:gd name="connsiteX8" fmla="*/ 85060 w 2235788"/>
                  <a:gd name="connsiteY8" fmla="*/ 195715 h 844668"/>
                  <a:gd name="connsiteX0" fmla="*/ 135176 w 2285904"/>
                  <a:gd name="connsiteY0" fmla="*/ 195715 h 844911"/>
                  <a:gd name="connsiteX1" fmla="*/ 450025 w 2285904"/>
                  <a:gd name="connsiteY1" fmla="*/ 0 h 844911"/>
                  <a:gd name="connsiteX2" fmla="*/ 1875213 w 2285904"/>
                  <a:gd name="connsiteY2" fmla="*/ 45785 h 844911"/>
                  <a:gd name="connsiteX3" fmla="*/ 2190066 w 2285904"/>
                  <a:gd name="connsiteY3" fmla="*/ 177405 h 844911"/>
                  <a:gd name="connsiteX4" fmla="*/ 2285904 w 2285904"/>
                  <a:gd name="connsiteY4" fmla="*/ 744748 h 844911"/>
                  <a:gd name="connsiteX5" fmla="*/ 2090791 w 2285904"/>
                  <a:gd name="connsiteY5" fmla="*/ 844611 h 844911"/>
                  <a:gd name="connsiteX6" fmla="*/ 245229 w 2285904"/>
                  <a:gd name="connsiteY6" fmla="*/ 844611 h 844911"/>
                  <a:gd name="connsiteX7" fmla="*/ 0 w 2285904"/>
                  <a:gd name="connsiteY7" fmla="*/ 780369 h 844911"/>
                  <a:gd name="connsiteX8" fmla="*/ 135176 w 2285904"/>
                  <a:gd name="connsiteY8" fmla="*/ 195715 h 844911"/>
                  <a:gd name="connsiteX0" fmla="*/ 135176 w 2345133"/>
                  <a:gd name="connsiteY0" fmla="*/ 195715 h 844911"/>
                  <a:gd name="connsiteX1" fmla="*/ 450025 w 2345133"/>
                  <a:gd name="connsiteY1" fmla="*/ 0 h 844911"/>
                  <a:gd name="connsiteX2" fmla="*/ 1875213 w 2345133"/>
                  <a:gd name="connsiteY2" fmla="*/ 45785 h 844911"/>
                  <a:gd name="connsiteX3" fmla="*/ 2190066 w 2345133"/>
                  <a:gd name="connsiteY3" fmla="*/ 177405 h 844911"/>
                  <a:gd name="connsiteX4" fmla="*/ 2345133 w 2345133"/>
                  <a:gd name="connsiteY4" fmla="*/ 775715 h 844911"/>
                  <a:gd name="connsiteX5" fmla="*/ 2090791 w 2345133"/>
                  <a:gd name="connsiteY5" fmla="*/ 844611 h 844911"/>
                  <a:gd name="connsiteX6" fmla="*/ 245229 w 2345133"/>
                  <a:gd name="connsiteY6" fmla="*/ 844611 h 844911"/>
                  <a:gd name="connsiteX7" fmla="*/ 0 w 2345133"/>
                  <a:gd name="connsiteY7" fmla="*/ 780369 h 844911"/>
                  <a:gd name="connsiteX8" fmla="*/ 135176 w 2345133"/>
                  <a:gd name="connsiteY8" fmla="*/ 195715 h 84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133" h="844911">
                    <a:moveTo>
                      <a:pt x="135176" y="195715"/>
                    </a:moveTo>
                    <a:cubicBezTo>
                      <a:pt x="135176" y="123027"/>
                      <a:pt x="377337" y="0"/>
                      <a:pt x="450025" y="0"/>
                    </a:cubicBezTo>
                    <a:cubicBezTo>
                      <a:pt x="1065212" y="0"/>
                      <a:pt x="1260026" y="45785"/>
                      <a:pt x="1875213" y="45785"/>
                    </a:cubicBezTo>
                    <a:cubicBezTo>
                      <a:pt x="1947901" y="45785"/>
                      <a:pt x="2190066" y="104717"/>
                      <a:pt x="2190066" y="177405"/>
                    </a:cubicBezTo>
                    <a:lnTo>
                      <a:pt x="2345133" y="775715"/>
                    </a:lnTo>
                    <a:cubicBezTo>
                      <a:pt x="2345133" y="848403"/>
                      <a:pt x="2163479" y="844611"/>
                      <a:pt x="2090791" y="844611"/>
                    </a:cubicBezTo>
                    <a:lnTo>
                      <a:pt x="245229" y="844611"/>
                    </a:lnTo>
                    <a:cubicBezTo>
                      <a:pt x="172541" y="844611"/>
                      <a:pt x="0" y="853057"/>
                      <a:pt x="0" y="780369"/>
                    </a:cubicBezTo>
                    <a:cubicBezTo>
                      <a:pt x="0" y="604889"/>
                      <a:pt x="135176" y="371195"/>
                      <a:pt x="135176" y="195715"/>
                    </a:cubicBezTo>
                    <a:close/>
                  </a:path>
                </a:pathLst>
              </a:custGeom>
              <a:solidFill>
                <a:schemeClr val="bg1">
                  <a:lumMod val="75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err="1">
                  <a:solidFill>
                    <a:srgbClr val="505050"/>
                  </a:solidFill>
                  <a:latin typeface="Arial"/>
                </a:endParaRPr>
              </a:p>
            </p:txBody>
          </p:sp>
          <p:sp>
            <p:nvSpPr>
              <p:cNvPr id="2459" name="Rectangle: Top Corners Rounded 38">
                <a:extLst>
                  <a:ext uri="{FF2B5EF4-FFF2-40B4-BE49-F238E27FC236}">
                    <a16:creationId xmlns:a16="http://schemas.microsoft.com/office/drawing/2014/main" id="{7AFB8BCA-93E4-4837-8623-93674EA63EAA}"/>
                  </a:ext>
                </a:extLst>
              </p:cNvPr>
              <p:cNvSpPr/>
              <p:nvPr/>
            </p:nvSpPr>
            <p:spPr bwMode="auto">
              <a:xfrm>
                <a:off x="-1473199" y="6257527"/>
                <a:ext cx="849249" cy="623788"/>
              </a:xfrm>
              <a:custGeom>
                <a:avLst/>
                <a:gdLst>
                  <a:gd name="connsiteX0" fmla="*/ 152403 w 914400"/>
                  <a:gd name="connsiteY0" fmla="*/ 0 h 914400"/>
                  <a:gd name="connsiteX1" fmla="*/ 761997 w 914400"/>
                  <a:gd name="connsiteY1" fmla="*/ 0 h 914400"/>
                  <a:gd name="connsiteX2" fmla="*/ 914400 w 914400"/>
                  <a:gd name="connsiteY2" fmla="*/ 152403 h 914400"/>
                  <a:gd name="connsiteX3" fmla="*/ 914400 w 914400"/>
                  <a:gd name="connsiteY3" fmla="*/ 914400 h 914400"/>
                  <a:gd name="connsiteX4" fmla="*/ 914400 w 914400"/>
                  <a:gd name="connsiteY4" fmla="*/ 914400 h 914400"/>
                  <a:gd name="connsiteX5" fmla="*/ 0 w 914400"/>
                  <a:gd name="connsiteY5" fmla="*/ 914400 h 914400"/>
                  <a:gd name="connsiteX6" fmla="*/ 0 w 914400"/>
                  <a:gd name="connsiteY6" fmla="*/ 914400 h 914400"/>
                  <a:gd name="connsiteX7" fmla="*/ 0 w 914400"/>
                  <a:gd name="connsiteY7" fmla="*/ 152403 h 914400"/>
                  <a:gd name="connsiteX8" fmla="*/ 152403 w 914400"/>
                  <a:gd name="connsiteY8" fmla="*/ 0 h 914400"/>
                  <a:gd name="connsiteX0" fmla="*/ 152403 w 1104900"/>
                  <a:gd name="connsiteY0" fmla="*/ 0 h 914400"/>
                  <a:gd name="connsiteX1" fmla="*/ 761997 w 1104900"/>
                  <a:gd name="connsiteY1" fmla="*/ 0 h 914400"/>
                  <a:gd name="connsiteX2" fmla="*/ 914400 w 1104900"/>
                  <a:gd name="connsiteY2" fmla="*/ 152403 h 914400"/>
                  <a:gd name="connsiteX3" fmla="*/ 914400 w 1104900"/>
                  <a:gd name="connsiteY3" fmla="*/ 914400 h 914400"/>
                  <a:gd name="connsiteX4" fmla="*/ 1104900 w 1104900"/>
                  <a:gd name="connsiteY4" fmla="*/ 914400 h 914400"/>
                  <a:gd name="connsiteX5" fmla="*/ 0 w 1104900"/>
                  <a:gd name="connsiteY5" fmla="*/ 914400 h 914400"/>
                  <a:gd name="connsiteX6" fmla="*/ 0 w 1104900"/>
                  <a:gd name="connsiteY6" fmla="*/ 914400 h 914400"/>
                  <a:gd name="connsiteX7" fmla="*/ 0 w 1104900"/>
                  <a:gd name="connsiteY7" fmla="*/ 152403 h 914400"/>
                  <a:gd name="connsiteX8" fmla="*/ 152403 w 1104900"/>
                  <a:gd name="connsiteY8" fmla="*/ 0 h 914400"/>
                  <a:gd name="connsiteX0" fmla="*/ 152403 w 914400"/>
                  <a:gd name="connsiteY0" fmla="*/ 0 h 914400"/>
                  <a:gd name="connsiteX1" fmla="*/ 761997 w 914400"/>
                  <a:gd name="connsiteY1" fmla="*/ 0 h 914400"/>
                  <a:gd name="connsiteX2" fmla="*/ 914400 w 914400"/>
                  <a:gd name="connsiteY2" fmla="*/ 152403 h 914400"/>
                  <a:gd name="connsiteX3" fmla="*/ 914400 w 914400"/>
                  <a:gd name="connsiteY3" fmla="*/ 914400 h 914400"/>
                  <a:gd name="connsiteX4" fmla="*/ 0 w 914400"/>
                  <a:gd name="connsiteY4" fmla="*/ 914400 h 914400"/>
                  <a:gd name="connsiteX5" fmla="*/ 0 w 914400"/>
                  <a:gd name="connsiteY5" fmla="*/ 914400 h 914400"/>
                  <a:gd name="connsiteX6" fmla="*/ 0 w 914400"/>
                  <a:gd name="connsiteY6" fmla="*/ 152403 h 914400"/>
                  <a:gd name="connsiteX7" fmla="*/ 152403 w 914400"/>
                  <a:gd name="connsiteY7" fmla="*/ 0 h 914400"/>
                  <a:gd name="connsiteX0" fmla="*/ 152403 w 1054100"/>
                  <a:gd name="connsiteY0" fmla="*/ 0 h 914400"/>
                  <a:gd name="connsiteX1" fmla="*/ 761997 w 1054100"/>
                  <a:gd name="connsiteY1" fmla="*/ 0 h 914400"/>
                  <a:gd name="connsiteX2" fmla="*/ 914400 w 1054100"/>
                  <a:gd name="connsiteY2" fmla="*/ 152403 h 914400"/>
                  <a:gd name="connsiteX3" fmla="*/ 1054100 w 1054100"/>
                  <a:gd name="connsiteY3" fmla="*/ 914400 h 914400"/>
                  <a:gd name="connsiteX4" fmla="*/ 0 w 1054100"/>
                  <a:gd name="connsiteY4" fmla="*/ 914400 h 914400"/>
                  <a:gd name="connsiteX5" fmla="*/ 0 w 1054100"/>
                  <a:gd name="connsiteY5" fmla="*/ 914400 h 914400"/>
                  <a:gd name="connsiteX6" fmla="*/ 0 w 1054100"/>
                  <a:gd name="connsiteY6" fmla="*/ 152403 h 914400"/>
                  <a:gd name="connsiteX7" fmla="*/ 152403 w 1054100"/>
                  <a:gd name="connsiteY7" fmla="*/ 0 h 914400"/>
                  <a:gd name="connsiteX0" fmla="*/ 292103 w 1193800"/>
                  <a:gd name="connsiteY0" fmla="*/ 0 h 914400"/>
                  <a:gd name="connsiteX1" fmla="*/ 901697 w 1193800"/>
                  <a:gd name="connsiteY1" fmla="*/ 0 h 914400"/>
                  <a:gd name="connsiteX2" fmla="*/ 1054100 w 1193800"/>
                  <a:gd name="connsiteY2" fmla="*/ 152403 h 914400"/>
                  <a:gd name="connsiteX3" fmla="*/ 1193800 w 1193800"/>
                  <a:gd name="connsiteY3" fmla="*/ 914400 h 914400"/>
                  <a:gd name="connsiteX4" fmla="*/ 139700 w 1193800"/>
                  <a:gd name="connsiteY4" fmla="*/ 914400 h 914400"/>
                  <a:gd name="connsiteX5" fmla="*/ 0 w 1193800"/>
                  <a:gd name="connsiteY5" fmla="*/ 914400 h 914400"/>
                  <a:gd name="connsiteX6" fmla="*/ 139700 w 1193800"/>
                  <a:gd name="connsiteY6" fmla="*/ 152403 h 914400"/>
                  <a:gd name="connsiteX7" fmla="*/ 292103 w 1193800"/>
                  <a:gd name="connsiteY7" fmla="*/ 0 h 914400"/>
                  <a:gd name="connsiteX0" fmla="*/ 292103 w 1219200"/>
                  <a:gd name="connsiteY0" fmla="*/ 0 h 914400"/>
                  <a:gd name="connsiteX1" fmla="*/ 901697 w 1219200"/>
                  <a:gd name="connsiteY1" fmla="*/ 0 h 914400"/>
                  <a:gd name="connsiteX2" fmla="*/ 1054100 w 1219200"/>
                  <a:gd name="connsiteY2" fmla="*/ 152403 h 914400"/>
                  <a:gd name="connsiteX3" fmla="*/ 1219200 w 1219200"/>
                  <a:gd name="connsiteY3" fmla="*/ 914400 h 914400"/>
                  <a:gd name="connsiteX4" fmla="*/ 139700 w 1219200"/>
                  <a:gd name="connsiteY4" fmla="*/ 914400 h 914400"/>
                  <a:gd name="connsiteX5" fmla="*/ 0 w 1219200"/>
                  <a:gd name="connsiteY5" fmla="*/ 914400 h 914400"/>
                  <a:gd name="connsiteX6" fmla="*/ 139700 w 1219200"/>
                  <a:gd name="connsiteY6" fmla="*/ 152403 h 914400"/>
                  <a:gd name="connsiteX7" fmla="*/ 292103 w 1219200"/>
                  <a:gd name="connsiteY7" fmla="*/ 0 h 914400"/>
                  <a:gd name="connsiteX0" fmla="*/ 292103 w 1209675"/>
                  <a:gd name="connsiteY0" fmla="*/ 0 h 914400"/>
                  <a:gd name="connsiteX1" fmla="*/ 901697 w 1209675"/>
                  <a:gd name="connsiteY1" fmla="*/ 0 h 914400"/>
                  <a:gd name="connsiteX2" fmla="*/ 1054100 w 1209675"/>
                  <a:gd name="connsiteY2" fmla="*/ 152403 h 914400"/>
                  <a:gd name="connsiteX3" fmla="*/ 1209675 w 1209675"/>
                  <a:gd name="connsiteY3" fmla="*/ 895350 h 914400"/>
                  <a:gd name="connsiteX4" fmla="*/ 139700 w 1209675"/>
                  <a:gd name="connsiteY4" fmla="*/ 914400 h 914400"/>
                  <a:gd name="connsiteX5" fmla="*/ 0 w 1209675"/>
                  <a:gd name="connsiteY5" fmla="*/ 914400 h 914400"/>
                  <a:gd name="connsiteX6" fmla="*/ 139700 w 1209675"/>
                  <a:gd name="connsiteY6" fmla="*/ 152403 h 914400"/>
                  <a:gd name="connsiteX7" fmla="*/ 292103 w 1209675"/>
                  <a:gd name="connsiteY7" fmla="*/ 0 h 914400"/>
                  <a:gd name="connsiteX0" fmla="*/ 292103 w 1209675"/>
                  <a:gd name="connsiteY0" fmla="*/ 0 h 914400"/>
                  <a:gd name="connsiteX1" fmla="*/ 901697 w 1209675"/>
                  <a:gd name="connsiteY1" fmla="*/ 0 h 914400"/>
                  <a:gd name="connsiteX2" fmla="*/ 1054100 w 1209675"/>
                  <a:gd name="connsiteY2" fmla="*/ 152403 h 914400"/>
                  <a:gd name="connsiteX3" fmla="*/ 1209675 w 1209675"/>
                  <a:gd name="connsiteY3" fmla="*/ 911225 h 914400"/>
                  <a:gd name="connsiteX4" fmla="*/ 139700 w 1209675"/>
                  <a:gd name="connsiteY4" fmla="*/ 914400 h 914400"/>
                  <a:gd name="connsiteX5" fmla="*/ 0 w 1209675"/>
                  <a:gd name="connsiteY5" fmla="*/ 914400 h 914400"/>
                  <a:gd name="connsiteX6" fmla="*/ 139700 w 1209675"/>
                  <a:gd name="connsiteY6" fmla="*/ 152403 h 914400"/>
                  <a:gd name="connsiteX7" fmla="*/ 292103 w 1209675"/>
                  <a:gd name="connsiteY7" fmla="*/ 0 h 914400"/>
                  <a:gd name="connsiteX0" fmla="*/ 139700 w 1209675"/>
                  <a:gd name="connsiteY0" fmla="*/ 152403 h 914400"/>
                  <a:gd name="connsiteX1" fmla="*/ 901697 w 1209675"/>
                  <a:gd name="connsiteY1" fmla="*/ 0 h 914400"/>
                  <a:gd name="connsiteX2" fmla="*/ 1054100 w 1209675"/>
                  <a:gd name="connsiteY2" fmla="*/ 152403 h 914400"/>
                  <a:gd name="connsiteX3" fmla="*/ 1209675 w 1209675"/>
                  <a:gd name="connsiteY3" fmla="*/ 911225 h 914400"/>
                  <a:gd name="connsiteX4" fmla="*/ 139700 w 1209675"/>
                  <a:gd name="connsiteY4" fmla="*/ 914400 h 914400"/>
                  <a:gd name="connsiteX5" fmla="*/ 0 w 1209675"/>
                  <a:gd name="connsiteY5" fmla="*/ 914400 h 914400"/>
                  <a:gd name="connsiteX6" fmla="*/ 139700 w 1209675"/>
                  <a:gd name="connsiteY6" fmla="*/ 152403 h 914400"/>
                  <a:gd name="connsiteX0" fmla="*/ 139700 w 1209675"/>
                  <a:gd name="connsiteY0" fmla="*/ 173522 h 935519"/>
                  <a:gd name="connsiteX1" fmla="*/ 901697 w 1209675"/>
                  <a:gd name="connsiteY1" fmla="*/ 21119 h 935519"/>
                  <a:gd name="connsiteX2" fmla="*/ 1054100 w 1209675"/>
                  <a:gd name="connsiteY2" fmla="*/ 173522 h 935519"/>
                  <a:gd name="connsiteX3" fmla="*/ 1209675 w 1209675"/>
                  <a:gd name="connsiteY3" fmla="*/ 932344 h 935519"/>
                  <a:gd name="connsiteX4" fmla="*/ 139700 w 1209675"/>
                  <a:gd name="connsiteY4" fmla="*/ 935519 h 935519"/>
                  <a:gd name="connsiteX5" fmla="*/ 0 w 1209675"/>
                  <a:gd name="connsiteY5" fmla="*/ 935519 h 935519"/>
                  <a:gd name="connsiteX6" fmla="*/ 139700 w 1209675"/>
                  <a:gd name="connsiteY6" fmla="*/ 173522 h 935519"/>
                  <a:gd name="connsiteX0" fmla="*/ 139700 w 1209675"/>
                  <a:gd name="connsiteY0" fmla="*/ 95051 h 857048"/>
                  <a:gd name="connsiteX1" fmla="*/ 1054100 w 1209675"/>
                  <a:gd name="connsiteY1" fmla="*/ 95051 h 857048"/>
                  <a:gd name="connsiteX2" fmla="*/ 1209675 w 1209675"/>
                  <a:gd name="connsiteY2" fmla="*/ 853873 h 857048"/>
                  <a:gd name="connsiteX3" fmla="*/ 139700 w 1209675"/>
                  <a:gd name="connsiteY3" fmla="*/ 857048 h 857048"/>
                  <a:gd name="connsiteX4" fmla="*/ 0 w 1209675"/>
                  <a:gd name="connsiteY4" fmla="*/ 857048 h 857048"/>
                  <a:gd name="connsiteX5" fmla="*/ 139700 w 1209675"/>
                  <a:gd name="connsiteY5" fmla="*/ 95051 h 857048"/>
                  <a:gd name="connsiteX0" fmla="*/ 139700 w 1209675"/>
                  <a:gd name="connsiteY0" fmla="*/ 143742 h 905739"/>
                  <a:gd name="connsiteX1" fmla="*/ 1054100 w 1209675"/>
                  <a:gd name="connsiteY1" fmla="*/ 143742 h 905739"/>
                  <a:gd name="connsiteX2" fmla="*/ 1209675 w 1209675"/>
                  <a:gd name="connsiteY2" fmla="*/ 902564 h 905739"/>
                  <a:gd name="connsiteX3" fmla="*/ 139700 w 1209675"/>
                  <a:gd name="connsiteY3" fmla="*/ 905739 h 905739"/>
                  <a:gd name="connsiteX4" fmla="*/ 0 w 1209675"/>
                  <a:gd name="connsiteY4" fmla="*/ 905739 h 905739"/>
                  <a:gd name="connsiteX5" fmla="*/ 139700 w 1209675"/>
                  <a:gd name="connsiteY5" fmla="*/ 143742 h 905739"/>
                  <a:gd name="connsiteX0" fmla="*/ 139700 w 1209675"/>
                  <a:gd name="connsiteY0" fmla="*/ 216336 h 978333"/>
                  <a:gd name="connsiteX1" fmla="*/ 1054100 w 1209675"/>
                  <a:gd name="connsiteY1" fmla="*/ 216336 h 978333"/>
                  <a:gd name="connsiteX2" fmla="*/ 1209675 w 1209675"/>
                  <a:gd name="connsiteY2" fmla="*/ 975158 h 978333"/>
                  <a:gd name="connsiteX3" fmla="*/ 139700 w 1209675"/>
                  <a:gd name="connsiteY3" fmla="*/ 978333 h 978333"/>
                  <a:gd name="connsiteX4" fmla="*/ 0 w 1209675"/>
                  <a:gd name="connsiteY4" fmla="*/ 978333 h 978333"/>
                  <a:gd name="connsiteX5" fmla="*/ 139700 w 1209675"/>
                  <a:gd name="connsiteY5" fmla="*/ 216336 h 978333"/>
                  <a:gd name="connsiteX0" fmla="*/ 139700 w 1209675"/>
                  <a:gd name="connsiteY0" fmla="*/ 249852 h 1011849"/>
                  <a:gd name="connsiteX1" fmla="*/ 1054100 w 1209675"/>
                  <a:gd name="connsiteY1" fmla="*/ 249852 h 1011849"/>
                  <a:gd name="connsiteX2" fmla="*/ 1209675 w 1209675"/>
                  <a:gd name="connsiteY2" fmla="*/ 1008674 h 1011849"/>
                  <a:gd name="connsiteX3" fmla="*/ 139700 w 1209675"/>
                  <a:gd name="connsiteY3" fmla="*/ 1011849 h 1011849"/>
                  <a:gd name="connsiteX4" fmla="*/ 0 w 1209675"/>
                  <a:gd name="connsiteY4" fmla="*/ 1011849 h 1011849"/>
                  <a:gd name="connsiteX5" fmla="*/ 139700 w 1209675"/>
                  <a:gd name="connsiteY5" fmla="*/ 249852 h 101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5" h="1011849">
                    <a:moveTo>
                      <a:pt x="139700" y="249852"/>
                    </a:moveTo>
                    <a:cubicBezTo>
                      <a:pt x="305858" y="-77172"/>
                      <a:pt x="891646" y="-89343"/>
                      <a:pt x="1054100" y="249852"/>
                    </a:cubicBezTo>
                    <a:lnTo>
                      <a:pt x="1209675" y="1008674"/>
                    </a:lnTo>
                    <a:lnTo>
                      <a:pt x="139700" y="1011849"/>
                    </a:lnTo>
                    <a:lnTo>
                      <a:pt x="0" y="1011849"/>
                    </a:lnTo>
                    <a:lnTo>
                      <a:pt x="139700" y="249852"/>
                    </a:lnTo>
                    <a:close/>
                  </a:path>
                </a:pathLst>
              </a:custGeom>
              <a:solidFill>
                <a:schemeClr val="bg1">
                  <a:lumMod val="95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60" name="Freeform: Shape 2459">
                <a:extLst>
                  <a:ext uri="{FF2B5EF4-FFF2-40B4-BE49-F238E27FC236}">
                    <a16:creationId xmlns:a16="http://schemas.microsoft.com/office/drawing/2014/main" id="{FCA22AD5-466D-4B9F-8311-176D2E09E6B9}"/>
                  </a:ext>
                </a:extLst>
              </p:cNvPr>
              <p:cNvSpPr/>
              <p:nvPr/>
            </p:nvSpPr>
            <p:spPr bwMode="auto">
              <a:xfrm rot="21163405">
                <a:off x="-1238235" y="5919266"/>
                <a:ext cx="31899" cy="110587"/>
              </a:xfrm>
              <a:custGeom>
                <a:avLst/>
                <a:gdLst>
                  <a:gd name="connsiteX0" fmla="*/ 167640 w 167640"/>
                  <a:gd name="connsiteY0" fmla="*/ 114300 h 563880"/>
                  <a:gd name="connsiteX1" fmla="*/ 0 w 167640"/>
                  <a:gd name="connsiteY1" fmla="*/ 0 h 563880"/>
                  <a:gd name="connsiteX2" fmla="*/ 45720 w 167640"/>
                  <a:gd name="connsiteY2" fmla="*/ 304800 h 563880"/>
                  <a:gd name="connsiteX3" fmla="*/ 30480 w 167640"/>
                  <a:gd name="connsiteY3" fmla="*/ 563880 h 563880"/>
                  <a:gd name="connsiteX4" fmla="*/ 152400 w 167640"/>
                  <a:gd name="connsiteY4" fmla="*/ 556260 h 563880"/>
                  <a:gd name="connsiteX5" fmla="*/ 167640 w 167640"/>
                  <a:gd name="connsiteY5" fmla="*/ 114300 h 563880"/>
                  <a:gd name="connsiteX0" fmla="*/ 167640 w 167640"/>
                  <a:gd name="connsiteY0" fmla="*/ 114300 h 563880"/>
                  <a:gd name="connsiteX1" fmla="*/ 0 w 167640"/>
                  <a:gd name="connsiteY1" fmla="*/ 0 h 563880"/>
                  <a:gd name="connsiteX2" fmla="*/ 30480 w 167640"/>
                  <a:gd name="connsiteY2" fmla="*/ 563880 h 563880"/>
                  <a:gd name="connsiteX3" fmla="*/ 152400 w 167640"/>
                  <a:gd name="connsiteY3" fmla="*/ 556260 h 563880"/>
                  <a:gd name="connsiteX4" fmla="*/ 167640 w 167640"/>
                  <a:gd name="connsiteY4" fmla="*/ 114300 h 563880"/>
                  <a:gd name="connsiteX0" fmla="*/ 167640 w 167640"/>
                  <a:gd name="connsiteY0" fmla="*/ 114300 h 563880"/>
                  <a:gd name="connsiteX1" fmla="*/ 0 w 167640"/>
                  <a:gd name="connsiteY1" fmla="*/ 0 h 563880"/>
                  <a:gd name="connsiteX2" fmla="*/ 30480 w 167640"/>
                  <a:gd name="connsiteY2" fmla="*/ 563880 h 563880"/>
                  <a:gd name="connsiteX3" fmla="*/ 152400 w 167640"/>
                  <a:gd name="connsiteY3" fmla="*/ 556260 h 563880"/>
                  <a:gd name="connsiteX4" fmla="*/ 167640 w 167640"/>
                  <a:gd name="connsiteY4" fmla="*/ 114300 h 563880"/>
                  <a:gd name="connsiteX0" fmla="*/ 168947 w 168947"/>
                  <a:gd name="connsiteY0" fmla="*/ 140856 h 590436"/>
                  <a:gd name="connsiteX1" fmla="*/ 1307 w 168947"/>
                  <a:gd name="connsiteY1" fmla="*/ 26556 h 590436"/>
                  <a:gd name="connsiteX2" fmla="*/ 31787 w 168947"/>
                  <a:gd name="connsiteY2" fmla="*/ 590436 h 590436"/>
                  <a:gd name="connsiteX3" fmla="*/ 153707 w 168947"/>
                  <a:gd name="connsiteY3" fmla="*/ 582816 h 590436"/>
                  <a:gd name="connsiteX4" fmla="*/ 168947 w 168947"/>
                  <a:gd name="connsiteY4" fmla="*/ 140856 h 590436"/>
                  <a:gd name="connsiteX0" fmla="*/ 168947 w 168947"/>
                  <a:gd name="connsiteY0" fmla="*/ 140856 h 619712"/>
                  <a:gd name="connsiteX1" fmla="*/ 1307 w 168947"/>
                  <a:gd name="connsiteY1" fmla="*/ 26556 h 619712"/>
                  <a:gd name="connsiteX2" fmla="*/ 31787 w 168947"/>
                  <a:gd name="connsiteY2" fmla="*/ 590436 h 619712"/>
                  <a:gd name="connsiteX3" fmla="*/ 153707 w 168947"/>
                  <a:gd name="connsiteY3" fmla="*/ 582816 h 619712"/>
                  <a:gd name="connsiteX4" fmla="*/ 168947 w 168947"/>
                  <a:gd name="connsiteY4" fmla="*/ 140856 h 619712"/>
                  <a:gd name="connsiteX0" fmla="*/ 168947 w 168947"/>
                  <a:gd name="connsiteY0" fmla="*/ 140856 h 630279"/>
                  <a:gd name="connsiteX1" fmla="*/ 1307 w 168947"/>
                  <a:gd name="connsiteY1" fmla="*/ 26556 h 630279"/>
                  <a:gd name="connsiteX2" fmla="*/ 31787 w 168947"/>
                  <a:gd name="connsiteY2" fmla="*/ 590436 h 630279"/>
                  <a:gd name="connsiteX3" fmla="*/ 153707 w 168947"/>
                  <a:gd name="connsiteY3" fmla="*/ 582816 h 630279"/>
                  <a:gd name="connsiteX4" fmla="*/ 168947 w 168947"/>
                  <a:gd name="connsiteY4" fmla="*/ 140856 h 63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47" h="630279">
                    <a:moveTo>
                      <a:pt x="168947" y="140856"/>
                    </a:moveTo>
                    <a:cubicBezTo>
                      <a:pt x="113067" y="102756"/>
                      <a:pt x="-14251" y="-63931"/>
                      <a:pt x="1307" y="26556"/>
                    </a:cubicBezTo>
                    <a:cubicBezTo>
                      <a:pt x="11467" y="214516"/>
                      <a:pt x="64490" y="497726"/>
                      <a:pt x="31787" y="590436"/>
                    </a:cubicBezTo>
                    <a:cubicBezTo>
                      <a:pt x="-3772" y="683146"/>
                      <a:pt x="113067" y="585356"/>
                      <a:pt x="153707" y="582816"/>
                    </a:cubicBezTo>
                    <a:lnTo>
                      <a:pt x="168947" y="140856"/>
                    </a:lnTo>
                    <a:close/>
                  </a:path>
                </a:pathLst>
              </a:cu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61" name="Freeform: Shape 2460">
                <a:extLst>
                  <a:ext uri="{FF2B5EF4-FFF2-40B4-BE49-F238E27FC236}">
                    <a16:creationId xmlns:a16="http://schemas.microsoft.com/office/drawing/2014/main" id="{A9BA2353-C16C-45C6-8284-11B64A83D9A1}"/>
                  </a:ext>
                </a:extLst>
              </p:cNvPr>
              <p:cNvSpPr/>
              <p:nvPr/>
            </p:nvSpPr>
            <p:spPr bwMode="auto">
              <a:xfrm rot="436595" flipH="1">
                <a:off x="-892776" y="5919266"/>
                <a:ext cx="31899" cy="110587"/>
              </a:xfrm>
              <a:custGeom>
                <a:avLst/>
                <a:gdLst>
                  <a:gd name="connsiteX0" fmla="*/ 167640 w 167640"/>
                  <a:gd name="connsiteY0" fmla="*/ 114300 h 563880"/>
                  <a:gd name="connsiteX1" fmla="*/ 0 w 167640"/>
                  <a:gd name="connsiteY1" fmla="*/ 0 h 563880"/>
                  <a:gd name="connsiteX2" fmla="*/ 45720 w 167640"/>
                  <a:gd name="connsiteY2" fmla="*/ 304800 h 563880"/>
                  <a:gd name="connsiteX3" fmla="*/ 30480 w 167640"/>
                  <a:gd name="connsiteY3" fmla="*/ 563880 h 563880"/>
                  <a:gd name="connsiteX4" fmla="*/ 152400 w 167640"/>
                  <a:gd name="connsiteY4" fmla="*/ 556260 h 563880"/>
                  <a:gd name="connsiteX5" fmla="*/ 167640 w 167640"/>
                  <a:gd name="connsiteY5" fmla="*/ 114300 h 563880"/>
                  <a:gd name="connsiteX0" fmla="*/ 167640 w 167640"/>
                  <a:gd name="connsiteY0" fmla="*/ 114300 h 563880"/>
                  <a:gd name="connsiteX1" fmla="*/ 0 w 167640"/>
                  <a:gd name="connsiteY1" fmla="*/ 0 h 563880"/>
                  <a:gd name="connsiteX2" fmla="*/ 30480 w 167640"/>
                  <a:gd name="connsiteY2" fmla="*/ 563880 h 563880"/>
                  <a:gd name="connsiteX3" fmla="*/ 152400 w 167640"/>
                  <a:gd name="connsiteY3" fmla="*/ 556260 h 563880"/>
                  <a:gd name="connsiteX4" fmla="*/ 167640 w 167640"/>
                  <a:gd name="connsiteY4" fmla="*/ 114300 h 563880"/>
                  <a:gd name="connsiteX0" fmla="*/ 167640 w 167640"/>
                  <a:gd name="connsiteY0" fmla="*/ 114300 h 563880"/>
                  <a:gd name="connsiteX1" fmla="*/ 0 w 167640"/>
                  <a:gd name="connsiteY1" fmla="*/ 0 h 563880"/>
                  <a:gd name="connsiteX2" fmla="*/ 30480 w 167640"/>
                  <a:gd name="connsiteY2" fmla="*/ 563880 h 563880"/>
                  <a:gd name="connsiteX3" fmla="*/ 152400 w 167640"/>
                  <a:gd name="connsiteY3" fmla="*/ 556260 h 563880"/>
                  <a:gd name="connsiteX4" fmla="*/ 167640 w 167640"/>
                  <a:gd name="connsiteY4" fmla="*/ 114300 h 563880"/>
                  <a:gd name="connsiteX0" fmla="*/ 168947 w 168947"/>
                  <a:gd name="connsiteY0" fmla="*/ 140856 h 590436"/>
                  <a:gd name="connsiteX1" fmla="*/ 1307 w 168947"/>
                  <a:gd name="connsiteY1" fmla="*/ 26556 h 590436"/>
                  <a:gd name="connsiteX2" fmla="*/ 31787 w 168947"/>
                  <a:gd name="connsiteY2" fmla="*/ 590436 h 590436"/>
                  <a:gd name="connsiteX3" fmla="*/ 153707 w 168947"/>
                  <a:gd name="connsiteY3" fmla="*/ 582816 h 590436"/>
                  <a:gd name="connsiteX4" fmla="*/ 168947 w 168947"/>
                  <a:gd name="connsiteY4" fmla="*/ 140856 h 590436"/>
                  <a:gd name="connsiteX0" fmla="*/ 168947 w 168947"/>
                  <a:gd name="connsiteY0" fmla="*/ 140856 h 619712"/>
                  <a:gd name="connsiteX1" fmla="*/ 1307 w 168947"/>
                  <a:gd name="connsiteY1" fmla="*/ 26556 h 619712"/>
                  <a:gd name="connsiteX2" fmla="*/ 31787 w 168947"/>
                  <a:gd name="connsiteY2" fmla="*/ 590436 h 619712"/>
                  <a:gd name="connsiteX3" fmla="*/ 153707 w 168947"/>
                  <a:gd name="connsiteY3" fmla="*/ 582816 h 619712"/>
                  <a:gd name="connsiteX4" fmla="*/ 168947 w 168947"/>
                  <a:gd name="connsiteY4" fmla="*/ 140856 h 619712"/>
                  <a:gd name="connsiteX0" fmla="*/ 168947 w 168947"/>
                  <a:gd name="connsiteY0" fmla="*/ 140856 h 630279"/>
                  <a:gd name="connsiteX1" fmla="*/ 1307 w 168947"/>
                  <a:gd name="connsiteY1" fmla="*/ 26556 h 630279"/>
                  <a:gd name="connsiteX2" fmla="*/ 31787 w 168947"/>
                  <a:gd name="connsiteY2" fmla="*/ 590436 h 630279"/>
                  <a:gd name="connsiteX3" fmla="*/ 153707 w 168947"/>
                  <a:gd name="connsiteY3" fmla="*/ 582816 h 630279"/>
                  <a:gd name="connsiteX4" fmla="*/ 168947 w 168947"/>
                  <a:gd name="connsiteY4" fmla="*/ 140856 h 63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47" h="630279">
                    <a:moveTo>
                      <a:pt x="168947" y="140856"/>
                    </a:moveTo>
                    <a:cubicBezTo>
                      <a:pt x="113067" y="102756"/>
                      <a:pt x="-14251" y="-63931"/>
                      <a:pt x="1307" y="26556"/>
                    </a:cubicBezTo>
                    <a:cubicBezTo>
                      <a:pt x="11467" y="214516"/>
                      <a:pt x="64490" y="497726"/>
                      <a:pt x="31787" y="590436"/>
                    </a:cubicBezTo>
                    <a:cubicBezTo>
                      <a:pt x="-3772" y="683146"/>
                      <a:pt x="113067" y="585356"/>
                      <a:pt x="153707" y="582816"/>
                    </a:cubicBezTo>
                    <a:lnTo>
                      <a:pt x="168947" y="140856"/>
                    </a:lnTo>
                    <a:close/>
                  </a:path>
                </a:pathLst>
              </a:cu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62" name="Freeform: Shape 2461">
                <a:extLst>
                  <a:ext uri="{FF2B5EF4-FFF2-40B4-BE49-F238E27FC236}">
                    <a16:creationId xmlns:a16="http://schemas.microsoft.com/office/drawing/2014/main" id="{A9B84D4D-9B6D-42A9-BA54-E23F91838FA4}"/>
                  </a:ext>
                </a:extLst>
              </p:cNvPr>
              <p:cNvSpPr/>
              <p:nvPr/>
            </p:nvSpPr>
            <p:spPr bwMode="auto">
              <a:xfrm>
                <a:off x="-1279757" y="5728311"/>
                <a:ext cx="472868" cy="483080"/>
              </a:xfrm>
              <a:custGeom>
                <a:avLst/>
                <a:gdLst>
                  <a:gd name="connsiteX0" fmla="*/ 0 w 2757714"/>
                  <a:gd name="connsiteY0" fmla="*/ 261258 h 2046515"/>
                  <a:gd name="connsiteX1" fmla="*/ 130629 w 2757714"/>
                  <a:gd name="connsiteY1" fmla="*/ 1973943 h 2046515"/>
                  <a:gd name="connsiteX2" fmla="*/ 2351314 w 2757714"/>
                  <a:gd name="connsiteY2" fmla="*/ 2046515 h 2046515"/>
                  <a:gd name="connsiteX3" fmla="*/ 2757714 w 2757714"/>
                  <a:gd name="connsiteY3" fmla="*/ 14515 h 2046515"/>
                  <a:gd name="connsiteX4" fmla="*/ 377372 w 2757714"/>
                  <a:gd name="connsiteY4" fmla="*/ 0 h 2046515"/>
                  <a:gd name="connsiteX5" fmla="*/ 0 w 2757714"/>
                  <a:gd name="connsiteY5" fmla="*/ 261258 h 2046515"/>
                  <a:gd name="connsiteX0" fmla="*/ 0 w 2757714"/>
                  <a:gd name="connsiteY0" fmla="*/ 261258 h 2046515"/>
                  <a:gd name="connsiteX1" fmla="*/ 375726 w 2757714"/>
                  <a:gd name="connsiteY1" fmla="*/ 1973943 h 2046515"/>
                  <a:gd name="connsiteX2" fmla="*/ 2351314 w 2757714"/>
                  <a:gd name="connsiteY2" fmla="*/ 2046515 h 2046515"/>
                  <a:gd name="connsiteX3" fmla="*/ 2757714 w 2757714"/>
                  <a:gd name="connsiteY3" fmla="*/ 14515 h 2046515"/>
                  <a:gd name="connsiteX4" fmla="*/ 377372 w 2757714"/>
                  <a:gd name="connsiteY4" fmla="*/ 0 h 2046515"/>
                  <a:gd name="connsiteX5" fmla="*/ 0 w 2757714"/>
                  <a:gd name="connsiteY5" fmla="*/ 261258 h 2046515"/>
                  <a:gd name="connsiteX0" fmla="*/ 0 w 2757714"/>
                  <a:gd name="connsiteY0" fmla="*/ 261258 h 2046515"/>
                  <a:gd name="connsiteX1" fmla="*/ 375726 w 2757714"/>
                  <a:gd name="connsiteY1" fmla="*/ 1973943 h 2046515"/>
                  <a:gd name="connsiteX2" fmla="*/ 2351314 w 2757714"/>
                  <a:gd name="connsiteY2" fmla="*/ 2046515 h 2046515"/>
                  <a:gd name="connsiteX3" fmla="*/ 2757714 w 2757714"/>
                  <a:gd name="connsiteY3" fmla="*/ 14515 h 2046515"/>
                  <a:gd name="connsiteX4" fmla="*/ 377372 w 2757714"/>
                  <a:gd name="connsiteY4" fmla="*/ 0 h 2046515"/>
                  <a:gd name="connsiteX5" fmla="*/ 0 w 2757714"/>
                  <a:gd name="connsiteY5" fmla="*/ 261258 h 2046515"/>
                  <a:gd name="connsiteX0" fmla="*/ 0 w 2757714"/>
                  <a:gd name="connsiteY0" fmla="*/ 261258 h 2095746"/>
                  <a:gd name="connsiteX1" fmla="*/ 375726 w 2757714"/>
                  <a:gd name="connsiteY1" fmla="*/ 1973943 h 2095746"/>
                  <a:gd name="connsiteX2" fmla="*/ 2351314 w 2757714"/>
                  <a:gd name="connsiteY2" fmla="*/ 2046515 h 2095746"/>
                  <a:gd name="connsiteX3" fmla="*/ 2757714 w 2757714"/>
                  <a:gd name="connsiteY3" fmla="*/ 14515 h 2095746"/>
                  <a:gd name="connsiteX4" fmla="*/ 377372 w 2757714"/>
                  <a:gd name="connsiteY4" fmla="*/ 0 h 2095746"/>
                  <a:gd name="connsiteX5" fmla="*/ 0 w 2757714"/>
                  <a:gd name="connsiteY5" fmla="*/ 261258 h 2095746"/>
                  <a:gd name="connsiteX0" fmla="*/ 4858 w 2762572"/>
                  <a:gd name="connsiteY0" fmla="*/ 261258 h 2095746"/>
                  <a:gd name="connsiteX1" fmla="*/ 380584 w 2762572"/>
                  <a:gd name="connsiteY1" fmla="*/ 1973943 h 2095746"/>
                  <a:gd name="connsiteX2" fmla="*/ 2356172 w 2762572"/>
                  <a:gd name="connsiteY2" fmla="*/ 2046515 h 2095746"/>
                  <a:gd name="connsiteX3" fmla="*/ 2762572 w 2762572"/>
                  <a:gd name="connsiteY3" fmla="*/ 14515 h 2095746"/>
                  <a:gd name="connsiteX4" fmla="*/ 382230 w 2762572"/>
                  <a:gd name="connsiteY4" fmla="*/ 0 h 2095746"/>
                  <a:gd name="connsiteX5" fmla="*/ 4858 w 2762572"/>
                  <a:gd name="connsiteY5" fmla="*/ 261258 h 2095746"/>
                  <a:gd name="connsiteX0" fmla="*/ 10995 w 2578403"/>
                  <a:gd name="connsiteY0" fmla="*/ 402660 h 2095746"/>
                  <a:gd name="connsiteX1" fmla="*/ 196415 w 2578403"/>
                  <a:gd name="connsiteY1" fmla="*/ 1973943 h 2095746"/>
                  <a:gd name="connsiteX2" fmla="*/ 2172003 w 2578403"/>
                  <a:gd name="connsiteY2" fmla="*/ 2046515 h 2095746"/>
                  <a:gd name="connsiteX3" fmla="*/ 2578403 w 2578403"/>
                  <a:gd name="connsiteY3" fmla="*/ 14515 h 2095746"/>
                  <a:gd name="connsiteX4" fmla="*/ 198061 w 2578403"/>
                  <a:gd name="connsiteY4" fmla="*/ 0 h 2095746"/>
                  <a:gd name="connsiteX5" fmla="*/ 10995 w 2578403"/>
                  <a:gd name="connsiteY5" fmla="*/ 402660 h 2095746"/>
                  <a:gd name="connsiteX0" fmla="*/ 10995 w 2578403"/>
                  <a:gd name="connsiteY0" fmla="*/ 402660 h 2095746"/>
                  <a:gd name="connsiteX1" fmla="*/ 196415 w 2578403"/>
                  <a:gd name="connsiteY1" fmla="*/ 1973943 h 2095746"/>
                  <a:gd name="connsiteX2" fmla="*/ 2172003 w 2578403"/>
                  <a:gd name="connsiteY2" fmla="*/ 2046515 h 2095746"/>
                  <a:gd name="connsiteX3" fmla="*/ 2578403 w 2578403"/>
                  <a:gd name="connsiteY3" fmla="*/ 14515 h 2095746"/>
                  <a:gd name="connsiteX4" fmla="*/ 198061 w 2578403"/>
                  <a:gd name="connsiteY4" fmla="*/ 0 h 2095746"/>
                  <a:gd name="connsiteX5" fmla="*/ 10995 w 2578403"/>
                  <a:gd name="connsiteY5" fmla="*/ 402660 h 2095746"/>
                  <a:gd name="connsiteX0" fmla="*/ 10995 w 2578403"/>
                  <a:gd name="connsiteY0" fmla="*/ 402660 h 2095746"/>
                  <a:gd name="connsiteX1" fmla="*/ 196415 w 2578403"/>
                  <a:gd name="connsiteY1" fmla="*/ 1973943 h 2095746"/>
                  <a:gd name="connsiteX2" fmla="*/ 2172003 w 2578403"/>
                  <a:gd name="connsiteY2" fmla="*/ 2046515 h 2095746"/>
                  <a:gd name="connsiteX3" fmla="*/ 2578403 w 2578403"/>
                  <a:gd name="connsiteY3" fmla="*/ 14515 h 2095746"/>
                  <a:gd name="connsiteX4" fmla="*/ 198061 w 2578403"/>
                  <a:gd name="connsiteY4" fmla="*/ 0 h 2095746"/>
                  <a:gd name="connsiteX5" fmla="*/ 10995 w 2578403"/>
                  <a:gd name="connsiteY5" fmla="*/ 402660 h 2095746"/>
                  <a:gd name="connsiteX0" fmla="*/ 10995 w 2578403"/>
                  <a:gd name="connsiteY0" fmla="*/ 402660 h 2095746"/>
                  <a:gd name="connsiteX1" fmla="*/ 196415 w 2578403"/>
                  <a:gd name="connsiteY1" fmla="*/ 1973943 h 2095746"/>
                  <a:gd name="connsiteX2" fmla="*/ 2172003 w 2578403"/>
                  <a:gd name="connsiteY2" fmla="*/ 2046515 h 2095746"/>
                  <a:gd name="connsiteX3" fmla="*/ 2578403 w 2578403"/>
                  <a:gd name="connsiteY3" fmla="*/ 14515 h 2095746"/>
                  <a:gd name="connsiteX4" fmla="*/ 198061 w 2578403"/>
                  <a:gd name="connsiteY4" fmla="*/ 0 h 2095746"/>
                  <a:gd name="connsiteX5" fmla="*/ 10995 w 2578403"/>
                  <a:gd name="connsiteY5" fmla="*/ 402660 h 2095746"/>
                  <a:gd name="connsiteX0" fmla="*/ 10995 w 2578403"/>
                  <a:gd name="connsiteY0" fmla="*/ 402660 h 2089095"/>
                  <a:gd name="connsiteX1" fmla="*/ 196415 w 2578403"/>
                  <a:gd name="connsiteY1" fmla="*/ 1973943 h 2089095"/>
                  <a:gd name="connsiteX2" fmla="*/ 2045131 w 2578403"/>
                  <a:gd name="connsiteY2" fmla="*/ 2037088 h 2089095"/>
                  <a:gd name="connsiteX3" fmla="*/ 2578403 w 2578403"/>
                  <a:gd name="connsiteY3" fmla="*/ 14515 h 2089095"/>
                  <a:gd name="connsiteX4" fmla="*/ 198061 w 2578403"/>
                  <a:gd name="connsiteY4" fmla="*/ 0 h 2089095"/>
                  <a:gd name="connsiteX5" fmla="*/ 10995 w 2578403"/>
                  <a:gd name="connsiteY5" fmla="*/ 402660 h 2089095"/>
                  <a:gd name="connsiteX0" fmla="*/ 10995 w 2578403"/>
                  <a:gd name="connsiteY0" fmla="*/ 402660 h 2089095"/>
                  <a:gd name="connsiteX1" fmla="*/ 196415 w 2578403"/>
                  <a:gd name="connsiteY1" fmla="*/ 1973943 h 2089095"/>
                  <a:gd name="connsiteX2" fmla="*/ 2045131 w 2578403"/>
                  <a:gd name="connsiteY2" fmla="*/ 2037088 h 2089095"/>
                  <a:gd name="connsiteX3" fmla="*/ 2578403 w 2578403"/>
                  <a:gd name="connsiteY3" fmla="*/ 14515 h 2089095"/>
                  <a:gd name="connsiteX4" fmla="*/ 198061 w 2578403"/>
                  <a:gd name="connsiteY4" fmla="*/ 0 h 2089095"/>
                  <a:gd name="connsiteX5" fmla="*/ 10995 w 2578403"/>
                  <a:gd name="connsiteY5" fmla="*/ 402660 h 2089095"/>
                  <a:gd name="connsiteX0" fmla="*/ 10995 w 2578403"/>
                  <a:gd name="connsiteY0" fmla="*/ 402660 h 2116401"/>
                  <a:gd name="connsiteX1" fmla="*/ 404846 w 2578403"/>
                  <a:gd name="connsiteY1" fmla="*/ 2039931 h 2116401"/>
                  <a:gd name="connsiteX2" fmla="*/ 2045131 w 2578403"/>
                  <a:gd name="connsiteY2" fmla="*/ 2037088 h 2116401"/>
                  <a:gd name="connsiteX3" fmla="*/ 2578403 w 2578403"/>
                  <a:gd name="connsiteY3" fmla="*/ 14515 h 2116401"/>
                  <a:gd name="connsiteX4" fmla="*/ 198061 w 2578403"/>
                  <a:gd name="connsiteY4" fmla="*/ 0 h 2116401"/>
                  <a:gd name="connsiteX5" fmla="*/ 10995 w 2578403"/>
                  <a:gd name="connsiteY5" fmla="*/ 402660 h 2116401"/>
                  <a:gd name="connsiteX0" fmla="*/ 10995 w 2578403"/>
                  <a:gd name="connsiteY0" fmla="*/ 402660 h 2116401"/>
                  <a:gd name="connsiteX1" fmla="*/ 413908 w 2578403"/>
                  <a:gd name="connsiteY1" fmla="*/ 2039931 h 2116401"/>
                  <a:gd name="connsiteX2" fmla="*/ 2045131 w 2578403"/>
                  <a:gd name="connsiteY2" fmla="*/ 2037088 h 2116401"/>
                  <a:gd name="connsiteX3" fmla="*/ 2578403 w 2578403"/>
                  <a:gd name="connsiteY3" fmla="*/ 14515 h 2116401"/>
                  <a:gd name="connsiteX4" fmla="*/ 198061 w 2578403"/>
                  <a:gd name="connsiteY4" fmla="*/ 0 h 2116401"/>
                  <a:gd name="connsiteX5" fmla="*/ 10995 w 2578403"/>
                  <a:gd name="connsiteY5" fmla="*/ 402660 h 2116401"/>
                  <a:gd name="connsiteX0" fmla="*/ 10995 w 2578403"/>
                  <a:gd name="connsiteY0" fmla="*/ 402660 h 2116401"/>
                  <a:gd name="connsiteX1" fmla="*/ 413908 w 2578403"/>
                  <a:gd name="connsiteY1" fmla="*/ 2039931 h 2116401"/>
                  <a:gd name="connsiteX2" fmla="*/ 1936385 w 2578403"/>
                  <a:gd name="connsiteY2" fmla="*/ 2037088 h 2116401"/>
                  <a:gd name="connsiteX3" fmla="*/ 2578403 w 2578403"/>
                  <a:gd name="connsiteY3" fmla="*/ 14515 h 2116401"/>
                  <a:gd name="connsiteX4" fmla="*/ 198061 w 2578403"/>
                  <a:gd name="connsiteY4" fmla="*/ 0 h 2116401"/>
                  <a:gd name="connsiteX5" fmla="*/ 10995 w 2578403"/>
                  <a:gd name="connsiteY5" fmla="*/ 402660 h 2116401"/>
                  <a:gd name="connsiteX0" fmla="*/ 10995 w 2288412"/>
                  <a:gd name="connsiteY0" fmla="*/ 402660 h 2116401"/>
                  <a:gd name="connsiteX1" fmla="*/ 413908 w 2288412"/>
                  <a:gd name="connsiteY1" fmla="*/ 2039931 h 2116401"/>
                  <a:gd name="connsiteX2" fmla="*/ 1936385 w 2288412"/>
                  <a:gd name="connsiteY2" fmla="*/ 2037088 h 2116401"/>
                  <a:gd name="connsiteX3" fmla="*/ 2288412 w 2288412"/>
                  <a:gd name="connsiteY3" fmla="*/ 61649 h 2116401"/>
                  <a:gd name="connsiteX4" fmla="*/ 198061 w 2288412"/>
                  <a:gd name="connsiteY4" fmla="*/ 0 h 2116401"/>
                  <a:gd name="connsiteX5" fmla="*/ 10995 w 2288412"/>
                  <a:gd name="connsiteY5" fmla="*/ 402660 h 2116401"/>
                  <a:gd name="connsiteX0" fmla="*/ 10995 w 2328557"/>
                  <a:gd name="connsiteY0" fmla="*/ 402660 h 2116401"/>
                  <a:gd name="connsiteX1" fmla="*/ 413908 w 2328557"/>
                  <a:gd name="connsiteY1" fmla="*/ 2039931 h 2116401"/>
                  <a:gd name="connsiteX2" fmla="*/ 1936385 w 2328557"/>
                  <a:gd name="connsiteY2" fmla="*/ 2037088 h 2116401"/>
                  <a:gd name="connsiteX3" fmla="*/ 2288412 w 2328557"/>
                  <a:gd name="connsiteY3" fmla="*/ 61649 h 2116401"/>
                  <a:gd name="connsiteX4" fmla="*/ 198061 w 2328557"/>
                  <a:gd name="connsiteY4" fmla="*/ 0 h 2116401"/>
                  <a:gd name="connsiteX5" fmla="*/ 10995 w 2328557"/>
                  <a:gd name="connsiteY5" fmla="*/ 402660 h 2116401"/>
                  <a:gd name="connsiteX0" fmla="*/ 10995 w 2328557"/>
                  <a:gd name="connsiteY0" fmla="*/ 484268 h 2198009"/>
                  <a:gd name="connsiteX1" fmla="*/ 413908 w 2328557"/>
                  <a:gd name="connsiteY1" fmla="*/ 2121539 h 2198009"/>
                  <a:gd name="connsiteX2" fmla="*/ 1936385 w 2328557"/>
                  <a:gd name="connsiteY2" fmla="*/ 2118696 h 2198009"/>
                  <a:gd name="connsiteX3" fmla="*/ 2288412 w 2328557"/>
                  <a:gd name="connsiteY3" fmla="*/ 143257 h 2198009"/>
                  <a:gd name="connsiteX4" fmla="*/ 198061 w 2328557"/>
                  <a:gd name="connsiteY4" fmla="*/ 81608 h 2198009"/>
                  <a:gd name="connsiteX5" fmla="*/ 10995 w 2328557"/>
                  <a:gd name="connsiteY5" fmla="*/ 484268 h 2198009"/>
                  <a:gd name="connsiteX0" fmla="*/ 8493 w 2371366"/>
                  <a:gd name="connsiteY0" fmla="*/ 484268 h 2198009"/>
                  <a:gd name="connsiteX1" fmla="*/ 456717 w 2371366"/>
                  <a:gd name="connsiteY1" fmla="*/ 2121539 h 2198009"/>
                  <a:gd name="connsiteX2" fmla="*/ 1979194 w 2371366"/>
                  <a:gd name="connsiteY2" fmla="*/ 2118696 h 2198009"/>
                  <a:gd name="connsiteX3" fmla="*/ 2331221 w 2371366"/>
                  <a:gd name="connsiteY3" fmla="*/ 143257 h 2198009"/>
                  <a:gd name="connsiteX4" fmla="*/ 240870 w 2371366"/>
                  <a:gd name="connsiteY4" fmla="*/ 81608 h 2198009"/>
                  <a:gd name="connsiteX5" fmla="*/ 8493 w 2371366"/>
                  <a:gd name="connsiteY5" fmla="*/ 484268 h 2198009"/>
                  <a:gd name="connsiteX0" fmla="*/ 0 w 2362873"/>
                  <a:gd name="connsiteY0" fmla="*/ 484268 h 2198009"/>
                  <a:gd name="connsiteX1" fmla="*/ 448224 w 2362873"/>
                  <a:gd name="connsiteY1" fmla="*/ 2121539 h 2198009"/>
                  <a:gd name="connsiteX2" fmla="*/ 1970701 w 2362873"/>
                  <a:gd name="connsiteY2" fmla="*/ 2118696 h 2198009"/>
                  <a:gd name="connsiteX3" fmla="*/ 2322728 w 2362873"/>
                  <a:gd name="connsiteY3" fmla="*/ 143257 h 2198009"/>
                  <a:gd name="connsiteX4" fmla="*/ 232377 w 2362873"/>
                  <a:gd name="connsiteY4" fmla="*/ 81608 h 2198009"/>
                  <a:gd name="connsiteX5" fmla="*/ 0 w 2362873"/>
                  <a:gd name="connsiteY5" fmla="*/ 484268 h 2198009"/>
                  <a:gd name="connsiteX0" fmla="*/ 0 w 2362873"/>
                  <a:gd name="connsiteY0" fmla="*/ 484268 h 2198009"/>
                  <a:gd name="connsiteX1" fmla="*/ 448224 w 2362873"/>
                  <a:gd name="connsiteY1" fmla="*/ 2121539 h 2198009"/>
                  <a:gd name="connsiteX2" fmla="*/ 1970701 w 2362873"/>
                  <a:gd name="connsiteY2" fmla="*/ 2118696 h 2198009"/>
                  <a:gd name="connsiteX3" fmla="*/ 2322728 w 2362873"/>
                  <a:gd name="connsiteY3" fmla="*/ 143257 h 2198009"/>
                  <a:gd name="connsiteX4" fmla="*/ 232377 w 2362873"/>
                  <a:gd name="connsiteY4" fmla="*/ 81608 h 2198009"/>
                  <a:gd name="connsiteX5" fmla="*/ 0 w 2362873"/>
                  <a:gd name="connsiteY5" fmla="*/ 484268 h 2198009"/>
                  <a:gd name="connsiteX0" fmla="*/ 0 w 2362873"/>
                  <a:gd name="connsiteY0" fmla="*/ 593299 h 2307040"/>
                  <a:gd name="connsiteX1" fmla="*/ 448224 w 2362873"/>
                  <a:gd name="connsiteY1" fmla="*/ 2230570 h 2307040"/>
                  <a:gd name="connsiteX2" fmla="*/ 1970701 w 2362873"/>
                  <a:gd name="connsiteY2" fmla="*/ 2227727 h 2307040"/>
                  <a:gd name="connsiteX3" fmla="*/ 2322728 w 2362873"/>
                  <a:gd name="connsiteY3" fmla="*/ 252288 h 2307040"/>
                  <a:gd name="connsiteX4" fmla="*/ 232377 w 2362873"/>
                  <a:gd name="connsiteY4" fmla="*/ 190639 h 2307040"/>
                  <a:gd name="connsiteX5" fmla="*/ 0 w 2362873"/>
                  <a:gd name="connsiteY5" fmla="*/ 593299 h 2307040"/>
                  <a:gd name="connsiteX0" fmla="*/ 0 w 2362873"/>
                  <a:gd name="connsiteY0" fmla="*/ 590549 h 2304290"/>
                  <a:gd name="connsiteX1" fmla="*/ 448224 w 2362873"/>
                  <a:gd name="connsiteY1" fmla="*/ 2227820 h 2304290"/>
                  <a:gd name="connsiteX2" fmla="*/ 1970701 w 2362873"/>
                  <a:gd name="connsiteY2" fmla="*/ 2224977 h 2304290"/>
                  <a:gd name="connsiteX3" fmla="*/ 2322728 w 2362873"/>
                  <a:gd name="connsiteY3" fmla="*/ 249538 h 2304290"/>
                  <a:gd name="connsiteX4" fmla="*/ 363997 w 2362873"/>
                  <a:gd name="connsiteY4" fmla="*/ 13718 h 2304290"/>
                  <a:gd name="connsiteX5" fmla="*/ 232377 w 2362873"/>
                  <a:gd name="connsiteY5" fmla="*/ 187889 h 2304290"/>
                  <a:gd name="connsiteX6" fmla="*/ 0 w 2362873"/>
                  <a:gd name="connsiteY6" fmla="*/ 590549 h 2304290"/>
                  <a:gd name="connsiteX0" fmla="*/ 0 w 2362873"/>
                  <a:gd name="connsiteY0" fmla="*/ 545290 h 2259031"/>
                  <a:gd name="connsiteX1" fmla="*/ 448224 w 2362873"/>
                  <a:gd name="connsiteY1" fmla="*/ 2182561 h 2259031"/>
                  <a:gd name="connsiteX2" fmla="*/ 1970701 w 2362873"/>
                  <a:gd name="connsiteY2" fmla="*/ 2179718 h 2259031"/>
                  <a:gd name="connsiteX3" fmla="*/ 2322728 w 2362873"/>
                  <a:gd name="connsiteY3" fmla="*/ 204279 h 2259031"/>
                  <a:gd name="connsiteX4" fmla="*/ 373060 w 2362873"/>
                  <a:gd name="connsiteY4" fmla="*/ 53300 h 2259031"/>
                  <a:gd name="connsiteX5" fmla="*/ 232377 w 2362873"/>
                  <a:gd name="connsiteY5" fmla="*/ 142630 h 2259031"/>
                  <a:gd name="connsiteX6" fmla="*/ 0 w 2362873"/>
                  <a:gd name="connsiteY6" fmla="*/ 545290 h 2259031"/>
                  <a:gd name="connsiteX0" fmla="*/ 0 w 2362873"/>
                  <a:gd name="connsiteY0" fmla="*/ 604491 h 2318232"/>
                  <a:gd name="connsiteX1" fmla="*/ 448224 w 2362873"/>
                  <a:gd name="connsiteY1" fmla="*/ 2241762 h 2318232"/>
                  <a:gd name="connsiteX2" fmla="*/ 1970701 w 2362873"/>
                  <a:gd name="connsiteY2" fmla="*/ 2238919 h 2318232"/>
                  <a:gd name="connsiteX3" fmla="*/ 2322728 w 2362873"/>
                  <a:gd name="connsiteY3" fmla="*/ 263480 h 2318232"/>
                  <a:gd name="connsiteX4" fmla="*/ 373060 w 2362873"/>
                  <a:gd name="connsiteY4" fmla="*/ 112501 h 2318232"/>
                  <a:gd name="connsiteX5" fmla="*/ 232377 w 2362873"/>
                  <a:gd name="connsiteY5" fmla="*/ 201831 h 2318232"/>
                  <a:gd name="connsiteX6" fmla="*/ 0 w 2362873"/>
                  <a:gd name="connsiteY6" fmla="*/ 604491 h 2318232"/>
                  <a:gd name="connsiteX0" fmla="*/ 11615 w 2374488"/>
                  <a:gd name="connsiteY0" fmla="*/ 604491 h 2318232"/>
                  <a:gd name="connsiteX1" fmla="*/ 459839 w 2374488"/>
                  <a:gd name="connsiteY1" fmla="*/ 2241762 h 2318232"/>
                  <a:gd name="connsiteX2" fmla="*/ 1982316 w 2374488"/>
                  <a:gd name="connsiteY2" fmla="*/ 2238919 h 2318232"/>
                  <a:gd name="connsiteX3" fmla="*/ 2334343 w 2374488"/>
                  <a:gd name="connsiteY3" fmla="*/ 263480 h 2318232"/>
                  <a:gd name="connsiteX4" fmla="*/ 384675 w 2374488"/>
                  <a:gd name="connsiteY4" fmla="*/ 112501 h 2318232"/>
                  <a:gd name="connsiteX5" fmla="*/ 243992 w 2374488"/>
                  <a:gd name="connsiteY5" fmla="*/ 201831 h 2318232"/>
                  <a:gd name="connsiteX6" fmla="*/ 112809 w 2374488"/>
                  <a:gd name="connsiteY6" fmla="*/ 150208 h 2318232"/>
                  <a:gd name="connsiteX7" fmla="*/ 11615 w 2374488"/>
                  <a:gd name="connsiteY7" fmla="*/ 604491 h 2318232"/>
                  <a:gd name="connsiteX0" fmla="*/ 0 w 2362873"/>
                  <a:gd name="connsiteY0" fmla="*/ 604491 h 2318232"/>
                  <a:gd name="connsiteX1" fmla="*/ 448224 w 2362873"/>
                  <a:gd name="connsiteY1" fmla="*/ 2241762 h 2318232"/>
                  <a:gd name="connsiteX2" fmla="*/ 1970701 w 2362873"/>
                  <a:gd name="connsiteY2" fmla="*/ 2238919 h 2318232"/>
                  <a:gd name="connsiteX3" fmla="*/ 2322728 w 2362873"/>
                  <a:gd name="connsiteY3" fmla="*/ 263480 h 2318232"/>
                  <a:gd name="connsiteX4" fmla="*/ 373060 w 2362873"/>
                  <a:gd name="connsiteY4" fmla="*/ 112501 h 2318232"/>
                  <a:gd name="connsiteX5" fmla="*/ 232377 w 2362873"/>
                  <a:gd name="connsiteY5" fmla="*/ 201831 h 2318232"/>
                  <a:gd name="connsiteX6" fmla="*/ 101194 w 2362873"/>
                  <a:gd name="connsiteY6" fmla="*/ 150208 h 2318232"/>
                  <a:gd name="connsiteX7" fmla="*/ 0 w 2362873"/>
                  <a:gd name="connsiteY7" fmla="*/ 604491 h 2318232"/>
                  <a:gd name="connsiteX0" fmla="*/ 0 w 2362873"/>
                  <a:gd name="connsiteY0" fmla="*/ 604491 h 2318232"/>
                  <a:gd name="connsiteX1" fmla="*/ 448224 w 2362873"/>
                  <a:gd name="connsiteY1" fmla="*/ 2241762 h 2318232"/>
                  <a:gd name="connsiteX2" fmla="*/ 1970701 w 2362873"/>
                  <a:gd name="connsiteY2" fmla="*/ 2238919 h 2318232"/>
                  <a:gd name="connsiteX3" fmla="*/ 2322728 w 2362873"/>
                  <a:gd name="connsiteY3" fmla="*/ 263480 h 2318232"/>
                  <a:gd name="connsiteX4" fmla="*/ 373060 w 2362873"/>
                  <a:gd name="connsiteY4" fmla="*/ 112501 h 2318232"/>
                  <a:gd name="connsiteX5" fmla="*/ 232377 w 2362873"/>
                  <a:gd name="connsiteY5" fmla="*/ 201831 h 2318232"/>
                  <a:gd name="connsiteX6" fmla="*/ 83385 w 2362873"/>
                  <a:gd name="connsiteY6" fmla="*/ 125342 h 2318232"/>
                  <a:gd name="connsiteX7" fmla="*/ 0 w 2362873"/>
                  <a:gd name="connsiteY7" fmla="*/ 604491 h 2318232"/>
                  <a:gd name="connsiteX0" fmla="*/ 0 w 2362873"/>
                  <a:gd name="connsiteY0" fmla="*/ 604491 h 2318232"/>
                  <a:gd name="connsiteX1" fmla="*/ 448224 w 2362873"/>
                  <a:gd name="connsiteY1" fmla="*/ 2241762 h 2318232"/>
                  <a:gd name="connsiteX2" fmla="*/ 1970701 w 2362873"/>
                  <a:gd name="connsiteY2" fmla="*/ 2238919 h 2318232"/>
                  <a:gd name="connsiteX3" fmla="*/ 2322728 w 2362873"/>
                  <a:gd name="connsiteY3" fmla="*/ 263480 h 2318232"/>
                  <a:gd name="connsiteX4" fmla="*/ 373060 w 2362873"/>
                  <a:gd name="connsiteY4" fmla="*/ 112501 h 2318232"/>
                  <a:gd name="connsiteX5" fmla="*/ 232377 w 2362873"/>
                  <a:gd name="connsiteY5" fmla="*/ 201831 h 2318232"/>
                  <a:gd name="connsiteX6" fmla="*/ 83385 w 2362873"/>
                  <a:gd name="connsiteY6" fmla="*/ 125342 h 2318232"/>
                  <a:gd name="connsiteX7" fmla="*/ 0 w 2362873"/>
                  <a:gd name="connsiteY7" fmla="*/ 604491 h 2318232"/>
                  <a:gd name="connsiteX0" fmla="*/ 0 w 2355744"/>
                  <a:gd name="connsiteY0" fmla="*/ 604491 h 2326528"/>
                  <a:gd name="connsiteX1" fmla="*/ 448224 w 2355744"/>
                  <a:gd name="connsiteY1" fmla="*/ 2241762 h 2326528"/>
                  <a:gd name="connsiteX2" fmla="*/ 1881655 w 2355744"/>
                  <a:gd name="connsiteY2" fmla="*/ 2255496 h 2326528"/>
                  <a:gd name="connsiteX3" fmla="*/ 2322728 w 2355744"/>
                  <a:gd name="connsiteY3" fmla="*/ 263480 h 2326528"/>
                  <a:gd name="connsiteX4" fmla="*/ 373060 w 2355744"/>
                  <a:gd name="connsiteY4" fmla="*/ 112501 h 2326528"/>
                  <a:gd name="connsiteX5" fmla="*/ 232377 w 2355744"/>
                  <a:gd name="connsiteY5" fmla="*/ 201831 h 2326528"/>
                  <a:gd name="connsiteX6" fmla="*/ 83385 w 2355744"/>
                  <a:gd name="connsiteY6" fmla="*/ 125342 h 2326528"/>
                  <a:gd name="connsiteX7" fmla="*/ 0 w 2355744"/>
                  <a:gd name="connsiteY7" fmla="*/ 604491 h 2326528"/>
                  <a:gd name="connsiteX0" fmla="*/ 0 w 2355744"/>
                  <a:gd name="connsiteY0" fmla="*/ 604491 h 2334809"/>
                  <a:gd name="connsiteX1" fmla="*/ 608510 w 2355744"/>
                  <a:gd name="connsiteY1" fmla="*/ 2258338 h 2334809"/>
                  <a:gd name="connsiteX2" fmla="*/ 1881655 w 2355744"/>
                  <a:gd name="connsiteY2" fmla="*/ 2255496 h 2334809"/>
                  <a:gd name="connsiteX3" fmla="*/ 2322728 w 2355744"/>
                  <a:gd name="connsiteY3" fmla="*/ 263480 h 2334809"/>
                  <a:gd name="connsiteX4" fmla="*/ 373060 w 2355744"/>
                  <a:gd name="connsiteY4" fmla="*/ 112501 h 2334809"/>
                  <a:gd name="connsiteX5" fmla="*/ 232377 w 2355744"/>
                  <a:gd name="connsiteY5" fmla="*/ 201831 h 2334809"/>
                  <a:gd name="connsiteX6" fmla="*/ 83385 w 2355744"/>
                  <a:gd name="connsiteY6" fmla="*/ 125342 h 2334809"/>
                  <a:gd name="connsiteX7" fmla="*/ 0 w 2355744"/>
                  <a:gd name="connsiteY7" fmla="*/ 604491 h 2334809"/>
                  <a:gd name="connsiteX0" fmla="*/ 0 w 2355743"/>
                  <a:gd name="connsiteY0" fmla="*/ 604491 h 2322966"/>
                  <a:gd name="connsiteX1" fmla="*/ 498796 w 2355743"/>
                  <a:gd name="connsiteY1" fmla="*/ 2233945 h 2322966"/>
                  <a:gd name="connsiteX2" fmla="*/ 1881655 w 2355743"/>
                  <a:gd name="connsiteY2" fmla="*/ 2255496 h 2322966"/>
                  <a:gd name="connsiteX3" fmla="*/ 2322728 w 2355743"/>
                  <a:gd name="connsiteY3" fmla="*/ 263480 h 2322966"/>
                  <a:gd name="connsiteX4" fmla="*/ 373060 w 2355743"/>
                  <a:gd name="connsiteY4" fmla="*/ 112501 h 2322966"/>
                  <a:gd name="connsiteX5" fmla="*/ 232377 w 2355743"/>
                  <a:gd name="connsiteY5" fmla="*/ 201831 h 2322966"/>
                  <a:gd name="connsiteX6" fmla="*/ 83385 w 2355743"/>
                  <a:gd name="connsiteY6" fmla="*/ 125342 h 2322966"/>
                  <a:gd name="connsiteX7" fmla="*/ 0 w 2355743"/>
                  <a:gd name="connsiteY7" fmla="*/ 604491 h 2322966"/>
                  <a:gd name="connsiteX0" fmla="*/ 0 w 2355743"/>
                  <a:gd name="connsiteY0" fmla="*/ 604491 h 2320211"/>
                  <a:gd name="connsiteX1" fmla="*/ 498796 w 2355743"/>
                  <a:gd name="connsiteY1" fmla="*/ 2233945 h 2320211"/>
                  <a:gd name="connsiteX2" fmla="*/ 1881655 w 2355743"/>
                  <a:gd name="connsiteY2" fmla="*/ 2255496 h 2320211"/>
                  <a:gd name="connsiteX3" fmla="*/ 2322728 w 2355743"/>
                  <a:gd name="connsiteY3" fmla="*/ 263480 h 2320211"/>
                  <a:gd name="connsiteX4" fmla="*/ 373060 w 2355743"/>
                  <a:gd name="connsiteY4" fmla="*/ 112501 h 2320211"/>
                  <a:gd name="connsiteX5" fmla="*/ 232377 w 2355743"/>
                  <a:gd name="connsiteY5" fmla="*/ 201831 h 2320211"/>
                  <a:gd name="connsiteX6" fmla="*/ 83385 w 2355743"/>
                  <a:gd name="connsiteY6" fmla="*/ 125342 h 2320211"/>
                  <a:gd name="connsiteX7" fmla="*/ 0 w 2355743"/>
                  <a:gd name="connsiteY7" fmla="*/ 604491 h 2320211"/>
                  <a:gd name="connsiteX0" fmla="*/ 0 w 2355743"/>
                  <a:gd name="connsiteY0" fmla="*/ 604491 h 2342460"/>
                  <a:gd name="connsiteX1" fmla="*/ 498796 w 2355743"/>
                  <a:gd name="connsiteY1" fmla="*/ 2233945 h 2342460"/>
                  <a:gd name="connsiteX2" fmla="*/ 1881655 w 2355743"/>
                  <a:gd name="connsiteY2" fmla="*/ 2255496 h 2342460"/>
                  <a:gd name="connsiteX3" fmla="*/ 2322728 w 2355743"/>
                  <a:gd name="connsiteY3" fmla="*/ 263480 h 2342460"/>
                  <a:gd name="connsiteX4" fmla="*/ 373060 w 2355743"/>
                  <a:gd name="connsiteY4" fmla="*/ 112501 h 2342460"/>
                  <a:gd name="connsiteX5" fmla="*/ 232377 w 2355743"/>
                  <a:gd name="connsiteY5" fmla="*/ 201831 h 2342460"/>
                  <a:gd name="connsiteX6" fmla="*/ 83385 w 2355743"/>
                  <a:gd name="connsiteY6" fmla="*/ 125342 h 2342460"/>
                  <a:gd name="connsiteX7" fmla="*/ 0 w 2355743"/>
                  <a:gd name="connsiteY7" fmla="*/ 604491 h 2342460"/>
                  <a:gd name="connsiteX0" fmla="*/ 0 w 2357585"/>
                  <a:gd name="connsiteY0" fmla="*/ 604491 h 2342460"/>
                  <a:gd name="connsiteX1" fmla="*/ 498796 w 2357585"/>
                  <a:gd name="connsiteY1" fmla="*/ 2233945 h 2342460"/>
                  <a:gd name="connsiteX2" fmla="*/ 1907987 w 2357585"/>
                  <a:gd name="connsiteY2" fmla="*/ 2255496 h 2342460"/>
                  <a:gd name="connsiteX3" fmla="*/ 2322728 w 2357585"/>
                  <a:gd name="connsiteY3" fmla="*/ 263480 h 2342460"/>
                  <a:gd name="connsiteX4" fmla="*/ 373060 w 2357585"/>
                  <a:gd name="connsiteY4" fmla="*/ 112501 h 2342460"/>
                  <a:gd name="connsiteX5" fmla="*/ 232377 w 2357585"/>
                  <a:gd name="connsiteY5" fmla="*/ 201831 h 2342460"/>
                  <a:gd name="connsiteX6" fmla="*/ 83385 w 2357585"/>
                  <a:gd name="connsiteY6" fmla="*/ 125342 h 2342460"/>
                  <a:gd name="connsiteX7" fmla="*/ 0 w 2357585"/>
                  <a:gd name="connsiteY7" fmla="*/ 604491 h 2342460"/>
                  <a:gd name="connsiteX0" fmla="*/ 0 w 2354256"/>
                  <a:gd name="connsiteY0" fmla="*/ 604491 h 2342460"/>
                  <a:gd name="connsiteX1" fmla="*/ 498796 w 2354256"/>
                  <a:gd name="connsiteY1" fmla="*/ 2233945 h 2342460"/>
                  <a:gd name="connsiteX2" fmla="*/ 1907987 w 2354256"/>
                  <a:gd name="connsiteY2" fmla="*/ 2255496 h 2342460"/>
                  <a:gd name="connsiteX3" fmla="*/ 2322728 w 2354256"/>
                  <a:gd name="connsiteY3" fmla="*/ 263480 h 2342460"/>
                  <a:gd name="connsiteX4" fmla="*/ 373060 w 2354256"/>
                  <a:gd name="connsiteY4" fmla="*/ 112501 h 2342460"/>
                  <a:gd name="connsiteX5" fmla="*/ 232377 w 2354256"/>
                  <a:gd name="connsiteY5" fmla="*/ 201831 h 2342460"/>
                  <a:gd name="connsiteX6" fmla="*/ 83385 w 2354256"/>
                  <a:gd name="connsiteY6" fmla="*/ 125342 h 2342460"/>
                  <a:gd name="connsiteX7" fmla="*/ 0 w 2354256"/>
                  <a:gd name="connsiteY7" fmla="*/ 604491 h 2342460"/>
                  <a:gd name="connsiteX0" fmla="*/ 0 w 2354256"/>
                  <a:gd name="connsiteY0" fmla="*/ 604491 h 2317576"/>
                  <a:gd name="connsiteX1" fmla="*/ 498796 w 2354256"/>
                  <a:gd name="connsiteY1" fmla="*/ 2233945 h 2317576"/>
                  <a:gd name="connsiteX2" fmla="*/ 1907987 w 2354256"/>
                  <a:gd name="connsiteY2" fmla="*/ 2255496 h 2317576"/>
                  <a:gd name="connsiteX3" fmla="*/ 2322728 w 2354256"/>
                  <a:gd name="connsiteY3" fmla="*/ 263480 h 2317576"/>
                  <a:gd name="connsiteX4" fmla="*/ 373060 w 2354256"/>
                  <a:gd name="connsiteY4" fmla="*/ 112501 h 2317576"/>
                  <a:gd name="connsiteX5" fmla="*/ 232377 w 2354256"/>
                  <a:gd name="connsiteY5" fmla="*/ 201831 h 2317576"/>
                  <a:gd name="connsiteX6" fmla="*/ 83385 w 2354256"/>
                  <a:gd name="connsiteY6" fmla="*/ 125342 h 2317576"/>
                  <a:gd name="connsiteX7" fmla="*/ 0 w 2354256"/>
                  <a:gd name="connsiteY7" fmla="*/ 604491 h 2317576"/>
                  <a:gd name="connsiteX0" fmla="*/ 0 w 2355656"/>
                  <a:gd name="connsiteY0" fmla="*/ 604491 h 2333806"/>
                  <a:gd name="connsiteX1" fmla="*/ 498796 w 2355656"/>
                  <a:gd name="connsiteY1" fmla="*/ 2233945 h 2333806"/>
                  <a:gd name="connsiteX2" fmla="*/ 1929930 w 2355656"/>
                  <a:gd name="connsiteY2" fmla="*/ 2296152 h 2333806"/>
                  <a:gd name="connsiteX3" fmla="*/ 2322728 w 2355656"/>
                  <a:gd name="connsiteY3" fmla="*/ 263480 h 2333806"/>
                  <a:gd name="connsiteX4" fmla="*/ 373060 w 2355656"/>
                  <a:gd name="connsiteY4" fmla="*/ 112501 h 2333806"/>
                  <a:gd name="connsiteX5" fmla="*/ 232377 w 2355656"/>
                  <a:gd name="connsiteY5" fmla="*/ 201831 h 2333806"/>
                  <a:gd name="connsiteX6" fmla="*/ 83385 w 2355656"/>
                  <a:gd name="connsiteY6" fmla="*/ 125342 h 2333806"/>
                  <a:gd name="connsiteX7" fmla="*/ 0 w 2355656"/>
                  <a:gd name="connsiteY7" fmla="*/ 604491 h 2333806"/>
                  <a:gd name="connsiteX0" fmla="*/ 0 w 2354802"/>
                  <a:gd name="connsiteY0" fmla="*/ 604491 h 2313621"/>
                  <a:gd name="connsiteX1" fmla="*/ 498796 w 2354802"/>
                  <a:gd name="connsiteY1" fmla="*/ 2233945 h 2313621"/>
                  <a:gd name="connsiteX2" fmla="*/ 1916765 w 2354802"/>
                  <a:gd name="connsiteY2" fmla="*/ 2243300 h 2313621"/>
                  <a:gd name="connsiteX3" fmla="*/ 2322728 w 2354802"/>
                  <a:gd name="connsiteY3" fmla="*/ 263480 h 2313621"/>
                  <a:gd name="connsiteX4" fmla="*/ 373060 w 2354802"/>
                  <a:gd name="connsiteY4" fmla="*/ 112501 h 2313621"/>
                  <a:gd name="connsiteX5" fmla="*/ 232377 w 2354802"/>
                  <a:gd name="connsiteY5" fmla="*/ 201831 h 2313621"/>
                  <a:gd name="connsiteX6" fmla="*/ 83385 w 2354802"/>
                  <a:gd name="connsiteY6" fmla="*/ 125342 h 2313621"/>
                  <a:gd name="connsiteX7" fmla="*/ 0 w 2354802"/>
                  <a:gd name="connsiteY7" fmla="*/ 604491 h 2313621"/>
                  <a:gd name="connsiteX0" fmla="*/ 0 w 2354802"/>
                  <a:gd name="connsiteY0" fmla="*/ 604491 h 2330182"/>
                  <a:gd name="connsiteX1" fmla="*/ 498796 w 2354802"/>
                  <a:gd name="connsiteY1" fmla="*/ 2233945 h 2330182"/>
                  <a:gd name="connsiteX2" fmla="*/ 1916765 w 2354802"/>
                  <a:gd name="connsiteY2" fmla="*/ 2243300 h 2330182"/>
                  <a:gd name="connsiteX3" fmla="*/ 2322728 w 2354802"/>
                  <a:gd name="connsiteY3" fmla="*/ 263480 h 2330182"/>
                  <a:gd name="connsiteX4" fmla="*/ 373060 w 2354802"/>
                  <a:gd name="connsiteY4" fmla="*/ 112501 h 2330182"/>
                  <a:gd name="connsiteX5" fmla="*/ 232377 w 2354802"/>
                  <a:gd name="connsiteY5" fmla="*/ 201831 h 2330182"/>
                  <a:gd name="connsiteX6" fmla="*/ 83385 w 2354802"/>
                  <a:gd name="connsiteY6" fmla="*/ 125342 h 2330182"/>
                  <a:gd name="connsiteX7" fmla="*/ 0 w 2354802"/>
                  <a:gd name="connsiteY7" fmla="*/ 604491 h 2330182"/>
                  <a:gd name="connsiteX0" fmla="*/ 0 w 2354802"/>
                  <a:gd name="connsiteY0" fmla="*/ 604491 h 2330182"/>
                  <a:gd name="connsiteX1" fmla="*/ 498796 w 2354802"/>
                  <a:gd name="connsiteY1" fmla="*/ 2233945 h 2330182"/>
                  <a:gd name="connsiteX2" fmla="*/ 1916765 w 2354802"/>
                  <a:gd name="connsiteY2" fmla="*/ 2243300 h 2330182"/>
                  <a:gd name="connsiteX3" fmla="*/ 2322728 w 2354802"/>
                  <a:gd name="connsiteY3" fmla="*/ 263480 h 2330182"/>
                  <a:gd name="connsiteX4" fmla="*/ 373060 w 2354802"/>
                  <a:gd name="connsiteY4" fmla="*/ 112501 h 2330182"/>
                  <a:gd name="connsiteX5" fmla="*/ 232377 w 2354802"/>
                  <a:gd name="connsiteY5" fmla="*/ 201831 h 2330182"/>
                  <a:gd name="connsiteX6" fmla="*/ 83385 w 2354802"/>
                  <a:gd name="connsiteY6" fmla="*/ 125342 h 2330182"/>
                  <a:gd name="connsiteX7" fmla="*/ 0 w 2354802"/>
                  <a:gd name="connsiteY7" fmla="*/ 604491 h 2330182"/>
                  <a:gd name="connsiteX0" fmla="*/ 0 w 2354802"/>
                  <a:gd name="connsiteY0" fmla="*/ 604491 h 2330182"/>
                  <a:gd name="connsiteX1" fmla="*/ 498796 w 2354802"/>
                  <a:gd name="connsiteY1" fmla="*/ 2233945 h 2330182"/>
                  <a:gd name="connsiteX2" fmla="*/ 1916765 w 2354802"/>
                  <a:gd name="connsiteY2" fmla="*/ 2243300 h 2330182"/>
                  <a:gd name="connsiteX3" fmla="*/ 2322728 w 2354802"/>
                  <a:gd name="connsiteY3" fmla="*/ 263480 h 2330182"/>
                  <a:gd name="connsiteX4" fmla="*/ 373060 w 2354802"/>
                  <a:gd name="connsiteY4" fmla="*/ 112501 h 2330182"/>
                  <a:gd name="connsiteX5" fmla="*/ 232377 w 2354802"/>
                  <a:gd name="connsiteY5" fmla="*/ 201831 h 2330182"/>
                  <a:gd name="connsiteX6" fmla="*/ 83385 w 2354802"/>
                  <a:gd name="connsiteY6" fmla="*/ 125342 h 2330182"/>
                  <a:gd name="connsiteX7" fmla="*/ 0 w 2354802"/>
                  <a:gd name="connsiteY7" fmla="*/ 604491 h 2330182"/>
                  <a:gd name="connsiteX0" fmla="*/ 0 w 2354802"/>
                  <a:gd name="connsiteY0" fmla="*/ 604491 h 2330182"/>
                  <a:gd name="connsiteX1" fmla="*/ 498796 w 2354802"/>
                  <a:gd name="connsiteY1" fmla="*/ 2233945 h 2330182"/>
                  <a:gd name="connsiteX2" fmla="*/ 1916765 w 2354802"/>
                  <a:gd name="connsiteY2" fmla="*/ 2243300 h 2330182"/>
                  <a:gd name="connsiteX3" fmla="*/ 2322728 w 2354802"/>
                  <a:gd name="connsiteY3" fmla="*/ 263480 h 2330182"/>
                  <a:gd name="connsiteX4" fmla="*/ 373060 w 2354802"/>
                  <a:gd name="connsiteY4" fmla="*/ 112501 h 2330182"/>
                  <a:gd name="connsiteX5" fmla="*/ 232377 w 2354802"/>
                  <a:gd name="connsiteY5" fmla="*/ 201831 h 2330182"/>
                  <a:gd name="connsiteX6" fmla="*/ 83385 w 2354802"/>
                  <a:gd name="connsiteY6" fmla="*/ 125342 h 2330182"/>
                  <a:gd name="connsiteX7" fmla="*/ 0 w 2354802"/>
                  <a:gd name="connsiteY7" fmla="*/ 604491 h 2330182"/>
                  <a:gd name="connsiteX0" fmla="*/ 0 w 2271417"/>
                  <a:gd name="connsiteY0" fmla="*/ 125342 h 2330182"/>
                  <a:gd name="connsiteX1" fmla="*/ 415411 w 2271417"/>
                  <a:gd name="connsiteY1" fmla="*/ 2233945 h 2330182"/>
                  <a:gd name="connsiteX2" fmla="*/ 1833380 w 2271417"/>
                  <a:gd name="connsiteY2" fmla="*/ 2243300 h 2330182"/>
                  <a:gd name="connsiteX3" fmla="*/ 2239343 w 2271417"/>
                  <a:gd name="connsiteY3" fmla="*/ 263480 h 2330182"/>
                  <a:gd name="connsiteX4" fmla="*/ 289675 w 2271417"/>
                  <a:gd name="connsiteY4" fmla="*/ 112501 h 2330182"/>
                  <a:gd name="connsiteX5" fmla="*/ 148992 w 2271417"/>
                  <a:gd name="connsiteY5" fmla="*/ 201831 h 2330182"/>
                  <a:gd name="connsiteX6" fmla="*/ 0 w 2271417"/>
                  <a:gd name="connsiteY6" fmla="*/ 125342 h 2330182"/>
                  <a:gd name="connsiteX0" fmla="*/ 25406 w 2147831"/>
                  <a:gd name="connsiteY0" fmla="*/ 201831 h 2330182"/>
                  <a:gd name="connsiteX1" fmla="*/ 291825 w 2147831"/>
                  <a:gd name="connsiteY1" fmla="*/ 2233945 h 2330182"/>
                  <a:gd name="connsiteX2" fmla="*/ 1709794 w 2147831"/>
                  <a:gd name="connsiteY2" fmla="*/ 2243300 h 2330182"/>
                  <a:gd name="connsiteX3" fmla="*/ 2115757 w 2147831"/>
                  <a:gd name="connsiteY3" fmla="*/ 263480 h 2330182"/>
                  <a:gd name="connsiteX4" fmla="*/ 166089 w 2147831"/>
                  <a:gd name="connsiteY4" fmla="*/ 112501 h 2330182"/>
                  <a:gd name="connsiteX5" fmla="*/ 25406 w 2147831"/>
                  <a:gd name="connsiteY5" fmla="*/ 201831 h 2330182"/>
                  <a:gd name="connsiteX0" fmla="*/ 161651 w 2143393"/>
                  <a:gd name="connsiteY0" fmla="*/ 53300 h 2270981"/>
                  <a:gd name="connsiteX1" fmla="*/ 287387 w 2143393"/>
                  <a:gd name="connsiteY1" fmla="*/ 2174744 h 2270981"/>
                  <a:gd name="connsiteX2" fmla="*/ 1705356 w 2143393"/>
                  <a:gd name="connsiteY2" fmla="*/ 2184099 h 2270981"/>
                  <a:gd name="connsiteX3" fmla="*/ 2111319 w 2143393"/>
                  <a:gd name="connsiteY3" fmla="*/ 204279 h 2270981"/>
                  <a:gd name="connsiteX4" fmla="*/ 161651 w 2143393"/>
                  <a:gd name="connsiteY4" fmla="*/ 53300 h 2270981"/>
                  <a:gd name="connsiteX0" fmla="*/ 1823932 w 1856006"/>
                  <a:gd name="connsiteY0" fmla="*/ 2 h 2066704"/>
                  <a:gd name="connsiteX1" fmla="*/ 0 w 1856006"/>
                  <a:gd name="connsiteY1" fmla="*/ 1970467 h 2066704"/>
                  <a:gd name="connsiteX2" fmla="*/ 1417969 w 1856006"/>
                  <a:gd name="connsiteY2" fmla="*/ 1979822 h 2066704"/>
                  <a:gd name="connsiteX3" fmla="*/ 1823932 w 1856006"/>
                  <a:gd name="connsiteY3" fmla="*/ 2 h 2066704"/>
                  <a:gd name="connsiteX0" fmla="*/ 1865673 w 1897747"/>
                  <a:gd name="connsiteY0" fmla="*/ 57773 h 2124475"/>
                  <a:gd name="connsiteX1" fmla="*/ 41741 w 1897747"/>
                  <a:gd name="connsiteY1" fmla="*/ 2028238 h 2124475"/>
                  <a:gd name="connsiteX2" fmla="*/ 1459710 w 1897747"/>
                  <a:gd name="connsiteY2" fmla="*/ 2037593 h 2124475"/>
                  <a:gd name="connsiteX3" fmla="*/ 1865673 w 1897747"/>
                  <a:gd name="connsiteY3" fmla="*/ 57773 h 2124475"/>
                  <a:gd name="connsiteX0" fmla="*/ 1900634 w 1930599"/>
                  <a:gd name="connsiteY0" fmla="*/ 165351 h 1885483"/>
                  <a:gd name="connsiteX1" fmla="*/ 41073 w 1930599"/>
                  <a:gd name="connsiteY1" fmla="*/ 1789246 h 1885483"/>
                  <a:gd name="connsiteX2" fmla="*/ 1459042 w 1930599"/>
                  <a:gd name="connsiteY2" fmla="*/ 1798601 h 1885483"/>
                  <a:gd name="connsiteX3" fmla="*/ 1900634 w 1930599"/>
                  <a:gd name="connsiteY3" fmla="*/ 165351 h 1885483"/>
                  <a:gd name="connsiteX0" fmla="*/ 2022457 w 2052422"/>
                  <a:gd name="connsiteY0" fmla="*/ 119317 h 1839449"/>
                  <a:gd name="connsiteX1" fmla="*/ 223711 w 2052422"/>
                  <a:gd name="connsiteY1" fmla="*/ 305175 h 1839449"/>
                  <a:gd name="connsiteX2" fmla="*/ 162896 w 2052422"/>
                  <a:gd name="connsiteY2" fmla="*/ 1743212 h 1839449"/>
                  <a:gd name="connsiteX3" fmla="*/ 1580865 w 2052422"/>
                  <a:gd name="connsiteY3" fmla="*/ 1752567 h 1839449"/>
                  <a:gd name="connsiteX4" fmla="*/ 2022457 w 2052422"/>
                  <a:gd name="connsiteY4" fmla="*/ 119317 h 1839449"/>
                  <a:gd name="connsiteX0" fmla="*/ 2022457 w 2052422"/>
                  <a:gd name="connsiteY0" fmla="*/ 291210 h 2011342"/>
                  <a:gd name="connsiteX1" fmla="*/ 223711 w 2052422"/>
                  <a:gd name="connsiteY1" fmla="*/ 477068 h 2011342"/>
                  <a:gd name="connsiteX2" fmla="*/ 162896 w 2052422"/>
                  <a:gd name="connsiteY2" fmla="*/ 1915105 h 2011342"/>
                  <a:gd name="connsiteX3" fmla="*/ 1580865 w 2052422"/>
                  <a:gd name="connsiteY3" fmla="*/ 1924460 h 2011342"/>
                  <a:gd name="connsiteX4" fmla="*/ 2022457 w 2052422"/>
                  <a:gd name="connsiteY4" fmla="*/ 291210 h 2011342"/>
                  <a:gd name="connsiteX0" fmla="*/ 1493958 w 1664090"/>
                  <a:gd name="connsiteY0" fmla="*/ 387986 h 1948585"/>
                  <a:gd name="connsiteX1" fmla="*/ 223711 w 1664090"/>
                  <a:gd name="connsiteY1" fmla="*/ 414311 h 1948585"/>
                  <a:gd name="connsiteX2" fmla="*/ 162896 w 1664090"/>
                  <a:gd name="connsiteY2" fmla="*/ 1852348 h 1948585"/>
                  <a:gd name="connsiteX3" fmla="*/ 1580865 w 1664090"/>
                  <a:gd name="connsiteY3" fmla="*/ 1861703 h 1948585"/>
                  <a:gd name="connsiteX4" fmla="*/ 1493958 w 1664090"/>
                  <a:gd name="connsiteY4" fmla="*/ 387986 h 1948585"/>
                  <a:gd name="connsiteX0" fmla="*/ 1493958 w 1664090"/>
                  <a:gd name="connsiteY0" fmla="*/ 424209 h 1984808"/>
                  <a:gd name="connsiteX1" fmla="*/ 223711 w 1664090"/>
                  <a:gd name="connsiteY1" fmla="*/ 450534 h 1984808"/>
                  <a:gd name="connsiteX2" fmla="*/ 162896 w 1664090"/>
                  <a:gd name="connsiteY2" fmla="*/ 1888571 h 1984808"/>
                  <a:gd name="connsiteX3" fmla="*/ 1580865 w 1664090"/>
                  <a:gd name="connsiteY3" fmla="*/ 1897926 h 1984808"/>
                  <a:gd name="connsiteX4" fmla="*/ 1493958 w 1664090"/>
                  <a:gd name="connsiteY4" fmla="*/ 424209 h 1984808"/>
                  <a:gd name="connsiteX0" fmla="*/ 1493958 w 1664090"/>
                  <a:gd name="connsiteY0" fmla="*/ 360213 h 1920812"/>
                  <a:gd name="connsiteX1" fmla="*/ 223711 w 1664090"/>
                  <a:gd name="connsiteY1" fmla="*/ 386538 h 1920812"/>
                  <a:gd name="connsiteX2" fmla="*/ 162896 w 1664090"/>
                  <a:gd name="connsiteY2" fmla="*/ 1824575 h 1920812"/>
                  <a:gd name="connsiteX3" fmla="*/ 1580865 w 1664090"/>
                  <a:gd name="connsiteY3" fmla="*/ 1833930 h 1920812"/>
                  <a:gd name="connsiteX4" fmla="*/ 1493958 w 1664090"/>
                  <a:gd name="connsiteY4" fmla="*/ 360213 h 1920812"/>
                  <a:gd name="connsiteX0" fmla="*/ 1493958 w 1539081"/>
                  <a:gd name="connsiteY0" fmla="*/ 360213 h 1920812"/>
                  <a:gd name="connsiteX1" fmla="*/ 223711 w 1539081"/>
                  <a:gd name="connsiteY1" fmla="*/ 386538 h 1920812"/>
                  <a:gd name="connsiteX2" fmla="*/ 162896 w 1539081"/>
                  <a:gd name="connsiteY2" fmla="*/ 1824575 h 1920812"/>
                  <a:gd name="connsiteX3" fmla="*/ 1236450 w 1539081"/>
                  <a:gd name="connsiteY3" fmla="*/ 1833930 h 1920812"/>
                  <a:gd name="connsiteX4" fmla="*/ 1493958 w 1539081"/>
                  <a:gd name="connsiteY4" fmla="*/ 360213 h 1920812"/>
                  <a:gd name="connsiteX0" fmla="*/ 1365179 w 1410302"/>
                  <a:gd name="connsiteY0" fmla="*/ 360213 h 1965190"/>
                  <a:gd name="connsiteX1" fmla="*/ 94932 w 1410302"/>
                  <a:gd name="connsiteY1" fmla="*/ 386538 h 1965190"/>
                  <a:gd name="connsiteX2" fmla="*/ 521049 w 1410302"/>
                  <a:gd name="connsiteY2" fmla="*/ 1890588 h 1965190"/>
                  <a:gd name="connsiteX3" fmla="*/ 1107671 w 1410302"/>
                  <a:gd name="connsiteY3" fmla="*/ 1833930 h 1965190"/>
                  <a:gd name="connsiteX4" fmla="*/ 1365179 w 1410302"/>
                  <a:gd name="connsiteY4" fmla="*/ 360213 h 1965190"/>
                  <a:gd name="connsiteX0" fmla="*/ 1397355 w 1442478"/>
                  <a:gd name="connsiteY0" fmla="*/ 360213 h 1934534"/>
                  <a:gd name="connsiteX1" fmla="*/ 127108 w 1442478"/>
                  <a:gd name="connsiteY1" fmla="*/ 386538 h 1934534"/>
                  <a:gd name="connsiteX2" fmla="*/ 351327 w 1442478"/>
                  <a:gd name="connsiteY2" fmla="*/ 1846579 h 1934534"/>
                  <a:gd name="connsiteX3" fmla="*/ 1139847 w 1442478"/>
                  <a:gd name="connsiteY3" fmla="*/ 1833930 h 1934534"/>
                  <a:gd name="connsiteX4" fmla="*/ 1397355 w 1442478"/>
                  <a:gd name="connsiteY4" fmla="*/ 360213 h 1934534"/>
                  <a:gd name="connsiteX0" fmla="*/ 1312187 w 1357310"/>
                  <a:gd name="connsiteY0" fmla="*/ 360213 h 1934534"/>
                  <a:gd name="connsiteX1" fmla="*/ 41940 w 1357310"/>
                  <a:gd name="connsiteY1" fmla="*/ 386538 h 1934534"/>
                  <a:gd name="connsiteX2" fmla="*/ 266159 w 1357310"/>
                  <a:gd name="connsiteY2" fmla="*/ 1846579 h 1934534"/>
                  <a:gd name="connsiteX3" fmla="*/ 1054679 w 1357310"/>
                  <a:gd name="connsiteY3" fmla="*/ 1833930 h 1934534"/>
                  <a:gd name="connsiteX4" fmla="*/ 1312187 w 1357310"/>
                  <a:gd name="connsiteY4" fmla="*/ 360213 h 1934534"/>
                  <a:gd name="connsiteX0" fmla="*/ 1442827 w 1476067"/>
                  <a:gd name="connsiteY0" fmla="*/ 392924 h 1912234"/>
                  <a:gd name="connsiteX1" fmla="*/ 41940 w 1476067"/>
                  <a:gd name="connsiteY1" fmla="*/ 364238 h 1912234"/>
                  <a:gd name="connsiteX2" fmla="*/ 266159 w 1476067"/>
                  <a:gd name="connsiteY2" fmla="*/ 1824279 h 1912234"/>
                  <a:gd name="connsiteX3" fmla="*/ 1054679 w 1476067"/>
                  <a:gd name="connsiteY3" fmla="*/ 1811630 h 1912234"/>
                  <a:gd name="connsiteX4" fmla="*/ 1442827 w 1476067"/>
                  <a:gd name="connsiteY4" fmla="*/ 392924 h 1912234"/>
                  <a:gd name="connsiteX0" fmla="*/ 1442827 w 1476067"/>
                  <a:gd name="connsiteY0" fmla="*/ 399825 h 1919135"/>
                  <a:gd name="connsiteX1" fmla="*/ 41940 w 1476067"/>
                  <a:gd name="connsiteY1" fmla="*/ 371139 h 1919135"/>
                  <a:gd name="connsiteX2" fmla="*/ 266159 w 1476067"/>
                  <a:gd name="connsiteY2" fmla="*/ 1831180 h 1919135"/>
                  <a:gd name="connsiteX3" fmla="*/ 1054679 w 1476067"/>
                  <a:gd name="connsiteY3" fmla="*/ 1818531 h 1919135"/>
                  <a:gd name="connsiteX4" fmla="*/ 1442827 w 1476067"/>
                  <a:gd name="connsiteY4" fmla="*/ 399825 h 1919135"/>
                  <a:gd name="connsiteX0" fmla="*/ 1442827 w 1476067"/>
                  <a:gd name="connsiteY0" fmla="*/ 612479 h 2131789"/>
                  <a:gd name="connsiteX1" fmla="*/ 41940 w 1476067"/>
                  <a:gd name="connsiteY1" fmla="*/ 583793 h 2131789"/>
                  <a:gd name="connsiteX2" fmla="*/ 266159 w 1476067"/>
                  <a:gd name="connsiteY2" fmla="*/ 2043834 h 2131789"/>
                  <a:gd name="connsiteX3" fmla="*/ 1054679 w 1476067"/>
                  <a:gd name="connsiteY3" fmla="*/ 2031185 h 2131789"/>
                  <a:gd name="connsiteX4" fmla="*/ 1442827 w 1476067"/>
                  <a:gd name="connsiteY4" fmla="*/ 612479 h 2131789"/>
                  <a:gd name="connsiteX0" fmla="*/ 1442827 w 1476067"/>
                  <a:gd name="connsiteY0" fmla="*/ 420668 h 1939978"/>
                  <a:gd name="connsiteX1" fmla="*/ 41940 w 1476067"/>
                  <a:gd name="connsiteY1" fmla="*/ 391982 h 1939978"/>
                  <a:gd name="connsiteX2" fmla="*/ 266159 w 1476067"/>
                  <a:gd name="connsiteY2" fmla="*/ 1852023 h 1939978"/>
                  <a:gd name="connsiteX3" fmla="*/ 1054679 w 1476067"/>
                  <a:gd name="connsiteY3" fmla="*/ 1839374 h 1939978"/>
                  <a:gd name="connsiteX4" fmla="*/ 1442827 w 1476067"/>
                  <a:gd name="connsiteY4" fmla="*/ 420668 h 1939978"/>
                  <a:gd name="connsiteX0" fmla="*/ 1442827 w 1476067"/>
                  <a:gd name="connsiteY0" fmla="*/ 352500 h 1871810"/>
                  <a:gd name="connsiteX1" fmla="*/ 41940 w 1476067"/>
                  <a:gd name="connsiteY1" fmla="*/ 323814 h 1871810"/>
                  <a:gd name="connsiteX2" fmla="*/ 266159 w 1476067"/>
                  <a:gd name="connsiteY2" fmla="*/ 1783855 h 1871810"/>
                  <a:gd name="connsiteX3" fmla="*/ 1054679 w 1476067"/>
                  <a:gd name="connsiteY3" fmla="*/ 1771206 h 1871810"/>
                  <a:gd name="connsiteX4" fmla="*/ 1442827 w 1476067"/>
                  <a:gd name="connsiteY4" fmla="*/ 352500 h 1871810"/>
                  <a:gd name="connsiteX0" fmla="*/ 1442827 w 1483980"/>
                  <a:gd name="connsiteY0" fmla="*/ 352500 h 1889675"/>
                  <a:gd name="connsiteX1" fmla="*/ 41940 w 1483980"/>
                  <a:gd name="connsiteY1" fmla="*/ 323814 h 1889675"/>
                  <a:gd name="connsiteX2" fmla="*/ 266159 w 1483980"/>
                  <a:gd name="connsiteY2" fmla="*/ 1783855 h 1889675"/>
                  <a:gd name="connsiteX3" fmla="*/ 1149690 w 1483980"/>
                  <a:gd name="connsiteY3" fmla="*/ 1815215 h 1889675"/>
                  <a:gd name="connsiteX4" fmla="*/ 1442827 w 1483980"/>
                  <a:gd name="connsiteY4" fmla="*/ 352500 h 1889675"/>
                  <a:gd name="connsiteX0" fmla="*/ 1429828 w 1470981"/>
                  <a:gd name="connsiteY0" fmla="*/ 352500 h 1886792"/>
                  <a:gd name="connsiteX1" fmla="*/ 28941 w 1470981"/>
                  <a:gd name="connsiteY1" fmla="*/ 323814 h 1886792"/>
                  <a:gd name="connsiteX2" fmla="*/ 365986 w 1470981"/>
                  <a:gd name="connsiteY2" fmla="*/ 1778354 h 1886792"/>
                  <a:gd name="connsiteX3" fmla="*/ 1136691 w 1470981"/>
                  <a:gd name="connsiteY3" fmla="*/ 1815215 h 1886792"/>
                  <a:gd name="connsiteX4" fmla="*/ 1429828 w 1470981"/>
                  <a:gd name="connsiteY4" fmla="*/ 352500 h 1886792"/>
                  <a:gd name="connsiteX0" fmla="*/ 1429828 w 1459793"/>
                  <a:gd name="connsiteY0" fmla="*/ 352500 h 1898209"/>
                  <a:gd name="connsiteX1" fmla="*/ 28941 w 1459793"/>
                  <a:gd name="connsiteY1" fmla="*/ 323814 h 1898209"/>
                  <a:gd name="connsiteX2" fmla="*/ 365986 w 1459793"/>
                  <a:gd name="connsiteY2" fmla="*/ 1778354 h 1898209"/>
                  <a:gd name="connsiteX3" fmla="*/ 988236 w 1459793"/>
                  <a:gd name="connsiteY3" fmla="*/ 1837220 h 1898209"/>
                  <a:gd name="connsiteX4" fmla="*/ 1429828 w 1459793"/>
                  <a:gd name="connsiteY4" fmla="*/ 352500 h 1898209"/>
                  <a:gd name="connsiteX0" fmla="*/ 1429828 w 1460126"/>
                  <a:gd name="connsiteY0" fmla="*/ 352500 h 1876859"/>
                  <a:gd name="connsiteX1" fmla="*/ 28941 w 1460126"/>
                  <a:gd name="connsiteY1" fmla="*/ 323814 h 1876859"/>
                  <a:gd name="connsiteX2" fmla="*/ 365986 w 1460126"/>
                  <a:gd name="connsiteY2" fmla="*/ 1778354 h 1876859"/>
                  <a:gd name="connsiteX3" fmla="*/ 994174 w 1460126"/>
                  <a:gd name="connsiteY3" fmla="*/ 1793211 h 1876859"/>
                  <a:gd name="connsiteX4" fmla="*/ 1429828 w 1460126"/>
                  <a:gd name="connsiteY4" fmla="*/ 352500 h 1876859"/>
                  <a:gd name="connsiteX0" fmla="*/ 1429828 w 1461449"/>
                  <a:gd name="connsiteY0" fmla="*/ 352500 h 1876859"/>
                  <a:gd name="connsiteX1" fmla="*/ 28941 w 1461449"/>
                  <a:gd name="connsiteY1" fmla="*/ 323814 h 1876859"/>
                  <a:gd name="connsiteX2" fmla="*/ 365986 w 1461449"/>
                  <a:gd name="connsiteY2" fmla="*/ 1778354 h 1876859"/>
                  <a:gd name="connsiteX3" fmla="*/ 994174 w 1461449"/>
                  <a:gd name="connsiteY3" fmla="*/ 1793211 h 1876859"/>
                  <a:gd name="connsiteX4" fmla="*/ 1429828 w 1461449"/>
                  <a:gd name="connsiteY4" fmla="*/ 352500 h 1876859"/>
                  <a:gd name="connsiteX0" fmla="*/ 1433321 w 1464942"/>
                  <a:gd name="connsiteY0" fmla="*/ 352500 h 1876859"/>
                  <a:gd name="connsiteX1" fmla="*/ 32434 w 1464942"/>
                  <a:gd name="connsiteY1" fmla="*/ 323814 h 1876859"/>
                  <a:gd name="connsiteX2" fmla="*/ 369479 w 1464942"/>
                  <a:gd name="connsiteY2" fmla="*/ 1778354 h 1876859"/>
                  <a:gd name="connsiteX3" fmla="*/ 997667 w 1464942"/>
                  <a:gd name="connsiteY3" fmla="*/ 1793211 h 1876859"/>
                  <a:gd name="connsiteX4" fmla="*/ 1433321 w 1464942"/>
                  <a:gd name="connsiteY4" fmla="*/ 352500 h 1876859"/>
                  <a:gd name="connsiteX0" fmla="*/ 1433321 w 1464942"/>
                  <a:gd name="connsiteY0" fmla="*/ 352500 h 1855121"/>
                  <a:gd name="connsiteX1" fmla="*/ 32434 w 1464942"/>
                  <a:gd name="connsiteY1" fmla="*/ 323814 h 1855121"/>
                  <a:gd name="connsiteX2" fmla="*/ 369479 w 1464942"/>
                  <a:gd name="connsiteY2" fmla="*/ 1778354 h 1855121"/>
                  <a:gd name="connsiteX3" fmla="*/ 997667 w 1464942"/>
                  <a:gd name="connsiteY3" fmla="*/ 1793211 h 1855121"/>
                  <a:gd name="connsiteX4" fmla="*/ 1433321 w 1464942"/>
                  <a:gd name="connsiteY4" fmla="*/ 352500 h 1855121"/>
                  <a:gd name="connsiteX0" fmla="*/ 1433321 w 1448831"/>
                  <a:gd name="connsiteY0" fmla="*/ 352500 h 1855121"/>
                  <a:gd name="connsiteX1" fmla="*/ 32434 w 1448831"/>
                  <a:gd name="connsiteY1" fmla="*/ 323814 h 1855121"/>
                  <a:gd name="connsiteX2" fmla="*/ 369479 w 1448831"/>
                  <a:gd name="connsiteY2" fmla="*/ 1778354 h 1855121"/>
                  <a:gd name="connsiteX3" fmla="*/ 997667 w 1448831"/>
                  <a:gd name="connsiteY3" fmla="*/ 1793211 h 1855121"/>
                  <a:gd name="connsiteX4" fmla="*/ 1433321 w 1448831"/>
                  <a:gd name="connsiteY4" fmla="*/ 352500 h 1855121"/>
                  <a:gd name="connsiteX0" fmla="*/ 1433321 w 1451090"/>
                  <a:gd name="connsiteY0" fmla="*/ 352500 h 1855121"/>
                  <a:gd name="connsiteX1" fmla="*/ 32434 w 1451090"/>
                  <a:gd name="connsiteY1" fmla="*/ 323814 h 1855121"/>
                  <a:gd name="connsiteX2" fmla="*/ 369479 w 1451090"/>
                  <a:gd name="connsiteY2" fmla="*/ 1778354 h 1855121"/>
                  <a:gd name="connsiteX3" fmla="*/ 1051111 w 1451090"/>
                  <a:gd name="connsiteY3" fmla="*/ 1793211 h 1855121"/>
                  <a:gd name="connsiteX4" fmla="*/ 1433321 w 1451090"/>
                  <a:gd name="connsiteY4" fmla="*/ 352500 h 1855121"/>
                  <a:gd name="connsiteX0" fmla="*/ 1433321 w 1451090"/>
                  <a:gd name="connsiteY0" fmla="*/ 352500 h 1893067"/>
                  <a:gd name="connsiteX1" fmla="*/ 32434 w 1451090"/>
                  <a:gd name="connsiteY1" fmla="*/ 323814 h 1893067"/>
                  <a:gd name="connsiteX2" fmla="*/ 369479 w 1451090"/>
                  <a:gd name="connsiteY2" fmla="*/ 1778354 h 1893067"/>
                  <a:gd name="connsiteX3" fmla="*/ 1051111 w 1451090"/>
                  <a:gd name="connsiteY3" fmla="*/ 1793211 h 1893067"/>
                  <a:gd name="connsiteX4" fmla="*/ 1433321 w 1451090"/>
                  <a:gd name="connsiteY4" fmla="*/ 352500 h 1893067"/>
                  <a:gd name="connsiteX0" fmla="*/ 1433321 w 1451090"/>
                  <a:gd name="connsiteY0" fmla="*/ 380999 h 1921566"/>
                  <a:gd name="connsiteX1" fmla="*/ 412477 w 1451090"/>
                  <a:gd name="connsiteY1" fmla="*/ 242 h 1921566"/>
                  <a:gd name="connsiteX2" fmla="*/ 32434 w 1451090"/>
                  <a:gd name="connsiteY2" fmla="*/ 352313 h 1921566"/>
                  <a:gd name="connsiteX3" fmla="*/ 369479 w 1451090"/>
                  <a:gd name="connsiteY3" fmla="*/ 1806853 h 1921566"/>
                  <a:gd name="connsiteX4" fmla="*/ 1051111 w 1451090"/>
                  <a:gd name="connsiteY4" fmla="*/ 1821710 h 1921566"/>
                  <a:gd name="connsiteX5" fmla="*/ 1433321 w 1451090"/>
                  <a:gd name="connsiteY5" fmla="*/ 380999 h 1921566"/>
                  <a:gd name="connsiteX0" fmla="*/ 1433321 w 1451090"/>
                  <a:gd name="connsiteY0" fmla="*/ 424886 h 1965453"/>
                  <a:gd name="connsiteX1" fmla="*/ 988483 w 1451090"/>
                  <a:gd name="connsiteY1" fmla="*/ 38628 h 1965453"/>
                  <a:gd name="connsiteX2" fmla="*/ 412477 w 1451090"/>
                  <a:gd name="connsiteY2" fmla="*/ 44129 h 1965453"/>
                  <a:gd name="connsiteX3" fmla="*/ 32434 w 1451090"/>
                  <a:gd name="connsiteY3" fmla="*/ 396200 h 1965453"/>
                  <a:gd name="connsiteX4" fmla="*/ 369479 w 1451090"/>
                  <a:gd name="connsiteY4" fmla="*/ 1850740 h 1965453"/>
                  <a:gd name="connsiteX5" fmla="*/ 1051111 w 1451090"/>
                  <a:gd name="connsiteY5" fmla="*/ 1865597 h 1965453"/>
                  <a:gd name="connsiteX6" fmla="*/ 1433321 w 1451090"/>
                  <a:gd name="connsiteY6" fmla="*/ 424886 h 1965453"/>
                  <a:gd name="connsiteX0" fmla="*/ 1433321 w 1451090"/>
                  <a:gd name="connsiteY0" fmla="*/ 452958 h 1993525"/>
                  <a:gd name="connsiteX1" fmla="*/ 988483 w 1451090"/>
                  <a:gd name="connsiteY1" fmla="*/ 66700 h 1993525"/>
                  <a:gd name="connsiteX2" fmla="*/ 400601 w 1451090"/>
                  <a:gd name="connsiteY2" fmla="*/ 22691 h 1993525"/>
                  <a:gd name="connsiteX3" fmla="*/ 32434 w 1451090"/>
                  <a:gd name="connsiteY3" fmla="*/ 424272 h 1993525"/>
                  <a:gd name="connsiteX4" fmla="*/ 369479 w 1451090"/>
                  <a:gd name="connsiteY4" fmla="*/ 1878812 h 1993525"/>
                  <a:gd name="connsiteX5" fmla="*/ 1051111 w 1451090"/>
                  <a:gd name="connsiteY5" fmla="*/ 1893669 h 1993525"/>
                  <a:gd name="connsiteX6" fmla="*/ 1433321 w 1451090"/>
                  <a:gd name="connsiteY6" fmla="*/ 452958 h 1993525"/>
                  <a:gd name="connsiteX0" fmla="*/ 1433321 w 1451090"/>
                  <a:gd name="connsiteY0" fmla="*/ 474396 h 2014963"/>
                  <a:gd name="connsiteX1" fmla="*/ 982545 w 1451090"/>
                  <a:gd name="connsiteY1" fmla="*/ 38628 h 2014963"/>
                  <a:gd name="connsiteX2" fmla="*/ 400601 w 1451090"/>
                  <a:gd name="connsiteY2" fmla="*/ 44129 h 2014963"/>
                  <a:gd name="connsiteX3" fmla="*/ 32434 w 1451090"/>
                  <a:gd name="connsiteY3" fmla="*/ 445710 h 2014963"/>
                  <a:gd name="connsiteX4" fmla="*/ 369479 w 1451090"/>
                  <a:gd name="connsiteY4" fmla="*/ 1900250 h 2014963"/>
                  <a:gd name="connsiteX5" fmla="*/ 1051111 w 1451090"/>
                  <a:gd name="connsiteY5" fmla="*/ 1915107 h 2014963"/>
                  <a:gd name="connsiteX6" fmla="*/ 1433321 w 1451090"/>
                  <a:gd name="connsiteY6" fmla="*/ 474396 h 2014963"/>
                  <a:gd name="connsiteX0" fmla="*/ 1449440 w 1467209"/>
                  <a:gd name="connsiteY0" fmla="*/ 474396 h 2014963"/>
                  <a:gd name="connsiteX1" fmla="*/ 998664 w 1467209"/>
                  <a:gd name="connsiteY1" fmla="*/ 38628 h 2014963"/>
                  <a:gd name="connsiteX2" fmla="*/ 416720 w 1467209"/>
                  <a:gd name="connsiteY2" fmla="*/ 44129 h 2014963"/>
                  <a:gd name="connsiteX3" fmla="*/ 30739 w 1467209"/>
                  <a:gd name="connsiteY3" fmla="*/ 489719 h 2014963"/>
                  <a:gd name="connsiteX4" fmla="*/ 385598 w 1467209"/>
                  <a:gd name="connsiteY4" fmla="*/ 1900250 h 2014963"/>
                  <a:gd name="connsiteX5" fmla="*/ 1067230 w 1467209"/>
                  <a:gd name="connsiteY5" fmla="*/ 1915107 h 2014963"/>
                  <a:gd name="connsiteX6" fmla="*/ 1449440 w 1467209"/>
                  <a:gd name="connsiteY6" fmla="*/ 474396 h 2014963"/>
                  <a:gd name="connsiteX0" fmla="*/ 1431626 w 1450295"/>
                  <a:gd name="connsiteY0" fmla="*/ 496400 h 2014963"/>
                  <a:gd name="connsiteX1" fmla="*/ 998664 w 1450295"/>
                  <a:gd name="connsiteY1" fmla="*/ 38628 h 2014963"/>
                  <a:gd name="connsiteX2" fmla="*/ 416720 w 1450295"/>
                  <a:gd name="connsiteY2" fmla="*/ 44129 h 2014963"/>
                  <a:gd name="connsiteX3" fmla="*/ 30739 w 1450295"/>
                  <a:gd name="connsiteY3" fmla="*/ 489719 h 2014963"/>
                  <a:gd name="connsiteX4" fmla="*/ 385598 w 1450295"/>
                  <a:gd name="connsiteY4" fmla="*/ 1900250 h 2014963"/>
                  <a:gd name="connsiteX5" fmla="*/ 1067230 w 1450295"/>
                  <a:gd name="connsiteY5" fmla="*/ 1915107 h 2014963"/>
                  <a:gd name="connsiteX6" fmla="*/ 1431626 w 1450295"/>
                  <a:gd name="connsiteY6" fmla="*/ 496400 h 2014963"/>
                  <a:gd name="connsiteX0" fmla="*/ 1442460 w 1461129"/>
                  <a:gd name="connsiteY0" fmla="*/ 496400 h 2014963"/>
                  <a:gd name="connsiteX1" fmla="*/ 1009498 w 1461129"/>
                  <a:gd name="connsiteY1" fmla="*/ 38628 h 2014963"/>
                  <a:gd name="connsiteX2" fmla="*/ 427554 w 1461129"/>
                  <a:gd name="connsiteY2" fmla="*/ 44129 h 2014963"/>
                  <a:gd name="connsiteX3" fmla="*/ 29697 w 1461129"/>
                  <a:gd name="connsiteY3" fmla="*/ 550231 h 2014963"/>
                  <a:gd name="connsiteX4" fmla="*/ 396432 w 1461129"/>
                  <a:gd name="connsiteY4" fmla="*/ 1900250 h 2014963"/>
                  <a:gd name="connsiteX5" fmla="*/ 1078064 w 1461129"/>
                  <a:gd name="connsiteY5" fmla="*/ 1915107 h 2014963"/>
                  <a:gd name="connsiteX6" fmla="*/ 1442460 w 1461129"/>
                  <a:gd name="connsiteY6" fmla="*/ 496400 h 2014963"/>
                  <a:gd name="connsiteX0" fmla="*/ 1416747 w 1435416"/>
                  <a:gd name="connsiteY0" fmla="*/ 496400 h 2014963"/>
                  <a:gd name="connsiteX1" fmla="*/ 983785 w 1435416"/>
                  <a:gd name="connsiteY1" fmla="*/ 38628 h 2014963"/>
                  <a:gd name="connsiteX2" fmla="*/ 401841 w 1435416"/>
                  <a:gd name="connsiteY2" fmla="*/ 44129 h 2014963"/>
                  <a:gd name="connsiteX3" fmla="*/ 3984 w 1435416"/>
                  <a:gd name="connsiteY3" fmla="*/ 550231 h 2014963"/>
                  <a:gd name="connsiteX4" fmla="*/ 370719 w 1435416"/>
                  <a:gd name="connsiteY4" fmla="*/ 1900250 h 2014963"/>
                  <a:gd name="connsiteX5" fmla="*/ 1052351 w 1435416"/>
                  <a:gd name="connsiteY5" fmla="*/ 1915107 h 2014963"/>
                  <a:gd name="connsiteX6" fmla="*/ 1416747 w 1435416"/>
                  <a:gd name="connsiteY6" fmla="*/ 496400 h 2014963"/>
                  <a:gd name="connsiteX0" fmla="*/ 1486897 w 1505566"/>
                  <a:gd name="connsiteY0" fmla="*/ 496400 h 2014963"/>
                  <a:gd name="connsiteX1" fmla="*/ 1053935 w 1505566"/>
                  <a:gd name="connsiteY1" fmla="*/ 38628 h 2014963"/>
                  <a:gd name="connsiteX2" fmla="*/ 471991 w 1505566"/>
                  <a:gd name="connsiteY2" fmla="*/ 44129 h 2014963"/>
                  <a:gd name="connsiteX3" fmla="*/ 2875 w 1505566"/>
                  <a:gd name="connsiteY3" fmla="*/ 555732 h 2014963"/>
                  <a:gd name="connsiteX4" fmla="*/ 440869 w 1505566"/>
                  <a:gd name="connsiteY4" fmla="*/ 1900250 h 2014963"/>
                  <a:gd name="connsiteX5" fmla="*/ 1122501 w 1505566"/>
                  <a:gd name="connsiteY5" fmla="*/ 1915107 h 2014963"/>
                  <a:gd name="connsiteX6" fmla="*/ 1486897 w 1505566"/>
                  <a:gd name="connsiteY6" fmla="*/ 496400 h 2014963"/>
                  <a:gd name="connsiteX0" fmla="*/ 1516588 w 1533801"/>
                  <a:gd name="connsiteY0" fmla="*/ 518405 h 2014963"/>
                  <a:gd name="connsiteX1" fmla="*/ 1053935 w 1533801"/>
                  <a:gd name="connsiteY1" fmla="*/ 38628 h 2014963"/>
                  <a:gd name="connsiteX2" fmla="*/ 471991 w 1533801"/>
                  <a:gd name="connsiteY2" fmla="*/ 44129 h 2014963"/>
                  <a:gd name="connsiteX3" fmla="*/ 2875 w 1533801"/>
                  <a:gd name="connsiteY3" fmla="*/ 555732 h 2014963"/>
                  <a:gd name="connsiteX4" fmla="*/ 440869 w 1533801"/>
                  <a:gd name="connsiteY4" fmla="*/ 1900250 h 2014963"/>
                  <a:gd name="connsiteX5" fmla="*/ 1122501 w 1533801"/>
                  <a:gd name="connsiteY5" fmla="*/ 1915107 h 2014963"/>
                  <a:gd name="connsiteX6" fmla="*/ 1516588 w 1533801"/>
                  <a:gd name="connsiteY6" fmla="*/ 518405 h 2014963"/>
                  <a:gd name="connsiteX0" fmla="*/ 1516588 w 1519607"/>
                  <a:gd name="connsiteY0" fmla="*/ 518405 h 2014963"/>
                  <a:gd name="connsiteX1" fmla="*/ 1053935 w 1519607"/>
                  <a:gd name="connsiteY1" fmla="*/ 38628 h 2014963"/>
                  <a:gd name="connsiteX2" fmla="*/ 471991 w 1519607"/>
                  <a:gd name="connsiteY2" fmla="*/ 44129 h 2014963"/>
                  <a:gd name="connsiteX3" fmla="*/ 2875 w 1519607"/>
                  <a:gd name="connsiteY3" fmla="*/ 555732 h 2014963"/>
                  <a:gd name="connsiteX4" fmla="*/ 440869 w 1519607"/>
                  <a:gd name="connsiteY4" fmla="*/ 1900250 h 2014963"/>
                  <a:gd name="connsiteX5" fmla="*/ 1122501 w 1519607"/>
                  <a:gd name="connsiteY5" fmla="*/ 1915107 h 2014963"/>
                  <a:gd name="connsiteX6" fmla="*/ 1516588 w 1519607"/>
                  <a:gd name="connsiteY6" fmla="*/ 518405 h 2014963"/>
                  <a:gd name="connsiteX0" fmla="*/ 1552217 w 1554882"/>
                  <a:gd name="connsiteY0" fmla="*/ 578917 h 2014963"/>
                  <a:gd name="connsiteX1" fmla="*/ 1053935 w 1554882"/>
                  <a:gd name="connsiteY1" fmla="*/ 38628 h 2014963"/>
                  <a:gd name="connsiteX2" fmla="*/ 471991 w 1554882"/>
                  <a:gd name="connsiteY2" fmla="*/ 44129 h 2014963"/>
                  <a:gd name="connsiteX3" fmla="*/ 2875 w 1554882"/>
                  <a:gd name="connsiteY3" fmla="*/ 555732 h 2014963"/>
                  <a:gd name="connsiteX4" fmla="*/ 440869 w 1554882"/>
                  <a:gd name="connsiteY4" fmla="*/ 1900250 h 2014963"/>
                  <a:gd name="connsiteX5" fmla="*/ 1122501 w 1554882"/>
                  <a:gd name="connsiteY5" fmla="*/ 1915107 h 2014963"/>
                  <a:gd name="connsiteX6" fmla="*/ 1552217 w 1554882"/>
                  <a:gd name="connsiteY6" fmla="*/ 578917 h 2014963"/>
                  <a:gd name="connsiteX0" fmla="*/ 1517057 w 1519722"/>
                  <a:gd name="connsiteY0" fmla="*/ 578917 h 2014963"/>
                  <a:gd name="connsiteX1" fmla="*/ 1018775 w 1519722"/>
                  <a:gd name="connsiteY1" fmla="*/ 38628 h 2014963"/>
                  <a:gd name="connsiteX2" fmla="*/ 436831 w 1519722"/>
                  <a:gd name="connsiteY2" fmla="*/ 44129 h 2014963"/>
                  <a:gd name="connsiteX3" fmla="*/ 3344 w 1519722"/>
                  <a:gd name="connsiteY3" fmla="*/ 665754 h 2014963"/>
                  <a:gd name="connsiteX4" fmla="*/ 405709 w 1519722"/>
                  <a:gd name="connsiteY4" fmla="*/ 1900250 h 2014963"/>
                  <a:gd name="connsiteX5" fmla="*/ 1087341 w 1519722"/>
                  <a:gd name="connsiteY5" fmla="*/ 1915107 h 2014963"/>
                  <a:gd name="connsiteX6" fmla="*/ 1517057 w 1519722"/>
                  <a:gd name="connsiteY6" fmla="*/ 578917 h 2014963"/>
                  <a:gd name="connsiteX0" fmla="*/ 1457675 w 1460985"/>
                  <a:gd name="connsiteY0" fmla="*/ 644930 h 2014963"/>
                  <a:gd name="connsiteX1" fmla="*/ 1018775 w 1460985"/>
                  <a:gd name="connsiteY1" fmla="*/ 38628 h 2014963"/>
                  <a:gd name="connsiteX2" fmla="*/ 436831 w 1460985"/>
                  <a:gd name="connsiteY2" fmla="*/ 44129 h 2014963"/>
                  <a:gd name="connsiteX3" fmla="*/ 3344 w 1460985"/>
                  <a:gd name="connsiteY3" fmla="*/ 665754 h 2014963"/>
                  <a:gd name="connsiteX4" fmla="*/ 405709 w 1460985"/>
                  <a:gd name="connsiteY4" fmla="*/ 1900250 h 2014963"/>
                  <a:gd name="connsiteX5" fmla="*/ 1087341 w 1460985"/>
                  <a:gd name="connsiteY5" fmla="*/ 1915107 h 2014963"/>
                  <a:gd name="connsiteX6" fmla="*/ 1457675 w 1460985"/>
                  <a:gd name="connsiteY6" fmla="*/ 644930 h 2014963"/>
                  <a:gd name="connsiteX0" fmla="*/ 1457675 w 1460985"/>
                  <a:gd name="connsiteY0" fmla="*/ 688939 h 2014963"/>
                  <a:gd name="connsiteX1" fmla="*/ 1018775 w 1460985"/>
                  <a:gd name="connsiteY1" fmla="*/ 38628 h 2014963"/>
                  <a:gd name="connsiteX2" fmla="*/ 436831 w 1460985"/>
                  <a:gd name="connsiteY2" fmla="*/ 44129 h 2014963"/>
                  <a:gd name="connsiteX3" fmla="*/ 3344 w 1460985"/>
                  <a:gd name="connsiteY3" fmla="*/ 665754 h 2014963"/>
                  <a:gd name="connsiteX4" fmla="*/ 405709 w 1460985"/>
                  <a:gd name="connsiteY4" fmla="*/ 1900250 h 2014963"/>
                  <a:gd name="connsiteX5" fmla="*/ 1087341 w 1460985"/>
                  <a:gd name="connsiteY5" fmla="*/ 1915107 h 2014963"/>
                  <a:gd name="connsiteX6" fmla="*/ 1457675 w 1460985"/>
                  <a:gd name="connsiteY6" fmla="*/ 688939 h 2014963"/>
                  <a:gd name="connsiteX0" fmla="*/ 1523682 w 1526992"/>
                  <a:gd name="connsiteY0" fmla="*/ 688939 h 2090327"/>
                  <a:gd name="connsiteX1" fmla="*/ 1084782 w 1526992"/>
                  <a:gd name="connsiteY1" fmla="*/ 38628 h 2090327"/>
                  <a:gd name="connsiteX2" fmla="*/ 502838 w 1526992"/>
                  <a:gd name="connsiteY2" fmla="*/ 44129 h 2090327"/>
                  <a:gd name="connsiteX3" fmla="*/ 69351 w 1526992"/>
                  <a:gd name="connsiteY3" fmla="*/ 665754 h 2090327"/>
                  <a:gd name="connsiteX4" fmla="*/ 142146 w 1526992"/>
                  <a:gd name="connsiteY4" fmla="*/ 2035980 h 2090327"/>
                  <a:gd name="connsiteX5" fmla="*/ 1153348 w 1526992"/>
                  <a:gd name="connsiteY5" fmla="*/ 1915107 h 2090327"/>
                  <a:gd name="connsiteX6" fmla="*/ 1523682 w 1526992"/>
                  <a:gd name="connsiteY6" fmla="*/ 688939 h 2090327"/>
                  <a:gd name="connsiteX0" fmla="*/ 1523682 w 1569198"/>
                  <a:gd name="connsiteY0" fmla="*/ 688939 h 2114467"/>
                  <a:gd name="connsiteX1" fmla="*/ 1084782 w 1569198"/>
                  <a:gd name="connsiteY1" fmla="*/ 38628 h 2114467"/>
                  <a:gd name="connsiteX2" fmla="*/ 502838 w 1569198"/>
                  <a:gd name="connsiteY2" fmla="*/ 44129 h 2114467"/>
                  <a:gd name="connsiteX3" fmla="*/ 69351 w 1569198"/>
                  <a:gd name="connsiteY3" fmla="*/ 665754 h 2114467"/>
                  <a:gd name="connsiteX4" fmla="*/ 142146 w 1569198"/>
                  <a:gd name="connsiteY4" fmla="*/ 2035980 h 2114467"/>
                  <a:gd name="connsiteX5" fmla="*/ 1449118 w 1569198"/>
                  <a:gd name="connsiteY5" fmla="*/ 1982974 h 2114467"/>
                  <a:gd name="connsiteX6" fmla="*/ 1523682 w 1569198"/>
                  <a:gd name="connsiteY6" fmla="*/ 688939 h 2114467"/>
                  <a:gd name="connsiteX0" fmla="*/ 1523682 w 1525903"/>
                  <a:gd name="connsiteY0" fmla="*/ 688939 h 2114467"/>
                  <a:gd name="connsiteX1" fmla="*/ 1084782 w 1525903"/>
                  <a:gd name="connsiteY1" fmla="*/ 38628 h 2114467"/>
                  <a:gd name="connsiteX2" fmla="*/ 502838 w 1525903"/>
                  <a:gd name="connsiteY2" fmla="*/ 44129 h 2114467"/>
                  <a:gd name="connsiteX3" fmla="*/ 69351 w 1525903"/>
                  <a:gd name="connsiteY3" fmla="*/ 665754 h 2114467"/>
                  <a:gd name="connsiteX4" fmla="*/ 142146 w 1525903"/>
                  <a:gd name="connsiteY4" fmla="*/ 2035980 h 2114467"/>
                  <a:gd name="connsiteX5" fmla="*/ 1449118 w 1525903"/>
                  <a:gd name="connsiteY5" fmla="*/ 1982974 h 2114467"/>
                  <a:gd name="connsiteX6" fmla="*/ 1523682 w 1525903"/>
                  <a:gd name="connsiteY6" fmla="*/ 688939 h 2114467"/>
                  <a:gd name="connsiteX0" fmla="*/ 1523682 w 1526201"/>
                  <a:gd name="connsiteY0" fmla="*/ 688939 h 2114467"/>
                  <a:gd name="connsiteX1" fmla="*/ 1084782 w 1526201"/>
                  <a:gd name="connsiteY1" fmla="*/ 38628 h 2114467"/>
                  <a:gd name="connsiteX2" fmla="*/ 502838 w 1526201"/>
                  <a:gd name="connsiteY2" fmla="*/ 44129 h 2114467"/>
                  <a:gd name="connsiteX3" fmla="*/ 69351 w 1526201"/>
                  <a:gd name="connsiteY3" fmla="*/ 665754 h 2114467"/>
                  <a:gd name="connsiteX4" fmla="*/ 142146 w 1526201"/>
                  <a:gd name="connsiteY4" fmla="*/ 2035980 h 2114467"/>
                  <a:gd name="connsiteX5" fmla="*/ 1491370 w 1526201"/>
                  <a:gd name="connsiteY5" fmla="*/ 1982974 h 2114467"/>
                  <a:gd name="connsiteX6" fmla="*/ 1523682 w 1526201"/>
                  <a:gd name="connsiteY6" fmla="*/ 688939 h 2114467"/>
                  <a:gd name="connsiteX0" fmla="*/ 1456337 w 1458856"/>
                  <a:gd name="connsiteY0" fmla="*/ 688939 h 2114467"/>
                  <a:gd name="connsiteX1" fmla="*/ 1017437 w 1458856"/>
                  <a:gd name="connsiteY1" fmla="*/ 38628 h 2114467"/>
                  <a:gd name="connsiteX2" fmla="*/ 435493 w 1458856"/>
                  <a:gd name="connsiteY2" fmla="*/ 44129 h 2114467"/>
                  <a:gd name="connsiteX3" fmla="*/ 2006 w 1458856"/>
                  <a:gd name="connsiteY3" fmla="*/ 665754 h 2114467"/>
                  <a:gd name="connsiteX4" fmla="*/ 74801 w 1458856"/>
                  <a:gd name="connsiteY4" fmla="*/ 2035980 h 2114467"/>
                  <a:gd name="connsiteX5" fmla="*/ 1424025 w 1458856"/>
                  <a:gd name="connsiteY5" fmla="*/ 1982974 h 2114467"/>
                  <a:gd name="connsiteX6" fmla="*/ 1456337 w 1458856"/>
                  <a:gd name="connsiteY6" fmla="*/ 688939 h 2114467"/>
                  <a:gd name="connsiteX0" fmla="*/ 1457434 w 1459953"/>
                  <a:gd name="connsiteY0" fmla="*/ 688939 h 2114467"/>
                  <a:gd name="connsiteX1" fmla="*/ 1018534 w 1459953"/>
                  <a:gd name="connsiteY1" fmla="*/ 38628 h 2114467"/>
                  <a:gd name="connsiteX2" fmla="*/ 436590 w 1459953"/>
                  <a:gd name="connsiteY2" fmla="*/ 44129 h 2114467"/>
                  <a:gd name="connsiteX3" fmla="*/ 3103 w 1459953"/>
                  <a:gd name="connsiteY3" fmla="*/ 665754 h 2114467"/>
                  <a:gd name="connsiteX4" fmla="*/ 75898 w 1459953"/>
                  <a:gd name="connsiteY4" fmla="*/ 2035980 h 2114467"/>
                  <a:gd name="connsiteX5" fmla="*/ 1425122 w 1459953"/>
                  <a:gd name="connsiteY5" fmla="*/ 1982974 h 2114467"/>
                  <a:gd name="connsiteX6" fmla="*/ 1457434 w 1459953"/>
                  <a:gd name="connsiteY6" fmla="*/ 688939 h 2114467"/>
                  <a:gd name="connsiteX0" fmla="*/ 1491392 w 1493911"/>
                  <a:gd name="connsiteY0" fmla="*/ 688939 h 2094932"/>
                  <a:gd name="connsiteX1" fmla="*/ 1052492 w 1493911"/>
                  <a:gd name="connsiteY1" fmla="*/ 38628 h 2094932"/>
                  <a:gd name="connsiteX2" fmla="*/ 470548 w 1493911"/>
                  <a:gd name="connsiteY2" fmla="*/ 44129 h 2094932"/>
                  <a:gd name="connsiteX3" fmla="*/ 37061 w 1493911"/>
                  <a:gd name="connsiteY3" fmla="*/ 665754 h 2094932"/>
                  <a:gd name="connsiteX4" fmla="*/ 0 w 1493911"/>
                  <a:gd name="connsiteY4" fmla="*/ 1997200 h 2094932"/>
                  <a:gd name="connsiteX5" fmla="*/ 1459080 w 1493911"/>
                  <a:gd name="connsiteY5" fmla="*/ 1982974 h 2094932"/>
                  <a:gd name="connsiteX6" fmla="*/ 1491392 w 1493911"/>
                  <a:gd name="connsiteY6" fmla="*/ 688939 h 2094932"/>
                  <a:gd name="connsiteX0" fmla="*/ 1491392 w 1493911"/>
                  <a:gd name="connsiteY0" fmla="*/ 688939 h 2094932"/>
                  <a:gd name="connsiteX1" fmla="*/ 1052492 w 1493911"/>
                  <a:gd name="connsiteY1" fmla="*/ 38628 h 2094932"/>
                  <a:gd name="connsiteX2" fmla="*/ 470548 w 1493911"/>
                  <a:gd name="connsiteY2" fmla="*/ 44129 h 2094932"/>
                  <a:gd name="connsiteX3" fmla="*/ 37061 w 1493911"/>
                  <a:gd name="connsiteY3" fmla="*/ 665754 h 2094932"/>
                  <a:gd name="connsiteX4" fmla="*/ 0 w 1493911"/>
                  <a:gd name="connsiteY4" fmla="*/ 1997200 h 2094932"/>
                  <a:gd name="connsiteX5" fmla="*/ 1459080 w 1493911"/>
                  <a:gd name="connsiteY5" fmla="*/ 1982974 h 2094932"/>
                  <a:gd name="connsiteX6" fmla="*/ 1491392 w 1493911"/>
                  <a:gd name="connsiteY6" fmla="*/ 688939 h 2094932"/>
                  <a:gd name="connsiteX0" fmla="*/ 1491392 w 1535133"/>
                  <a:gd name="connsiteY0" fmla="*/ 688939 h 2106027"/>
                  <a:gd name="connsiteX1" fmla="*/ 1052492 w 1535133"/>
                  <a:gd name="connsiteY1" fmla="*/ 38628 h 2106027"/>
                  <a:gd name="connsiteX2" fmla="*/ 470548 w 1535133"/>
                  <a:gd name="connsiteY2" fmla="*/ 44129 h 2106027"/>
                  <a:gd name="connsiteX3" fmla="*/ 37061 w 1535133"/>
                  <a:gd name="connsiteY3" fmla="*/ 665754 h 2106027"/>
                  <a:gd name="connsiteX4" fmla="*/ 0 w 1535133"/>
                  <a:gd name="connsiteY4" fmla="*/ 1997200 h 2106027"/>
                  <a:gd name="connsiteX5" fmla="*/ 1535133 w 1535133"/>
                  <a:gd name="connsiteY5" fmla="*/ 2002366 h 2106027"/>
                  <a:gd name="connsiteX6" fmla="*/ 1491392 w 1535133"/>
                  <a:gd name="connsiteY6" fmla="*/ 688939 h 2106027"/>
                  <a:gd name="connsiteX0" fmla="*/ 1491392 w 1535133"/>
                  <a:gd name="connsiteY0" fmla="*/ 688939 h 2106027"/>
                  <a:gd name="connsiteX1" fmla="*/ 1052492 w 1535133"/>
                  <a:gd name="connsiteY1" fmla="*/ 38628 h 2106027"/>
                  <a:gd name="connsiteX2" fmla="*/ 470548 w 1535133"/>
                  <a:gd name="connsiteY2" fmla="*/ 44129 h 2106027"/>
                  <a:gd name="connsiteX3" fmla="*/ 37061 w 1535133"/>
                  <a:gd name="connsiteY3" fmla="*/ 665754 h 2106027"/>
                  <a:gd name="connsiteX4" fmla="*/ 0 w 1535133"/>
                  <a:gd name="connsiteY4" fmla="*/ 1997200 h 2106027"/>
                  <a:gd name="connsiteX5" fmla="*/ 1535133 w 1535133"/>
                  <a:gd name="connsiteY5" fmla="*/ 2002366 h 2106027"/>
                  <a:gd name="connsiteX6" fmla="*/ 1491392 w 1535133"/>
                  <a:gd name="connsiteY6" fmla="*/ 688939 h 2106027"/>
                  <a:gd name="connsiteX0" fmla="*/ 1525194 w 1568935"/>
                  <a:gd name="connsiteY0" fmla="*/ 688939 h 2106027"/>
                  <a:gd name="connsiteX1" fmla="*/ 1086294 w 1568935"/>
                  <a:gd name="connsiteY1" fmla="*/ 38628 h 2106027"/>
                  <a:gd name="connsiteX2" fmla="*/ 504350 w 1568935"/>
                  <a:gd name="connsiteY2" fmla="*/ 44129 h 2106027"/>
                  <a:gd name="connsiteX3" fmla="*/ 70863 w 1568935"/>
                  <a:gd name="connsiteY3" fmla="*/ 665754 h 2106027"/>
                  <a:gd name="connsiteX4" fmla="*/ 0 w 1568935"/>
                  <a:gd name="connsiteY4" fmla="*/ 1997200 h 2106027"/>
                  <a:gd name="connsiteX5" fmla="*/ 1568935 w 1568935"/>
                  <a:gd name="connsiteY5" fmla="*/ 2002366 h 2106027"/>
                  <a:gd name="connsiteX6" fmla="*/ 1525194 w 1568935"/>
                  <a:gd name="connsiteY6" fmla="*/ 688939 h 2106027"/>
                  <a:gd name="connsiteX0" fmla="*/ 1525194 w 1568935"/>
                  <a:gd name="connsiteY0" fmla="*/ 688939 h 2106027"/>
                  <a:gd name="connsiteX1" fmla="*/ 1086294 w 1568935"/>
                  <a:gd name="connsiteY1" fmla="*/ 38628 h 2106027"/>
                  <a:gd name="connsiteX2" fmla="*/ 504350 w 1568935"/>
                  <a:gd name="connsiteY2" fmla="*/ 44129 h 2106027"/>
                  <a:gd name="connsiteX3" fmla="*/ 70863 w 1568935"/>
                  <a:gd name="connsiteY3" fmla="*/ 665754 h 2106027"/>
                  <a:gd name="connsiteX4" fmla="*/ 0 w 1568935"/>
                  <a:gd name="connsiteY4" fmla="*/ 1997200 h 2106027"/>
                  <a:gd name="connsiteX5" fmla="*/ 1568935 w 1568935"/>
                  <a:gd name="connsiteY5" fmla="*/ 2002366 h 2106027"/>
                  <a:gd name="connsiteX6" fmla="*/ 1525194 w 1568935"/>
                  <a:gd name="connsiteY6" fmla="*/ 688939 h 2106027"/>
                  <a:gd name="connsiteX0" fmla="*/ 1525194 w 1568935"/>
                  <a:gd name="connsiteY0" fmla="*/ 688939 h 2136950"/>
                  <a:gd name="connsiteX1" fmla="*/ 1086294 w 1568935"/>
                  <a:gd name="connsiteY1" fmla="*/ 38628 h 2136950"/>
                  <a:gd name="connsiteX2" fmla="*/ 504350 w 1568935"/>
                  <a:gd name="connsiteY2" fmla="*/ 44129 h 2136950"/>
                  <a:gd name="connsiteX3" fmla="*/ 70863 w 1568935"/>
                  <a:gd name="connsiteY3" fmla="*/ 665754 h 2136950"/>
                  <a:gd name="connsiteX4" fmla="*/ 0 w 1568935"/>
                  <a:gd name="connsiteY4" fmla="*/ 1997200 h 2136950"/>
                  <a:gd name="connsiteX5" fmla="*/ 1568935 w 1568935"/>
                  <a:gd name="connsiteY5" fmla="*/ 2002366 h 2136950"/>
                  <a:gd name="connsiteX6" fmla="*/ 1525194 w 1568935"/>
                  <a:gd name="connsiteY6" fmla="*/ 688939 h 2136950"/>
                  <a:gd name="connsiteX0" fmla="*/ 1525194 w 1568935"/>
                  <a:gd name="connsiteY0" fmla="*/ 688939 h 2163028"/>
                  <a:gd name="connsiteX1" fmla="*/ 1086294 w 1568935"/>
                  <a:gd name="connsiteY1" fmla="*/ 38628 h 2163028"/>
                  <a:gd name="connsiteX2" fmla="*/ 504350 w 1568935"/>
                  <a:gd name="connsiteY2" fmla="*/ 44129 h 2163028"/>
                  <a:gd name="connsiteX3" fmla="*/ 70863 w 1568935"/>
                  <a:gd name="connsiteY3" fmla="*/ 665754 h 2163028"/>
                  <a:gd name="connsiteX4" fmla="*/ 0 w 1568935"/>
                  <a:gd name="connsiteY4" fmla="*/ 1997200 h 2163028"/>
                  <a:gd name="connsiteX5" fmla="*/ 1568935 w 1568935"/>
                  <a:gd name="connsiteY5" fmla="*/ 2002366 h 2163028"/>
                  <a:gd name="connsiteX6" fmla="*/ 1525194 w 1568935"/>
                  <a:gd name="connsiteY6" fmla="*/ 688939 h 2163028"/>
                  <a:gd name="connsiteX0" fmla="*/ 1728006 w 1771747"/>
                  <a:gd name="connsiteY0" fmla="*/ 688939 h 2172120"/>
                  <a:gd name="connsiteX1" fmla="*/ 1289106 w 1771747"/>
                  <a:gd name="connsiteY1" fmla="*/ 38628 h 2172120"/>
                  <a:gd name="connsiteX2" fmla="*/ 707162 w 1771747"/>
                  <a:gd name="connsiteY2" fmla="*/ 44129 h 2172120"/>
                  <a:gd name="connsiteX3" fmla="*/ 273675 w 1771747"/>
                  <a:gd name="connsiteY3" fmla="*/ 665754 h 2172120"/>
                  <a:gd name="connsiteX4" fmla="*/ 0 w 1771747"/>
                  <a:gd name="connsiteY4" fmla="*/ 2016592 h 2172120"/>
                  <a:gd name="connsiteX5" fmla="*/ 1771747 w 1771747"/>
                  <a:gd name="connsiteY5" fmla="*/ 2002366 h 2172120"/>
                  <a:gd name="connsiteX6" fmla="*/ 1728006 w 1771747"/>
                  <a:gd name="connsiteY6" fmla="*/ 688939 h 2172120"/>
                  <a:gd name="connsiteX0" fmla="*/ 1728006 w 1771747"/>
                  <a:gd name="connsiteY0" fmla="*/ 688939 h 2172120"/>
                  <a:gd name="connsiteX1" fmla="*/ 1289106 w 1771747"/>
                  <a:gd name="connsiteY1" fmla="*/ 38628 h 2172120"/>
                  <a:gd name="connsiteX2" fmla="*/ 707162 w 1771747"/>
                  <a:gd name="connsiteY2" fmla="*/ 44129 h 2172120"/>
                  <a:gd name="connsiteX3" fmla="*/ 273675 w 1771747"/>
                  <a:gd name="connsiteY3" fmla="*/ 665754 h 2172120"/>
                  <a:gd name="connsiteX4" fmla="*/ 0 w 1771747"/>
                  <a:gd name="connsiteY4" fmla="*/ 2016592 h 2172120"/>
                  <a:gd name="connsiteX5" fmla="*/ 1771747 w 1771747"/>
                  <a:gd name="connsiteY5" fmla="*/ 2002366 h 2172120"/>
                  <a:gd name="connsiteX6" fmla="*/ 1728006 w 1771747"/>
                  <a:gd name="connsiteY6" fmla="*/ 688939 h 2172120"/>
                  <a:gd name="connsiteX0" fmla="*/ 1728006 w 1932307"/>
                  <a:gd name="connsiteY0" fmla="*/ 688939 h 2177189"/>
                  <a:gd name="connsiteX1" fmla="*/ 1289106 w 1932307"/>
                  <a:gd name="connsiteY1" fmla="*/ 38628 h 2177189"/>
                  <a:gd name="connsiteX2" fmla="*/ 707162 w 1932307"/>
                  <a:gd name="connsiteY2" fmla="*/ 44129 h 2177189"/>
                  <a:gd name="connsiteX3" fmla="*/ 273675 w 1932307"/>
                  <a:gd name="connsiteY3" fmla="*/ 665754 h 2177189"/>
                  <a:gd name="connsiteX4" fmla="*/ 0 w 1932307"/>
                  <a:gd name="connsiteY4" fmla="*/ 2016592 h 2177189"/>
                  <a:gd name="connsiteX5" fmla="*/ 1932307 w 1932307"/>
                  <a:gd name="connsiteY5" fmla="*/ 2012065 h 2177189"/>
                  <a:gd name="connsiteX6" fmla="*/ 1728006 w 1932307"/>
                  <a:gd name="connsiteY6" fmla="*/ 688939 h 2177189"/>
                  <a:gd name="connsiteX0" fmla="*/ 1728006 w 1932307"/>
                  <a:gd name="connsiteY0" fmla="*/ 688939 h 2177189"/>
                  <a:gd name="connsiteX1" fmla="*/ 1289106 w 1932307"/>
                  <a:gd name="connsiteY1" fmla="*/ 38628 h 2177189"/>
                  <a:gd name="connsiteX2" fmla="*/ 707162 w 1932307"/>
                  <a:gd name="connsiteY2" fmla="*/ 44129 h 2177189"/>
                  <a:gd name="connsiteX3" fmla="*/ 273675 w 1932307"/>
                  <a:gd name="connsiteY3" fmla="*/ 665754 h 2177189"/>
                  <a:gd name="connsiteX4" fmla="*/ 0 w 1932307"/>
                  <a:gd name="connsiteY4" fmla="*/ 2016592 h 2177189"/>
                  <a:gd name="connsiteX5" fmla="*/ 1932307 w 1932307"/>
                  <a:gd name="connsiteY5" fmla="*/ 2012065 h 2177189"/>
                  <a:gd name="connsiteX6" fmla="*/ 1728006 w 1932307"/>
                  <a:gd name="connsiteY6" fmla="*/ 688939 h 2177189"/>
                  <a:gd name="connsiteX0" fmla="*/ 1728006 w 1991461"/>
                  <a:gd name="connsiteY0" fmla="*/ 688939 h 2145114"/>
                  <a:gd name="connsiteX1" fmla="*/ 1289106 w 1991461"/>
                  <a:gd name="connsiteY1" fmla="*/ 38628 h 2145114"/>
                  <a:gd name="connsiteX2" fmla="*/ 707162 w 1991461"/>
                  <a:gd name="connsiteY2" fmla="*/ 44129 h 2145114"/>
                  <a:gd name="connsiteX3" fmla="*/ 273675 w 1991461"/>
                  <a:gd name="connsiteY3" fmla="*/ 665754 h 2145114"/>
                  <a:gd name="connsiteX4" fmla="*/ 0 w 1991461"/>
                  <a:gd name="connsiteY4" fmla="*/ 2016592 h 2145114"/>
                  <a:gd name="connsiteX5" fmla="*/ 1991461 w 1991461"/>
                  <a:gd name="connsiteY5" fmla="*/ 1944197 h 2145114"/>
                  <a:gd name="connsiteX6" fmla="*/ 1728006 w 1991461"/>
                  <a:gd name="connsiteY6" fmla="*/ 688939 h 2145114"/>
                  <a:gd name="connsiteX0" fmla="*/ 1728006 w 1991461"/>
                  <a:gd name="connsiteY0" fmla="*/ 688939 h 2186651"/>
                  <a:gd name="connsiteX1" fmla="*/ 1289106 w 1991461"/>
                  <a:gd name="connsiteY1" fmla="*/ 38628 h 2186651"/>
                  <a:gd name="connsiteX2" fmla="*/ 707162 w 1991461"/>
                  <a:gd name="connsiteY2" fmla="*/ 44129 h 2186651"/>
                  <a:gd name="connsiteX3" fmla="*/ 273675 w 1991461"/>
                  <a:gd name="connsiteY3" fmla="*/ 665754 h 2186651"/>
                  <a:gd name="connsiteX4" fmla="*/ 0 w 1991461"/>
                  <a:gd name="connsiteY4" fmla="*/ 2016592 h 2186651"/>
                  <a:gd name="connsiteX5" fmla="*/ 1991461 w 1991461"/>
                  <a:gd name="connsiteY5" fmla="*/ 1944197 h 2186651"/>
                  <a:gd name="connsiteX6" fmla="*/ 1728006 w 1991461"/>
                  <a:gd name="connsiteY6" fmla="*/ 688939 h 2186651"/>
                  <a:gd name="connsiteX0" fmla="*/ 1668852 w 1932307"/>
                  <a:gd name="connsiteY0" fmla="*/ 688939 h 2173003"/>
                  <a:gd name="connsiteX1" fmla="*/ 1229952 w 1932307"/>
                  <a:gd name="connsiteY1" fmla="*/ 38628 h 2173003"/>
                  <a:gd name="connsiteX2" fmla="*/ 648008 w 1932307"/>
                  <a:gd name="connsiteY2" fmla="*/ 44129 h 2173003"/>
                  <a:gd name="connsiteX3" fmla="*/ 214521 w 1932307"/>
                  <a:gd name="connsiteY3" fmla="*/ 665754 h 2173003"/>
                  <a:gd name="connsiteX4" fmla="*/ 0 w 1932307"/>
                  <a:gd name="connsiteY4" fmla="*/ 1987506 h 2173003"/>
                  <a:gd name="connsiteX5" fmla="*/ 1932307 w 1932307"/>
                  <a:gd name="connsiteY5" fmla="*/ 1944197 h 2173003"/>
                  <a:gd name="connsiteX6" fmla="*/ 1668852 w 1932307"/>
                  <a:gd name="connsiteY6" fmla="*/ 688939 h 2173003"/>
                  <a:gd name="connsiteX0" fmla="*/ 1668852 w 1932307"/>
                  <a:gd name="connsiteY0" fmla="*/ 688939 h 2219687"/>
                  <a:gd name="connsiteX1" fmla="*/ 1229952 w 1932307"/>
                  <a:gd name="connsiteY1" fmla="*/ 38628 h 2219687"/>
                  <a:gd name="connsiteX2" fmla="*/ 648008 w 1932307"/>
                  <a:gd name="connsiteY2" fmla="*/ 44129 h 2219687"/>
                  <a:gd name="connsiteX3" fmla="*/ 214521 w 1932307"/>
                  <a:gd name="connsiteY3" fmla="*/ 665754 h 2219687"/>
                  <a:gd name="connsiteX4" fmla="*/ 0 w 1932307"/>
                  <a:gd name="connsiteY4" fmla="*/ 1987506 h 2219687"/>
                  <a:gd name="connsiteX5" fmla="*/ 1932307 w 1932307"/>
                  <a:gd name="connsiteY5" fmla="*/ 1944197 h 2219687"/>
                  <a:gd name="connsiteX6" fmla="*/ 1668852 w 1932307"/>
                  <a:gd name="connsiteY6" fmla="*/ 688939 h 221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2307" h="2219687">
                    <a:moveTo>
                      <a:pt x="1668852" y="688939"/>
                    </a:moveTo>
                    <a:cubicBezTo>
                      <a:pt x="1652476" y="399114"/>
                      <a:pt x="1400093" y="102088"/>
                      <a:pt x="1229952" y="38628"/>
                    </a:cubicBezTo>
                    <a:cubicBezTo>
                      <a:pt x="1059811" y="-24832"/>
                      <a:pt x="801411" y="-797"/>
                      <a:pt x="648008" y="44129"/>
                    </a:cubicBezTo>
                    <a:cubicBezTo>
                      <a:pt x="494605" y="89055"/>
                      <a:pt x="221687" y="372904"/>
                      <a:pt x="214521" y="665754"/>
                    </a:cubicBezTo>
                    <a:cubicBezTo>
                      <a:pt x="183689" y="1200456"/>
                      <a:pt x="420617" y="1600567"/>
                      <a:pt x="0" y="1987506"/>
                    </a:cubicBezTo>
                    <a:cubicBezTo>
                      <a:pt x="415539" y="2307676"/>
                      <a:pt x="1268756" y="2299957"/>
                      <a:pt x="1932307" y="1944197"/>
                    </a:cubicBezTo>
                    <a:cubicBezTo>
                      <a:pt x="1385234" y="1543105"/>
                      <a:pt x="1701488" y="1219989"/>
                      <a:pt x="1668852" y="688939"/>
                    </a:cubicBezTo>
                    <a:close/>
                  </a:path>
                </a:pathLst>
              </a:custGeom>
              <a:solidFill>
                <a:schemeClr val="bg1">
                  <a:lumMod val="50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err="1">
                  <a:solidFill>
                    <a:srgbClr val="505050"/>
                  </a:solidFill>
                  <a:latin typeface="Arial"/>
                </a:endParaRPr>
              </a:p>
            </p:txBody>
          </p:sp>
        </p:grpSp>
        <p:sp>
          <p:nvSpPr>
            <p:cNvPr id="2450" name="Freeform: Shape 2449">
              <a:extLst>
                <a:ext uri="{FF2B5EF4-FFF2-40B4-BE49-F238E27FC236}">
                  <a16:creationId xmlns:a16="http://schemas.microsoft.com/office/drawing/2014/main" id="{9FB62EBA-869F-47BF-98C5-D34B6655E679}"/>
                </a:ext>
              </a:extLst>
            </p:cNvPr>
            <p:cNvSpPr/>
            <p:nvPr/>
          </p:nvSpPr>
          <p:spPr bwMode="auto">
            <a:xfrm>
              <a:off x="-1245303" y="5695950"/>
              <a:ext cx="385438" cy="205251"/>
            </a:xfrm>
            <a:custGeom>
              <a:avLst/>
              <a:gdLst>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85825 w 1566862"/>
                <a:gd name="connsiteY5" fmla="*/ 214312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85825 w 1566862"/>
                <a:gd name="connsiteY5" fmla="*/ 214312 h 723900"/>
                <a:gd name="connsiteX6" fmla="*/ 66675 w 1566862"/>
                <a:gd name="connsiteY6" fmla="*/ 704850 h 723900"/>
                <a:gd name="connsiteX7" fmla="*/ 0 w 1566862"/>
                <a:gd name="connsiteY7"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85825 w 1566862"/>
                <a:gd name="connsiteY5" fmla="*/ 214312 h 723900"/>
                <a:gd name="connsiteX6" fmla="*/ 66675 w 1566862"/>
                <a:gd name="connsiteY6" fmla="*/ 704850 h 723900"/>
                <a:gd name="connsiteX7" fmla="*/ 0 w 1566862"/>
                <a:gd name="connsiteY7"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19138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19138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14475 w 1566862"/>
                <a:gd name="connsiteY4" fmla="*/ 723900 h 723900"/>
                <a:gd name="connsiteX5" fmla="*/ 85725 w 1566862"/>
                <a:gd name="connsiteY5" fmla="*/ 719138 h 723900"/>
                <a:gd name="connsiteX6" fmla="*/ 0 w 1566862"/>
                <a:gd name="connsiteY6" fmla="*/ 709612 h 723900"/>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85725 w 1566862"/>
                <a:gd name="connsiteY5" fmla="*/ 719138 h 733425"/>
                <a:gd name="connsiteX6" fmla="*/ 0 w 1566862"/>
                <a:gd name="connsiteY6" fmla="*/ 709612 h 733425"/>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85725 w 1566862"/>
                <a:gd name="connsiteY5" fmla="*/ 719138 h 733425"/>
                <a:gd name="connsiteX6" fmla="*/ 0 w 1566862"/>
                <a:gd name="connsiteY6" fmla="*/ 709612 h 733425"/>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71438 w 1566862"/>
                <a:gd name="connsiteY5" fmla="*/ 714376 h 733425"/>
                <a:gd name="connsiteX6" fmla="*/ 0 w 1566862"/>
                <a:gd name="connsiteY6" fmla="*/ 709612 h 733425"/>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71438 w 1566862"/>
                <a:gd name="connsiteY5" fmla="*/ 714376 h 733425"/>
                <a:gd name="connsiteX6" fmla="*/ 0 w 1566862"/>
                <a:gd name="connsiteY6" fmla="*/ 709612 h 733425"/>
                <a:gd name="connsiteX0" fmla="*/ 0 w 1566862"/>
                <a:gd name="connsiteY0" fmla="*/ 709612 h 728662"/>
                <a:gd name="connsiteX1" fmla="*/ 0 w 1566862"/>
                <a:gd name="connsiteY1" fmla="*/ 0 h 728662"/>
                <a:gd name="connsiteX2" fmla="*/ 1381125 w 1566862"/>
                <a:gd name="connsiteY2" fmla="*/ 0 h 728662"/>
                <a:gd name="connsiteX3" fmla="*/ 1566862 w 1566862"/>
                <a:gd name="connsiteY3" fmla="*/ 723900 h 728662"/>
                <a:gd name="connsiteX4" fmla="*/ 1509712 w 1566862"/>
                <a:gd name="connsiteY4" fmla="*/ 728662 h 728662"/>
                <a:gd name="connsiteX5" fmla="*/ 71438 w 1566862"/>
                <a:gd name="connsiteY5" fmla="*/ 714376 h 728662"/>
                <a:gd name="connsiteX6" fmla="*/ 0 w 1566862"/>
                <a:gd name="connsiteY6" fmla="*/ 709612 h 728662"/>
                <a:gd name="connsiteX0" fmla="*/ 0 w 1566862"/>
                <a:gd name="connsiteY0" fmla="*/ 709612 h 728662"/>
                <a:gd name="connsiteX1" fmla="*/ 0 w 1566862"/>
                <a:gd name="connsiteY1" fmla="*/ 0 h 728662"/>
                <a:gd name="connsiteX2" fmla="*/ 1381125 w 1566862"/>
                <a:gd name="connsiteY2" fmla="*/ 0 h 728662"/>
                <a:gd name="connsiteX3" fmla="*/ 1566862 w 1566862"/>
                <a:gd name="connsiteY3" fmla="*/ 723900 h 728662"/>
                <a:gd name="connsiteX4" fmla="*/ 1509712 w 1566862"/>
                <a:gd name="connsiteY4" fmla="*/ 728662 h 728662"/>
                <a:gd name="connsiteX5" fmla="*/ 71438 w 1566862"/>
                <a:gd name="connsiteY5" fmla="*/ 714376 h 728662"/>
                <a:gd name="connsiteX6" fmla="*/ 0 w 1566862"/>
                <a:gd name="connsiteY6" fmla="*/ 709612 h 728662"/>
                <a:gd name="connsiteX0" fmla="*/ 0 w 1566862"/>
                <a:gd name="connsiteY0" fmla="*/ 709612 h 728662"/>
                <a:gd name="connsiteX1" fmla="*/ 0 w 1566862"/>
                <a:gd name="connsiteY1" fmla="*/ 0 h 728662"/>
                <a:gd name="connsiteX2" fmla="*/ 1381125 w 1566862"/>
                <a:gd name="connsiteY2" fmla="*/ 0 h 728662"/>
                <a:gd name="connsiteX3" fmla="*/ 1566862 w 1566862"/>
                <a:gd name="connsiteY3" fmla="*/ 723900 h 728662"/>
                <a:gd name="connsiteX4" fmla="*/ 1509712 w 1566862"/>
                <a:gd name="connsiteY4" fmla="*/ 728662 h 728662"/>
                <a:gd name="connsiteX5" fmla="*/ 80963 w 1566862"/>
                <a:gd name="connsiteY5" fmla="*/ 719139 h 728662"/>
                <a:gd name="connsiteX6" fmla="*/ 0 w 1566862"/>
                <a:gd name="connsiteY6" fmla="*/ 709612 h 728662"/>
                <a:gd name="connsiteX0" fmla="*/ 0 w 1566862"/>
                <a:gd name="connsiteY0" fmla="*/ 709612 h 728662"/>
                <a:gd name="connsiteX1" fmla="*/ 1381125 w 1566862"/>
                <a:gd name="connsiteY1" fmla="*/ 0 h 728662"/>
                <a:gd name="connsiteX2" fmla="*/ 1566862 w 1566862"/>
                <a:gd name="connsiteY2" fmla="*/ 723900 h 728662"/>
                <a:gd name="connsiteX3" fmla="*/ 1509712 w 1566862"/>
                <a:gd name="connsiteY3" fmla="*/ 728662 h 728662"/>
                <a:gd name="connsiteX4" fmla="*/ 80963 w 1566862"/>
                <a:gd name="connsiteY4" fmla="*/ 719139 h 728662"/>
                <a:gd name="connsiteX5" fmla="*/ 0 w 1566862"/>
                <a:gd name="connsiteY5" fmla="*/ 709612 h 728662"/>
                <a:gd name="connsiteX0" fmla="*/ 0 w 1566862"/>
                <a:gd name="connsiteY0" fmla="*/ 496857 h 515907"/>
                <a:gd name="connsiteX1" fmla="*/ 1566862 w 1566862"/>
                <a:gd name="connsiteY1" fmla="*/ 511145 h 515907"/>
                <a:gd name="connsiteX2" fmla="*/ 1509712 w 1566862"/>
                <a:gd name="connsiteY2" fmla="*/ 515907 h 515907"/>
                <a:gd name="connsiteX3" fmla="*/ 80963 w 1566862"/>
                <a:gd name="connsiteY3" fmla="*/ 506384 h 515907"/>
                <a:gd name="connsiteX4" fmla="*/ 0 w 1566862"/>
                <a:gd name="connsiteY4" fmla="*/ 496857 h 515907"/>
                <a:gd name="connsiteX0" fmla="*/ 0 w 1566862"/>
                <a:gd name="connsiteY0" fmla="*/ 496857 h 515907"/>
                <a:gd name="connsiteX1" fmla="*/ 1566862 w 1566862"/>
                <a:gd name="connsiteY1" fmla="*/ 511145 h 515907"/>
                <a:gd name="connsiteX2" fmla="*/ 1509712 w 1566862"/>
                <a:gd name="connsiteY2" fmla="*/ 515907 h 515907"/>
                <a:gd name="connsiteX3" fmla="*/ 80963 w 1566862"/>
                <a:gd name="connsiteY3" fmla="*/ 506384 h 515907"/>
                <a:gd name="connsiteX4" fmla="*/ 0 w 1566862"/>
                <a:gd name="connsiteY4" fmla="*/ 496857 h 515907"/>
                <a:gd name="connsiteX0" fmla="*/ 0 w 1566862"/>
                <a:gd name="connsiteY0" fmla="*/ 675569 h 694619"/>
                <a:gd name="connsiteX1" fmla="*/ 1566862 w 1566862"/>
                <a:gd name="connsiteY1" fmla="*/ 689857 h 694619"/>
                <a:gd name="connsiteX2" fmla="*/ 1509712 w 1566862"/>
                <a:gd name="connsiteY2" fmla="*/ 694619 h 694619"/>
                <a:gd name="connsiteX3" fmla="*/ 80963 w 1566862"/>
                <a:gd name="connsiteY3" fmla="*/ 685096 h 694619"/>
                <a:gd name="connsiteX4" fmla="*/ 0 w 1566862"/>
                <a:gd name="connsiteY4" fmla="*/ 675569 h 694619"/>
                <a:gd name="connsiteX0" fmla="*/ 0 w 1566862"/>
                <a:gd name="connsiteY0" fmla="*/ 693022 h 712072"/>
                <a:gd name="connsiteX1" fmla="*/ 1566862 w 1566862"/>
                <a:gd name="connsiteY1" fmla="*/ 707310 h 712072"/>
                <a:gd name="connsiteX2" fmla="*/ 1509712 w 1566862"/>
                <a:gd name="connsiteY2" fmla="*/ 712072 h 712072"/>
                <a:gd name="connsiteX3" fmla="*/ 80963 w 1566862"/>
                <a:gd name="connsiteY3" fmla="*/ 702549 h 712072"/>
                <a:gd name="connsiteX4" fmla="*/ 0 w 1566862"/>
                <a:gd name="connsiteY4" fmla="*/ 693022 h 712072"/>
                <a:gd name="connsiteX0" fmla="*/ 0 w 1566862"/>
                <a:gd name="connsiteY0" fmla="*/ 738687 h 757737"/>
                <a:gd name="connsiteX1" fmla="*/ 1566862 w 1566862"/>
                <a:gd name="connsiteY1" fmla="*/ 752975 h 757737"/>
                <a:gd name="connsiteX2" fmla="*/ 1509712 w 1566862"/>
                <a:gd name="connsiteY2" fmla="*/ 757737 h 757737"/>
                <a:gd name="connsiteX3" fmla="*/ 80963 w 1566862"/>
                <a:gd name="connsiteY3" fmla="*/ 748214 h 757737"/>
                <a:gd name="connsiteX4" fmla="*/ 0 w 1566862"/>
                <a:gd name="connsiteY4" fmla="*/ 738687 h 757737"/>
                <a:gd name="connsiteX0" fmla="*/ 0 w 1566862"/>
                <a:gd name="connsiteY0" fmla="*/ 740577 h 759627"/>
                <a:gd name="connsiteX1" fmla="*/ 1566862 w 1566862"/>
                <a:gd name="connsiteY1" fmla="*/ 754865 h 759627"/>
                <a:gd name="connsiteX2" fmla="*/ 1509712 w 1566862"/>
                <a:gd name="connsiteY2" fmla="*/ 759627 h 759627"/>
                <a:gd name="connsiteX3" fmla="*/ 80963 w 1566862"/>
                <a:gd name="connsiteY3" fmla="*/ 750104 h 759627"/>
                <a:gd name="connsiteX4" fmla="*/ 0 w 1566862"/>
                <a:gd name="connsiteY4" fmla="*/ 740577 h 759627"/>
                <a:gd name="connsiteX0" fmla="*/ 0 w 1566862"/>
                <a:gd name="connsiteY0" fmla="*/ 740577 h 759627"/>
                <a:gd name="connsiteX1" fmla="*/ 1566862 w 1566862"/>
                <a:gd name="connsiteY1" fmla="*/ 754865 h 759627"/>
                <a:gd name="connsiteX2" fmla="*/ 1509712 w 1566862"/>
                <a:gd name="connsiteY2" fmla="*/ 759627 h 759627"/>
                <a:gd name="connsiteX3" fmla="*/ 80963 w 1566862"/>
                <a:gd name="connsiteY3" fmla="*/ 750104 h 759627"/>
                <a:gd name="connsiteX4" fmla="*/ 0 w 1566862"/>
                <a:gd name="connsiteY4" fmla="*/ 740577 h 759627"/>
                <a:gd name="connsiteX0" fmla="*/ 0 w 1566862"/>
                <a:gd name="connsiteY0" fmla="*/ 740577 h 759627"/>
                <a:gd name="connsiteX1" fmla="*/ 1566862 w 1566862"/>
                <a:gd name="connsiteY1" fmla="*/ 754865 h 759627"/>
                <a:gd name="connsiteX2" fmla="*/ 1509712 w 1566862"/>
                <a:gd name="connsiteY2" fmla="*/ 759627 h 759627"/>
                <a:gd name="connsiteX3" fmla="*/ 80963 w 1566862"/>
                <a:gd name="connsiteY3" fmla="*/ 750104 h 759627"/>
                <a:gd name="connsiteX4" fmla="*/ 0 w 1566862"/>
                <a:gd name="connsiteY4" fmla="*/ 740577 h 75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62" h="759627">
                  <a:moveTo>
                    <a:pt x="0" y="740577"/>
                  </a:moveTo>
                  <a:cubicBezTo>
                    <a:pt x="365124" y="-364323"/>
                    <a:pt x="1368426" y="-126198"/>
                    <a:pt x="1566862" y="754865"/>
                  </a:cubicBezTo>
                  <a:lnTo>
                    <a:pt x="1509712" y="759627"/>
                  </a:lnTo>
                  <a:cubicBezTo>
                    <a:pt x="1293813" y="96052"/>
                    <a:pt x="463549" y="-186521"/>
                    <a:pt x="80963" y="750104"/>
                  </a:cubicBezTo>
                  <a:lnTo>
                    <a:pt x="0" y="740577"/>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51" name="Rectangle: Top Corners Rounded 8">
              <a:extLst>
                <a:ext uri="{FF2B5EF4-FFF2-40B4-BE49-F238E27FC236}">
                  <a16:creationId xmlns:a16="http://schemas.microsoft.com/office/drawing/2014/main" id="{8FC02C06-8061-4719-8094-325EFA5A20D6}"/>
                </a:ext>
              </a:extLst>
            </p:cNvPr>
            <p:cNvSpPr/>
            <p:nvPr/>
          </p:nvSpPr>
          <p:spPr bwMode="auto">
            <a:xfrm rot="5400000" flipH="1">
              <a:off x="-939682" y="5904857"/>
              <a:ext cx="165883" cy="62483"/>
            </a:xfrm>
            <a:custGeom>
              <a:avLst/>
              <a:gdLst>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373380"/>
                <a:gd name="connsiteX1" fmla="*/ 495300 w 609600"/>
                <a:gd name="connsiteY1" fmla="*/ 0 h 373380"/>
                <a:gd name="connsiteX2" fmla="*/ 609600 w 609600"/>
                <a:gd name="connsiteY2" fmla="*/ 114300 h 373380"/>
                <a:gd name="connsiteX3" fmla="*/ 609600 w 609600"/>
                <a:gd name="connsiteY3" fmla="*/ 228600 h 373380"/>
                <a:gd name="connsiteX4" fmla="*/ 236220 w 609600"/>
                <a:gd name="connsiteY4" fmla="*/ 373380 h 373380"/>
                <a:gd name="connsiteX5" fmla="*/ 0 w 609600"/>
                <a:gd name="connsiteY5" fmla="*/ 228600 h 373380"/>
                <a:gd name="connsiteX6" fmla="*/ 0 w 609600"/>
                <a:gd name="connsiteY6" fmla="*/ 228600 h 373380"/>
                <a:gd name="connsiteX7" fmla="*/ 0 w 609600"/>
                <a:gd name="connsiteY7" fmla="*/ 114300 h 373380"/>
                <a:gd name="connsiteX8" fmla="*/ 114300 w 609600"/>
                <a:gd name="connsiteY8" fmla="*/ 0 h 373380"/>
                <a:gd name="connsiteX0" fmla="*/ 114300 w 655901"/>
                <a:gd name="connsiteY0" fmla="*/ 0 h 514033"/>
                <a:gd name="connsiteX1" fmla="*/ 495300 w 655901"/>
                <a:gd name="connsiteY1" fmla="*/ 0 h 514033"/>
                <a:gd name="connsiteX2" fmla="*/ 609600 w 655901"/>
                <a:gd name="connsiteY2" fmla="*/ 114300 h 514033"/>
                <a:gd name="connsiteX3" fmla="*/ 609600 w 655901"/>
                <a:gd name="connsiteY3" fmla="*/ 228600 h 514033"/>
                <a:gd name="connsiteX4" fmla="*/ 236220 w 655901"/>
                <a:gd name="connsiteY4" fmla="*/ 373380 h 514033"/>
                <a:gd name="connsiteX5" fmla="*/ 0 w 655901"/>
                <a:gd name="connsiteY5" fmla="*/ 228600 h 514033"/>
                <a:gd name="connsiteX6" fmla="*/ 0 w 655901"/>
                <a:gd name="connsiteY6" fmla="*/ 228600 h 514033"/>
                <a:gd name="connsiteX7" fmla="*/ 0 w 655901"/>
                <a:gd name="connsiteY7" fmla="*/ 114300 h 514033"/>
                <a:gd name="connsiteX8" fmla="*/ 114300 w 655901"/>
                <a:gd name="connsiteY8" fmla="*/ 0 h 514033"/>
                <a:gd name="connsiteX0" fmla="*/ 114300 w 609600"/>
                <a:gd name="connsiteY0" fmla="*/ 0 h 237066"/>
                <a:gd name="connsiteX1" fmla="*/ 495300 w 609600"/>
                <a:gd name="connsiteY1" fmla="*/ 0 h 237066"/>
                <a:gd name="connsiteX2" fmla="*/ 609600 w 609600"/>
                <a:gd name="connsiteY2" fmla="*/ 114300 h 237066"/>
                <a:gd name="connsiteX3" fmla="*/ 609600 w 609600"/>
                <a:gd name="connsiteY3" fmla="*/ 228600 h 237066"/>
                <a:gd name="connsiteX4" fmla="*/ 0 w 609600"/>
                <a:gd name="connsiteY4" fmla="*/ 228600 h 237066"/>
                <a:gd name="connsiteX5" fmla="*/ 0 w 609600"/>
                <a:gd name="connsiteY5" fmla="*/ 228600 h 237066"/>
                <a:gd name="connsiteX6" fmla="*/ 0 w 609600"/>
                <a:gd name="connsiteY6" fmla="*/ 114300 h 237066"/>
                <a:gd name="connsiteX7" fmla="*/ 114300 w 609600"/>
                <a:gd name="connsiteY7" fmla="*/ 0 h 237066"/>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0 w 609600"/>
                <a:gd name="connsiteY4" fmla="*/ 228600 h 228600"/>
                <a:gd name="connsiteX5" fmla="*/ 0 w 609600"/>
                <a:gd name="connsiteY5" fmla="*/ 228600 h 228600"/>
                <a:gd name="connsiteX6" fmla="*/ 0 w 609600"/>
                <a:gd name="connsiteY6" fmla="*/ 114300 h 228600"/>
                <a:gd name="connsiteX7" fmla="*/ 114300 w 609600"/>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09609"/>
                <a:gd name="connsiteY0" fmla="*/ 0 h 301628"/>
                <a:gd name="connsiteX1" fmla="*/ 495300 w 609609"/>
                <a:gd name="connsiteY1" fmla="*/ 0 h 301628"/>
                <a:gd name="connsiteX2" fmla="*/ 609600 w 609609"/>
                <a:gd name="connsiteY2" fmla="*/ 114300 h 301628"/>
                <a:gd name="connsiteX3" fmla="*/ 561181 w 609609"/>
                <a:gd name="connsiteY3" fmla="*/ 301628 h 301628"/>
                <a:gd name="connsiteX4" fmla="*/ 0 w 609609"/>
                <a:gd name="connsiteY4" fmla="*/ 228600 h 301628"/>
                <a:gd name="connsiteX5" fmla="*/ 0 w 609609"/>
                <a:gd name="connsiteY5" fmla="*/ 228600 h 301628"/>
                <a:gd name="connsiteX6" fmla="*/ 0 w 609609"/>
                <a:gd name="connsiteY6" fmla="*/ 114300 h 301628"/>
                <a:gd name="connsiteX7" fmla="*/ 114300 w 609609"/>
                <a:gd name="connsiteY7" fmla="*/ 0 h 301628"/>
                <a:gd name="connsiteX0" fmla="*/ 114301 w 609610"/>
                <a:gd name="connsiteY0" fmla="*/ 0 h 301628"/>
                <a:gd name="connsiteX1" fmla="*/ 495301 w 609610"/>
                <a:gd name="connsiteY1" fmla="*/ 0 h 301628"/>
                <a:gd name="connsiteX2" fmla="*/ 609601 w 609610"/>
                <a:gd name="connsiteY2" fmla="*/ 114300 h 301628"/>
                <a:gd name="connsiteX3" fmla="*/ 561182 w 609610"/>
                <a:gd name="connsiteY3" fmla="*/ 301628 h 301628"/>
                <a:gd name="connsiteX4" fmla="*/ 1 w 609610"/>
                <a:gd name="connsiteY4" fmla="*/ 228600 h 301628"/>
                <a:gd name="connsiteX5" fmla="*/ 0 w 609610"/>
                <a:gd name="connsiteY5" fmla="*/ 244478 h 301628"/>
                <a:gd name="connsiteX6" fmla="*/ 1 w 609610"/>
                <a:gd name="connsiteY6" fmla="*/ 114300 h 301628"/>
                <a:gd name="connsiteX7" fmla="*/ 114301 w 609610"/>
                <a:gd name="connsiteY7"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28600 h 301628"/>
                <a:gd name="connsiteX5" fmla="*/ 46134 w 655743"/>
                <a:gd name="connsiteY5" fmla="*/ 114300 h 301628"/>
                <a:gd name="connsiteX6" fmla="*/ 160434 w 655743"/>
                <a:gd name="connsiteY6"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50828 h 301628"/>
                <a:gd name="connsiteX5" fmla="*/ 46134 w 655743"/>
                <a:gd name="connsiteY5" fmla="*/ 114300 h 301628"/>
                <a:gd name="connsiteX6" fmla="*/ 160434 w 655743"/>
                <a:gd name="connsiteY6" fmla="*/ 0 h 301628"/>
                <a:gd name="connsiteX0" fmla="*/ 123100 w 618409"/>
                <a:gd name="connsiteY0" fmla="*/ 0 h 301628"/>
                <a:gd name="connsiteX1" fmla="*/ 504100 w 618409"/>
                <a:gd name="connsiteY1" fmla="*/ 0 h 301628"/>
                <a:gd name="connsiteX2" fmla="*/ 618400 w 618409"/>
                <a:gd name="connsiteY2" fmla="*/ 114300 h 301628"/>
                <a:gd name="connsiteX3" fmla="*/ 569981 w 618409"/>
                <a:gd name="connsiteY3" fmla="*/ 301628 h 301628"/>
                <a:gd name="connsiteX4" fmla="*/ 8800 w 618409"/>
                <a:gd name="connsiteY4" fmla="*/ 250828 h 301628"/>
                <a:gd name="connsiteX5" fmla="*/ 8800 w 618409"/>
                <a:gd name="connsiteY5" fmla="*/ 114300 h 301628"/>
                <a:gd name="connsiteX6" fmla="*/ 123100 w 618409"/>
                <a:gd name="connsiteY6" fmla="*/ 0 h 301628"/>
                <a:gd name="connsiteX0" fmla="*/ 130370 w 625679"/>
                <a:gd name="connsiteY0" fmla="*/ 0 h 301628"/>
                <a:gd name="connsiteX1" fmla="*/ 511370 w 625679"/>
                <a:gd name="connsiteY1" fmla="*/ 0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625679"/>
                <a:gd name="connsiteY0" fmla="*/ 0 h 301628"/>
                <a:gd name="connsiteX1" fmla="*/ 520895 w 625679"/>
                <a:gd name="connsiteY1" fmla="*/ 120653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597116"/>
                <a:gd name="connsiteY0" fmla="*/ 0 h 301628"/>
                <a:gd name="connsiteX1" fmla="*/ 520895 w 597116"/>
                <a:gd name="connsiteY1" fmla="*/ 120653 h 301628"/>
                <a:gd name="connsiteX2" fmla="*/ 597095 w 597116"/>
                <a:gd name="connsiteY2" fmla="*/ 215903 h 301628"/>
                <a:gd name="connsiteX3" fmla="*/ 577251 w 597116"/>
                <a:gd name="connsiteY3" fmla="*/ 301628 h 301628"/>
                <a:gd name="connsiteX4" fmla="*/ 16070 w 597116"/>
                <a:gd name="connsiteY4" fmla="*/ 250828 h 301628"/>
                <a:gd name="connsiteX5" fmla="*/ 16070 w 597116"/>
                <a:gd name="connsiteY5" fmla="*/ 114300 h 301628"/>
                <a:gd name="connsiteX6" fmla="*/ 130370 w 597116"/>
                <a:gd name="connsiteY6" fmla="*/ 0 h 301628"/>
                <a:gd name="connsiteX0" fmla="*/ 133545 w 597116"/>
                <a:gd name="connsiteY0" fmla="*/ 0 h 254003"/>
                <a:gd name="connsiteX1" fmla="*/ 520895 w 597116"/>
                <a:gd name="connsiteY1" fmla="*/ 73028 h 254003"/>
                <a:gd name="connsiteX2" fmla="*/ 597095 w 597116"/>
                <a:gd name="connsiteY2" fmla="*/ 168278 h 254003"/>
                <a:gd name="connsiteX3" fmla="*/ 577251 w 597116"/>
                <a:gd name="connsiteY3" fmla="*/ 254003 h 254003"/>
                <a:gd name="connsiteX4" fmla="*/ 16070 w 597116"/>
                <a:gd name="connsiteY4" fmla="*/ 203203 h 254003"/>
                <a:gd name="connsiteX5" fmla="*/ 16070 w 597116"/>
                <a:gd name="connsiteY5" fmla="*/ 66675 h 254003"/>
                <a:gd name="connsiteX6" fmla="*/ 133545 w 59711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13929"/>
                <a:gd name="connsiteY0" fmla="*/ 0 h 254003"/>
                <a:gd name="connsiteX1" fmla="*/ 537675 w 613929"/>
                <a:gd name="connsiteY1" fmla="*/ 73028 h 254003"/>
                <a:gd name="connsiteX2" fmla="*/ 613875 w 613929"/>
                <a:gd name="connsiteY2" fmla="*/ 168278 h 254003"/>
                <a:gd name="connsiteX3" fmla="*/ 594031 w 613929"/>
                <a:gd name="connsiteY3" fmla="*/ 254003 h 254003"/>
                <a:gd name="connsiteX4" fmla="*/ 32850 w 613929"/>
                <a:gd name="connsiteY4" fmla="*/ 203203 h 254003"/>
                <a:gd name="connsiteX5" fmla="*/ 7449 w 613929"/>
                <a:gd name="connsiteY5" fmla="*/ 104778 h 254003"/>
                <a:gd name="connsiteX6" fmla="*/ 150325 w 613929"/>
                <a:gd name="connsiteY6" fmla="*/ 0 h 25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929" h="254003">
                  <a:moveTo>
                    <a:pt x="150325" y="0"/>
                  </a:moveTo>
                  <a:lnTo>
                    <a:pt x="537675" y="73028"/>
                  </a:lnTo>
                  <a:cubicBezTo>
                    <a:pt x="600801" y="73028"/>
                    <a:pt x="613875" y="105152"/>
                    <a:pt x="613875" y="168278"/>
                  </a:cubicBezTo>
                  <a:cubicBezTo>
                    <a:pt x="614669" y="190503"/>
                    <a:pt x="606731" y="199240"/>
                    <a:pt x="594031" y="254003"/>
                  </a:cubicBezTo>
                  <a:cubicBezTo>
                    <a:pt x="216682" y="138757"/>
                    <a:pt x="109050" y="187334"/>
                    <a:pt x="32850" y="203203"/>
                  </a:cubicBezTo>
                  <a:cubicBezTo>
                    <a:pt x="9169" y="181513"/>
                    <a:pt x="-11601" y="142878"/>
                    <a:pt x="7449" y="104778"/>
                  </a:cubicBezTo>
                  <a:cubicBezTo>
                    <a:pt x="7449" y="41652"/>
                    <a:pt x="87199" y="0"/>
                    <a:pt x="15032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52" name="Rectangle: Top Corners Rounded 8">
              <a:extLst>
                <a:ext uri="{FF2B5EF4-FFF2-40B4-BE49-F238E27FC236}">
                  <a16:creationId xmlns:a16="http://schemas.microsoft.com/office/drawing/2014/main" id="{3F1B58A4-8057-4D76-AE6E-84DE2E3F71D4}"/>
                </a:ext>
              </a:extLst>
            </p:cNvPr>
            <p:cNvSpPr/>
            <p:nvPr/>
          </p:nvSpPr>
          <p:spPr bwMode="auto">
            <a:xfrm rot="16200000">
              <a:off x="-1328049" y="5904857"/>
              <a:ext cx="165883" cy="62483"/>
            </a:xfrm>
            <a:custGeom>
              <a:avLst/>
              <a:gdLst>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373380"/>
                <a:gd name="connsiteX1" fmla="*/ 495300 w 609600"/>
                <a:gd name="connsiteY1" fmla="*/ 0 h 373380"/>
                <a:gd name="connsiteX2" fmla="*/ 609600 w 609600"/>
                <a:gd name="connsiteY2" fmla="*/ 114300 h 373380"/>
                <a:gd name="connsiteX3" fmla="*/ 609600 w 609600"/>
                <a:gd name="connsiteY3" fmla="*/ 228600 h 373380"/>
                <a:gd name="connsiteX4" fmla="*/ 236220 w 609600"/>
                <a:gd name="connsiteY4" fmla="*/ 373380 h 373380"/>
                <a:gd name="connsiteX5" fmla="*/ 0 w 609600"/>
                <a:gd name="connsiteY5" fmla="*/ 228600 h 373380"/>
                <a:gd name="connsiteX6" fmla="*/ 0 w 609600"/>
                <a:gd name="connsiteY6" fmla="*/ 228600 h 373380"/>
                <a:gd name="connsiteX7" fmla="*/ 0 w 609600"/>
                <a:gd name="connsiteY7" fmla="*/ 114300 h 373380"/>
                <a:gd name="connsiteX8" fmla="*/ 114300 w 609600"/>
                <a:gd name="connsiteY8" fmla="*/ 0 h 373380"/>
                <a:gd name="connsiteX0" fmla="*/ 114300 w 655901"/>
                <a:gd name="connsiteY0" fmla="*/ 0 h 514033"/>
                <a:gd name="connsiteX1" fmla="*/ 495300 w 655901"/>
                <a:gd name="connsiteY1" fmla="*/ 0 h 514033"/>
                <a:gd name="connsiteX2" fmla="*/ 609600 w 655901"/>
                <a:gd name="connsiteY2" fmla="*/ 114300 h 514033"/>
                <a:gd name="connsiteX3" fmla="*/ 609600 w 655901"/>
                <a:gd name="connsiteY3" fmla="*/ 228600 h 514033"/>
                <a:gd name="connsiteX4" fmla="*/ 236220 w 655901"/>
                <a:gd name="connsiteY4" fmla="*/ 373380 h 514033"/>
                <a:gd name="connsiteX5" fmla="*/ 0 w 655901"/>
                <a:gd name="connsiteY5" fmla="*/ 228600 h 514033"/>
                <a:gd name="connsiteX6" fmla="*/ 0 w 655901"/>
                <a:gd name="connsiteY6" fmla="*/ 228600 h 514033"/>
                <a:gd name="connsiteX7" fmla="*/ 0 w 655901"/>
                <a:gd name="connsiteY7" fmla="*/ 114300 h 514033"/>
                <a:gd name="connsiteX8" fmla="*/ 114300 w 655901"/>
                <a:gd name="connsiteY8" fmla="*/ 0 h 514033"/>
                <a:gd name="connsiteX0" fmla="*/ 114300 w 609600"/>
                <a:gd name="connsiteY0" fmla="*/ 0 h 237066"/>
                <a:gd name="connsiteX1" fmla="*/ 495300 w 609600"/>
                <a:gd name="connsiteY1" fmla="*/ 0 h 237066"/>
                <a:gd name="connsiteX2" fmla="*/ 609600 w 609600"/>
                <a:gd name="connsiteY2" fmla="*/ 114300 h 237066"/>
                <a:gd name="connsiteX3" fmla="*/ 609600 w 609600"/>
                <a:gd name="connsiteY3" fmla="*/ 228600 h 237066"/>
                <a:gd name="connsiteX4" fmla="*/ 0 w 609600"/>
                <a:gd name="connsiteY4" fmla="*/ 228600 h 237066"/>
                <a:gd name="connsiteX5" fmla="*/ 0 w 609600"/>
                <a:gd name="connsiteY5" fmla="*/ 228600 h 237066"/>
                <a:gd name="connsiteX6" fmla="*/ 0 w 609600"/>
                <a:gd name="connsiteY6" fmla="*/ 114300 h 237066"/>
                <a:gd name="connsiteX7" fmla="*/ 114300 w 609600"/>
                <a:gd name="connsiteY7" fmla="*/ 0 h 237066"/>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0 w 609600"/>
                <a:gd name="connsiteY4" fmla="*/ 228600 h 228600"/>
                <a:gd name="connsiteX5" fmla="*/ 0 w 609600"/>
                <a:gd name="connsiteY5" fmla="*/ 228600 h 228600"/>
                <a:gd name="connsiteX6" fmla="*/ 0 w 609600"/>
                <a:gd name="connsiteY6" fmla="*/ 114300 h 228600"/>
                <a:gd name="connsiteX7" fmla="*/ 114300 w 609600"/>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09609"/>
                <a:gd name="connsiteY0" fmla="*/ 0 h 301628"/>
                <a:gd name="connsiteX1" fmla="*/ 495300 w 609609"/>
                <a:gd name="connsiteY1" fmla="*/ 0 h 301628"/>
                <a:gd name="connsiteX2" fmla="*/ 609600 w 609609"/>
                <a:gd name="connsiteY2" fmla="*/ 114300 h 301628"/>
                <a:gd name="connsiteX3" fmla="*/ 561181 w 609609"/>
                <a:gd name="connsiteY3" fmla="*/ 301628 h 301628"/>
                <a:gd name="connsiteX4" fmla="*/ 0 w 609609"/>
                <a:gd name="connsiteY4" fmla="*/ 228600 h 301628"/>
                <a:gd name="connsiteX5" fmla="*/ 0 w 609609"/>
                <a:gd name="connsiteY5" fmla="*/ 228600 h 301628"/>
                <a:gd name="connsiteX6" fmla="*/ 0 w 609609"/>
                <a:gd name="connsiteY6" fmla="*/ 114300 h 301628"/>
                <a:gd name="connsiteX7" fmla="*/ 114300 w 609609"/>
                <a:gd name="connsiteY7" fmla="*/ 0 h 301628"/>
                <a:gd name="connsiteX0" fmla="*/ 114301 w 609610"/>
                <a:gd name="connsiteY0" fmla="*/ 0 h 301628"/>
                <a:gd name="connsiteX1" fmla="*/ 495301 w 609610"/>
                <a:gd name="connsiteY1" fmla="*/ 0 h 301628"/>
                <a:gd name="connsiteX2" fmla="*/ 609601 w 609610"/>
                <a:gd name="connsiteY2" fmla="*/ 114300 h 301628"/>
                <a:gd name="connsiteX3" fmla="*/ 561182 w 609610"/>
                <a:gd name="connsiteY3" fmla="*/ 301628 h 301628"/>
                <a:gd name="connsiteX4" fmla="*/ 1 w 609610"/>
                <a:gd name="connsiteY4" fmla="*/ 228600 h 301628"/>
                <a:gd name="connsiteX5" fmla="*/ 0 w 609610"/>
                <a:gd name="connsiteY5" fmla="*/ 244478 h 301628"/>
                <a:gd name="connsiteX6" fmla="*/ 1 w 609610"/>
                <a:gd name="connsiteY6" fmla="*/ 114300 h 301628"/>
                <a:gd name="connsiteX7" fmla="*/ 114301 w 609610"/>
                <a:gd name="connsiteY7"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28600 h 301628"/>
                <a:gd name="connsiteX5" fmla="*/ 46134 w 655743"/>
                <a:gd name="connsiteY5" fmla="*/ 114300 h 301628"/>
                <a:gd name="connsiteX6" fmla="*/ 160434 w 655743"/>
                <a:gd name="connsiteY6"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50828 h 301628"/>
                <a:gd name="connsiteX5" fmla="*/ 46134 w 655743"/>
                <a:gd name="connsiteY5" fmla="*/ 114300 h 301628"/>
                <a:gd name="connsiteX6" fmla="*/ 160434 w 655743"/>
                <a:gd name="connsiteY6" fmla="*/ 0 h 301628"/>
                <a:gd name="connsiteX0" fmla="*/ 123100 w 618409"/>
                <a:gd name="connsiteY0" fmla="*/ 0 h 301628"/>
                <a:gd name="connsiteX1" fmla="*/ 504100 w 618409"/>
                <a:gd name="connsiteY1" fmla="*/ 0 h 301628"/>
                <a:gd name="connsiteX2" fmla="*/ 618400 w 618409"/>
                <a:gd name="connsiteY2" fmla="*/ 114300 h 301628"/>
                <a:gd name="connsiteX3" fmla="*/ 569981 w 618409"/>
                <a:gd name="connsiteY3" fmla="*/ 301628 h 301628"/>
                <a:gd name="connsiteX4" fmla="*/ 8800 w 618409"/>
                <a:gd name="connsiteY4" fmla="*/ 250828 h 301628"/>
                <a:gd name="connsiteX5" fmla="*/ 8800 w 618409"/>
                <a:gd name="connsiteY5" fmla="*/ 114300 h 301628"/>
                <a:gd name="connsiteX6" fmla="*/ 123100 w 618409"/>
                <a:gd name="connsiteY6" fmla="*/ 0 h 301628"/>
                <a:gd name="connsiteX0" fmla="*/ 130370 w 625679"/>
                <a:gd name="connsiteY0" fmla="*/ 0 h 301628"/>
                <a:gd name="connsiteX1" fmla="*/ 511370 w 625679"/>
                <a:gd name="connsiteY1" fmla="*/ 0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625679"/>
                <a:gd name="connsiteY0" fmla="*/ 0 h 301628"/>
                <a:gd name="connsiteX1" fmla="*/ 520895 w 625679"/>
                <a:gd name="connsiteY1" fmla="*/ 120653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597116"/>
                <a:gd name="connsiteY0" fmla="*/ 0 h 301628"/>
                <a:gd name="connsiteX1" fmla="*/ 520895 w 597116"/>
                <a:gd name="connsiteY1" fmla="*/ 120653 h 301628"/>
                <a:gd name="connsiteX2" fmla="*/ 597095 w 597116"/>
                <a:gd name="connsiteY2" fmla="*/ 215903 h 301628"/>
                <a:gd name="connsiteX3" fmla="*/ 577251 w 597116"/>
                <a:gd name="connsiteY3" fmla="*/ 301628 h 301628"/>
                <a:gd name="connsiteX4" fmla="*/ 16070 w 597116"/>
                <a:gd name="connsiteY4" fmla="*/ 250828 h 301628"/>
                <a:gd name="connsiteX5" fmla="*/ 16070 w 597116"/>
                <a:gd name="connsiteY5" fmla="*/ 114300 h 301628"/>
                <a:gd name="connsiteX6" fmla="*/ 130370 w 597116"/>
                <a:gd name="connsiteY6" fmla="*/ 0 h 301628"/>
                <a:gd name="connsiteX0" fmla="*/ 133545 w 597116"/>
                <a:gd name="connsiteY0" fmla="*/ 0 h 254003"/>
                <a:gd name="connsiteX1" fmla="*/ 520895 w 597116"/>
                <a:gd name="connsiteY1" fmla="*/ 73028 h 254003"/>
                <a:gd name="connsiteX2" fmla="*/ 597095 w 597116"/>
                <a:gd name="connsiteY2" fmla="*/ 168278 h 254003"/>
                <a:gd name="connsiteX3" fmla="*/ 577251 w 597116"/>
                <a:gd name="connsiteY3" fmla="*/ 254003 h 254003"/>
                <a:gd name="connsiteX4" fmla="*/ 16070 w 597116"/>
                <a:gd name="connsiteY4" fmla="*/ 203203 h 254003"/>
                <a:gd name="connsiteX5" fmla="*/ 16070 w 597116"/>
                <a:gd name="connsiteY5" fmla="*/ 66675 h 254003"/>
                <a:gd name="connsiteX6" fmla="*/ 133545 w 59711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13929"/>
                <a:gd name="connsiteY0" fmla="*/ 0 h 254003"/>
                <a:gd name="connsiteX1" fmla="*/ 537675 w 613929"/>
                <a:gd name="connsiteY1" fmla="*/ 73028 h 254003"/>
                <a:gd name="connsiteX2" fmla="*/ 613875 w 613929"/>
                <a:gd name="connsiteY2" fmla="*/ 168278 h 254003"/>
                <a:gd name="connsiteX3" fmla="*/ 594031 w 613929"/>
                <a:gd name="connsiteY3" fmla="*/ 254003 h 254003"/>
                <a:gd name="connsiteX4" fmla="*/ 32850 w 613929"/>
                <a:gd name="connsiteY4" fmla="*/ 203203 h 254003"/>
                <a:gd name="connsiteX5" fmla="*/ 7449 w 613929"/>
                <a:gd name="connsiteY5" fmla="*/ 104778 h 254003"/>
                <a:gd name="connsiteX6" fmla="*/ 150325 w 613929"/>
                <a:gd name="connsiteY6" fmla="*/ 0 h 25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929" h="254003">
                  <a:moveTo>
                    <a:pt x="150325" y="0"/>
                  </a:moveTo>
                  <a:lnTo>
                    <a:pt x="537675" y="73028"/>
                  </a:lnTo>
                  <a:cubicBezTo>
                    <a:pt x="600801" y="73028"/>
                    <a:pt x="613875" y="105152"/>
                    <a:pt x="613875" y="168278"/>
                  </a:cubicBezTo>
                  <a:cubicBezTo>
                    <a:pt x="614669" y="190503"/>
                    <a:pt x="606731" y="199240"/>
                    <a:pt x="594031" y="254003"/>
                  </a:cubicBezTo>
                  <a:cubicBezTo>
                    <a:pt x="216682" y="138757"/>
                    <a:pt x="109050" y="187334"/>
                    <a:pt x="32850" y="203203"/>
                  </a:cubicBezTo>
                  <a:cubicBezTo>
                    <a:pt x="9169" y="181513"/>
                    <a:pt x="-11601" y="142878"/>
                    <a:pt x="7449" y="104778"/>
                  </a:cubicBezTo>
                  <a:cubicBezTo>
                    <a:pt x="7449" y="41652"/>
                    <a:pt x="87199" y="0"/>
                    <a:pt x="15032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463" name="Group 2462">
            <a:extLst>
              <a:ext uri="{FF2B5EF4-FFF2-40B4-BE49-F238E27FC236}">
                <a16:creationId xmlns:a16="http://schemas.microsoft.com/office/drawing/2014/main" id="{8E5AD988-0F1B-4E9E-98DD-A1E43B713496}"/>
              </a:ext>
            </a:extLst>
          </p:cNvPr>
          <p:cNvGrpSpPr/>
          <p:nvPr/>
        </p:nvGrpSpPr>
        <p:grpSpPr>
          <a:xfrm>
            <a:off x="9447092" y="4692599"/>
            <a:ext cx="958037" cy="1421176"/>
            <a:chOff x="-3505200" y="5662794"/>
            <a:chExt cx="822827" cy="1220606"/>
          </a:xfrm>
        </p:grpSpPr>
        <p:sp>
          <p:nvSpPr>
            <p:cNvPr id="2464" name="Freeform: Shape 2463">
              <a:extLst>
                <a:ext uri="{FF2B5EF4-FFF2-40B4-BE49-F238E27FC236}">
                  <a16:creationId xmlns:a16="http://schemas.microsoft.com/office/drawing/2014/main" id="{0505BE01-3677-4D8B-98F7-F9E33556A76F}"/>
                </a:ext>
              </a:extLst>
            </p:cNvPr>
            <p:cNvSpPr/>
            <p:nvPr/>
          </p:nvSpPr>
          <p:spPr bwMode="auto">
            <a:xfrm>
              <a:off x="-3289974" y="5972065"/>
              <a:ext cx="194776" cy="516789"/>
            </a:xfrm>
            <a:custGeom>
              <a:avLst/>
              <a:gdLst>
                <a:gd name="connsiteX0" fmla="*/ 91440 w 403860"/>
                <a:gd name="connsiteY0" fmla="*/ 0 h 1531620"/>
                <a:gd name="connsiteX1" fmla="*/ 0 w 403860"/>
                <a:gd name="connsiteY1" fmla="*/ 693420 h 1531620"/>
                <a:gd name="connsiteX2" fmla="*/ 381000 w 403860"/>
                <a:gd name="connsiteY2" fmla="*/ 1531620 h 1531620"/>
                <a:gd name="connsiteX3" fmla="*/ 403860 w 403860"/>
                <a:gd name="connsiteY3" fmla="*/ 1478280 h 1531620"/>
                <a:gd name="connsiteX4" fmla="*/ 15240 w 403860"/>
                <a:gd name="connsiteY4" fmla="*/ 693420 h 1531620"/>
                <a:gd name="connsiteX5" fmla="*/ 129540 w 403860"/>
                <a:gd name="connsiteY5" fmla="*/ 38100 h 1531620"/>
                <a:gd name="connsiteX6" fmla="*/ 91440 w 403860"/>
                <a:gd name="connsiteY6" fmla="*/ 0 h 1531620"/>
                <a:gd name="connsiteX0" fmla="*/ 91440 w 403860"/>
                <a:gd name="connsiteY0" fmla="*/ 0 h 1531620"/>
                <a:gd name="connsiteX1" fmla="*/ 0 w 403860"/>
                <a:gd name="connsiteY1" fmla="*/ 693420 h 1531620"/>
                <a:gd name="connsiteX2" fmla="*/ 381000 w 403860"/>
                <a:gd name="connsiteY2" fmla="*/ 1531620 h 1531620"/>
                <a:gd name="connsiteX3" fmla="*/ 403860 w 403860"/>
                <a:gd name="connsiteY3" fmla="*/ 1478280 h 1531620"/>
                <a:gd name="connsiteX4" fmla="*/ 129540 w 403860"/>
                <a:gd name="connsiteY4" fmla="*/ 38100 h 1531620"/>
                <a:gd name="connsiteX5" fmla="*/ 91440 w 403860"/>
                <a:gd name="connsiteY5" fmla="*/ 0 h 1531620"/>
                <a:gd name="connsiteX0" fmla="*/ 0 w 312420"/>
                <a:gd name="connsiteY0" fmla="*/ 0 h 1531620"/>
                <a:gd name="connsiteX1" fmla="*/ 289560 w 312420"/>
                <a:gd name="connsiteY1" fmla="*/ 1531620 h 1531620"/>
                <a:gd name="connsiteX2" fmla="*/ 312420 w 312420"/>
                <a:gd name="connsiteY2" fmla="*/ 1478280 h 1531620"/>
                <a:gd name="connsiteX3" fmla="*/ 38100 w 312420"/>
                <a:gd name="connsiteY3" fmla="*/ 38100 h 1531620"/>
                <a:gd name="connsiteX4" fmla="*/ 0 w 312420"/>
                <a:gd name="connsiteY4" fmla="*/ 0 h 1531620"/>
                <a:gd name="connsiteX0" fmla="*/ 0 w 731520"/>
                <a:gd name="connsiteY0" fmla="*/ 0 h 1943100"/>
                <a:gd name="connsiteX1" fmla="*/ 289560 w 731520"/>
                <a:gd name="connsiteY1" fmla="*/ 1531620 h 1943100"/>
                <a:gd name="connsiteX2" fmla="*/ 731520 w 731520"/>
                <a:gd name="connsiteY2" fmla="*/ 1943100 h 1943100"/>
                <a:gd name="connsiteX3" fmla="*/ 38100 w 731520"/>
                <a:gd name="connsiteY3" fmla="*/ 38100 h 1943100"/>
                <a:gd name="connsiteX4" fmla="*/ 0 w 731520"/>
                <a:gd name="connsiteY4" fmla="*/ 0 h 1943100"/>
                <a:gd name="connsiteX0" fmla="*/ 0 w 731520"/>
                <a:gd name="connsiteY0" fmla="*/ 0 h 1988820"/>
                <a:gd name="connsiteX1" fmla="*/ 685800 w 731520"/>
                <a:gd name="connsiteY1" fmla="*/ 1988820 h 1988820"/>
                <a:gd name="connsiteX2" fmla="*/ 731520 w 731520"/>
                <a:gd name="connsiteY2" fmla="*/ 1943100 h 1988820"/>
                <a:gd name="connsiteX3" fmla="*/ 38100 w 731520"/>
                <a:gd name="connsiteY3" fmla="*/ 38100 h 1988820"/>
                <a:gd name="connsiteX4" fmla="*/ 0 w 731520"/>
                <a:gd name="connsiteY4" fmla="*/ 0 h 1988820"/>
                <a:gd name="connsiteX0" fmla="*/ 0 w 731520"/>
                <a:gd name="connsiteY0" fmla="*/ 0 h 1988820"/>
                <a:gd name="connsiteX1" fmla="*/ 685800 w 731520"/>
                <a:gd name="connsiteY1" fmla="*/ 1988820 h 1988820"/>
                <a:gd name="connsiteX2" fmla="*/ 731520 w 731520"/>
                <a:gd name="connsiteY2" fmla="*/ 1943100 h 1988820"/>
                <a:gd name="connsiteX3" fmla="*/ 38100 w 731520"/>
                <a:gd name="connsiteY3" fmla="*/ 38100 h 1988820"/>
                <a:gd name="connsiteX4" fmla="*/ 0 w 731520"/>
                <a:gd name="connsiteY4" fmla="*/ 0 h 1988820"/>
                <a:gd name="connsiteX0" fmla="*/ 99307 w 830827"/>
                <a:gd name="connsiteY0" fmla="*/ 0 h 1988820"/>
                <a:gd name="connsiteX1" fmla="*/ 785107 w 830827"/>
                <a:gd name="connsiteY1" fmla="*/ 1988820 h 1988820"/>
                <a:gd name="connsiteX2" fmla="*/ 830827 w 830827"/>
                <a:gd name="connsiteY2" fmla="*/ 1943100 h 1988820"/>
                <a:gd name="connsiteX3" fmla="*/ 137407 w 830827"/>
                <a:gd name="connsiteY3" fmla="*/ 38100 h 1988820"/>
                <a:gd name="connsiteX4" fmla="*/ 99307 w 830827"/>
                <a:gd name="connsiteY4" fmla="*/ 0 h 1988820"/>
                <a:gd name="connsiteX0" fmla="*/ 99307 w 830827"/>
                <a:gd name="connsiteY0" fmla="*/ 0 h 1988820"/>
                <a:gd name="connsiteX1" fmla="*/ 785107 w 830827"/>
                <a:gd name="connsiteY1" fmla="*/ 1988820 h 1988820"/>
                <a:gd name="connsiteX2" fmla="*/ 830827 w 830827"/>
                <a:gd name="connsiteY2" fmla="*/ 1943100 h 1988820"/>
                <a:gd name="connsiteX3" fmla="*/ 137407 w 830827"/>
                <a:gd name="connsiteY3" fmla="*/ 38100 h 1988820"/>
                <a:gd name="connsiteX4" fmla="*/ 99307 w 830827"/>
                <a:gd name="connsiteY4" fmla="*/ 0 h 1988820"/>
                <a:gd name="connsiteX0" fmla="*/ 99307 w 834379"/>
                <a:gd name="connsiteY0" fmla="*/ 0 h 1988820"/>
                <a:gd name="connsiteX1" fmla="*/ 785107 w 834379"/>
                <a:gd name="connsiteY1" fmla="*/ 1988820 h 1988820"/>
                <a:gd name="connsiteX2" fmla="*/ 830827 w 834379"/>
                <a:gd name="connsiteY2" fmla="*/ 1943100 h 1988820"/>
                <a:gd name="connsiteX3" fmla="*/ 137407 w 834379"/>
                <a:gd name="connsiteY3" fmla="*/ 38100 h 1988820"/>
                <a:gd name="connsiteX4" fmla="*/ 99307 w 834379"/>
                <a:gd name="connsiteY4" fmla="*/ 0 h 1988820"/>
                <a:gd name="connsiteX0" fmla="*/ 39299 w 774371"/>
                <a:gd name="connsiteY0" fmla="*/ 0 h 1988820"/>
                <a:gd name="connsiteX1" fmla="*/ 725099 w 774371"/>
                <a:gd name="connsiteY1" fmla="*/ 1988820 h 1988820"/>
                <a:gd name="connsiteX2" fmla="*/ 770819 w 774371"/>
                <a:gd name="connsiteY2" fmla="*/ 1943100 h 1988820"/>
                <a:gd name="connsiteX3" fmla="*/ 77399 w 774371"/>
                <a:gd name="connsiteY3" fmla="*/ 38100 h 1988820"/>
                <a:gd name="connsiteX4" fmla="*/ 39299 w 774371"/>
                <a:gd name="connsiteY4" fmla="*/ 0 h 1988820"/>
                <a:gd name="connsiteX0" fmla="*/ 57583 w 792655"/>
                <a:gd name="connsiteY0" fmla="*/ 0 h 1988820"/>
                <a:gd name="connsiteX1" fmla="*/ 743383 w 792655"/>
                <a:gd name="connsiteY1" fmla="*/ 1988820 h 1988820"/>
                <a:gd name="connsiteX2" fmla="*/ 789103 w 792655"/>
                <a:gd name="connsiteY2" fmla="*/ 1943100 h 1988820"/>
                <a:gd name="connsiteX3" fmla="*/ 95683 w 792655"/>
                <a:gd name="connsiteY3" fmla="*/ 38100 h 1988820"/>
                <a:gd name="connsiteX4" fmla="*/ 57583 w 792655"/>
                <a:gd name="connsiteY4" fmla="*/ 0 h 1988820"/>
                <a:gd name="connsiteX0" fmla="*/ 58435 w 793507"/>
                <a:gd name="connsiteY0" fmla="*/ 0 h 1950720"/>
                <a:gd name="connsiteX1" fmla="*/ 728995 w 793507"/>
                <a:gd name="connsiteY1" fmla="*/ 1950720 h 1950720"/>
                <a:gd name="connsiteX2" fmla="*/ 789955 w 793507"/>
                <a:gd name="connsiteY2" fmla="*/ 1943100 h 1950720"/>
                <a:gd name="connsiteX3" fmla="*/ 96535 w 793507"/>
                <a:gd name="connsiteY3" fmla="*/ 38100 h 1950720"/>
                <a:gd name="connsiteX4" fmla="*/ 58435 w 793507"/>
                <a:gd name="connsiteY4" fmla="*/ 0 h 1950720"/>
                <a:gd name="connsiteX0" fmla="*/ 60547 w 795619"/>
                <a:gd name="connsiteY0" fmla="*/ 0 h 1950720"/>
                <a:gd name="connsiteX1" fmla="*/ 731107 w 795619"/>
                <a:gd name="connsiteY1" fmla="*/ 1950720 h 1950720"/>
                <a:gd name="connsiteX2" fmla="*/ 792067 w 795619"/>
                <a:gd name="connsiteY2" fmla="*/ 1943100 h 1950720"/>
                <a:gd name="connsiteX3" fmla="*/ 98647 w 795619"/>
                <a:gd name="connsiteY3" fmla="*/ 38100 h 1950720"/>
                <a:gd name="connsiteX4" fmla="*/ 60547 w 795619"/>
                <a:gd name="connsiteY4" fmla="*/ 0 h 1950720"/>
                <a:gd name="connsiteX0" fmla="*/ 60547 w 795619"/>
                <a:gd name="connsiteY0" fmla="*/ 0 h 1950720"/>
                <a:gd name="connsiteX1" fmla="*/ 731107 w 795619"/>
                <a:gd name="connsiteY1" fmla="*/ 1950720 h 1950720"/>
                <a:gd name="connsiteX2" fmla="*/ 792067 w 795619"/>
                <a:gd name="connsiteY2" fmla="*/ 1897380 h 1950720"/>
                <a:gd name="connsiteX3" fmla="*/ 98647 w 795619"/>
                <a:gd name="connsiteY3" fmla="*/ 38100 h 1950720"/>
                <a:gd name="connsiteX4" fmla="*/ 60547 w 795619"/>
                <a:gd name="connsiteY4" fmla="*/ 0 h 1950720"/>
                <a:gd name="connsiteX0" fmla="*/ 58863 w 793935"/>
                <a:gd name="connsiteY0" fmla="*/ 0 h 1912620"/>
                <a:gd name="connsiteX1" fmla="*/ 757998 w 793935"/>
                <a:gd name="connsiteY1" fmla="*/ 1912620 h 1912620"/>
                <a:gd name="connsiteX2" fmla="*/ 790383 w 793935"/>
                <a:gd name="connsiteY2" fmla="*/ 1897380 h 1912620"/>
                <a:gd name="connsiteX3" fmla="*/ 96963 w 793935"/>
                <a:gd name="connsiteY3" fmla="*/ 38100 h 1912620"/>
                <a:gd name="connsiteX4" fmla="*/ 58863 w 793935"/>
                <a:gd name="connsiteY4" fmla="*/ 0 h 1912620"/>
                <a:gd name="connsiteX0" fmla="*/ 60271 w 795343"/>
                <a:gd name="connsiteY0" fmla="*/ 0 h 1912620"/>
                <a:gd name="connsiteX1" fmla="*/ 759406 w 795343"/>
                <a:gd name="connsiteY1" fmla="*/ 1912620 h 1912620"/>
                <a:gd name="connsiteX2" fmla="*/ 791791 w 795343"/>
                <a:gd name="connsiteY2" fmla="*/ 1897380 h 1912620"/>
                <a:gd name="connsiteX3" fmla="*/ 98371 w 795343"/>
                <a:gd name="connsiteY3" fmla="*/ 38100 h 1912620"/>
                <a:gd name="connsiteX4" fmla="*/ 60271 w 795343"/>
                <a:gd name="connsiteY4" fmla="*/ 0 h 1912620"/>
                <a:gd name="connsiteX0" fmla="*/ 60271 w 791791"/>
                <a:gd name="connsiteY0" fmla="*/ 0 h 1912620"/>
                <a:gd name="connsiteX1" fmla="*/ 759406 w 791791"/>
                <a:gd name="connsiteY1" fmla="*/ 1912620 h 1912620"/>
                <a:gd name="connsiteX2" fmla="*/ 791791 w 791791"/>
                <a:gd name="connsiteY2" fmla="*/ 1897380 h 1912620"/>
                <a:gd name="connsiteX3" fmla="*/ 98371 w 791791"/>
                <a:gd name="connsiteY3" fmla="*/ 38100 h 1912620"/>
                <a:gd name="connsiteX4" fmla="*/ 60271 w 791791"/>
                <a:gd name="connsiteY4" fmla="*/ 0 h 1912620"/>
                <a:gd name="connsiteX0" fmla="*/ 60271 w 791791"/>
                <a:gd name="connsiteY0" fmla="*/ 0 h 1912620"/>
                <a:gd name="connsiteX1" fmla="*/ 759406 w 791791"/>
                <a:gd name="connsiteY1" fmla="*/ 1912620 h 1912620"/>
                <a:gd name="connsiteX2" fmla="*/ 791791 w 791791"/>
                <a:gd name="connsiteY2" fmla="*/ 1897380 h 1912620"/>
                <a:gd name="connsiteX3" fmla="*/ 98371 w 791791"/>
                <a:gd name="connsiteY3" fmla="*/ 38100 h 1912620"/>
                <a:gd name="connsiteX4" fmla="*/ 60271 w 791791"/>
                <a:gd name="connsiteY4" fmla="*/ 0 h 1912620"/>
                <a:gd name="connsiteX0" fmla="*/ 60271 w 791791"/>
                <a:gd name="connsiteY0" fmla="*/ 0 h 1912620"/>
                <a:gd name="connsiteX1" fmla="*/ 759406 w 791791"/>
                <a:gd name="connsiteY1" fmla="*/ 1912620 h 1912620"/>
                <a:gd name="connsiteX2" fmla="*/ 791791 w 791791"/>
                <a:gd name="connsiteY2" fmla="*/ 1897380 h 1912620"/>
                <a:gd name="connsiteX3" fmla="*/ 98371 w 791791"/>
                <a:gd name="connsiteY3" fmla="*/ 38100 h 1912620"/>
                <a:gd name="connsiteX4" fmla="*/ 60271 w 791791"/>
                <a:gd name="connsiteY4" fmla="*/ 0 h 191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791" h="1912620">
                  <a:moveTo>
                    <a:pt x="60271" y="0"/>
                  </a:moveTo>
                  <a:cubicBezTo>
                    <a:pt x="-221669" y="396240"/>
                    <a:pt x="566366" y="582295"/>
                    <a:pt x="759406" y="1912620"/>
                  </a:cubicBezTo>
                  <a:lnTo>
                    <a:pt x="791791" y="1897380"/>
                  </a:lnTo>
                  <a:cubicBezTo>
                    <a:pt x="646376" y="592455"/>
                    <a:pt x="-199444" y="328930"/>
                    <a:pt x="98371" y="38100"/>
                  </a:cubicBezTo>
                  <a:lnTo>
                    <a:pt x="60271"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65" name="Freeform: Shape 2464">
              <a:extLst>
                <a:ext uri="{FF2B5EF4-FFF2-40B4-BE49-F238E27FC236}">
                  <a16:creationId xmlns:a16="http://schemas.microsoft.com/office/drawing/2014/main" id="{CD6F06D7-DFBC-4378-9DA9-4F251DD82D3D}"/>
                </a:ext>
              </a:extLst>
            </p:cNvPr>
            <p:cNvSpPr/>
            <p:nvPr/>
          </p:nvSpPr>
          <p:spPr bwMode="auto">
            <a:xfrm>
              <a:off x="-3045702" y="5991948"/>
              <a:ext cx="132834" cy="102303"/>
            </a:xfrm>
            <a:custGeom>
              <a:avLst/>
              <a:gdLst>
                <a:gd name="connsiteX0" fmla="*/ 657225 w 657225"/>
                <a:gd name="connsiteY0" fmla="*/ 0 h 361950"/>
                <a:gd name="connsiteX1" fmla="*/ 657225 w 657225"/>
                <a:gd name="connsiteY1" fmla="*/ 361950 h 361950"/>
                <a:gd name="connsiteX2" fmla="*/ 0 w 657225"/>
                <a:gd name="connsiteY2" fmla="*/ 352425 h 361950"/>
                <a:gd name="connsiteX3" fmla="*/ 123825 w 657225"/>
                <a:gd name="connsiteY3" fmla="*/ 285750 h 361950"/>
                <a:gd name="connsiteX4" fmla="*/ 590550 w 657225"/>
                <a:gd name="connsiteY4" fmla="*/ 314325 h 361950"/>
                <a:gd name="connsiteX5" fmla="*/ 657225 w 657225"/>
                <a:gd name="connsiteY5" fmla="*/ 0 h 361950"/>
                <a:gd name="connsiteX0" fmla="*/ 657225 w 657225"/>
                <a:gd name="connsiteY0" fmla="*/ 0 h 361950"/>
                <a:gd name="connsiteX1" fmla="*/ 657225 w 657225"/>
                <a:gd name="connsiteY1" fmla="*/ 361950 h 361950"/>
                <a:gd name="connsiteX2" fmla="*/ 0 w 657225"/>
                <a:gd name="connsiteY2" fmla="*/ 352425 h 361950"/>
                <a:gd name="connsiteX3" fmla="*/ 123825 w 657225"/>
                <a:gd name="connsiteY3" fmla="*/ 285750 h 361950"/>
                <a:gd name="connsiteX4" fmla="*/ 600075 w 657225"/>
                <a:gd name="connsiteY4" fmla="*/ 271462 h 361950"/>
                <a:gd name="connsiteX5" fmla="*/ 657225 w 657225"/>
                <a:gd name="connsiteY5" fmla="*/ 0 h 361950"/>
                <a:gd name="connsiteX0" fmla="*/ 657225 w 657225"/>
                <a:gd name="connsiteY0" fmla="*/ 47625 h 409575"/>
                <a:gd name="connsiteX1" fmla="*/ 657225 w 657225"/>
                <a:gd name="connsiteY1" fmla="*/ 409575 h 409575"/>
                <a:gd name="connsiteX2" fmla="*/ 0 w 657225"/>
                <a:gd name="connsiteY2" fmla="*/ 400050 h 409575"/>
                <a:gd name="connsiteX3" fmla="*/ 123825 w 657225"/>
                <a:gd name="connsiteY3" fmla="*/ 333375 h 409575"/>
                <a:gd name="connsiteX4" fmla="*/ 600075 w 657225"/>
                <a:gd name="connsiteY4" fmla="*/ 319087 h 409575"/>
                <a:gd name="connsiteX5" fmla="*/ 609600 w 657225"/>
                <a:gd name="connsiteY5" fmla="*/ 0 h 409575"/>
                <a:gd name="connsiteX6" fmla="*/ 657225 w 657225"/>
                <a:gd name="connsiteY6" fmla="*/ 47625 h 409575"/>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600075 w 657225"/>
                <a:gd name="connsiteY4" fmla="*/ 323850 h 414338"/>
                <a:gd name="connsiteX5" fmla="*/ 609600 w 657225"/>
                <a:gd name="connsiteY5" fmla="*/ 4763 h 414338"/>
                <a:gd name="connsiteX6" fmla="*/ 657225 w 657225"/>
                <a:gd name="connsiteY6"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576262 w 657225"/>
                <a:gd name="connsiteY4" fmla="*/ 221456 h 414338"/>
                <a:gd name="connsiteX5" fmla="*/ 609600 w 657225"/>
                <a:gd name="connsiteY5" fmla="*/ 4763 h 414338"/>
                <a:gd name="connsiteX6" fmla="*/ 657225 w 657225"/>
                <a:gd name="connsiteY6"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576262 w 657225"/>
                <a:gd name="connsiteY4" fmla="*/ 221456 h 414338"/>
                <a:gd name="connsiteX5" fmla="*/ 609600 w 657225"/>
                <a:gd name="connsiteY5" fmla="*/ 4763 h 414338"/>
                <a:gd name="connsiteX6" fmla="*/ 657225 w 657225"/>
                <a:gd name="connsiteY6"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04813"/>
                <a:gd name="connsiteX1" fmla="*/ 0 w 657225"/>
                <a:gd name="connsiteY1" fmla="*/ 404813 h 404813"/>
                <a:gd name="connsiteX2" fmla="*/ 123825 w 657225"/>
                <a:gd name="connsiteY2" fmla="*/ 330994 h 404813"/>
                <a:gd name="connsiteX3" fmla="*/ 609600 w 657225"/>
                <a:gd name="connsiteY3" fmla="*/ 4763 h 404813"/>
                <a:gd name="connsiteX4" fmla="*/ 657225 w 657225"/>
                <a:gd name="connsiteY4" fmla="*/ 0 h 404813"/>
                <a:gd name="connsiteX0" fmla="*/ 657225 w 657225"/>
                <a:gd name="connsiteY0" fmla="*/ 0 h 404813"/>
                <a:gd name="connsiteX1" fmla="*/ 0 w 657225"/>
                <a:gd name="connsiteY1" fmla="*/ 404813 h 404813"/>
                <a:gd name="connsiteX2" fmla="*/ 123825 w 657225"/>
                <a:gd name="connsiteY2" fmla="*/ 330994 h 404813"/>
                <a:gd name="connsiteX3" fmla="*/ 609600 w 657225"/>
                <a:gd name="connsiteY3" fmla="*/ 4763 h 404813"/>
                <a:gd name="connsiteX4" fmla="*/ 657225 w 657225"/>
                <a:gd name="connsiteY4" fmla="*/ 0 h 404813"/>
                <a:gd name="connsiteX0" fmla="*/ 657225 w 679302"/>
                <a:gd name="connsiteY0" fmla="*/ 0 h 404813"/>
                <a:gd name="connsiteX1" fmla="*/ 0 w 679302"/>
                <a:gd name="connsiteY1" fmla="*/ 404813 h 404813"/>
                <a:gd name="connsiteX2" fmla="*/ 123825 w 679302"/>
                <a:gd name="connsiteY2" fmla="*/ 330994 h 404813"/>
                <a:gd name="connsiteX3" fmla="*/ 609600 w 679302"/>
                <a:gd name="connsiteY3" fmla="*/ 4763 h 404813"/>
                <a:gd name="connsiteX4" fmla="*/ 657225 w 679302"/>
                <a:gd name="connsiteY4" fmla="*/ 0 h 404813"/>
                <a:gd name="connsiteX0" fmla="*/ 657225 w 715183"/>
                <a:gd name="connsiteY0" fmla="*/ 0 h 404813"/>
                <a:gd name="connsiteX1" fmla="*/ 0 w 715183"/>
                <a:gd name="connsiteY1" fmla="*/ 404813 h 404813"/>
                <a:gd name="connsiteX2" fmla="*/ 123825 w 715183"/>
                <a:gd name="connsiteY2" fmla="*/ 330994 h 404813"/>
                <a:gd name="connsiteX3" fmla="*/ 609600 w 715183"/>
                <a:gd name="connsiteY3" fmla="*/ 4763 h 404813"/>
                <a:gd name="connsiteX4" fmla="*/ 657225 w 715183"/>
                <a:gd name="connsiteY4" fmla="*/ 0 h 404813"/>
                <a:gd name="connsiteX0" fmla="*/ 657225 w 715183"/>
                <a:gd name="connsiteY0" fmla="*/ 0 h 404813"/>
                <a:gd name="connsiteX1" fmla="*/ 0 w 715183"/>
                <a:gd name="connsiteY1" fmla="*/ 404813 h 404813"/>
                <a:gd name="connsiteX2" fmla="*/ 123825 w 715183"/>
                <a:gd name="connsiteY2" fmla="*/ 330994 h 404813"/>
                <a:gd name="connsiteX3" fmla="*/ 609600 w 715183"/>
                <a:gd name="connsiteY3" fmla="*/ 4763 h 404813"/>
                <a:gd name="connsiteX4" fmla="*/ 657225 w 715183"/>
                <a:gd name="connsiteY4" fmla="*/ 0 h 404813"/>
                <a:gd name="connsiteX0" fmla="*/ 657225 w 672708"/>
                <a:gd name="connsiteY0" fmla="*/ 0 h 404813"/>
                <a:gd name="connsiteX1" fmla="*/ 0 w 672708"/>
                <a:gd name="connsiteY1" fmla="*/ 404813 h 404813"/>
                <a:gd name="connsiteX2" fmla="*/ 123825 w 672708"/>
                <a:gd name="connsiteY2" fmla="*/ 330994 h 404813"/>
                <a:gd name="connsiteX3" fmla="*/ 609600 w 672708"/>
                <a:gd name="connsiteY3" fmla="*/ 4763 h 404813"/>
                <a:gd name="connsiteX4" fmla="*/ 657225 w 672708"/>
                <a:gd name="connsiteY4" fmla="*/ 0 h 404813"/>
                <a:gd name="connsiteX0" fmla="*/ 657225 w 659259"/>
                <a:gd name="connsiteY0" fmla="*/ 0 h 404813"/>
                <a:gd name="connsiteX1" fmla="*/ 0 w 659259"/>
                <a:gd name="connsiteY1" fmla="*/ 404813 h 404813"/>
                <a:gd name="connsiteX2" fmla="*/ 123825 w 659259"/>
                <a:gd name="connsiteY2" fmla="*/ 330994 h 404813"/>
                <a:gd name="connsiteX3" fmla="*/ 609600 w 659259"/>
                <a:gd name="connsiteY3" fmla="*/ 4763 h 404813"/>
                <a:gd name="connsiteX4" fmla="*/ 657225 w 659259"/>
                <a:gd name="connsiteY4" fmla="*/ 0 h 404813"/>
                <a:gd name="connsiteX0" fmla="*/ 657225 w 659259"/>
                <a:gd name="connsiteY0" fmla="*/ 0 h 404813"/>
                <a:gd name="connsiteX1" fmla="*/ 0 w 659259"/>
                <a:gd name="connsiteY1" fmla="*/ 404813 h 404813"/>
                <a:gd name="connsiteX2" fmla="*/ 123825 w 659259"/>
                <a:gd name="connsiteY2" fmla="*/ 330994 h 404813"/>
                <a:gd name="connsiteX3" fmla="*/ 609600 w 659259"/>
                <a:gd name="connsiteY3" fmla="*/ 4763 h 404813"/>
                <a:gd name="connsiteX4" fmla="*/ 657225 w 659259"/>
                <a:gd name="connsiteY4" fmla="*/ 0 h 404813"/>
                <a:gd name="connsiteX0" fmla="*/ 657225 w 659259"/>
                <a:gd name="connsiteY0" fmla="*/ 0 h 404813"/>
                <a:gd name="connsiteX1" fmla="*/ 0 w 659259"/>
                <a:gd name="connsiteY1" fmla="*/ 404813 h 404813"/>
                <a:gd name="connsiteX2" fmla="*/ 123825 w 659259"/>
                <a:gd name="connsiteY2" fmla="*/ 330994 h 404813"/>
                <a:gd name="connsiteX3" fmla="*/ 609600 w 659259"/>
                <a:gd name="connsiteY3" fmla="*/ 4763 h 404813"/>
                <a:gd name="connsiteX4" fmla="*/ 657225 w 659259"/>
                <a:gd name="connsiteY4" fmla="*/ 0 h 404813"/>
                <a:gd name="connsiteX0" fmla="*/ 538163 w 548241"/>
                <a:gd name="connsiteY0" fmla="*/ 0 h 378619"/>
                <a:gd name="connsiteX1" fmla="*/ 0 w 548241"/>
                <a:gd name="connsiteY1" fmla="*/ 378619 h 378619"/>
                <a:gd name="connsiteX2" fmla="*/ 4763 w 548241"/>
                <a:gd name="connsiteY2" fmla="*/ 330994 h 378619"/>
                <a:gd name="connsiteX3" fmla="*/ 490538 w 548241"/>
                <a:gd name="connsiteY3" fmla="*/ 4763 h 378619"/>
                <a:gd name="connsiteX4" fmla="*/ 538163 w 548241"/>
                <a:gd name="connsiteY4" fmla="*/ 0 h 378619"/>
                <a:gd name="connsiteX0" fmla="*/ 538163 w 539991"/>
                <a:gd name="connsiteY0" fmla="*/ 0 h 378619"/>
                <a:gd name="connsiteX1" fmla="*/ 0 w 539991"/>
                <a:gd name="connsiteY1" fmla="*/ 378619 h 378619"/>
                <a:gd name="connsiteX2" fmla="*/ 4763 w 539991"/>
                <a:gd name="connsiteY2" fmla="*/ 330994 h 378619"/>
                <a:gd name="connsiteX3" fmla="*/ 490538 w 539991"/>
                <a:gd name="connsiteY3" fmla="*/ 4763 h 378619"/>
                <a:gd name="connsiteX4" fmla="*/ 538163 w 539991"/>
                <a:gd name="connsiteY4" fmla="*/ 0 h 37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991" h="378619">
                  <a:moveTo>
                    <a:pt x="538163" y="0"/>
                  </a:moveTo>
                  <a:cubicBezTo>
                    <a:pt x="552452" y="125414"/>
                    <a:pt x="492920" y="296068"/>
                    <a:pt x="0" y="378619"/>
                  </a:cubicBezTo>
                  <a:lnTo>
                    <a:pt x="4763" y="330994"/>
                  </a:lnTo>
                  <a:cubicBezTo>
                    <a:pt x="440532" y="236537"/>
                    <a:pt x="490538" y="134938"/>
                    <a:pt x="490538" y="4763"/>
                  </a:cubicBezTo>
                  <a:lnTo>
                    <a:pt x="53816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66" name="Group 2465">
              <a:extLst>
                <a:ext uri="{FF2B5EF4-FFF2-40B4-BE49-F238E27FC236}">
                  <a16:creationId xmlns:a16="http://schemas.microsoft.com/office/drawing/2014/main" id="{89405749-8868-4158-8359-020C9E6D7BE2}"/>
                </a:ext>
              </a:extLst>
            </p:cNvPr>
            <p:cNvGrpSpPr/>
            <p:nvPr/>
          </p:nvGrpSpPr>
          <p:grpSpPr>
            <a:xfrm>
              <a:off x="-3505200" y="5705733"/>
              <a:ext cx="822827" cy="1169527"/>
              <a:chOff x="14163480" y="2114287"/>
              <a:chExt cx="2115362" cy="3006670"/>
            </a:xfrm>
          </p:grpSpPr>
          <p:sp>
            <p:nvSpPr>
              <p:cNvPr id="2471" name="Oval 2470">
                <a:extLst>
                  <a:ext uri="{FF2B5EF4-FFF2-40B4-BE49-F238E27FC236}">
                    <a16:creationId xmlns:a16="http://schemas.microsoft.com/office/drawing/2014/main" id="{744155E0-65F5-4763-9917-36EBF539ABC3}"/>
                  </a:ext>
                </a:extLst>
              </p:cNvPr>
              <p:cNvSpPr/>
              <p:nvPr/>
            </p:nvSpPr>
            <p:spPr bwMode="auto">
              <a:xfrm>
                <a:off x="14724175" y="2587980"/>
                <a:ext cx="980069" cy="43595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72" name="Trapezoid 906">
                <a:extLst>
                  <a:ext uri="{FF2B5EF4-FFF2-40B4-BE49-F238E27FC236}">
                    <a16:creationId xmlns:a16="http://schemas.microsoft.com/office/drawing/2014/main" id="{78983B82-4437-4418-9AFF-BE3046830C4F}"/>
                  </a:ext>
                </a:extLst>
              </p:cNvPr>
              <p:cNvSpPr/>
              <p:nvPr/>
            </p:nvSpPr>
            <p:spPr bwMode="auto">
              <a:xfrm rot="10800000" flipV="1">
                <a:off x="14847842" y="3134253"/>
                <a:ext cx="767292" cy="287437"/>
              </a:xfrm>
              <a:custGeom>
                <a:avLst/>
                <a:gdLst>
                  <a:gd name="connsiteX0" fmla="*/ 0 w 15849600"/>
                  <a:gd name="connsiteY0" fmla="*/ 4064000 h 4064000"/>
                  <a:gd name="connsiteX1" fmla="*/ 1959417 w 15849600"/>
                  <a:gd name="connsiteY1" fmla="*/ 0 h 4064000"/>
                  <a:gd name="connsiteX2" fmla="*/ 13890183 w 15849600"/>
                  <a:gd name="connsiteY2" fmla="*/ 0 h 4064000"/>
                  <a:gd name="connsiteX3" fmla="*/ 15849600 w 15849600"/>
                  <a:gd name="connsiteY3" fmla="*/ 4064000 h 4064000"/>
                  <a:gd name="connsiteX4" fmla="*/ 0 w 15849600"/>
                  <a:gd name="connsiteY4" fmla="*/ 4064000 h 4064000"/>
                  <a:gd name="connsiteX0" fmla="*/ 0 w 15849600"/>
                  <a:gd name="connsiteY0" fmla="*/ 4064000 h 4064000"/>
                  <a:gd name="connsiteX1" fmla="*/ 1959417 w 15849600"/>
                  <a:gd name="connsiteY1" fmla="*/ 0 h 4064000"/>
                  <a:gd name="connsiteX2" fmla="*/ 13890183 w 15849600"/>
                  <a:gd name="connsiteY2" fmla="*/ 0 h 4064000"/>
                  <a:gd name="connsiteX3" fmla="*/ 15849600 w 15849600"/>
                  <a:gd name="connsiteY3" fmla="*/ 4064000 h 4064000"/>
                  <a:gd name="connsiteX4" fmla="*/ 0 w 15849600"/>
                  <a:gd name="connsiteY4" fmla="*/ 4064000 h 4064000"/>
                  <a:gd name="connsiteX0" fmla="*/ 0 w 15849600"/>
                  <a:gd name="connsiteY0" fmla="*/ 4064000 h 4064000"/>
                  <a:gd name="connsiteX1" fmla="*/ 1959417 w 15849600"/>
                  <a:gd name="connsiteY1" fmla="*/ 0 h 4064000"/>
                  <a:gd name="connsiteX2" fmla="*/ 13890183 w 15849600"/>
                  <a:gd name="connsiteY2" fmla="*/ 0 h 4064000"/>
                  <a:gd name="connsiteX3" fmla="*/ 15849600 w 15849600"/>
                  <a:gd name="connsiteY3" fmla="*/ 4064000 h 4064000"/>
                  <a:gd name="connsiteX4" fmla="*/ 0 w 15849600"/>
                  <a:gd name="connsiteY4" fmla="*/ 4064000 h 4064000"/>
                  <a:gd name="connsiteX0" fmla="*/ 0 w 15849600"/>
                  <a:gd name="connsiteY0" fmla="*/ 4064000 h 4064000"/>
                  <a:gd name="connsiteX1" fmla="*/ 1959417 w 15849600"/>
                  <a:gd name="connsiteY1" fmla="*/ 0 h 4064000"/>
                  <a:gd name="connsiteX2" fmla="*/ 13890183 w 15849600"/>
                  <a:gd name="connsiteY2" fmla="*/ 0 h 4064000"/>
                  <a:gd name="connsiteX3" fmla="*/ 15849600 w 15849600"/>
                  <a:gd name="connsiteY3" fmla="*/ 4064000 h 4064000"/>
                  <a:gd name="connsiteX4" fmla="*/ 0 w 15849600"/>
                  <a:gd name="connsiteY4" fmla="*/ 4064000 h 4064000"/>
                  <a:gd name="connsiteX0" fmla="*/ 0 w 15849600"/>
                  <a:gd name="connsiteY0" fmla="*/ 4064000 h 4064000"/>
                  <a:gd name="connsiteX1" fmla="*/ 1959417 w 15849600"/>
                  <a:gd name="connsiteY1" fmla="*/ 0 h 4064000"/>
                  <a:gd name="connsiteX2" fmla="*/ 13890183 w 15849600"/>
                  <a:gd name="connsiteY2" fmla="*/ 0 h 4064000"/>
                  <a:gd name="connsiteX3" fmla="*/ 15849600 w 15849600"/>
                  <a:gd name="connsiteY3" fmla="*/ 4064000 h 4064000"/>
                  <a:gd name="connsiteX4" fmla="*/ 0 w 15849600"/>
                  <a:gd name="connsiteY4" fmla="*/ 4064000 h 4064000"/>
                  <a:gd name="connsiteX0" fmla="*/ 0 w 15849600"/>
                  <a:gd name="connsiteY0" fmla="*/ 4064000 h 4064000"/>
                  <a:gd name="connsiteX1" fmla="*/ 1959417 w 15849600"/>
                  <a:gd name="connsiteY1" fmla="*/ 0 h 4064000"/>
                  <a:gd name="connsiteX2" fmla="*/ 13890183 w 15849600"/>
                  <a:gd name="connsiteY2" fmla="*/ 0 h 4064000"/>
                  <a:gd name="connsiteX3" fmla="*/ 15849600 w 15849600"/>
                  <a:gd name="connsiteY3" fmla="*/ 4064000 h 4064000"/>
                  <a:gd name="connsiteX4" fmla="*/ 0 w 15849600"/>
                  <a:gd name="connsiteY4" fmla="*/ 4064000 h 4064000"/>
                  <a:gd name="connsiteX0" fmla="*/ 0 w 15849600"/>
                  <a:gd name="connsiteY0" fmla="*/ 4064000 h 4064000"/>
                  <a:gd name="connsiteX1" fmla="*/ 1959417 w 15849600"/>
                  <a:gd name="connsiteY1" fmla="*/ 0 h 4064000"/>
                  <a:gd name="connsiteX2" fmla="*/ 13890183 w 15849600"/>
                  <a:gd name="connsiteY2" fmla="*/ 0 h 4064000"/>
                  <a:gd name="connsiteX3" fmla="*/ 15849600 w 15849600"/>
                  <a:gd name="connsiteY3" fmla="*/ 4064000 h 4064000"/>
                  <a:gd name="connsiteX4" fmla="*/ 0 w 15849600"/>
                  <a:gd name="connsiteY4" fmla="*/ 4064000 h 4064000"/>
                  <a:gd name="connsiteX0" fmla="*/ 0 w 15849600"/>
                  <a:gd name="connsiteY0" fmla="*/ 4064000 h 4064000"/>
                  <a:gd name="connsiteX1" fmla="*/ 1959417 w 15849600"/>
                  <a:gd name="connsiteY1" fmla="*/ 0 h 4064000"/>
                  <a:gd name="connsiteX2" fmla="*/ 13890183 w 15849600"/>
                  <a:gd name="connsiteY2" fmla="*/ 0 h 4064000"/>
                  <a:gd name="connsiteX3" fmla="*/ 15849600 w 15849600"/>
                  <a:gd name="connsiteY3" fmla="*/ 4064000 h 4064000"/>
                  <a:gd name="connsiteX4" fmla="*/ 0 w 15849600"/>
                  <a:gd name="connsiteY4" fmla="*/ 4064000 h 4064000"/>
                  <a:gd name="connsiteX0" fmla="*/ 0 w 15283543"/>
                  <a:gd name="connsiteY0" fmla="*/ 4064000 h 4064000"/>
                  <a:gd name="connsiteX1" fmla="*/ 1959417 w 15283543"/>
                  <a:gd name="connsiteY1" fmla="*/ 0 h 4064000"/>
                  <a:gd name="connsiteX2" fmla="*/ 13890183 w 15283543"/>
                  <a:gd name="connsiteY2" fmla="*/ 0 h 4064000"/>
                  <a:gd name="connsiteX3" fmla="*/ 15283543 w 15283543"/>
                  <a:gd name="connsiteY3" fmla="*/ 2899349 h 4064000"/>
                  <a:gd name="connsiteX4" fmla="*/ 0 w 15283543"/>
                  <a:gd name="connsiteY4" fmla="*/ 4064000 h 4064000"/>
                  <a:gd name="connsiteX0" fmla="*/ 0 w 14685139"/>
                  <a:gd name="connsiteY0" fmla="*/ 2829190 h 2899349"/>
                  <a:gd name="connsiteX1" fmla="*/ 1361013 w 14685139"/>
                  <a:gd name="connsiteY1" fmla="*/ 0 h 2899349"/>
                  <a:gd name="connsiteX2" fmla="*/ 13291779 w 14685139"/>
                  <a:gd name="connsiteY2" fmla="*/ 0 h 2899349"/>
                  <a:gd name="connsiteX3" fmla="*/ 14685139 w 14685139"/>
                  <a:gd name="connsiteY3" fmla="*/ 2899349 h 2899349"/>
                  <a:gd name="connsiteX4" fmla="*/ 0 w 14685139"/>
                  <a:gd name="connsiteY4" fmla="*/ 2829190 h 2899349"/>
                  <a:gd name="connsiteX0" fmla="*/ 0 w 14685139"/>
                  <a:gd name="connsiteY0" fmla="*/ 2829190 h 3317349"/>
                  <a:gd name="connsiteX1" fmla="*/ 1361013 w 14685139"/>
                  <a:gd name="connsiteY1" fmla="*/ 0 h 3317349"/>
                  <a:gd name="connsiteX2" fmla="*/ 13291779 w 14685139"/>
                  <a:gd name="connsiteY2" fmla="*/ 0 h 3317349"/>
                  <a:gd name="connsiteX3" fmla="*/ 14685139 w 14685139"/>
                  <a:gd name="connsiteY3" fmla="*/ 2899349 h 3317349"/>
                  <a:gd name="connsiteX4" fmla="*/ 0 w 14685139"/>
                  <a:gd name="connsiteY4" fmla="*/ 2829190 h 3317349"/>
                  <a:gd name="connsiteX0" fmla="*/ 0 w 14685139"/>
                  <a:gd name="connsiteY0" fmla="*/ 2829190 h 3808143"/>
                  <a:gd name="connsiteX1" fmla="*/ 1361013 w 14685139"/>
                  <a:gd name="connsiteY1" fmla="*/ 0 h 3808143"/>
                  <a:gd name="connsiteX2" fmla="*/ 13291779 w 14685139"/>
                  <a:gd name="connsiteY2" fmla="*/ 0 h 3808143"/>
                  <a:gd name="connsiteX3" fmla="*/ 14685139 w 14685139"/>
                  <a:gd name="connsiteY3" fmla="*/ 2899349 h 3808143"/>
                  <a:gd name="connsiteX4" fmla="*/ 0 w 14685139"/>
                  <a:gd name="connsiteY4" fmla="*/ 2829190 h 3808143"/>
                  <a:gd name="connsiteX0" fmla="*/ 0 w 14685139"/>
                  <a:gd name="connsiteY0" fmla="*/ 2829190 h 3813890"/>
                  <a:gd name="connsiteX1" fmla="*/ 1361013 w 14685139"/>
                  <a:gd name="connsiteY1" fmla="*/ 0 h 3813890"/>
                  <a:gd name="connsiteX2" fmla="*/ 13291779 w 14685139"/>
                  <a:gd name="connsiteY2" fmla="*/ 0 h 3813890"/>
                  <a:gd name="connsiteX3" fmla="*/ 14685139 w 14685139"/>
                  <a:gd name="connsiteY3" fmla="*/ 2899349 h 3813890"/>
                  <a:gd name="connsiteX4" fmla="*/ 0 w 14685139"/>
                  <a:gd name="connsiteY4" fmla="*/ 2829190 h 3813890"/>
                  <a:gd name="connsiteX0" fmla="*/ 0 w 14685139"/>
                  <a:gd name="connsiteY0" fmla="*/ 2829190 h 3866256"/>
                  <a:gd name="connsiteX1" fmla="*/ 1361013 w 14685139"/>
                  <a:gd name="connsiteY1" fmla="*/ 0 h 3866256"/>
                  <a:gd name="connsiteX2" fmla="*/ 13291779 w 14685139"/>
                  <a:gd name="connsiteY2" fmla="*/ 0 h 3866256"/>
                  <a:gd name="connsiteX3" fmla="*/ 14685139 w 14685139"/>
                  <a:gd name="connsiteY3" fmla="*/ 2899349 h 3866256"/>
                  <a:gd name="connsiteX4" fmla="*/ 0 w 14685139"/>
                  <a:gd name="connsiteY4" fmla="*/ 2829190 h 3866256"/>
                  <a:gd name="connsiteX0" fmla="*/ 0 w 14685139"/>
                  <a:gd name="connsiteY0" fmla="*/ 2829190 h 3835610"/>
                  <a:gd name="connsiteX1" fmla="*/ 1361013 w 14685139"/>
                  <a:gd name="connsiteY1" fmla="*/ 0 h 3835610"/>
                  <a:gd name="connsiteX2" fmla="*/ 13291779 w 14685139"/>
                  <a:gd name="connsiteY2" fmla="*/ 0 h 3835610"/>
                  <a:gd name="connsiteX3" fmla="*/ 14685139 w 14685139"/>
                  <a:gd name="connsiteY3" fmla="*/ 2843222 h 3835610"/>
                  <a:gd name="connsiteX4" fmla="*/ 0 w 14685139"/>
                  <a:gd name="connsiteY4" fmla="*/ 2829190 h 3835610"/>
                  <a:gd name="connsiteX0" fmla="*/ 0 w 14685139"/>
                  <a:gd name="connsiteY0" fmla="*/ 2829190 h 3971713"/>
                  <a:gd name="connsiteX1" fmla="*/ 1361013 w 14685139"/>
                  <a:gd name="connsiteY1" fmla="*/ 0 h 3971713"/>
                  <a:gd name="connsiteX2" fmla="*/ 13291779 w 14685139"/>
                  <a:gd name="connsiteY2" fmla="*/ 0 h 3971713"/>
                  <a:gd name="connsiteX3" fmla="*/ 14685139 w 14685139"/>
                  <a:gd name="connsiteY3" fmla="*/ 3081766 h 3971713"/>
                  <a:gd name="connsiteX4" fmla="*/ 0 w 14685139"/>
                  <a:gd name="connsiteY4" fmla="*/ 2829190 h 3971713"/>
                  <a:gd name="connsiteX0" fmla="*/ 0 w 14685139"/>
                  <a:gd name="connsiteY0" fmla="*/ 2829190 h 3971713"/>
                  <a:gd name="connsiteX1" fmla="*/ 1361013 w 14685139"/>
                  <a:gd name="connsiteY1" fmla="*/ 0 h 3971713"/>
                  <a:gd name="connsiteX2" fmla="*/ 13291779 w 14685139"/>
                  <a:gd name="connsiteY2" fmla="*/ 0 h 3971713"/>
                  <a:gd name="connsiteX3" fmla="*/ 14685139 w 14685139"/>
                  <a:gd name="connsiteY3" fmla="*/ 3081766 h 3971713"/>
                  <a:gd name="connsiteX4" fmla="*/ 0 w 14685139"/>
                  <a:gd name="connsiteY4" fmla="*/ 2829190 h 3971713"/>
                  <a:gd name="connsiteX0" fmla="*/ 0 w 14544536"/>
                  <a:gd name="connsiteY0" fmla="*/ 3039669 h 4061305"/>
                  <a:gd name="connsiteX1" fmla="*/ 1220410 w 14544536"/>
                  <a:gd name="connsiteY1" fmla="*/ 0 h 4061305"/>
                  <a:gd name="connsiteX2" fmla="*/ 13151176 w 14544536"/>
                  <a:gd name="connsiteY2" fmla="*/ 0 h 4061305"/>
                  <a:gd name="connsiteX3" fmla="*/ 14544536 w 14544536"/>
                  <a:gd name="connsiteY3" fmla="*/ 3081766 h 4061305"/>
                  <a:gd name="connsiteX4" fmla="*/ 0 w 14544536"/>
                  <a:gd name="connsiteY4" fmla="*/ 3039669 h 4061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4536" h="4061305">
                    <a:moveTo>
                      <a:pt x="0" y="3039669"/>
                    </a:moveTo>
                    <a:lnTo>
                      <a:pt x="1220410" y="0"/>
                    </a:lnTo>
                    <a:cubicBezTo>
                      <a:pt x="4116677" y="1504950"/>
                      <a:pt x="8868852" y="1943100"/>
                      <a:pt x="13151176" y="0"/>
                    </a:cubicBezTo>
                    <a:lnTo>
                      <a:pt x="14544536" y="3081766"/>
                    </a:lnTo>
                    <a:cubicBezTo>
                      <a:pt x="7978999" y="4533560"/>
                      <a:pt x="5728816" y="4245950"/>
                      <a:pt x="0" y="3039669"/>
                    </a:cubicBezTo>
                    <a:close/>
                  </a:path>
                </a:pathLst>
              </a:custGeom>
              <a:solidFill>
                <a:schemeClr val="bg1">
                  <a:lumMod val="95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73" name="Rounded Rectangle 937">
                <a:extLst>
                  <a:ext uri="{FF2B5EF4-FFF2-40B4-BE49-F238E27FC236}">
                    <a16:creationId xmlns:a16="http://schemas.microsoft.com/office/drawing/2014/main" id="{57381997-CAD0-4761-8286-2D494C7A664B}"/>
                  </a:ext>
                </a:extLst>
              </p:cNvPr>
              <p:cNvSpPr/>
              <p:nvPr/>
            </p:nvSpPr>
            <p:spPr bwMode="auto">
              <a:xfrm>
                <a:off x="14163480" y="3408498"/>
                <a:ext cx="2115362" cy="964829"/>
              </a:xfrm>
              <a:custGeom>
                <a:avLst/>
                <a:gdLst>
                  <a:gd name="connsiteX0" fmla="*/ 0 w 2324706"/>
                  <a:gd name="connsiteY0" fmla="*/ 160805 h 964811"/>
                  <a:gd name="connsiteX1" fmla="*/ 160805 w 2324706"/>
                  <a:gd name="connsiteY1" fmla="*/ 0 h 964811"/>
                  <a:gd name="connsiteX2" fmla="*/ 216390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91440 w 2324706"/>
                  <a:gd name="connsiteY0" fmla="*/ 16842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91440 w 2324706"/>
                  <a:gd name="connsiteY8" fmla="*/ 168425 h 964811"/>
                  <a:gd name="connsiteX0" fmla="*/ 129540 w 2362806"/>
                  <a:gd name="connsiteY0" fmla="*/ 168425 h 964811"/>
                  <a:gd name="connsiteX1" fmla="*/ 290345 w 2362806"/>
                  <a:gd name="connsiteY1" fmla="*/ 7620 h 964811"/>
                  <a:gd name="connsiteX2" fmla="*/ 2141041 w 2362806"/>
                  <a:gd name="connsiteY2" fmla="*/ 0 h 964811"/>
                  <a:gd name="connsiteX3" fmla="*/ 2271366 w 2362806"/>
                  <a:gd name="connsiteY3" fmla="*/ 153185 h 964811"/>
                  <a:gd name="connsiteX4" fmla="*/ 2362806 w 2362806"/>
                  <a:gd name="connsiteY4" fmla="*/ 804006 h 964811"/>
                  <a:gd name="connsiteX5" fmla="*/ 2202001 w 2362806"/>
                  <a:gd name="connsiteY5" fmla="*/ 964811 h 964811"/>
                  <a:gd name="connsiteX6" fmla="*/ 198905 w 2362806"/>
                  <a:gd name="connsiteY6" fmla="*/ 964811 h 964811"/>
                  <a:gd name="connsiteX7" fmla="*/ 0 w 2362806"/>
                  <a:gd name="connsiteY7" fmla="*/ 796386 h 964811"/>
                  <a:gd name="connsiteX8" fmla="*/ 129540 w 2362806"/>
                  <a:gd name="connsiteY8" fmla="*/ 168425 h 964811"/>
                  <a:gd name="connsiteX0" fmla="*/ 129540 w 2408526"/>
                  <a:gd name="connsiteY0" fmla="*/ 168425 h 964811"/>
                  <a:gd name="connsiteX1" fmla="*/ 290345 w 2408526"/>
                  <a:gd name="connsiteY1" fmla="*/ 7620 h 964811"/>
                  <a:gd name="connsiteX2" fmla="*/ 2141041 w 2408526"/>
                  <a:gd name="connsiteY2" fmla="*/ 0 h 964811"/>
                  <a:gd name="connsiteX3" fmla="*/ 2271366 w 2408526"/>
                  <a:gd name="connsiteY3" fmla="*/ 153185 h 964811"/>
                  <a:gd name="connsiteX4" fmla="*/ 2408526 w 2408526"/>
                  <a:gd name="connsiteY4" fmla="*/ 796386 h 964811"/>
                  <a:gd name="connsiteX5" fmla="*/ 2202001 w 2408526"/>
                  <a:gd name="connsiteY5" fmla="*/ 964811 h 964811"/>
                  <a:gd name="connsiteX6" fmla="*/ 198905 w 2408526"/>
                  <a:gd name="connsiteY6" fmla="*/ 964811 h 964811"/>
                  <a:gd name="connsiteX7" fmla="*/ 0 w 2408526"/>
                  <a:gd name="connsiteY7" fmla="*/ 796386 h 964811"/>
                  <a:gd name="connsiteX8" fmla="*/ 129540 w 2408526"/>
                  <a:gd name="connsiteY8" fmla="*/ 168425 h 964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8526" h="964811">
                    <a:moveTo>
                      <a:pt x="129540" y="168425"/>
                    </a:moveTo>
                    <a:cubicBezTo>
                      <a:pt x="129540" y="79615"/>
                      <a:pt x="201535" y="7620"/>
                      <a:pt x="290345" y="7620"/>
                    </a:cubicBezTo>
                    <a:lnTo>
                      <a:pt x="2141041" y="0"/>
                    </a:lnTo>
                    <a:cubicBezTo>
                      <a:pt x="2229851" y="0"/>
                      <a:pt x="2271366" y="64375"/>
                      <a:pt x="2271366" y="153185"/>
                    </a:cubicBezTo>
                    <a:lnTo>
                      <a:pt x="2408526" y="796386"/>
                    </a:lnTo>
                    <a:cubicBezTo>
                      <a:pt x="2408526" y="885196"/>
                      <a:pt x="2290811" y="964811"/>
                      <a:pt x="2202001" y="964811"/>
                    </a:cubicBezTo>
                    <a:lnTo>
                      <a:pt x="198905" y="964811"/>
                    </a:lnTo>
                    <a:cubicBezTo>
                      <a:pt x="110095" y="964811"/>
                      <a:pt x="0" y="885196"/>
                      <a:pt x="0" y="796386"/>
                    </a:cubicBezTo>
                    <a:lnTo>
                      <a:pt x="129540" y="168425"/>
                    </a:lnTo>
                    <a:close/>
                  </a:path>
                </a:pathLst>
              </a:custGeom>
              <a:solidFill>
                <a:schemeClr val="bg1">
                  <a:lumMod val="7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74" name="Freeform 929">
                <a:extLst>
                  <a:ext uri="{FF2B5EF4-FFF2-40B4-BE49-F238E27FC236}">
                    <a16:creationId xmlns:a16="http://schemas.microsoft.com/office/drawing/2014/main" id="{02932CBD-102C-4E16-938A-C9083C28549E}"/>
                  </a:ext>
                </a:extLst>
              </p:cNvPr>
              <p:cNvSpPr>
                <a:spLocks/>
              </p:cNvSpPr>
              <p:nvPr/>
            </p:nvSpPr>
            <p:spPr bwMode="auto">
              <a:xfrm>
                <a:off x="14310977" y="3302818"/>
                <a:ext cx="1805848" cy="1818139"/>
              </a:xfrm>
              <a:custGeom>
                <a:avLst/>
                <a:gdLst>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29379 w 553405"/>
                  <a:gd name="connsiteY52" fmla="*/ 17047 h 551547"/>
                  <a:gd name="connsiteX53" fmla="*/ 142943 w 553405"/>
                  <a:gd name="connsiteY53" fmla="*/ 13520 h 551547"/>
                  <a:gd name="connsiteX54" fmla="*/ 157028 w 553405"/>
                  <a:gd name="connsiteY54" fmla="*/ 10581 h 551547"/>
                  <a:gd name="connsiteX55" fmla="*/ 171114 w 553405"/>
                  <a:gd name="connsiteY55" fmla="*/ 8230 h 551547"/>
                  <a:gd name="connsiteX56" fmla="*/ 189894 w 553405"/>
                  <a:gd name="connsiteY56" fmla="*/ 5291 h 551547"/>
                  <a:gd name="connsiteX57" fmla="*/ 209197 w 553405"/>
                  <a:gd name="connsiteY57" fmla="*/ 3527 h 551547"/>
                  <a:gd name="connsiteX58" fmla="*/ 227977 w 553405"/>
                  <a:gd name="connsiteY58" fmla="*/ 1764 h 551547"/>
                  <a:gd name="connsiteX59" fmla="*/ 246758 w 553405"/>
                  <a:gd name="connsiteY59" fmla="*/ 588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42943 w 553405"/>
                  <a:gd name="connsiteY52" fmla="*/ 13520 h 551547"/>
                  <a:gd name="connsiteX53" fmla="*/ 157028 w 553405"/>
                  <a:gd name="connsiteY53" fmla="*/ 10581 h 551547"/>
                  <a:gd name="connsiteX54" fmla="*/ 171114 w 553405"/>
                  <a:gd name="connsiteY54" fmla="*/ 8230 h 551547"/>
                  <a:gd name="connsiteX55" fmla="*/ 189894 w 553405"/>
                  <a:gd name="connsiteY55" fmla="*/ 5291 h 551547"/>
                  <a:gd name="connsiteX56" fmla="*/ 209197 w 553405"/>
                  <a:gd name="connsiteY56" fmla="*/ 3527 h 551547"/>
                  <a:gd name="connsiteX57" fmla="*/ 227977 w 553405"/>
                  <a:gd name="connsiteY57" fmla="*/ 1764 h 551547"/>
                  <a:gd name="connsiteX58" fmla="*/ 246758 w 553405"/>
                  <a:gd name="connsiteY58" fmla="*/ 588 h 551547"/>
                  <a:gd name="connsiteX59" fmla="*/ 265539 w 553405"/>
                  <a:gd name="connsiteY59"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57028 w 553405"/>
                  <a:gd name="connsiteY52" fmla="*/ 10581 h 551547"/>
                  <a:gd name="connsiteX53" fmla="*/ 171114 w 553405"/>
                  <a:gd name="connsiteY53" fmla="*/ 8230 h 551547"/>
                  <a:gd name="connsiteX54" fmla="*/ 189894 w 553405"/>
                  <a:gd name="connsiteY54" fmla="*/ 5291 h 551547"/>
                  <a:gd name="connsiteX55" fmla="*/ 209197 w 553405"/>
                  <a:gd name="connsiteY55" fmla="*/ 3527 h 551547"/>
                  <a:gd name="connsiteX56" fmla="*/ 227977 w 553405"/>
                  <a:gd name="connsiteY56" fmla="*/ 1764 h 551547"/>
                  <a:gd name="connsiteX57" fmla="*/ 246758 w 553405"/>
                  <a:gd name="connsiteY57" fmla="*/ 588 h 551547"/>
                  <a:gd name="connsiteX58" fmla="*/ 265539 w 553405"/>
                  <a:gd name="connsiteY58"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71114 w 553405"/>
                  <a:gd name="connsiteY52" fmla="*/ 8230 h 551547"/>
                  <a:gd name="connsiteX53" fmla="*/ 189894 w 553405"/>
                  <a:gd name="connsiteY53" fmla="*/ 5291 h 551547"/>
                  <a:gd name="connsiteX54" fmla="*/ 209197 w 553405"/>
                  <a:gd name="connsiteY54" fmla="*/ 3527 h 551547"/>
                  <a:gd name="connsiteX55" fmla="*/ 227977 w 553405"/>
                  <a:gd name="connsiteY55" fmla="*/ 1764 h 551547"/>
                  <a:gd name="connsiteX56" fmla="*/ 246758 w 553405"/>
                  <a:gd name="connsiteY56" fmla="*/ 588 h 551547"/>
                  <a:gd name="connsiteX57" fmla="*/ 265539 w 553405"/>
                  <a:gd name="connsiteY57"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89894 w 553405"/>
                  <a:gd name="connsiteY52" fmla="*/ 5291 h 551547"/>
                  <a:gd name="connsiteX53" fmla="*/ 209197 w 553405"/>
                  <a:gd name="connsiteY53" fmla="*/ 3527 h 551547"/>
                  <a:gd name="connsiteX54" fmla="*/ 227977 w 553405"/>
                  <a:gd name="connsiteY54" fmla="*/ 1764 h 551547"/>
                  <a:gd name="connsiteX55" fmla="*/ 246758 w 553405"/>
                  <a:gd name="connsiteY55" fmla="*/ 588 h 551547"/>
                  <a:gd name="connsiteX56" fmla="*/ 265539 w 553405"/>
                  <a:gd name="connsiteY56"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09197 w 553405"/>
                  <a:gd name="connsiteY52" fmla="*/ 3527 h 551547"/>
                  <a:gd name="connsiteX53" fmla="*/ 227977 w 553405"/>
                  <a:gd name="connsiteY53" fmla="*/ 1764 h 551547"/>
                  <a:gd name="connsiteX54" fmla="*/ 246758 w 553405"/>
                  <a:gd name="connsiteY54" fmla="*/ 588 h 551547"/>
                  <a:gd name="connsiteX55" fmla="*/ 265539 w 553405"/>
                  <a:gd name="connsiteY55"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27977 w 553405"/>
                  <a:gd name="connsiteY52" fmla="*/ 1764 h 551547"/>
                  <a:gd name="connsiteX53" fmla="*/ 246758 w 553405"/>
                  <a:gd name="connsiteY53" fmla="*/ 588 h 551547"/>
                  <a:gd name="connsiteX54" fmla="*/ 265539 w 553405"/>
                  <a:gd name="connsiteY54"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46758 w 553405"/>
                  <a:gd name="connsiteY52" fmla="*/ 588 h 551547"/>
                  <a:gd name="connsiteX53" fmla="*/ 265539 w 553405"/>
                  <a:gd name="connsiteY53"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65539 w 553405"/>
                  <a:gd name="connsiteY52" fmla="*/ 0 h 551547"/>
                  <a:gd name="connsiteX0" fmla="*/ 115293 w 553405"/>
                  <a:gd name="connsiteY0" fmla="*/ 20574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0" fmla="*/ 115293 w 553405"/>
                  <a:gd name="connsiteY0" fmla="*/ 19986 h 550959"/>
                  <a:gd name="connsiteX1" fmla="*/ 303622 w 553405"/>
                  <a:gd name="connsiteY1" fmla="*/ 0 h 550959"/>
                  <a:gd name="connsiteX2" fmla="*/ 322925 w 553405"/>
                  <a:gd name="connsiteY2" fmla="*/ 1176 h 550959"/>
                  <a:gd name="connsiteX3" fmla="*/ 344835 w 553405"/>
                  <a:gd name="connsiteY3" fmla="*/ 2939 h 550959"/>
                  <a:gd name="connsiteX4" fmla="*/ 366746 w 553405"/>
                  <a:gd name="connsiteY4" fmla="*/ 5290 h 550959"/>
                  <a:gd name="connsiteX5" fmla="*/ 388657 w 553405"/>
                  <a:gd name="connsiteY5" fmla="*/ 8230 h 550959"/>
                  <a:gd name="connsiteX6" fmla="*/ 411090 w 553405"/>
                  <a:gd name="connsiteY6" fmla="*/ 12932 h 550959"/>
                  <a:gd name="connsiteX7" fmla="*/ 432479 w 553405"/>
                  <a:gd name="connsiteY7" fmla="*/ 18223 h 550959"/>
                  <a:gd name="connsiteX8" fmla="*/ 453868 w 553405"/>
                  <a:gd name="connsiteY8" fmla="*/ 24101 h 550959"/>
                  <a:gd name="connsiteX9" fmla="*/ 474735 w 553405"/>
                  <a:gd name="connsiteY9" fmla="*/ 31743 h 550959"/>
                  <a:gd name="connsiteX10" fmla="*/ 495603 w 553405"/>
                  <a:gd name="connsiteY10" fmla="*/ 40560 h 550959"/>
                  <a:gd name="connsiteX11" fmla="*/ 499776 w 553405"/>
                  <a:gd name="connsiteY11" fmla="*/ 42912 h 550959"/>
                  <a:gd name="connsiteX12" fmla="*/ 502907 w 553405"/>
                  <a:gd name="connsiteY12" fmla="*/ 45851 h 550959"/>
                  <a:gd name="connsiteX13" fmla="*/ 503950 w 553405"/>
                  <a:gd name="connsiteY13" fmla="*/ 47614 h 550959"/>
                  <a:gd name="connsiteX14" fmla="*/ 504993 w 553405"/>
                  <a:gd name="connsiteY14" fmla="*/ 49378 h 550959"/>
                  <a:gd name="connsiteX15" fmla="*/ 505515 w 553405"/>
                  <a:gd name="connsiteY15" fmla="*/ 51729 h 550959"/>
                  <a:gd name="connsiteX16" fmla="*/ 506037 w 553405"/>
                  <a:gd name="connsiteY16" fmla="*/ 55256 h 550959"/>
                  <a:gd name="connsiteX17" fmla="*/ 520122 w 553405"/>
                  <a:gd name="connsiteY17" fmla="*/ 170471 h 550959"/>
                  <a:gd name="connsiteX18" fmla="*/ 526904 w 553405"/>
                  <a:gd name="connsiteY18" fmla="*/ 228079 h 550959"/>
                  <a:gd name="connsiteX19" fmla="*/ 534208 w 553405"/>
                  <a:gd name="connsiteY19" fmla="*/ 286274 h 550959"/>
                  <a:gd name="connsiteX20" fmla="*/ 540990 w 553405"/>
                  <a:gd name="connsiteY20" fmla="*/ 352699 h 550959"/>
                  <a:gd name="connsiteX21" fmla="*/ 544120 w 553405"/>
                  <a:gd name="connsiteY21" fmla="*/ 386793 h 550959"/>
                  <a:gd name="connsiteX22" fmla="*/ 546728 w 553405"/>
                  <a:gd name="connsiteY22" fmla="*/ 419712 h 550959"/>
                  <a:gd name="connsiteX23" fmla="*/ 548815 w 553405"/>
                  <a:gd name="connsiteY23" fmla="*/ 453806 h 550959"/>
                  <a:gd name="connsiteX24" fmla="*/ 550902 w 553405"/>
                  <a:gd name="connsiteY24" fmla="*/ 486725 h 550959"/>
                  <a:gd name="connsiteX25" fmla="*/ 552467 w 553405"/>
                  <a:gd name="connsiteY25" fmla="*/ 520819 h 550959"/>
                  <a:gd name="connsiteX26" fmla="*/ 553405 w 553405"/>
                  <a:gd name="connsiteY26" fmla="*/ 550959 h 550959"/>
                  <a:gd name="connsiteX27" fmla="*/ 0 w 553405"/>
                  <a:gd name="connsiteY27" fmla="*/ 550959 h 550959"/>
                  <a:gd name="connsiteX28" fmla="*/ 0 w 553405"/>
                  <a:gd name="connsiteY28" fmla="*/ 536690 h 550959"/>
                  <a:gd name="connsiteX29" fmla="*/ 1044 w 553405"/>
                  <a:gd name="connsiteY29" fmla="*/ 512589 h 550959"/>
                  <a:gd name="connsiteX30" fmla="*/ 2609 w 553405"/>
                  <a:gd name="connsiteY30" fmla="*/ 479083 h 550959"/>
                  <a:gd name="connsiteX31" fmla="*/ 5217 w 553405"/>
                  <a:gd name="connsiteY31" fmla="*/ 444988 h 550959"/>
                  <a:gd name="connsiteX32" fmla="*/ 10434 w 553405"/>
                  <a:gd name="connsiteY32" fmla="*/ 377976 h 550959"/>
                  <a:gd name="connsiteX33" fmla="*/ 17216 w 553405"/>
                  <a:gd name="connsiteY33" fmla="*/ 305672 h 550959"/>
                  <a:gd name="connsiteX34" fmla="*/ 25041 w 553405"/>
                  <a:gd name="connsiteY34" fmla="*/ 233369 h 550959"/>
                  <a:gd name="connsiteX35" fmla="*/ 34432 w 553405"/>
                  <a:gd name="connsiteY35" fmla="*/ 155188 h 550959"/>
                  <a:gd name="connsiteX36" fmla="*/ 44344 w 553405"/>
                  <a:gd name="connsiteY36" fmla="*/ 75830 h 550959"/>
                  <a:gd name="connsiteX37" fmla="*/ 45909 w 553405"/>
                  <a:gd name="connsiteY37" fmla="*/ 67601 h 550959"/>
                  <a:gd name="connsiteX38" fmla="*/ 46430 w 553405"/>
                  <a:gd name="connsiteY38" fmla="*/ 64074 h 550959"/>
                  <a:gd name="connsiteX39" fmla="*/ 46430 w 553405"/>
                  <a:gd name="connsiteY39" fmla="*/ 59959 h 550959"/>
                  <a:gd name="connsiteX40" fmla="*/ 46952 w 553405"/>
                  <a:gd name="connsiteY40" fmla="*/ 54668 h 550959"/>
                  <a:gd name="connsiteX41" fmla="*/ 47995 w 553405"/>
                  <a:gd name="connsiteY41" fmla="*/ 51141 h 550959"/>
                  <a:gd name="connsiteX42" fmla="*/ 49561 w 553405"/>
                  <a:gd name="connsiteY42" fmla="*/ 48202 h 550959"/>
                  <a:gd name="connsiteX43" fmla="*/ 51126 w 553405"/>
                  <a:gd name="connsiteY43" fmla="*/ 45851 h 550959"/>
                  <a:gd name="connsiteX44" fmla="*/ 53212 w 553405"/>
                  <a:gd name="connsiteY44" fmla="*/ 43499 h 550959"/>
                  <a:gd name="connsiteX45" fmla="*/ 55299 w 553405"/>
                  <a:gd name="connsiteY45" fmla="*/ 41736 h 550959"/>
                  <a:gd name="connsiteX46" fmla="*/ 61038 w 553405"/>
                  <a:gd name="connsiteY46" fmla="*/ 38797 h 550959"/>
                  <a:gd name="connsiteX47" fmla="*/ 74601 w 553405"/>
                  <a:gd name="connsiteY47" fmla="*/ 32919 h 550959"/>
                  <a:gd name="connsiteX48" fmla="*/ 88165 w 553405"/>
                  <a:gd name="connsiteY48" fmla="*/ 28216 h 550959"/>
                  <a:gd name="connsiteX49" fmla="*/ 101208 w 553405"/>
                  <a:gd name="connsiteY49" fmla="*/ 23513 h 550959"/>
                  <a:gd name="connsiteX50" fmla="*/ 115293 w 553405"/>
                  <a:gd name="connsiteY50" fmla="*/ 19986 h 550959"/>
                  <a:gd name="connsiteX0" fmla="*/ 115293 w 553405"/>
                  <a:gd name="connsiteY0" fmla="*/ 18810 h 549783"/>
                  <a:gd name="connsiteX1" fmla="*/ 322925 w 553405"/>
                  <a:gd name="connsiteY1" fmla="*/ 0 h 549783"/>
                  <a:gd name="connsiteX2" fmla="*/ 344835 w 553405"/>
                  <a:gd name="connsiteY2" fmla="*/ 1763 h 549783"/>
                  <a:gd name="connsiteX3" fmla="*/ 366746 w 553405"/>
                  <a:gd name="connsiteY3" fmla="*/ 4114 h 549783"/>
                  <a:gd name="connsiteX4" fmla="*/ 388657 w 553405"/>
                  <a:gd name="connsiteY4" fmla="*/ 7054 h 549783"/>
                  <a:gd name="connsiteX5" fmla="*/ 411090 w 553405"/>
                  <a:gd name="connsiteY5" fmla="*/ 11756 h 549783"/>
                  <a:gd name="connsiteX6" fmla="*/ 432479 w 553405"/>
                  <a:gd name="connsiteY6" fmla="*/ 17047 h 549783"/>
                  <a:gd name="connsiteX7" fmla="*/ 453868 w 553405"/>
                  <a:gd name="connsiteY7" fmla="*/ 22925 h 549783"/>
                  <a:gd name="connsiteX8" fmla="*/ 474735 w 553405"/>
                  <a:gd name="connsiteY8" fmla="*/ 30567 h 549783"/>
                  <a:gd name="connsiteX9" fmla="*/ 495603 w 553405"/>
                  <a:gd name="connsiteY9" fmla="*/ 39384 h 549783"/>
                  <a:gd name="connsiteX10" fmla="*/ 499776 w 553405"/>
                  <a:gd name="connsiteY10" fmla="*/ 41736 h 549783"/>
                  <a:gd name="connsiteX11" fmla="*/ 502907 w 553405"/>
                  <a:gd name="connsiteY11" fmla="*/ 44675 h 549783"/>
                  <a:gd name="connsiteX12" fmla="*/ 503950 w 553405"/>
                  <a:gd name="connsiteY12" fmla="*/ 46438 h 549783"/>
                  <a:gd name="connsiteX13" fmla="*/ 504993 w 553405"/>
                  <a:gd name="connsiteY13" fmla="*/ 48202 h 549783"/>
                  <a:gd name="connsiteX14" fmla="*/ 505515 w 553405"/>
                  <a:gd name="connsiteY14" fmla="*/ 50553 h 549783"/>
                  <a:gd name="connsiteX15" fmla="*/ 506037 w 553405"/>
                  <a:gd name="connsiteY15" fmla="*/ 54080 h 549783"/>
                  <a:gd name="connsiteX16" fmla="*/ 520122 w 553405"/>
                  <a:gd name="connsiteY16" fmla="*/ 169295 h 549783"/>
                  <a:gd name="connsiteX17" fmla="*/ 526904 w 553405"/>
                  <a:gd name="connsiteY17" fmla="*/ 226903 h 549783"/>
                  <a:gd name="connsiteX18" fmla="*/ 534208 w 553405"/>
                  <a:gd name="connsiteY18" fmla="*/ 285098 h 549783"/>
                  <a:gd name="connsiteX19" fmla="*/ 540990 w 553405"/>
                  <a:gd name="connsiteY19" fmla="*/ 351523 h 549783"/>
                  <a:gd name="connsiteX20" fmla="*/ 544120 w 553405"/>
                  <a:gd name="connsiteY20" fmla="*/ 385617 h 549783"/>
                  <a:gd name="connsiteX21" fmla="*/ 546728 w 553405"/>
                  <a:gd name="connsiteY21" fmla="*/ 418536 h 549783"/>
                  <a:gd name="connsiteX22" fmla="*/ 548815 w 553405"/>
                  <a:gd name="connsiteY22" fmla="*/ 452630 h 549783"/>
                  <a:gd name="connsiteX23" fmla="*/ 550902 w 553405"/>
                  <a:gd name="connsiteY23" fmla="*/ 485549 h 549783"/>
                  <a:gd name="connsiteX24" fmla="*/ 552467 w 553405"/>
                  <a:gd name="connsiteY24" fmla="*/ 519643 h 549783"/>
                  <a:gd name="connsiteX25" fmla="*/ 553405 w 553405"/>
                  <a:gd name="connsiteY25" fmla="*/ 549783 h 549783"/>
                  <a:gd name="connsiteX26" fmla="*/ 0 w 553405"/>
                  <a:gd name="connsiteY26" fmla="*/ 549783 h 549783"/>
                  <a:gd name="connsiteX27" fmla="*/ 0 w 553405"/>
                  <a:gd name="connsiteY27" fmla="*/ 535514 h 549783"/>
                  <a:gd name="connsiteX28" fmla="*/ 1044 w 553405"/>
                  <a:gd name="connsiteY28" fmla="*/ 511413 h 549783"/>
                  <a:gd name="connsiteX29" fmla="*/ 2609 w 553405"/>
                  <a:gd name="connsiteY29" fmla="*/ 477907 h 549783"/>
                  <a:gd name="connsiteX30" fmla="*/ 5217 w 553405"/>
                  <a:gd name="connsiteY30" fmla="*/ 443812 h 549783"/>
                  <a:gd name="connsiteX31" fmla="*/ 10434 w 553405"/>
                  <a:gd name="connsiteY31" fmla="*/ 376800 h 549783"/>
                  <a:gd name="connsiteX32" fmla="*/ 17216 w 553405"/>
                  <a:gd name="connsiteY32" fmla="*/ 304496 h 549783"/>
                  <a:gd name="connsiteX33" fmla="*/ 25041 w 553405"/>
                  <a:gd name="connsiteY33" fmla="*/ 232193 h 549783"/>
                  <a:gd name="connsiteX34" fmla="*/ 34432 w 553405"/>
                  <a:gd name="connsiteY34" fmla="*/ 154012 h 549783"/>
                  <a:gd name="connsiteX35" fmla="*/ 44344 w 553405"/>
                  <a:gd name="connsiteY35" fmla="*/ 74654 h 549783"/>
                  <a:gd name="connsiteX36" fmla="*/ 45909 w 553405"/>
                  <a:gd name="connsiteY36" fmla="*/ 66425 h 549783"/>
                  <a:gd name="connsiteX37" fmla="*/ 46430 w 553405"/>
                  <a:gd name="connsiteY37" fmla="*/ 62898 h 549783"/>
                  <a:gd name="connsiteX38" fmla="*/ 46430 w 553405"/>
                  <a:gd name="connsiteY38" fmla="*/ 58783 h 549783"/>
                  <a:gd name="connsiteX39" fmla="*/ 46952 w 553405"/>
                  <a:gd name="connsiteY39" fmla="*/ 53492 h 549783"/>
                  <a:gd name="connsiteX40" fmla="*/ 47995 w 553405"/>
                  <a:gd name="connsiteY40" fmla="*/ 49965 h 549783"/>
                  <a:gd name="connsiteX41" fmla="*/ 49561 w 553405"/>
                  <a:gd name="connsiteY41" fmla="*/ 47026 h 549783"/>
                  <a:gd name="connsiteX42" fmla="*/ 51126 w 553405"/>
                  <a:gd name="connsiteY42" fmla="*/ 44675 h 549783"/>
                  <a:gd name="connsiteX43" fmla="*/ 53212 w 553405"/>
                  <a:gd name="connsiteY43" fmla="*/ 42323 h 549783"/>
                  <a:gd name="connsiteX44" fmla="*/ 55299 w 553405"/>
                  <a:gd name="connsiteY44" fmla="*/ 40560 h 549783"/>
                  <a:gd name="connsiteX45" fmla="*/ 61038 w 553405"/>
                  <a:gd name="connsiteY45" fmla="*/ 37621 h 549783"/>
                  <a:gd name="connsiteX46" fmla="*/ 74601 w 553405"/>
                  <a:gd name="connsiteY46" fmla="*/ 31743 h 549783"/>
                  <a:gd name="connsiteX47" fmla="*/ 88165 w 553405"/>
                  <a:gd name="connsiteY47" fmla="*/ 27040 h 549783"/>
                  <a:gd name="connsiteX48" fmla="*/ 101208 w 553405"/>
                  <a:gd name="connsiteY48" fmla="*/ 22337 h 549783"/>
                  <a:gd name="connsiteX49" fmla="*/ 115293 w 553405"/>
                  <a:gd name="connsiteY49" fmla="*/ 18810 h 549783"/>
                  <a:gd name="connsiteX0" fmla="*/ 115293 w 553405"/>
                  <a:gd name="connsiteY0" fmla="*/ 17047 h 548020"/>
                  <a:gd name="connsiteX1" fmla="*/ 344835 w 553405"/>
                  <a:gd name="connsiteY1" fmla="*/ 0 h 548020"/>
                  <a:gd name="connsiteX2" fmla="*/ 366746 w 553405"/>
                  <a:gd name="connsiteY2" fmla="*/ 2351 h 548020"/>
                  <a:gd name="connsiteX3" fmla="*/ 388657 w 553405"/>
                  <a:gd name="connsiteY3" fmla="*/ 5291 h 548020"/>
                  <a:gd name="connsiteX4" fmla="*/ 411090 w 553405"/>
                  <a:gd name="connsiteY4" fmla="*/ 9993 h 548020"/>
                  <a:gd name="connsiteX5" fmla="*/ 432479 w 553405"/>
                  <a:gd name="connsiteY5" fmla="*/ 15284 h 548020"/>
                  <a:gd name="connsiteX6" fmla="*/ 453868 w 553405"/>
                  <a:gd name="connsiteY6" fmla="*/ 21162 h 548020"/>
                  <a:gd name="connsiteX7" fmla="*/ 474735 w 553405"/>
                  <a:gd name="connsiteY7" fmla="*/ 28804 h 548020"/>
                  <a:gd name="connsiteX8" fmla="*/ 495603 w 553405"/>
                  <a:gd name="connsiteY8" fmla="*/ 37621 h 548020"/>
                  <a:gd name="connsiteX9" fmla="*/ 499776 w 553405"/>
                  <a:gd name="connsiteY9" fmla="*/ 39973 h 548020"/>
                  <a:gd name="connsiteX10" fmla="*/ 502907 w 553405"/>
                  <a:gd name="connsiteY10" fmla="*/ 42912 h 548020"/>
                  <a:gd name="connsiteX11" fmla="*/ 503950 w 553405"/>
                  <a:gd name="connsiteY11" fmla="*/ 44675 h 548020"/>
                  <a:gd name="connsiteX12" fmla="*/ 504993 w 553405"/>
                  <a:gd name="connsiteY12" fmla="*/ 46439 h 548020"/>
                  <a:gd name="connsiteX13" fmla="*/ 505515 w 553405"/>
                  <a:gd name="connsiteY13" fmla="*/ 48790 h 548020"/>
                  <a:gd name="connsiteX14" fmla="*/ 506037 w 553405"/>
                  <a:gd name="connsiteY14" fmla="*/ 52317 h 548020"/>
                  <a:gd name="connsiteX15" fmla="*/ 520122 w 553405"/>
                  <a:gd name="connsiteY15" fmla="*/ 167532 h 548020"/>
                  <a:gd name="connsiteX16" fmla="*/ 526904 w 553405"/>
                  <a:gd name="connsiteY16" fmla="*/ 225140 h 548020"/>
                  <a:gd name="connsiteX17" fmla="*/ 534208 w 553405"/>
                  <a:gd name="connsiteY17" fmla="*/ 283335 h 548020"/>
                  <a:gd name="connsiteX18" fmla="*/ 540990 w 553405"/>
                  <a:gd name="connsiteY18" fmla="*/ 349760 h 548020"/>
                  <a:gd name="connsiteX19" fmla="*/ 544120 w 553405"/>
                  <a:gd name="connsiteY19" fmla="*/ 383854 h 548020"/>
                  <a:gd name="connsiteX20" fmla="*/ 546728 w 553405"/>
                  <a:gd name="connsiteY20" fmla="*/ 416773 h 548020"/>
                  <a:gd name="connsiteX21" fmla="*/ 548815 w 553405"/>
                  <a:gd name="connsiteY21" fmla="*/ 450867 h 548020"/>
                  <a:gd name="connsiteX22" fmla="*/ 550902 w 553405"/>
                  <a:gd name="connsiteY22" fmla="*/ 483786 h 548020"/>
                  <a:gd name="connsiteX23" fmla="*/ 552467 w 553405"/>
                  <a:gd name="connsiteY23" fmla="*/ 517880 h 548020"/>
                  <a:gd name="connsiteX24" fmla="*/ 553405 w 553405"/>
                  <a:gd name="connsiteY24" fmla="*/ 548020 h 548020"/>
                  <a:gd name="connsiteX25" fmla="*/ 0 w 553405"/>
                  <a:gd name="connsiteY25" fmla="*/ 548020 h 548020"/>
                  <a:gd name="connsiteX26" fmla="*/ 0 w 553405"/>
                  <a:gd name="connsiteY26" fmla="*/ 533751 h 548020"/>
                  <a:gd name="connsiteX27" fmla="*/ 1044 w 553405"/>
                  <a:gd name="connsiteY27" fmla="*/ 509650 h 548020"/>
                  <a:gd name="connsiteX28" fmla="*/ 2609 w 553405"/>
                  <a:gd name="connsiteY28" fmla="*/ 476144 h 548020"/>
                  <a:gd name="connsiteX29" fmla="*/ 5217 w 553405"/>
                  <a:gd name="connsiteY29" fmla="*/ 442049 h 548020"/>
                  <a:gd name="connsiteX30" fmla="*/ 10434 w 553405"/>
                  <a:gd name="connsiteY30" fmla="*/ 375037 h 548020"/>
                  <a:gd name="connsiteX31" fmla="*/ 17216 w 553405"/>
                  <a:gd name="connsiteY31" fmla="*/ 302733 h 548020"/>
                  <a:gd name="connsiteX32" fmla="*/ 25041 w 553405"/>
                  <a:gd name="connsiteY32" fmla="*/ 230430 h 548020"/>
                  <a:gd name="connsiteX33" fmla="*/ 34432 w 553405"/>
                  <a:gd name="connsiteY33" fmla="*/ 152249 h 548020"/>
                  <a:gd name="connsiteX34" fmla="*/ 44344 w 553405"/>
                  <a:gd name="connsiteY34" fmla="*/ 72891 h 548020"/>
                  <a:gd name="connsiteX35" fmla="*/ 45909 w 553405"/>
                  <a:gd name="connsiteY35" fmla="*/ 64662 h 548020"/>
                  <a:gd name="connsiteX36" fmla="*/ 46430 w 553405"/>
                  <a:gd name="connsiteY36" fmla="*/ 61135 h 548020"/>
                  <a:gd name="connsiteX37" fmla="*/ 46430 w 553405"/>
                  <a:gd name="connsiteY37" fmla="*/ 57020 h 548020"/>
                  <a:gd name="connsiteX38" fmla="*/ 46952 w 553405"/>
                  <a:gd name="connsiteY38" fmla="*/ 51729 h 548020"/>
                  <a:gd name="connsiteX39" fmla="*/ 47995 w 553405"/>
                  <a:gd name="connsiteY39" fmla="*/ 48202 h 548020"/>
                  <a:gd name="connsiteX40" fmla="*/ 49561 w 553405"/>
                  <a:gd name="connsiteY40" fmla="*/ 45263 h 548020"/>
                  <a:gd name="connsiteX41" fmla="*/ 51126 w 553405"/>
                  <a:gd name="connsiteY41" fmla="*/ 42912 h 548020"/>
                  <a:gd name="connsiteX42" fmla="*/ 53212 w 553405"/>
                  <a:gd name="connsiteY42" fmla="*/ 40560 h 548020"/>
                  <a:gd name="connsiteX43" fmla="*/ 55299 w 553405"/>
                  <a:gd name="connsiteY43" fmla="*/ 38797 h 548020"/>
                  <a:gd name="connsiteX44" fmla="*/ 61038 w 553405"/>
                  <a:gd name="connsiteY44" fmla="*/ 35858 h 548020"/>
                  <a:gd name="connsiteX45" fmla="*/ 74601 w 553405"/>
                  <a:gd name="connsiteY45" fmla="*/ 29980 h 548020"/>
                  <a:gd name="connsiteX46" fmla="*/ 88165 w 553405"/>
                  <a:gd name="connsiteY46" fmla="*/ 25277 h 548020"/>
                  <a:gd name="connsiteX47" fmla="*/ 101208 w 553405"/>
                  <a:gd name="connsiteY47" fmla="*/ 20574 h 548020"/>
                  <a:gd name="connsiteX48" fmla="*/ 115293 w 553405"/>
                  <a:gd name="connsiteY48" fmla="*/ 17047 h 548020"/>
                  <a:gd name="connsiteX0" fmla="*/ 115293 w 553405"/>
                  <a:gd name="connsiteY0" fmla="*/ 14696 h 545669"/>
                  <a:gd name="connsiteX1" fmla="*/ 366746 w 553405"/>
                  <a:gd name="connsiteY1" fmla="*/ 0 h 545669"/>
                  <a:gd name="connsiteX2" fmla="*/ 388657 w 553405"/>
                  <a:gd name="connsiteY2" fmla="*/ 2940 h 545669"/>
                  <a:gd name="connsiteX3" fmla="*/ 411090 w 553405"/>
                  <a:gd name="connsiteY3" fmla="*/ 7642 h 545669"/>
                  <a:gd name="connsiteX4" fmla="*/ 432479 w 553405"/>
                  <a:gd name="connsiteY4" fmla="*/ 12933 h 545669"/>
                  <a:gd name="connsiteX5" fmla="*/ 453868 w 553405"/>
                  <a:gd name="connsiteY5" fmla="*/ 18811 h 545669"/>
                  <a:gd name="connsiteX6" fmla="*/ 474735 w 553405"/>
                  <a:gd name="connsiteY6" fmla="*/ 26453 h 545669"/>
                  <a:gd name="connsiteX7" fmla="*/ 495603 w 553405"/>
                  <a:gd name="connsiteY7" fmla="*/ 35270 h 545669"/>
                  <a:gd name="connsiteX8" fmla="*/ 499776 w 553405"/>
                  <a:gd name="connsiteY8" fmla="*/ 37622 h 545669"/>
                  <a:gd name="connsiteX9" fmla="*/ 502907 w 553405"/>
                  <a:gd name="connsiteY9" fmla="*/ 40561 h 545669"/>
                  <a:gd name="connsiteX10" fmla="*/ 503950 w 553405"/>
                  <a:gd name="connsiteY10" fmla="*/ 42324 h 545669"/>
                  <a:gd name="connsiteX11" fmla="*/ 504993 w 553405"/>
                  <a:gd name="connsiteY11" fmla="*/ 44088 h 545669"/>
                  <a:gd name="connsiteX12" fmla="*/ 505515 w 553405"/>
                  <a:gd name="connsiteY12" fmla="*/ 46439 h 545669"/>
                  <a:gd name="connsiteX13" fmla="*/ 506037 w 553405"/>
                  <a:gd name="connsiteY13" fmla="*/ 49966 h 545669"/>
                  <a:gd name="connsiteX14" fmla="*/ 520122 w 553405"/>
                  <a:gd name="connsiteY14" fmla="*/ 165181 h 545669"/>
                  <a:gd name="connsiteX15" fmla="*/ 526904 w 553405"/>
                  <a:gd name="connsiteY15" fmla="*/ 222789 h 545669"/>
                  <a:gd name="connsiteX16" fmla="*/ 534208 w 553405"/>
                  <a:gd name="connsiteY16" fmla="*/ 280984 h 545669"/>
                  <a:gd name="connsiteX17" fmla="*/ 540990 w 553405"/>
                  <a:gd name="connsiteY17" fmla="*/ 347409 h 545669"/>
                  <a:gd name="connsiteX18" fmla="*/ 544120 w 553405"/>
                  <a:gd name="connsiteY18" fmla="*/ 381503 h 545669"/>
                  <a:gd name="connsiteX19" fmla="*/ 546728 w 553405"/>
                  <a:gd name="connsiteY19" fmla="*/ 414422 h 545669"/>
                  <a:gd name="connsiteX20" fmla="*/ 548815 w 553405"/>
                  <a:gd name="connsiteY20" fmla="*/ 448516 h 545669"/>
                  <a:gd name="connsiteX21" fmla="*/ 550902 w 553405"/>
                  <a:gd name="connsiteY21" fmla="*/ 481435 h 545669"/>
                  <a:gd name="connsiteX22" fmla="*/ 552467 w 553405"/>
                  <a:gd name="connsiteY22" fmla="*/ 515529 h 545669"/>
                  <a:gd name="connsiteX23" fmla="*/ 553405 w 553405"/>
                  <a:gd name="connsiteY23" fmla="*/ 545669 h 545669"/>
                  <a:gd name="connsiteX24" fmla="*/ 0 w 553405"/>
                  <a:gd name="connsiteY24" fmla="*/ 545669 h 545669"/>
                  <a:gd name="connsiteX25" fmla="*/ 0 w 553405"/>
                  <a:gd name="connsiteY25" fmla="*/ 531400 h 545669"/>
                  <a:gd name="connsiteX26" fmla="*/ 1044 w 553405"/>
                  <a:gd name="connsiteY26" fmla="*/ 507299 h 545669"/>
                  <a:gd name="connsiteX27" fmla="*/ 2609 w 553405"/>
                  <a:gd name="connsiteY27" fmla="*/ 473793 h 545669"/>
                  <a:gd name="connsiteX28" fmla="*/ 5217 w 553405"/>
                  <a:gd name="connsiteY28" fmla="*/ 439698 h 545669"/>
                  <a:gd name="connsiteX29" fmla="*/ 10434 w 553405"/>
                  <a:gd name="connsiteY29" fmla="*/ 372686 h 545669"/>
                  <a:gd name="connsiteX30" fmla="*/ 17216 w 553405"/>
                  <a:gd name="connsiteY30" fmla="*/ 300382 h 545669"/>
                  <a:gd name="connsiteX31" fmla="*/ 25041 w 553405"/>
                  <a:gd name="connsiteY31" fmla="*/ 228079 h 545669"/>
                  <a:gd name="connsiteX32" fmla="*/ 34432 w 553405"/>
                  <a:gd name="connsiteY32" fmla="*/ 149898 h 545669"/>
                  <a:gd name="connsiteX33" fmla="*/ 44344 w 553405"/>
                  <a:gd name="connsiteY33" fmla="*/ 70540 h 545669"/>
                  <a:gd name="connsiteX34" fmla="*/ 45909 w 553405"/>
                  <a:gd name="connsiteY34" fmla="*/ 62311 h 545669"/>
                  <a:gd name="connsiteX35" fmla="*/ 46430 w 553405"/>
                  <a:gd name="connsiteY35" fmla="*/ 58784 h 545669"/>
                  <a:gd name="connsiteX36" fmla="*/ 46430 w 553405"/>
                  <a:gd name="connsiteY36" fmla="*/ 54669 h 545669"/>
                  <a:gd name="connsiteX37" fmla="*/ 46952 w 553405"/>
                  <a:gd name="connsiteY37" fmla="*/ 49378 h 545669"/>
                  <a:gd name="connsiteX38" fmla="*/ 47995 w 553405"/>
                  <a:gd name="connsiteY38" fmla="*/ 45851 h 545669"/>
                  <a:gd name="connsiteX39" fmla="*/ 49561 w 553405"/>
                  <a:gd name="connsiteY39" fmla="*/ 42912 h 545669"/>
                  <a:gd name="connsiteX40" fmla="*/ 51126 w 553405"/>
                  <a:gd name="connsiteY40" fmla="*/ 40561 h 545669"/>
                  <a:gd name="connsiteX41" fmla="*/ 53212 w 553405"/>
                  <a:gd name="connsiteY41" fmla="*/ 38209 h 545669"/>
                  <a:gd name="connsiteX42" fmla="*/ 55299 w 553405"/>
                  <a:gd name="connsiteY42" fmla="*/ 36446 h 545669"/>
                  <a:gd name="connsiteX43" fmla="*/ 61038 w 553405"/>
                  <a:gd name="connsiteY43" fmla="*/ 33507 h 545669"/>
                  <a:gd name="connsiteX44" fmla="*/ 74601 w 553405"/>
                  <a:gd name="connsiteY44" fmla="*/ 27629 h 545669"/>
                  <a:gd name="connsiteX45" fmla="*/ 88165 w 553405"/>
                  <a:gd name="connsiteY45" fmla="*/ 22926 h 545669"/>
                  <a:gd name="connsiteX46" fmla="*/ 101208 w 553405"/>
                  <a:gd name="connsiteY46" fmla="*/ 18223 h 545669"/>
                  <a:gd name="connsiteX47" fmla="*/ 115293 w 553405"/>
                  <a:gd name="connsiteY47" fmla="*/ 14696 h 545669"/>
                  <a:gd name="connsiteX0" fmla="*/ 115293 w 553405"/>
                  <a:gd name="connsiteY0" fmla="*/ 11756 h 542729"/>
                  <a:gd name="connsiteX1" fmla="*/ 388657 w 553405"/>
                  <a:gd name="connsiteY1" fmla="*/ 0 h 542729"/>
                  <a:gd name="connsiteX2" fmla="*/ 411090 w 553405"/>
                  <a:gd name="connsiteY2" fmla="*/ 4702 h 542729"/>
                  <a:gd name="connsiteX3" fmla="*/ 432479 w 553405"/>
                  <a:gd name="connsiteY3" fmla="*/ 9993 h 542729"/>
                  <a:gd name="connsiteX4" fmla="*/ 453868 w 553405"/>
                  <a:gd name="connsiteY4" fmla="*/ 15871 h 542729"/>
                  <a:gd name="connsiteX5" fmla="*/ 474735 w 553405"/>
                  <a:gd name="connsiteY5" fmla="*/ 23513 h 542729"/>
                  <a:gd name="connsiteX6" fmla="*/ 495603 w 553405"/>
                  <a:gd name="connsiteY6" fmla="*/ 32330 h 542729"/>
                  <a:gd name="connsiteX7" fmla="*/ 499776 w 553405"/>
                  <a:gd name="connsiteY7" fmla="*/ 34682 h 542729"/>
                  <a:gd name="connsiteX8" fmla="*/ 502907 w 553405"/>
                  <a:gd name="connsiteY8" fmla="*/ 37621 h 542729"/>
                  <a:gd name="connsiteX9" fmla="*/ 503950 w 553405"/>
                  <a:gd name="connsiteY9" fmla="*/ 39384 h 542729"/>
                  <a:gd name="connsiteX10" fmla="*/ 504993 w 553405"/>
                  <a:gd name="connsiteY10" fmla="*/ 41148 h 542729"/>
                  <a:gd name="connsiteX11" fmla="*/ 505515 w 553405"/>
                  <a:gd name="connsiteY11" fmla="*/ 43499 h 542729"/>
                  <a:gd name="connsiteX12" fmla="*/ 506037 w 553405"/>
                  <a:gd name="connsiteY12" fmla="*/ 47026 h 542729"/>
                  <a:gd name="connsiteX13" fmla="*/ 520122 w 553405"/>
                  <a:gd name="connsiteY13" fmla="*/ 162241 h 542729"/>
                  <a:gd name="connsiteX14" fmla="*/ 526904 w 553405"/>
                  <a:gd name="connsiteY14" fmla="*/ 219849 h 542729"/>
                  <a:gd name="connsiteX15" fmla="*/ 534208 w 553405"/>
                  <a:gd name="connsiteY15" fmla="*/ 278044 h 542729"/>
                  <a:gd name="connsiteX16" fmla="*/ 540990 w 553405"/>
                  <a:gd name="connsiteY16" fmla="*/ 344469 h 542729"/>
                  <a:gd name="connsiteX17" fmla="*/ 544120 w 553405"/>
                  <a:gd name="connsiteY17" fmla="*/ 378563 h 542729"/>
                  <a:gd name="connsiteX18" fmla="*/ 546728 w 553405"/>
                  <a:gd name="connsiteY18" fmla="*/ 411482 h 542729"/>
                  <a:gd name="connsiteX19" fmla="*/ 548815 w 553405"/>
                  <a:gd name="connsiteY19" fmla="*/ 445576 h 542729"/>
                  <a:gd name="connsiteX20" fmla="*/ 550902 w 553405"/>
                  <a:gd name="connsiteY20" fmla="*/ 478495 h 542729"/>
                  <a:gd name="connsiteX21" fmla="*/ 552467 w 553405"/>
                  <a:gd name="connsiteY21" fmla="*/ 512589 h 542729"/>
                  <a:gd name="connsiteX22" fmla="*/ 553405 w 553405"/>
                  <a:gd name="connsiteY22" fmla="*/ 542729 h 542729"/>
                  <a:gd name="connsiteX23" fmla="*/ 0 w 553405"/>
                  <a:gd name="connsiteY23" fmla="*/ 542729 h 542729"/>
                  <a:gd name="connsiteX24" fmla="*/ 0 w 553405"/>
                  <a:gd name="connsiteY24" fmla="*/ 528460 h 542729"/>
                  <a:gd name="connsiteX25" fmla="*/ 1044 w 553405"/>
                  <a:gd name="connsiteY25" fmla="*/ 504359 h 542729"/>
                  <a:gd name="connsiteX26" fmla="*/ 2609 w 553405"/>
                  <a:gd name="connsiteY26" fmla="*/ 470853 h 542729"/>
                  <a:gd name="connsiteX27" fmla="*/ 5217 w 553405"/>
                  <a:gd name="connsiteY27" fmla="*/ 436758 h 542729"/>
                  <a:gd name="connsiteX28" fmla="*/ 10434 w 553405"/>
                  <a:gd name="connsiteY28" fmla="*/ 369746 h 542729"/>
                  <a:gd name="connsiteX29" fmla="*/ 17216 w 553405"/>
                  <a:gd name="connsiteY29" fmla="*/ 297442 h 542729"/>
                  <a:gd name="connsiteX30" fmla="*/ 25041 w 553405"/>
                  <a:gd name="connsiteY30" fmla="*/ 225139 h 542729"/>
                  <a:gd name="connsiteX31" fmla="*/ 34432 w 553405"/>
                  <a:gd name="connsiteY31" fmla="*/ 146958 h 542729"/>
                  <a:gd name="connsiteX32" fmla="*/ 44344 w 553405"/>
                  <a:gd name="connsiteY32" fmla="*/ 67600 h 542729"/>
                  <a:gd name="connsiteX33" fmla="*/ 45909 w 553405"/>
                  <a:gd name="connsiteY33" fmla="*/ 59371 h 542729"/>
                  <a:gd name="connsiteX34" fmla="*/ 46430 w 553405"/>
                  <a:gd name="connsiteY34" fmla="*/ 55844 h 542729"/>
                  <a:gd name="connsiteX35" fmla="*/ 46430 w 553405"/>
                  <a:gd name="connsiteY35" fmla="*/ 51729 h 542729"/>
                  <a:gd name="connsiteX36" fmla="*/ 46952 w 553405"/>
                  <a:gd name="connsiteY36" fmla="*/ 46438 h 542729"/>
                  <a:gd name="connsiteX37" fmla="*/ 47995 w 553405"/>
                  <a:gd name="connsiteY37" fmla="*/ 42911 h 542729"/>
                  <a:gd name="connsiteX38" fmla="*/ 49561 w 553405"/>
                  <a:gd name="connsiteY38" fmla="*/ 39972 h 542729"/>
                  <a:gd name="connsiteX39" fmla="*/ 51126 w 553405"/>
                  <a:gd name="connsiteY39" fmla="*/ 37621 h 542729"/>
                  <a:gd name="connsiteX40" fmla="*/ 53212 w 553405"/>
                  <a:gd name="connsiteY40" fmla="*/ 35269 h 542729"/>
                  <a:gd name="connsiteX41" fmla="*/ 55299 w 553405"/>
                  <a:gd name="connsiteY41" fmla="*/ 33506 h 542729"/>
                  <a:gd name="connsiteX42" fmla="*/ 61038 w 553405"/>
                  <a:gd name="connsiteY42" fmla="*/ 30567 h 542729"/>
                  <a:gd name="connsiteX43" fmla="*/ 74601 w 553405"/>
                  <a:gd name="connsiteY43" fmla="*/ 24689 h 542729"/>
                  <a:gd name="connsiteX44" fmla="*/ 88165 w 553405"/>
                  <a:gd name="connsiteY44" fmla="*/ 19986 h 542729"/>
                  <a:gd name="connsiteX45" fmla="*/ 101208 w 553405"/>
                  <a:gd name="connsiteY45" fmla="*/ 15283 h 542729"/>
                  <a:gd name="connsiteX46" fmla="*/ 115293 w 553405"/>
                  <a:gd name="connsiteY46" fmla="*/ 11756 h 542729"/>
                  <a:gd name="connsiteX0" fmla="*/ 115293 w 553405"/>
                  <a:gd name="connsiteY0" fmla="*/ 7054 h 538027"/>
                  <a:gd name="connsiteX1" fmla="*/ 411090 w 553405"/>
                  <a:gd name="connsiteY1" fmla="*/ 0 h 538027"/>
                  <a:gd name="connsiteX2" fmla="*/ 432479 w 553405"/>
                  <a:gd name="connsiteY2" fmla="*/ 5291 h 538027"/>
                  <a:gd name="connsiteX3" fmla="*/ 453868 w 553405"/>
                  <a:gd name="connsiteY3" fmla="*/ 11169 h 538027"/>
                  <a:gd name="connsiteX4" fmla="*/ 474735 w 553405"/>
                  <a:gd name="connsiteY4" fmla="*/ 18811 h 538027"/>
                  <a:gd name="connsiteX5" fmla="*/ 495603 w 553405"/>
                  <a:gd name="connsiteY5" fmla="*/ 27628 h 538027"/>
                  <a:gd name="connsiteX6" fmla="*/ 499776 w 553405"/>
                  <a:gd name="connsiteY6" fmla="*/ 29980 h 538027"/>
                  <a:gd name="connsiteX7" fmla="*/ 502907 w 553405"/>
                  <a:gd name="connsiteY7" fmla="*/ 32919 h 538027"/>
                  <a:gd name="connsiteX8" fmla="*/ 503950 w 553405"/>
                  <a:gd name="connsiteY8" fmla="*/ 34682 h 538027"/>
                  <a:gd name="connsiteX9" fmla="*/ 504993 w 553405"/>
                  <a:gd name="connsiteY9" fmla="*/ 36446 h 538027"/>
                  <a:gd name="connsiteX10" fmla="*/ 505515 w 553405"/>
                  <a:gd name="connsiteY10" fmla="*/ 38797 h 538027"/>
                  <a:gd name="connsiteX11" fmla="*/ 506037 w 553405"/>
                  <a:gd name="connsiteY11" fmla="*/ 42324 h 538027"/>
                  <a:gd name="connsiteX12" fmla="*/ 520122 w 553405"/>
                  <a:gd name="connsiteY12" fmla="*/ 157539 h 538027"/>
                  <a:gd name="connsiteX13" fmla="*/ 526904 w 553405"/>
                  <a:gd name="connsiteY13" fmla="*/ 215147 h 538027"/>
                  <a:gd name="connsiteX14" fmla="*/ 534208 w 553405"/>
                  <a:gd name="connsiteY14" fmla="*/ 273342 h 538027"/>
                  <a:gd name="connsiteX15" fmla="*/ 540990 w 553405"/>
                  <a:gd name="connsiteY15" fmla="*/ 339767 h 538027"/>
                  <a:gd name="connsiteX16" fmla="*/ 544120 w 553405"/>
                  <a:gd name="connsiteY16" fmla="*/ 373861 h 538027"/>
                  <a:gd name="connsiteX17" fmla="*/ 546728 w 553405"/>
                  <a:gd name="connsiteY17" fmla="*/ 406780 h 538027"/>
                  <a:gd name="connsiteX18" fmla="*/ 548815 w 553405"/>
                  <a:gd name="connsiteY18" fmla="*/ 440874 h 538027"/>
                  <a:gd name="connsiteX19" fmla="*/ 550902 w 553405"/>
                  <a:gd name="connsiteY19" fmla="*/ 473793 h 538027"/>
                  <a:gd name="connsiteX20" fmla="*/ 552467 w 553405"/>
                  <a:gd name="connsiteY20" fmla="*/ 507887 h 538027"/>
                  <a:gd name="connsiteX21" fmla="*/ 553405 w 553405"/>
                  <a:gd name="connsiteY21" fmla="*/ 538027 h 538027"/>
                  <a:gd name="connsiteX22" fmla="*/ 0 w 553405"/>
                  <a:gd name="connsiteY22" fmla="*/ 538027 h 538027"/>
                  <a:gd name="connsiteX23" fmla="*/ 0 w 553405"/>
                  <a:gd name="connsiteY23" fmla="*/ 523758 h 538027"/>
                  <a:gd name="connsiteX24" fmla="*/ 1044 w 553405"/>
                  <a:gd name="connsiteY24" fmla="*/ 499657 h 538027"/>
                  <a:gd name="connsiteX25" fmla="*/ 2609 w 553405"/>
                  <a:gd name="connsiteY25" fmla="*/ 466151 h 538027"/>
                  <a:gd name="connsiteX26" fmla="*/ 5217 w 553405"/>
                  <a:gd name="connsiteY26" fmla="*/ 432056 h 538027"/>
                  <a:gd name="connsiteX27" fmla="*/ 10434 w 553405"/>
                  <a:gd name="connsiteY27" fmla="*/ 365044 h 538027"/>
                  <a:gd name="connsiteX28" fmla="*/ 17216 w 553405"/>
                  <a:gd name="connsiteY28" fmla="*/ 292740 h 538027"/>
                  <a:gd name="connsiteX29" fmla="*/ 25041 w 553405"/>
                  <a:gd name="connsiteY29" fmla="*/ 220437 h 538027"/>
                  <a:gd name="connsiteX30" fmla="*/ 34432 w 553405"/>
                  <a:gd name="connsiteY30" fmla="*/ 142256 h 538027"/>
                  <a:gd name="connsiteX31" fmla="*/ 44344 w 553405"/>
                  <a:gd name="connsiteY31" fmla="*/ 62898 h 538027"/>
                  <a:gd name="connsiteX32" fmla="*/ 45909 w 553405"/>
                  <a:gd name="connsiteY32" fmla="*/ 54669 h 538027"/>
                  <a:gd name="connsiteX33" fmla="*/ 46430 w 553405"/>
                  <a:gd name="connsiteY33" fmla="*/ 51142 h 538027"/>
                  <a:gd name="connsiteX34" fmla="*/ 46430 w 553405"/>
                  <a:gd name="connsiteY34" fmla="*/ 47027 h 538027"/>
                  <a:gd name="connsiteX35" fmla="*/ 46952 w 553405"/>
                  <a:gd name="connsiteY35" fmla="*/ 41736 h 538027"/>
                  <a:gd name="connsiteX36" fmla="*/ 47995 w 553405"/>
                  <a:gd name="connsiteY36" fmla="*/ 38209 h 538027"/>
                  <a:gd name="connsiteX37" fmla="*/ 49561 w 553405"/>
                  <a:gd name="connsiteY37" fmla="*/ 35270 h 538027"/>
                  <a:gd name="connsiteX38" fmla="*/ 51126 w 553405"/>
                  <a:gd name="connsiteY38" fmla="*/ 32919 h 538027"/>
                  <a:gd name="connsiteX39" fmla="*/ 53212 w 553405"/>
                  <a:gd name="connsiteY39" fmla="*/ 30567 h 538027"/>
                  <a:gd name="connsiteX40" fmla="*/ 55299 w 553405"/>
                  <a:gd name="connsiteY40" fmla="*/ 28804 h 538027"/>
                  <a:gd name="connsiteX41" fmla="*/ 61038 w 553405"/>
                  <a:gd name="connsiteY41" fmla="*/ 25865 h 538027"/>
                  <a:gd name="connsiteX42" fmla="*/ 74601 w 553405"/>
                  <a:gd name="connsiteY42" fmla="*/ 19987 h 538027"/>
                  <a:gd name="connsiteX43" fmla="*/ 88165 w 553405"/>
                  <a:gd name="connsiteY43" fmla="*/ 15284 h 538027"/>
                  <a:gd name="connsiteX44" fmla="*/ 101208 w 553405"/>
                  <a:gd name="connsiteY44" fmla="*/ 10581 h 538027"/>
                  <a:gd name="connsiteX45" fmla="*/ 115293 w 553405"/>
                  <a:gd name="connsiteY45" fmla="*/ 7054 h 538027"/>
                  <a:gd name="connsiteX0" fmla="*/ 115293 w 553405"/>
                  <a:gd name="connsiteY0" fmla="*/ 1763 h 532736"/>
                  <a:gd name="connsiteX1" fmla="*/ 432479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5293 w 553405"/>
                  <a:gd name="connsiteY0" fmla="*/ 1763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75309 w 553405"/>
                  <a:gd name="connsiteY0" fmla="*/ 5208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75309 w 553405"/>
                  <a:gd name="connsiteY44" fmla="*/ 5208 h 532736"/>
                  <a:gd name="connsiteX0" fmla="*/ 175309 w 553405"/>
                  <a:gd name="connsiteY0" fmla="*/ 11938 h 539466"/>
                  <a:gd name="connsiteX1" fmla="*/ 382458 w 553405"/>
                  <a:gd name="connsiteY1" fmla="*/ 0 h 539466"/>
                  <a:gd name="connsiteX2" fmla="*/ 453868 w 553405"/>
                  <a:gd name="connsiteY2" fmla="*/ 12608 h 539466"/>
                  <a:gd name="connsiteX3" fmla="*/ 474735 w 553405"/>
                  <a:gd name="connsiteY3" fmla="*/ 20250 h 539466"/>
                  <a:gd name="connsiteX4" fmla="*/ 495603 w 553405"/>
                  <a:gd name="connsiteY4" fmla="*/ 29067 h 539466"/>
                  <a:gd name="connsiteX5" fmla="*/ 499776 w 553405"/>
                  <a:gd name="connsiteY5" fmla="*/ 31419 h 539466"/>
                  <a:gd name="connsiteX6" fmla="*/ 502907 w 553405"/>
                  <a:gd name="connsiteY6" fmla="*/ 34358 h 539466"/>
                  <a:gd name="connsiteX7" fmla="*/ 503950 w 553405"/>
                  <a:gd name="connsiteY7" fmla="*/ 36121 h 539466"/>
                  <a:gd name="connsiteX8" fmla="*/ 504993 w 553405"/>
                  <a:gd name="connsiteY8" fmla="*/ 37885 h 539466"/>
                  <a:gd name="connsiteX9" fmla="*/ 505515 w 553405"/>
                  <a:gd name="connsiteY9" fmla="*/ 40236 h 539466"/>
                  <a:gd name="connsiteX10" fmla="*/ 506037 w 553405"/>
                  <a:gd name="connsiteY10" fmla="*/ 43763 h 539466"/>
                  <a:gd name="connsiteX11" fmla="*/ 520122 w 553405"/>
                  <a:gd name="connsiteY11" fmla="*/ 158978 h 539466"/>
                  <a:gd name="connsiteX12" fmla="*/ 526904 w 553405"/>
                  <a:gd name="connsiteY12" fmla="*/ 216586 h 539466"/>
                  <a:gd name="connsiteX13" fmla="*/ 534208 w 553405"/>
                  <a:gd name="connsiteY13" fmla="*/ 274781 h 539466"/>
                  <a:gd name="connsiteX14" fmla="*/ 540990 w 553405"/>
                  <a:gd name="connsiteY14" fmla="*/ 341206 h 539466"/>
                  <a:gd name="connsiteX15" fmla="*/ 544120 w 553405"/>
                  <a:gd name="connsiteY15" fmla="*/ 375300 h 539466"/>
                  <a:gd name="connsiteX16" fmla="*/ 546728 w 553405"/>
                  <a:gd name="connsiteY16" fmla="*/ 408219 h 539466"/>
                  <a:gd name="connsiteX17" fmla="*/ 548815 w 553405"/>
                  <a:gd name="connsiteY17" fmla="*/ 442313 h 539466"/>
                  <a:gd name="connsiteX18" fmla="*/ 550902 w 553405"/>
                  <a:gd name="connsiteY18" fmla="*/ 475232 h 539466"/>
                  <a:gd name="connsiteX19" fmla="*/ 552467 w 553405"/>
                  <a:gd name="connsiteY19" fmla="*/ 509326 h 539466"/>
                  <a:gd name="connsiteX20" fmla="*/ 553405 w 553405"/>
                  <a:gd name="connsiteY20" fmla="*/ 539466 h 539466"/>
                  <a:gd name="connsiteX21" fmla="*/ 0 w 553405"/>
                  <a:gd name="connsiteY21" fmla="*/ 539466 h 539466"/>
                  <a:gd name="connsiteX22" fmla="*/ 0 w 553405"/>
                  <a:gd name="connsiteY22" fmla="*/ 525197 h 539466"/>
                  <a:gd name="connsiteX23" fmla="*/ 1044 w 553405"/>
                  <a:gd name="connsiteY23" fmla="*/ 501096 h 539466"/>
                  <a:gd name="connsiteX24" fmla="*/ 2609 w 553405"/>
                  <a:gd name="connsiteY24" fmla="*/ 467590 h 539466"/>
                  <a:gd name="connsiteX25" fmla="*/ 5217 w 553405"/>
                  <a:gd name="connsiteY25" fmla="*/ 433495 h 539466"/>
                  <a:gd name="connsiteX26" fmla="*/ 10434 w 553405"/>
                  <a:gd name="connsiteY26" fmla="*/ 366483 h 539466"/>
                  <a:gd name="connsiteX27" fmla="*/ 17216 w 553405"/>
                  <a:gd name="connsiteY27" fmla="*/ 294179 h 539466"/>
                  <a:gd name="connsiteX28" fmla="*/ 25041 w 553405"/>
                  <a:gd name="connsiteY28" fmla="*/ 221876 h 539466"/>
                  <a:gd name="connsiteX29" fmla="*/ 34432 w 553405"/>
                  <a:gd name="connsiteY29" fmla="*/ 143695 h 539466"/>
                  <a:gd name="connsiteX30" fmla="*/ 44344 w 553405"/>
                  <a:gd name="connsiteY30" fmla="*/ 64337 h 539466"/>
                  <a:gd name="connsiteX31" fmla="*/ 45909 w 553405"/>
                  <a:gd name="connsiteY31" fmla="*/ 56108 h 539466"/>
                  <a:gd name="connsiteX32" fmla="*/ 46430 w 553405"/>
                  <a:gd name="connsiteY32" fmla="*/ 52581 h 539466"/>
                  <a:gd name="connsiteX33" fmla="*/ 46430 w 553405"/>
                  <a:gd name="connsiteY33" fmla="*/ 48466 h 539466"/>
                  <a:gd name="connsiteX34" fmla="*/ 46952 w 553405"/>
                  <a:gd name="connsiteY34" fmla="*/ 43175 h 539466"/>
                  <a:gd name="connsiteX35" fmla="*/ 47995 w 553405"/>
                  <a:gd name="connsiteY35" fmla="*/ 39648 h 539466"/>
                  <a:gd name="connsiteX36" fmla="*/ 49561 w 553405"/>
                  <a:gd name="connsiteY36" fmla="*/ 36709 h 539466"/>
                  <a:gd name="connsiteX37" fmla="*/ 51126 w 553405"/>
                  <a:gd name="connsiteY37" fmla="*/ 34358 h 539466"/>
                  <a:gd name="connsiteX38" fmla="*/ 53212 w 553405"/>
                  <a:gd name="connsiteY38" fmla="*/ 32006 h 539466"/>
                  <a:gd name="connsiteX39" fmla="*/ 55299 w 553405"/>
                  <a:gd name="connsiteY39" fmla="*/ 30243 h 539466"/>
                  <a:gd name="connsiteX40" fmla="*/ 61038 w 553405"/>
                  <a:gd name="connsiteY40" fmla="*/ 27304 h 539466"/>
                  <a:gd name="connsiteX41" fmla="*/ 74601 w 553405"/>
                  <a:gd name="connsiteY41" fmla="*/ 21426 h 539466"/>
                  <a:gd name="connsiteX42" fmla="*/ 88165 w 553405"/>
                  <a:gd name="connsiteY42" fmla="*/ 16723 h 539466"/>
                  <a:gd name="connsiteX43" fmla="*/ 101208 w 553405"/>
                  <a:gd name="connsiteY43" fmla="*/ 12020 h 539466"/>
                  <a:gd name="connsiteX44" fmla="*/ 175309 w 553405"/>
                  <a:gd name="connsiteY44" fmla="*/ 11938 h 539466"/>
                  <a:gd name="connsiteX0" fmla="*/ 187497 w 553405"/>
                  <a:gd name="connsiteY0" fmla="*/ 0 h 539641"/>
                  <a:gd name="connsiteX1" fmla="*/ 382458 w 553405"/>
                  <a:gd name="connsiteY1" fmla="*/ 175 h 539641"/>
                  <a:gd name="connsiteX2" fmla="*/ 453868 w 553405"/>
                  <a:gd name="connsiteY2" fmla="*/ 12783 h 539641"/>
                  <a:gd name="connsiteX3" fmla="*/ 474735 w 553405"/>
                  <a:gd name="connsiteY3" fmla="*/ 20425 h 539641"/>
                  <a:gd name="connsiteX4" fmla="*/ 495603 w 553405"/>
                  <a:gd name="connsiteY4" fmla="*/ 29242 h 539641"/>
                  <a:gd name="connsiteX5" fmla="*/ 499776 w 553405"/>
                  <a:gd name="connsiteY5" fmla="*/ 31594 h 539641"/>
                  <a:gd name="connsiteX6" fmla="*/ 502907 w 553405"/>
                  <a:gd name="connsiteY6" fmla="*/ 34533 h 539641"/>
                  <a:gd name="connsiteX7" fmla="*/ 503950 w 553405"/>
                  <a:gd name="connsiteY7" fmla="*/ 36296 h 539641"/>
                  <a:gd name="connsiteX8" fmla="*/ 504993 w 553405"/>
                  <a:gd name="connsiteY8" fmla="*/ 38060 h 539641"/>
                  <a:gd name="connsiteX9" fmla="*/ 505515 w 553405"/>
                  <a:gd name="connsiteY9" fmla="*/ 40411 h 539641"/>
                  <a:gd name="connsiteX10" fmla="*/ 506037 w 553405"/>
                  <a:gd name="connsiteY10" fmla="*/ 43938 h 539641"/>
                  <a:gd name="connsiteX11" fmla="*/ 520122 w 553405"/>
                  <a:gd name="connsiteY11" fmla="*/ 159153 h 539641"/>
                  <a:gd name="connsiteX12" fmla="*/ 526904 w 553405"/>
                  <a:gd name="connsiteY12" fmla="*/ 216761 h 539641"/>
                  <a:gd name="connsiteX13" fmla="*/ 534208 w 553405"/>
                  <a:gd name="connsiteY13" fmla="*/ 274956 h 539641"/>
                  <a:gd name="connsiteX14" fmla="*/ 540990 w 553405"/>
                  <a:gd name="connsiteY14" fmla="*/ 341381 h 539641"/>
                  <a:gd name="connsiteX15" fmla="*/ 544120 w 553405"/>
                  <a:gd name="connsiteY15" fmla="*/ 375475 h 539641"/>
                  <a:gd name="connsiteX16" fmla="*/ 546728 w 553405"/>
                  <a:gd name="connsiteY16" fmla="*/ 408394 h 539641"/>
                  <a:gd name="connsiteX17" fmla="*/ 548815 w 553405"/>
                  <a:gd name="connsiteY17" fmla="*/ 442488 h 539641"/>
                  <a:gd name="connsiteX18" fmla="*/ 550902 w 553405"/>
                  <a:gd name="connsiteY18" fmla="*/ 475407 h 539641"/>
                  <a:gd name="connsiteX19" fmla="*/ 552467 w 553405"/>
                  <a:gd name="connsiteY19" fmla="*/ 509501 h 539641"/>
                  <a:gd name="connsiteX20" fmla="*/ 553405 w 553405"/>
                  <a:gd name="connsiteY20" fmla="*/ 539641 h 539641"/>
                  <a:gd name="connsiteX21" fmla="*/ 0 w 553405"/>
                  <a:gd name="connsiteY21" fmla="*/ 539641 h 539641"/>
                  <a:gd name="connsiteX22" fmla="*/ 0 w 553405"/>
                  <a:gd name="connsiteY22" fmla="*/ 525372 h 539641"/>
                  <a:gd name="connsiteX23" fmla="*/ 1044 w 553405"/>
                  <a:gd name="connsiteY23" fmla="*/ 501271 h 539641"/>
                  <a:gd name="connsiteX24" fmla="*/ 2609 w 553405"/>
                  <a:gd name="connsiteY24" fmla="*/ 467765 h 539641"/>
                  <a:gd name="connsiteX25" fmla="*/ 5217 w 553405"/>
                  <a:gd name="connsiteY25" fmla="*/ 433670 h 539641"/>
                  <a:gd name="connsiteX26" fmla="*/ 10434 w 553405"/>
                  <a:gd name="connsiteY26" fmla="*/ 366658 h 539641"/>
                  <a:gd name="connsiteX27" fmla="*/ 17216 w 553405"/>
                  <a:gd name="connsiteY27" fmla="*/ 294354 h 539641"/>
                  <a:gd name="connsiteX28" fmla="*/ 25041 w 553405"/>
                  <a:gd name="connsiteY28" fmla="*/ 222051 h 539641"/>
                  <a:gd name="connsiteX29" fmla="*/ 34432 w 553405"/>
                  <a:gd name="connsiteY29" fmla="*/ 143870 h 539641"/>
                  <a:gd name="connsiteX30" fmla="*/ 44344 w 553405"/>
                  <a:gd name="connsiteY30" fmla="*/ 64512 h 539641"/>
                  <a:gd name="connsiteX31" fmla="*/ 45909 w 553405"/>
                  <a:gd name="connsiteY31" fmla="*/ 56283 h 539641"/>
                  <a:gd name="connsiteX32" fmla="*/ 46430 w 553405"/>
                  <a:gd name="connsiteY32" fmla="*/ 52756 h 539641"/>
                  <a:gd name="connsiteX33" fmla="*/ 46430 w 553405"/>
                  <a:gd name="connsiteY33" fmla="*/ 48641 h 539641"/>
                  <a:gd name="connsiteX34" fmla="*/ 46952 w 553405"/>
                  <a:gd name="connsiteY34" fmla="*/ 43350 h 539641"/>
                  <a:gd name="connsiteX35" fmla="*/ 47995 w 553405"/>
                  <a:gd name="connsiteY35" fmla="*/ 39823 h 539641"/>
                  <a:gd name="connsiteX36" fmla="*/ 49561 w 553405"/>
                  <a:gd name="connsiteY36" fmla="*/ 36884 h 539641"/>
                  <a:gd name="connsiteX37" fmla="*/ 51126 w 553405"/>
                  <a:gd name="connsiteY37" fmla="*/ 34533 h 539641"/>
                  <a:gd name="connsiteX38" fmla="*/ 53212 w 553405"/>
                  <a:gd name="connsiteY38" fmla="*/ 32181 h 539641"/>
                  <a:gd name="connsiteX39" fmla="*/ 55299 w 553405"/>
                  <a:gd name="connsiteY39" fmla="*/ 30418 h 539641"/>
                  <a:gd name="connsiteX40" fmla="*/ 61038 w 553405"/>
                  <a:gd name="connsiteY40" fmla="*/ 27479 h 539641"/>
                  <a:gd name="connsiteX41" fmla="*/ 74601 w 553405"/>
                  <a:gd name="connsiteY41" fmla="*/ 21601 h 539641"/>
                  <a:gd name="connsiteX42" fmla="*/ 88165 w 553405"/>
                  <a:gd name="connsiteY42" fmla="*/ 16898 h 539641"/>
                  <a:gd name="connsiteX43" fmla="*/ 101208 w 553405"/>
                  <a:gd name="connsiteY43" fmla="*/ 12195 h 539641"/>
                  <a:gd name="connsiteX44" fmla="*/ 187497 w 553405"/>
                  <a:gd name="connsiteY44" fmla="*/ 0 h 53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53405" h="539641">
                    <a:moveTo>
                      <a:pt x="187497" y="0"/>
                    </a:moveTo>
                    <a:cubicBezTo>
                      <a:pt x="276619" y="37593"/>
                      <a:pt x="304938" y="37939"/>
                      <a:pt x="382458" y="175"/>
                    </a:cubicBezTo>
                    <a:lnTo>
                      <a:pt x="453868" y="12783"/>
                    </a:lnTo>
                    <a:lnTo>
                      <a:pt x="474735" y="20425"/>
                    </a:lnTo>
                    <a:lnTo>
                      <a:pt x="495603" y="29242"/>
                    </a:lnTo>
                    <a:lnTo>
                      <a:pt x="499776" y="31594"/>
                    </a:lnTo>
                    <a:lnTo>
                      <a:pt x="502907" y="34533"/>
                    </a:lnTo>
                    <a:lnTo>
                      <a:pt x="503950" y="36296"/>
                    </a:lnTo>
                    <a:lnTo>
                      <a:pt x="504993" y="38060"/>
                    </a:lnTo>
                    <a:lnTo>
                      <a:pt x="505515" y="40411"/>
                    </a:lnTo>
                    <a:lnTo>
                      <a:pt x="506037" y="43938"/>
                    </a:lnTo>
                    <a:lnTo>
                      <a:pt x="520122" y="159153"/>
                    </a:lnTo>
                    <a:lnTo>
                      <a:pt x="526904" y="216761"/>
                    </a:lnTo>
                    <a:lnTo>
                      <a:pt x="534208" y="274956"/>
                    </a:lnTo>
                    <a:lnTo>
                      <a:pt x="540990" y="341381"/>
                    </a:lnTo>
                    <a:lnTo>
                      <a:pt x="544120" y="375475"/>
                    </a:lnTo>
                    <a:lnTo>
                      <a:pt x="546728" y="408394"/>
                    </a:lnTo>
                    <a:lnTo>
                      <a:pt x="548815" y="442488"/>
                    </a:lnTo>
                    <a:lnTo>
                      <a:pt x="550902" y="475407"/>
                    </a:lnTo>
                    <a:cubicBezTo>
                      <a:pt x="551424" y="486772"/>
                      <a:pt x="551945" y="498136"/>
                      <a:pt x="552467" y="509501"/>
                    </a:cubicBezTo>
                    <a:cubicBezTo>
                      <a:pt x="552780" y="519548"/>
                      <a:pt x="553092" y="529594"/>
                      <a:pt x="553405" y="539641"/>
                    </a:cubicBezTo>
                    <a:lnTo>
                      <a:pt x="0" y="539641"/>
                    </a:lnTo>
                    <a:lnTo>
                      <a:pt x="0" y="525372"/>
                    </a:lnTo>
                    <a:lnTo>
                      <a:pt x="1044" y="501271"/>
                    </a:lnTo>
                    <a:cubicBezTo>
                      <a:pt x="1566" y="490102"/>
                      <a:pt x="2087" y="478934"/>
                      <a:pt x="2609" y="467765"/>
                    </a:cubicBezTo>
                    <a:lnTo>
                      <a:pt x="5217" y="433670"/>
                    </a:lnTo>
                    <a:lnTo>
                      <a:pt x="10434" y="366658"/>
                    </a:lnTo>
                    <a:lnTo>
                      <a:pt x="17216" y="294354"/>
                    </a:lnTo>
                    <a:lnTo>
                      <a:pt x="25041" y="222051"/>
                    </a:lnTo>
                    <a:lnTo>
                      <a:pt x="34432" y="143870"/>
                    </a:lnTo>
                    <a:lnTo>
                      <a:pt x="44344" y="64512"/>
                    </a:lnTo>
                    <a:lnTo>
                      <a:pt x="45909" y="56283"/>
                    </a:lnTo>
                    <a:cubicBezTo>
                      <a:pt x="46083" y="55107"/>
                      <a:pt x="46256" y="53932"/>
                      <a:pt x="46430" y="52756"/>
                    </a:cubicBezTo>
                    <a:lnTo>
                      <a:pt x="46430" y="48641"/>
                    </a:lnTo>
                    <a:lnTo>
                      <a:pt x="46952" y="43350"/>
                    </a:lnTo>
                    <a:lnTo>
                      <a:pt x="47995" y="39823"/>
                    </a:lnTo>
                    <a:lnTo>
                      <a:pt x="49561" y="36884"/>
                    </a:lnTo>
                    <a:lnTo>
                      <a:pt x="51126" y="34533"/>
                    </a:lnTo>
                    <a:lnTo>
                      <a:pt x="53212" y="32181"/>
                    </a:lnTo>
                    <a:lnTo>
                      <a:pt x="55299" y="30418"/>
                    </a:lnTo>
                    <a:lnTo>
                      <a:pt x="61038" y="27479"/>
                    </a:lnTo>
                    <a:lnTo>
                      <a:pt x="74601" y="21601"/>
                    </a:lnTo>
                    <a:lnTo>
                      <a:pt x="88165" y="16898"/>
                    </a:lnTo>
                    <a:lnTo>
                      <a:pt x="101208" y="12195"/>
                    </a:lnTo>
                    <a:lnTo>
                      <a:pt x="187497" y="0"/>
                    </a:lnTo>
                    <a:close/>
                  </a:path>
                </a:pathLst>
              </a:custGeom>
              <a:solidFill>
                <a:schemeClr val="bg1">
                  <a:lumMod val="75000"/>
                </a:schemeClr>
              </a:solidFill>
              <a:ln w="9525">
                <a:solidFill>
                  <a:schemeClr val="bg1">
                    <a:lumMod val="65000"/>
                  </a:schemeClr>
                </a:solidFill>
                <a:round/>
                <a:headEnd/>
                <a:tailEnd/>
              </a:ln>
            </p:spPr>
            <p:txBody>
              <a:bodyPr vert="horz" wrap="square" lIns="91417" tIns="45707" rIns="91417" bIns="45707"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50">
                  <a:defRPr/>
                </a:pPr>
                <a:endParaRPr lang="en-US" sz="1799" kern="0">
                  <a:solidFill>
                    <a:srgbClr val="505050"/>
                  </a:solidFill>
                  <a:latin typeface="Segoe UI"/>
                </a:endParaRPr>
              </a:p>
            </p:txBody>
          </p:sp>
          <p:sp>
            <p:nvSpPr>
              <p:cNvPr id="2475" name="Freeform: Shape 2474">
                <a:extLst>
                  <a:ext uri="{FF2B5EF4-FFF2-40B4-BE49-F238E27FC236}">
                    <a16:creationId xmlns:a16="http://schemas.microsoft.com/office/drawing/2014/main" id="{E9AE6C5F-ADAF-43B4-BBBF-130C090DB45D}"/>
                  </a:ext>
                </a:extLst>
              </p:cNvPr>
              <p:cNvSpPr/>
              <p:nvPr/>
            </p:nvSpPr>
            <p:spPr bwMode="auto">
              <a:xfrm flipH="1">
                <a:off x="14720796" y="2114287"/>
                <a:ext cx="1005802" cy="1156772"/>
              </a:xfrm>
              <a:custGeom>
                <a:avLst/>
                <a:gdLst>
                  <a:gd name="connsiteX0" fmla="*/ 114300 w 2032000"/>
                  <a:gd name="connsiteY0" fmla="*/ 215900 h 1524000"/>
                  <a:gd name="connsiteX1" fmla="*/ 228600 w 2032000"/>
                  <a:gd name="connsiteY1" fmla="*/ 406400 h 1524000"/>
                  <a:gd name="connsiteX2" fmla="*/ 0 w 2032000"/>
                  <a:gd name="connsiteY2" fmla="*/ 469900 h 1524000"/>
                  <a:gd name="connsiteX3" fmla="*/ 292100 w 2032000"/>
                  <a:gd name="connsiteY3" fmla="*/ 571500 h 1524000"/>
                  <a:gd name="connsiteX4" fmla="*/ 165100 w 2032000"/>
                  <a:gd name="connsiteY4" fmla="*/ 673100 h 1524000"/>
                  <a:gd name="connsiteX5" fmla="*/ 254000 w 2032000"/>
                  <a:gd name="connsiteY5" fmla="*/ 762000 h 1524000"/>
                  <a:gd name="connsiteX6" fmla="*/ 63500 w 2032000"/>
                  <a:gd name="connsiteY6" fmla="*/ 952500 h 1524000"/>
                  <a:gd name="connsiteX7" fmla="*/ 368300 w 2032000"/>
                  <a:gd name="connsiteY7" fmla="*/ 1498600 h 1524000"/>
                  <a:gd name="connsiteX8" fmla="*/ 1765300 w 2032000"/>
                  <a:gd name="connsiteY8" fmla="*/ 1524000 h 1524000"/>
                  <a:gd name="connsiteX9" fmla="*/ 2032000 w 2032000"/>
                  <a:gd name="connsiteY9" fmla="*/ 723900 h 1524000"/>
                  <a:gd name="connsiteX10" fmla="*/ 1866900 w 2032000"/>
                  <a:gd name="connsiteY10" fmla="*/ 0 h 1524000"/>
                  <a:gd name="connsiteX11" fmla="*/ 114300 w 2032000"/>
                  <a:gd name="connsiteY11" fmla="*/ 215900 h 1524000"/>
                  <a:gd name="connsiteX0" fmla="*/ 114300 w 2032000"/>
                  <a:gd name="connsiteY0" fmla="*/ 215900 h 1524000"/>
                  <a:gd name="connsiteX1" fmla="*/ 228600 w 2032000"/>
                  <a:gd name="connsiteY1" fmla="*/ 406400 h 1524000"/>
                  <a:gd name="connsiteX2" fmla="*/ 0 w 2032000"/>
                  <a:gd name="connsiteY2" fmla="*/ 469900 h 1524000"/>
                  <a:gd name="connsiteX3" fmla="*/ 292100 w 2032000"/>
                  <a:gd name="connsiteY3" fmla="*/ 571500 h 1524000"/>
                  <a:gd name="connsiteX4" fmla="*/ 165100 w 2032000"/>
                  <a:gd name="connsiteY4" fmla="*/ 673100 h 1524000"/>
                  <a:gd name="connsiteX5" fmla="*/ 254000 w 2032000"/>
                  <a:gd name="connsiteY5" fmla="*/ 762000 h 1524000"/>
                  <a:gd name="connsiteX6" fmla="*/ 63500 w 2032000"/>
                  <a:gd name="connsiteY6" fmla="*/ 952500 h 1524000"/>
                  <a:gd name="connsiteX7" fmla="*/ 368300 w 2032000"/>
                  <a:gd name="connsiteY7" fmla="*/ 1498600 h 1524000"/>
                  <a:gd name="connsiteX8" fmla="*/ 1765300 w 2032000"/>
                  <a:gd name="connsiteY8" fmla="*/ 1524000 h 1524000"/>
                  <a:gd name="connsiteX9" fmla="*/ 2032000 w 2032000"/>
                  <a:gd name="connsiteY9" fmla="*/ 723900 h 1524000"/>
                  <a:gd name="connsiteX10" fmla="*/ 1866900 w 2032000"/>
                  <a:gd name="connsiteY10" fmla="*/ 0 h 1524000"/>
                  <a:gd name="connsiteX11" fmla="*/ 114300 w 2032000"/>
                  <a:gd name="connsiteY11" fmla="*/ 215900 h 1524000"/>
                  <a:gd name="connsiteX0" fmla="*/ 114300 w 2032000"/>
                  <a:gd name="connsiteY0" fmla="*/ 51755 h 1359855"/>
                  <a:gd name="connsiteX1" fmla="*/ 228600 w 2032000"/>
                  <a:gd name="connsiteY1" fmla="*/ 242255 h 1359855"/>
                  <a:gd name="connsiteX2" fmla="*/ 0 w 2032000"/>
                  <a:gd name="connsiteY2" fmla="*/ 305755 h 1359855"/>
                  <a:gd name="connsiteX3" fmla="*/ 292100 w 2032000"/>
                  <a:gd name="connsiteY3" fmla="*/ 407355 h 1359855"/>
                  <a:gd name="connsiteX4" fmla="*/ 165100 w 2032000"/>
                  <a:gd name="connsiteY4" fmla="*/ 508955 h 1359855"/>
                  <a:gd name="connsiteX5" fmla="*/ 254000 w 2032000"/>
                  <a:gd name="connsiteY5" fmla="*/ 597855 h 1359855"/>
                  <a:gd name="connsiteX6" fmla="*/ 63500 w 2032000"/>
                  <a:gd name="connsiteY6" fmla="*/ 788355 h 1359855"/>
                  <a:gd name="connsiteX7" fmla="*/ 368300 w 2032000"/>
                  <a:gd name="connsiteY7" fmla="*/ 1334455 h 1359855"/>
                  <a:gd name="connsiteX8" fmla="*/ 1765300 w 2032000"/>
                  <a:gd name="connsiteY8" fmla="*/ 1359855 h 1359855"/>
                  <a:gd name="connsiteX9" fmla="*/ 2032000 w 2032000"/>
                  <a:gd name="connsiteY9" fmla="*/ 559755 h 1359855"/>
                  <a:gd name="connsiteX10" fmla="*/ 1866900 w 2032000"/>
                  <a:gd name="connsiteY10" fmla="*/ 955 h 1359855"/>
                  <a:gd name="connsiteX11" fmla="*/ 114300 w 2032000"/>
                  <a:gd name="connsiteY11" fmla="*/ 51755 h 1359855"/>
                  <a:gd name="connsiteX0" fmla="*/ 114300 w 2032000"/>
                  <a:gd name="connsiteY0" fmla="*/ 152678 h 1460778"/>
                  <a:gd name="connsiteX1" fmla="*/ 228600 w 2032000"/>
                  <a:gd name="connsiteY1" fmla="*/ 343178 h 1460778"/>
                  <a:gd name="connsiteX2" fmla="*/ 0 w 2032000"/>
                  <a:gd name="connsiteY2" fmla="*/ 406678 h 1460778"/>
                  <a:gd name="connsiteX3" fmla="*/ 292100 w 2032000"/>
                  <a:gd name="connsiteY3" fmla="*/ 508278 h 1460778"/>
                  <a:gd name="connsiteX4" fmla="*/ 165100 w 2032000"/>
                  <a:gd name="connsiteY4" fmla="*/ 609878 h 1460778"/>
                  <a:gd name="connsiteX5" fmla="*/ 254000 w 2032000"/>
                  <a:gd name="connsiteY5" fmla="*/ 698778 h 1460778"/>
                  <a:gd name="connsiteX6" fmla="*/ 63500 w 2032000"/>
                  <a:gd name="connsiteY6" fmla="*/ 889278 h 1460778"/>
                  <a:gd name="connsiteX7" fmla="*/ 368300 w 2032000"/>
                  <a:gd name="connsiteY7" fmla="*/ 1435378 h 1460778"/>
                  <a:gd name="connsiteX8" fmla="*/ 1765300 w 2032000"/>
                  <a:gd name="connsiteY8" fmla="*/ 1460778 h 1460778"/>
                  <a:gd name="connsiteX9" fmla="*/ 2032000 w 2032000"/>
                  <a:gd name="connsiteY9" fmla="*/ 660678 h 1460778"/>
                  <a:gd name="connsiteX10" fmla="*/ 1866900 w 2032000"/>
                  <a:gd name="connsiteY10" fmla="*/ 101878 h 1460778"/>
                  <a:gd name="connsiteX11" fmla="*/ 114300 w 2032000"/>
                  <a:gd name="connsiteY11" fmla="*/ 152678 h 1460778"/>
                  <a:gd name="connsiteX0" fmla="*/ 114300 w 2032000"/>
                  <a:gd name="connsiteY0" fmla="*/ 203048 h 1511148"/>
                  <a:gd name="connsiteX1" fmla="*/ 228600 w 2032000"/>
                  <a:gd name="connsiteY1" fmla="*/ 393548 h 1511148"/>
                  <a:gd name="connsiteX2" fmla="*/ 0 w 2032000"/>
                  <a:gd name="connsiteY2" fmla="*/ 457048 h 1511148"/>
                  <a:gd name="connsiteX3" fmla="*/ 292100 w 2032000"/>
                  <a:gd name="connsiteY3" fmla="*/ 558648 h 1511148"/>
                  <a:gd name="connsiteX4" fmla="*/ 165100 w 2032000"/>
                  <a:gd name="connsiteY4" fmla="*/ 660248 h 1511148"/>
                  <a:gd name="connsiteX5" fmla="*/ 254000 w 2032000"/>
                  <a:gd name="connsiteY5" fmla="*/ 749148 h 1511148"/>
                  <a:gd name="connsiteX6" fmla="*/ 63500 w 2032000"/>
                  <a:gd name="connsiteY6" fmla="*/ 939648 h 1511148"/>
                  <a:gd name="connsiteX7" fmla="*/ 368300 w 2032000"/>
                  <a:gd name="connsiteY7" fmla="*/ 1485748 h 1511148"/>
                  <a:gd name="connsiteX8" fmla="*/ 1765300 w 2032000"/>
                  <a:gd name="connsiteY8" fmla="*/ 1511148 h 1511148"/>
                  <a:gd name="connsiteX9" fmla="*/ 2032000 w 2032000"/>
                  <a:gd name="connsiteY9" fmla="*/ 711048 h 1511148"/>
                  <a:gd name="connsiteX10" fmla="*/ 1866900 w 2032000"/>
                  <a:gd name="connsiteY10" fmla="*/ 152248 h 1511148"/>
                  <a:gd name="connsiteX11" fmla="*/ 114300 w 2032000"/>
                  <a:gd name="connsiteY11" fmla="*/ 203048 h 1511148"/>
                  <a:gd name="connsiteX0" fmla="*/ 114300 w 2032000"/>
                  <a:gd name="connsiteY0" fmla="*/ 203048 h 1511148"/>
                  <a:gd name="connsiteX1" fmla="*/ 228600 w 2032000"/>
                  <a:gd name="connsiteY1" fmla="*/ 393548 h 1511148"/>
                  <a:gd name="connsiteX2" fmla="*/ 0 w 2032000"/>
                  <a:gd name="connsiteY2" fmla="*/ 457048 h 1511148"/>
                  <a:gd name="connsiteX3" fmla="*/ 292100 w 2032000"/>
                  <a:gd name="connsiteY3" fmla="*/ 558648 h 1511148"/>
                  <a:gd name="connsiteX4" fmla="*/ 165100 w 2032000"/>
                  <a:gd name="connsiteY4" fmla="*/ 660248 h 1511148"/>
                  <a:gd name="connsiteX5" fmla="*/ 254000 w 2032000"/>
                  <a:gd name="connsiteY5" fmla="*/ 749148 h 1511148"/>
                  <a:gd name="connsiteX6" fmla="*/ 63500 w 2032000"/>
                  <a:gd name="connsiteY6" fmla="*/ 939648 h 1511148"/>
                  <a:gd name="connsiteX7" fmla="*/ 368300 w 2032000"/>
                  <a:gd name="connsiteY7" fmla="*/ 1485748 h 1511148"/>
                  <a:gd name="connsiteX8" fmla="*/ 1765300 w 2032000"/>
                  <a:gd name="connsiteY8" fmla="*/ 1511148 h 1511148"/>
                  <a:gd name="connsiteX9" fmla="*/ 2032000 w 2032000"/>
                  <a:gd name="connsiteY9" fmla="*/ 711048 h 1511148"/>
                  <a:gd name="connsiteX10" fmla="*/ 1866900 w 2032000"/>
                  <a:gd name="connsiteY10" fmla="*/ 152248 h 1511148"/>
                  <a:gd name="connsiteX11" fmla="*/ 114300 w 2032000"/>
                  <a:gd name="connsiteY11" fmla="*/ 203048 h 1511148"/>
                  <a:gd name="connsiteX0" fmla="*/ 114300 w 2053166"/>
                  <a:gd name="connsiteY0" fmla="*/ 203048 h 1511148"/>
                  <a:gd name="connsiteX1" fmla="*/ 228600 w 2053166"/>
                  <a:gd name="connsiteY1" fmla="*/ 393548 h 1511148"/>
                  <a:gd name="connsiteX2" fmla="*/ 0 w 2053166"/>
                  <a:gd name="connsiteY2" fmla="*/ 457048 h 1511148"/>
                  <a:gd name="connsiteX3" fmla="*/ 292100 w 2053166"/>
                  <a:gd name="connsiteY3" fmla="*/ 558648 h 1511148"/>
                  <a:gd name="connsiteX4" fmla="*/ 165100 w 2053166"/>
                  <a:gd name="connsiteY4" fmla="*/ 660248 h 1511148"/>
                  <a:gd name="connsiteX5" fmla="*/ 254000 w 2053166"/>
                  <a:gd name="connsiteY5" fmla="*/ 749148 h 1511148"/>
                  <a:gd name="connsiteX6" fmla="*/ 63500 w 2053166"/>
                  <a:gd name="connsiteY6" fmla="*/ 939648 h 1511148"/>
                  <a:gd name="connsiteX7" fmla="*/ 368300 w 2053166"/>
                  <a:gd name="connsiteY7" fmla="*/ 1485748 h 1511148"/>
                  <a:gd name="connsiteX8" fmla="*/ 1765300 w 2053166"/>
                  <a:gd name="connsiteY8" fmla="*/ 1511148 h 1511148"/>
                  <a:gd name="connsiteX9" fmla="*/ 2032000 w 2053166"/>
                  <a:gd name="connsiteY9" fmla="*/ 711048 h 1511148"/>
                  <a:gd name="connsiteX10" fmla="*/ 1866900 w 2053166"/>
                  <a:gd name="connsiteY10" fmla="*/ 152248 h 1511148"/>
                  <a:gd name="connsiteX11" fmla="*/ 114300 w 2053166"/>
                  <a:gd name="connsiteY11" fmla="*/ 203048 h 1511148"/>
                  <a:gd name="connsiteX0" fmla="*/ 114300 w 2053166"/>
                  <a:gd name="connsiteY0" fmla="*/ 203048 h 1511148"/>
                  <a:gd name="connsiteX1" fmla="*/ 228600 w 2053166"/>
                  <a:gd name="connsiteY1" fmla="*/ 393548 h 1511148"/>
                  <a:gd name="connsiteX2" fmla="*/ 0 w 2053166"/>
                  <a:gd name="connsiteY2" fmla="*/ 457048 h 1511148"/>
                  <a:gd name="connsiteX3" fmla="*/ 292100 w 2053166"/>
                  <a:gd name="connsiteY3" fmla="*/ 558648 h 1511148"/>
                  <a:gd name="connsiteX4" fmla="*/ 165100 w 2053166"/>
                  <a:gd name="connsiteY4" fmla="*/ 660248 h 1511148"/>
                  <a:gd name="connsiteX5" fmla="*/ 254000 w 2053166"/>
                  <a:gd name="connsiteY5" fmla="*/ 749148 h 1511148"/>
                  <a:gd name="connsiteX6" fmla="*/ 63500 w 2053166"/>
                  <a:gd name="connsiteY6" fmla="*/ 939648 h 1511148"/>
                  <a:gd name="connsiteX7" fmla="*/ 368300 w 2053166"/>
                  <a:gd name="connsiteY7" fmla="*/ 1485748 h 1511148"/>
                  <a:gd name="connsiteX8" fmla="*/ 1765300 w 2053166"/>
                  <a:gd name="connsiteY8" fmla="*/ 1511148 h 1511148"/>
                  <a:gd name="connsiteX9" fmla="*/ 2032000 w 2053166"/>
                  <a:gd name="connsiteY9" fmla="*/ 711048 h 1511148"/>
                  <a:gd name="connsiteX10" fmla="*/ 1866900 w 2053166"/>
                  <a:gd name="connsiteY10" fmla="*/ 152248 h 1511148"/>
                  <a:gd name="connsiteX11" fmla="*/ 114300 w 2053166"/>
                  <a:gd name="connsiteY11" fmla="*/ 203048 h 1511148"/>
                  <a:gd name="connsiteX0" fmla="*/ 114300 w 2053166"/>
                  <a:gd name="connsiteY0" fmla="*/ 203048 h 1511148"/>
                  <a:gd name="connsiteX1" fmla="*/ 228600 w 2053166"/>
                  <a:gd name="connsiteY1" fmla="*/ 393548 h 1511148"/>
                  <a:gd name="connsiteX2" fmla="*/ 0 w 2053166"/>
                  <a:gd name="connsiteY2" fmla="*/ 457048 h 1511148"/>
                  <a:gd name="connsiteX3" fmla="*/ 292100 w 2053166"/>
                  <a:gd name="connsiteY3" fmla="*/ 558648 h 1511148"/>
                  <a:gd name="connsiteX4" fmla="*/ 165100 w 2053166"/>
                  <a:gd name="connsiteY4" fmla="*/ 660248 h 1511148"/>
                  <a:gd name="connsiteX5" fmla="*/ 254000 w 2053166"/>
                  <a:gd name="connsiteY5" fmla="*/ 749148 h 1511148"/>
                  <a:gd name="connsiteX6" fmla="*/ 63500 w 2053166"/>
                  <a:gd name="connsiteY6" fmla="*/ 939648 h 1511148"/>
                  <a:gd name="connsiteX7" fmla="*/ 368300 w 2053166"/>
                  <a:gd name="connsiteY7" fmla="*/ 1485748 h 1511148"/>
                  <a:gd name="connsiteX8" fmla="*/ 1765300 w 2053166"/>
                  <a:gd name="connsiteY8" fmla="*/ 1511148 h 1511148"/>
                  <a:gd name="connsiteX9" fmla="*/ 2032000 w 2053166"/>
                  <a:gd name="connsiteY9" fmla="*/ 711048 h 1511148"/>
                  <a:gd name="connsiteX10" fmla="*/ 1866900 w 2053166"/>
                  <a:gd name="connsiteY10" fmla="*/ 152248 h 1511148"/>
                  <a:gd name="connsiteX11" fmla="*/ 114300 w 2053166"/>
                  <a:gd name="connsiteY11" fmla="*/ 203048 h 1511148"/>
                  <a:gd name="connsiteX0" fmla="*/ 114300 w 2053166"/>
                  <a:gd name="connsiteY0" fmla="*/ 203048 h 1534363"/>
                  <a:gd name="connsiteX1" fmla="*/ 228600 w 2053166"/>
                  <a:gd name="connsiteY1" fmla="*/ 393548 h 1534363"/>
                  <a:gd name="connsiteX2" fmla="*/ 0 w 2053166"/>
                  <a:gd name="connsiteY2" fmla="*/ 457048 h 1534363"/>
                  <a:gd name="connsiteX3" fmla="*/ 292100 w 2053166"/>
                  <a:gd name="connsiteY3" fmla="*/ 558648 h 1534363"/>
                  <a:gd name="connsiteX4" fmla="*/ 165100 w 2053166"/>
                  <a:gd name="connsiteY4" fmla="*/ 660248 h 1534363"/>
                  <a:gd name="connsiteX5" fmla="*/ 254000 w 2053166"/>
                  <a:gd name="connsiteY5" fmla="*/ 749148 h 1534363"/>
                  <a:gd name="connsiteX6" fmla="*/ 63500 w 2053166"/>
                  <a:gd name="connsiteY6" fmla="*/ 939648 h 1534363"/>
                  <a:gd name="connsiteX7" fmla="*/ 368300 w 2053166"/>
                  <a:gd name="connsiteY7" fmla="*/ 1485748 h 1534363"/>
                  <a:gd name="connsiteX8" fmla="*/ 1765300 w 2053166"/>
                  <a:gd name="connsiteY8" fmla="*/ 1511148 h 1534363"/>
                  <a:gd name="connsiteX9" fmla="*/ 2032000 w 2053166"/>
                  <a:gd name="connsiteY9" fmla="*/ 711048 h 1534363"/>
                  <a:gd name="connsiteX10" fmla="*/ 1866900 w 2053166"/>
                  <a:gd name="connsiteY10" fmla="*/ 152248 h 1534363"/>
                  <a:gd name="connsiteX11" fmla="*/ 114300 w 2053166"/>
                  <a:gd name="connsiteY11" fmla="*/ 203048 h 1534363"/>
                  <a:gd name="connsiteX0" fmla="*/ 114300 w 2053166"/>
                  <a:gd name="connsiteY0" fmla="*/ 203048 h 1565727"/>
                  <a:gd name="connsiteX1" fmla="*/ 228600 w 2053166"/>
                  <a:gd name="connsiteY1" fmla="*/ 393548 h 1565727"/>
                  <a:gd name="connsiteX2" fmla="*/ 0 w 2053166"/>
                  <a:gd name="connsiteY2" fmla="*/ 457048 h 1565727"/>
                  <a:gd name="connsiteX3" fmla="*/ 292100 w 2053166"/>
                  <a:gd name="connsiteY3" fmla="*/ 558648 h 1565727"/>
                  <a:gd name="connsiteX4" fmla="*/ 165100 w 2053166"/>
                  <a:gd name="connsiteY4" fmla="*/ 660248 h 1565727"/>
                  <a:gd name="connsiteX5" fmla="*/ 254000 w 2053166"/>
                  <a:gd name="connsiteY5" fmla="*/ 749148 h 1565727"/>
                  <a:gd name="connsiteX6" fmla="*/ 63500 w 2053166"/>
                  <a:gd name="connsiteY6" fmla="*/ 939648 h 1565727"/>
                  <a:gd name="connsiteX7" fmla="*/ 368300 w 2053166"/>
                  <a:gd name="connsiteY7" fmla="*/ 1485748 h 1565727"/>
                  <a:gd name="connsiteX8" fmla="*/ 1765300 w 2053166"/>
                  <a:gd name="connsiteY8" fmla="*/ 1511148 h 1565727"/>
                  <a:gd name="connsiteX9" fmla="*/ 2032000 w 2053166"/>
                  <a:gd name="connsiteY9" fmla="*/ 711048 h 1565727"/>
                  <a:gd name="connsiteX10" fmla="*/ 1866900 w 2053166"/>
                  <a:gd name="connsiteY10" fmla="*/ 152248 h 1565727"/>
                  <a:gd name="connsiteX11" fmla="*/ 114300 w 2053166"/>
                  <a:gd name="connsiteY11" fmla="*/ 203048 h 1565727"/>
                  <a:gd name="connsiteX0" fmla="*/ 114300 w 2053166"/>
                  <a:gd name="connsiteY0" fmla="*/ 203048 h 1565727"/>
                  <a:gd name="connsiteX1" fmla="*/ 228600 w 2053166"/>
                  <a:gd name="connsiteY1" fmla="*/ 393548 h 1565727"/>
                  <a:gd name="connsiteX2" fmla="*/ 0 w 2053166"/>
                  <a:gd name="connsiteY2" fmla="*/ 457048 h 1565727"/>
                  <a:gd name="connsiteX3" fmla="*/ 292100 w 2053166"/>
                  <a:gd name="connsiteY3" fmla="*/ 558648 h 1565727"/>
                  <a:gd name="connsiteX4" fmla="*/ 165100 w 2053166"/>
                  <a:gd name="connsiteY4" fmla="*/ 660248 h 1565727"/>
                  <a:gd name="connsiteX5" fmla="*/ 254000 w 2053166"/>
                  <a:gd name="connsiteY5" fmla="*/ 749148 h 1565727"/>
                  <a:gd name="connsiteX6" fmla="*/ 63500 w 2053166"/>
                  <a:gd name="connsiteY6" fmla="*/ 939648 h 1565727"/>
                  <a:gd name="connsiteX7" fmla="*/ 368300 w 2053166"/>
                  <a:gd name="connsiteY7" fmla="*/ 1485748 h 1565727"/>
                  <a:gd name="connsiteX8" fmla="*/ 1765300 w 2053166"/>
                  <a:gd name="connsiteY8" fmla="*/ 1511148 h 1565727"/>
                  <a:gd name="connsiteX9" fmla="*/ 2032000 w 2053166"/>
                  <a:gd name="connsiteY9" fmla="*/ 711048 h 1565727"/>
                  <a:gd name="connsiteX10" fmla="*/ 1866900 w 2053166"/>
                  <a:gd name="connsiteY10" fmla="*/ 152248 h 1565727"/>
                  <a:gd name="connsiteX11" fmla="*/ 114300 w 2053166"/>
                  <a:gd name="connsiteY11" fmla="*/ 203048 h 1565727"/>
                  <a:gd name="connsiteX0" fmla="*/ 114300 w 2053166"/>
                  <a:gd name="connsiteY0" fmla="*/ 203048 h 1565727"/>
                  <a:gd name="connsiteX1" fmla="*/ 228600 w 2053166"/>
                  <a:gd name="connsiteY1" fmla="*/ 393548 h 1565727"/>
                  <a:gd name="connsiteX2" fmla="*/ 0 w 2053166"/>
                  <a:gd name="connsiteY2" fmla="*/ 457048 h 1565727"/>
                  <a:gd name="connsiteX3" fmla="*/ 292100 w 2053166"/>
                  <a:gd name="connsiteY3" fmla="*/ 558648 h 1565727"/>
                  <a:gd name="connsiteX4" fmla="*/ 165100 w 2053166"/>
                  <a:gd name="connsiteY4" fmla="*/ 660248 h 1565727"/>
                  <a:gd name="connsiteX5" fmla="*/ 400050 w 2053166"/>
                  <a:gd name="connsiteY5" fmla="*/ 749148 h 1565727"/>
                  <a:gd name="connsiteX6" fmla="*/ 63500 w 2053166"/>
                  <a:gd name="connsiteY6" fmla="*/ 939648 h 1565727"/>
                  <a:gd name="connsiteX7" fmla="*/ 368300 w 2053166"/>
                  <a:gd name="connsiteY7" fmla="*/ 1485748 h 1565727"/>
                  <a:gd name="connsiteX8" fmla="*/ 1765300 w 2053166"/>
                  <a:gd name="connsiteY8" fmla="*/ 1511148 h 1565727"/>
                  <a:gd name="connsiteX9" fmla="*/ 2032000 w 2053166"/>
                  <a:gd name="connsiteY9" fmla="*/ 711048 h 1565727"/>
                  <a:gd name="connsiteX10" fmla="*/ 1866900 w 2053166"/>
                  <a:gd name="connsiteY10" fmla="*/ 152248 h 1565727"/>
                  <a:gd name="connsiteX11" fmla="*/ 114300 w 2053166"/>
                  <a:gd name="connsiteY11" fmla="*/ 203048 h 1565727"/>
                  <a:gd name="connsiteX0" fmla="*/ 165100 w 2103966"/>
                  <a:gd name="connsiteY0" fmla="*/ 203048 h 1565727"/>
                  <a:gd name="connsiteX1" fmla="*/ 279400 w 2103966"/>
                  <a:gd name="connsiteY1" fmla="*/ 393548 h 1565727"/>
                  <a:gd name="connsiteX2" fmla="*/ 0 w 2103966"/>
                  <a:gd name="connsiteY2" fmla="*/ 457048 h 1565727"/>
                  <a:gd name="connsiteX3" fmla="*/ 342900 w 2103966"/>
                  <a:gd name="connsiteY3" fmla="*/ 558648 h 1565727"/>
                  <a:gd name="connsiteX4" fmla="*/ 215900 w 2103966"/>
                  <a:gd name="connsiteY4" fmla="*/ 660248 h 1565727"/>
                  <a:gd name="connsiteX5" fmla="*/ 450850 w 2103966"/>
                  <a:gd name="connsiteY5" fmla="*/ 749148 h 1565727"/>
                  <a:gd name="connsiteX6" fmla="*/ 114300 w 2103966"/>
                  <a:gd name="connsiteY6" fmla="*/ 939648 h 1565727"/>
                  <a:gd name="connsiteX7" fmla="*/ 419100 w 2103966"/>
                  <a:gd name="connsiteY7" fmla="*/ 1485748 h 1565727"/>
                  <a:gd name="connsiteX8" fmla="*/ 1816100 w 2103966"/>
                  <a:gd name="connsiteY8" fmla="*/ 1511148 h 1565727"/>
                  <a:gd name="connsiteX9" fmla="*/ 2082800 w 2103966"/>
                  <a:gd name="connsiteY9" fmla="*/ 711048 h 1565727"/>
                  <a:gd name="connsiteX10" fmla="*/ 1917700 w 2103966"/>
                  <a:gd name="connsiteY10" fmla="*/ 152248 h 1565727"/>
                  <a:gd name="connsiteX11" fmla="*/ 165100 w 2103966"/>
                  <a:gd name="connsiteY11" fmla="*/ 203048 h 1565727"/>
                  <a:gd name="connsiteX0" fmla="*/ 318076 w 2256942"/>
                  <a:gd name="connsiteY0" fmla="*/ 203048 h 1565727"/>
                  <a:gd name="connsiteX1" fmla="*/ 432376 w 2256942"/>
                  <a:gd name="connsiteY1" fmla="*/ 393548 h 1565727"/>
                  <a:gd name="connsiteX2" fmla="*/ 152976 w 2256942"/>
                  <a:gd name="connsiteY2" fmla="*/ 457048 h 1565727"/>
                  <a:gd name="connsiteX3" fmla="*/ 495876 w 2256942"/>
                  <a:gd name="connsiteY3" fmla="*/ 558648 h 1565727"/>
                  <a:gd name="connsiteX4" fmla="*/ 0 w 2256942"/>
                  <a:gd name="connsiteY4" fmla="*/ 641198 h 1565727"/>
                  <a:gd name="connsiteX5" fmla="*/ 603826 w 2256942"/>
                  <a:gd name="connsiteY5" fmla="*/ 749148 h 1565727"/>
                  <a:gd name="connsiteX6" fmla="*/ 267276 w 2256942"/>
                  <a:gd name="connsiteY6" fmla="*/ 939648 h 1565727"/>
                  <a:gd name="connsiteX7" fmla="*/ 572076 w 2256942"/>
                  <a:gd name="connsiteY7" fmla="*/ 1485748 h 1565727"/>
                  <a:gd name="connsiteX8" fmla="*/ 1969076 w 2256942"/>
                  <a:gd name="connsiteY8" fmla="*/ 1511148 h 1565727"/>
                  <a:gd name="connsiteX9" fmla="*/ 2235776 w 2256942"/>
                  <a:gd name="connsiteY9" fmla="*/ 711048 h 1565727"/>
                  <a:gd name="connsiteX10" fmla="*/ 2070676 w 2256942"/>
                  <a:gd name="connsiteY10" fmla="*/ 152248 h 1565727"/>
                  <a:gd name="connsiteX11" fmla="*/ 318076 w 2256942"/>
                  <a:gd name="connsiteY11" fmla="*/ 203048 h 1565727"/>
                  <a:gd name="connsiteX0" fmla="*/ 318076 w 2256942"/>
                  <a:gd name="connsiteY0" fmla="*/ 203048 h 1565727"/>
                  <a:gd name="connsiteX1" fmla="*/ 432376 w 2256942"/>
                  <a:gd name="connsiteY1" fmla="*/ 393548 h 1565727"/>
                  <a:gd name="connsiteX2" fmla="*/ 152976 w 2256942"/>
                  <a:gd name="connsiteY2" fmla="*/ 457048 h 1565727"/>
                  <a:gd name="connsiteX3" fmla="*/ 495876 w 2256942"/>
                  <a:gd name="connsiteY3" fmla="*/ 558648 h 1565727"/>
                  <a:gd name="connsiteX4" fmla="*/ 0 w 2256942"/>
                  <a:gd name="connsiteY4" fmla="*/ 641198 h 1565727"/>
                  <a:gd name="connsiteX5" fmla="*/ 382500 w 2256942"/>
                  <a:gd name="connsiteY5" fmla="*/ 749148 h 1565727"/>
                  <a:gd name="connsiteX6" fmla="*/ 267276 w 2256942"/>
                  <a:gd name="connsiteY6" fmla="*/ 939648 h 1565727"/>
                  <a:gd name="connsiteX7" fmla="*/ 572076 w 2256942"/>
                  <a:gd name="connsiteY7" fmla="*/ 1485748 h 1565727"/>
                  <a:gd name="connsiteX8" fmla="*/ 1969076 w 2256942"/>
                  <a:gd name="connsiteY8" fmla="*/ 1511148 h 1565727"/>
                  <a:gd name="connsiteX9" fmla="*/ 2235776 w 2256942"/>
                  <a:gd name="connsiteY9" fmla="*/ 711048 h 1565727"/>
                  <a:gd name="connsiteX10" fmla="*/ 2070676 w 2256942"/>
                  <a:gd name="connsiteY10" fmla="*/ 152248 h 1565727"/>
                  <a:gd name="connsiteX11" fmla="*/ 318076 w 2256942"/>
                  <a:gd name="connsiteY11" fmla="*/ 203048 h 1565727"/>
                  <a:gd name="connsiteX0" fmla="*/ 318076 w 2256942"/>
                  <a:gd name="connsiteY0" fmla="*/ 203048 h 1565727"/>
                  <a:gd name="connsiteX1" fmla="*/ 432376 w 2256942"/>
                  <a:gd name="connsiteY1" fmla="*/ 393548 h 1565727"/>
                  <a:gd name="connsiteX2" fmla="*/ 152976 w 2256942"/>
                  <a:gd name="connsiteY2" fmla="*/ 457048 h 1565727"/>
                  <a:gd name="connsiteX3" fmla="*/ 290945 w 2256942"/>
                  <a:gd name="connsiteY3" fmla="*/ 545948 h 1565727"/>
                  <a:gd name="connsiteX4" fmla="*/ 0 w 2256942"/>
                  <a:gd name="connsiteY4" fmla="*/ 641198 h 1565727"/>
                  <a:gd name="connsiteX5" fmla="*/ 382500 w 2256942"/>
                  <a:gd name="connsiteY5" fmla="*/ 749148 h 1565727"/>
                  <a:gd name="connsiteX6" fmla="*/ 267276 w 2256942"/>
                  <a:gd name="connsiteY6" fmla="*/ 939648 h 1565727"/>
                  <a:gd name="connsiteX7" fmla="*/ 572076 w 2256942"/>
                  <a:gd name="connsiteY7" fmla="*/ 1485748 h 1565727"/>
                  <a:gd name="connsiteX8" fmla="*/ 1969076 w 2256942"/>
                  <a:gd name="connsiteY8" fmla="*/ 1511148 h 1565727"/>
                  <a:gd name="connsiteX9" fmla="*/ 2235776 w 2256942"/>
                  <a:gd name="connsiteY9" fmla="*/ 711048 h 1565727"/>
                  <a:gd name="connsiteX10" fmla="*/ 2070676 w 2256942"/>
                  <a:gd name="connsiteY10" fmla="*/ 152248 h 1565727"/>
                  <a:gd name="connsiteX11" fmla="*/ 318076 w 2256942"/>
                  <a:gd name="connsiteY11" fmla="*/ 203048 h 1565727"/>
                  <a:gd name="connsiteX0" fmla="*/ 329045 w 2267911"/>
                  <a:gd name="connsiteY0" fmla="*/ 203048 h 1565727"/>
                  <a:gd name="connsiteX1" fmla="*/ 443345 w 2267911"/>
                  <a:gd name="connsiteY1" fmla="*/ 393548 h 1565727"/>
                  <a:gd name="connsiteX2" fmla="*/ 0 w 2267911"/>
                  <a:gd name="connsiteY2" fmla="*/ 457048 h 1565727"/>
                  <a:gd name="connsiteX3" fmla="*/ 301914 w 2267911"/>
                  <a:gd name="connsiteY3" fmla="*/ 545948 h 1565727"/>
                  <a:gd name="connsiteX4" fmla="*/ 10969 w 2267911"/>
                  <a:gd name="connsiteY4" fmla="*/ 641198 h 1565727"/>
                  <a:gd name="connsiteX5" fmla="*/ 393469 w 2267911"/>
                  <a:gd name="connsiteY5" fmla="*/ 749148 h 1565727"/>
                  <a:gd name="connsiteX6" fmla="*/ 278245 w 2267911"/>
                  <a:gd name="connsiteY6" fmla="*/ 939648 h 1565727"/>
                  <a:gd name="connsiteX7" fmla="*/ 583045 w 2267911"/>
                  <a:gd name="connsiteY7" fmla="*/ 1485748 h 1565727"/>
                  <a:gd name="connsiteX8" fmla="*/ 1980045 w 2267911"/>
                  <a:gd name="connsiteY8" fmla="*/ 1511148 h 1565727"/>
                  <a:gd name="connsiteX9" fmla="*/ 2246745 w 2267911"/>
                  <a:gd name="connsiteY9" fmla="*/ 711048 h 1565727"/>
                  <a:gd name="connsiteX10" fmla="*/ 2081645 w 2267911"/>
                  <a:gd name="connsiteY10" fmla="*/ 152248 h 1565727"/>
                  <a:gd name="connsiteX11" fmla="*/ 329045 w 2267911"/>
                  <a:gd name="connsiteY11" fmla="*/ 203048 h 1565727"/>
                  <a:gd name="connsiteX0" fmla="*/ 329045 w 2267911"/>
                  <a:gd name="connsiteY0" fmla="*/ 203048 h 1565727"/>
                  <a:gd name="connsiteX1" fmla="*/ 410556 w 2267911"/>
                  <a:gd name="connsiteY1" fmla="*/ 387198 h 1565727"/>
                  <a:gd name="connsiteX2" fmla="*/ 0 w 2267911"/>
                  <a:gd name="connsiteY2" fmla="*/ 457048 h 1565727"/>
                  <a:gd name="connsiteX3" fmla="*/ 301914 w 2267911"/>
                  <a:gd name="connsiteY3" fmla="*/ 545948 h 1565727"/>
                  <a:gd name="connsiteX4" fmla="*/ 10969 w 2267911"/>
                  <a:gd name="connsiteY4" fmla="*/ 641198 h 1565727"/>
                  <a:gd name="connsiteX5" fmla="*/ 393469 w 2267911"/>
                  <a:gd name="connsiteY5" fmla="*/ 749148 h 1565727"/>
                  <a:gd name="connsiteX6" fmla="*/ 278245 w 2267911"/>
                  <a:gd name="connsiteY6" fmla="*/ 939648 h 1565727"/>
                  <a:gd name="connsiteX7" fmla="*/ 583045 w 2267911"/>
                  <a:gd name="connsiteY7" fmla="*/ 1485748 h 1565727"/>
                  <a:gd name="connsiteX8" fmla="*/ 1980045 w 2267911"/>
                  <a:gd name="connsiteY8" fmla="*/ 1511148 h 1565727"/>
                  <a:gd name="connsiteX9" fmla="*/ 2246745 w 2267911"/>
                  <a:gd name="connsiteY9" fmla="*/ 711048 h 1565727"/>
                  <a:gd name="connsiteX10" fmla="*/ 2081645 w 2267911"/>
                  <a:gd name="connsiteY10" fmla="*/ 152248 h 1565727"/>
                  <a:gd name="connsiteX11" fmla="*/ 329045 w 2267911"/>
                  <a:gd name="connsiteY11" fmla="*/ 203048 h 1565727"/>
                  <a:gd name="connsiteX0" fmla="*/ 329045 w 2267911"/>
                  <a:gd name="connsiteY0" fmla="*/ 203048 h 1565727"/>
                  <a:gd name="connsiteX1" fmla="*/ 410556 w 2267911"/>
                  <a:gd name="connsiteY1" fmla="*/ 387198 h 1565727"/>
                  <a:gd name="connsiteX2" fmla="*/ 0 w 2267911"/>
                  <a:gd name="connsiteY2" fmla="*/ 457048 h 1565727"/>
                  <a:gd name="connsiteX3" fmla="*/ 366147 w 2267911"/>
                  <a:gd name="connsiteY3" fmla="*/ 552298 h 1565727"/>
                  <a:gd name="connsiteX4" fmla="*/ 301914 w 2267911"/>
                  <a:gd name="connsiteY4" fmla="*/ 545948 h 1565727"/>
                  <a:gd name="connsiteX5" fmla="*/ 10969 w 2267911"/>
                  <a:gd name="connsiteY5" fmla="*/ 641198 h 1565727"/>
                  <a:gd name="connsiteX6" fmla="*/ 393469 w 2267911"/>
                  <a:gd name="connsiteY6" fmla="*/ 749148 h 1565727"/>
                  <a:gd name="connsiteX7" fmla="*/ 278245 w 2267911"/>
                  <a:gd name="connsiteY7" fmla="*/ 939648 h 1565727"/>
                  <a:gd name="connsiteX8" fmla="*/ 583045 w 2267911"/>
                  <a:gd name="connsiteY8" fmla="*/ 1485748 h 1565727"/>
                  <a:gd name="connsiteX9" fmla="*/ 1980045 w 2267911"/>
                  <a:gd name="connsiteY9" fmla="*/ 1511148 h 1565727"/>
                  <a:gd name="connsiteX10" fmla="*/ 2246745 w 2267911"/>
                  <a:gd name="connsiteY10" fmla="*/ 711048 h 1565727"/>
                  <a:gd name="connsiteX11" fmla="*/ 2081645 w 2267911"/>
                  <a:gd name="connsiteY11" fmla="*/ 152248 h 1565727"/>
                  <a:gd name="connsiteX12" fmla="*/ 329045 w 2267911"/>
                  <a:gd name="connsiteY12" fmla="*/ 203048 h 1565727"/>
                  <a:gd name="connsiteX0" fmla="*/ 329045 w 2267911"/>
                  <a:gd name="connsiteY0" fmla="*/ 203048 h 1565727"/>
                  <a:gd name="connsiteX1" fmla="*/ 410556 w 2267911"/>
                  <a:gd name="connsiteY1" fmla="*/ 387198 h 1565727"/>
                  <a:gd name="connsiteX2" fmla="*/ 169412 w 2267911"/>
                  <a:gd name="connsiteY2" fmla="*/ 482448 h 1565727"/>
                  <a:gd name="connsiteX3" fmla="*/ 0 w 2267911"/>
                  <a:gd name="connsiteY3" fmla="*/ 457048 h 1565727"/>
                  <a:gd name="connsiteX4" fmla="*/ 366147 w 2267911"/>
                  <a:gd name="connsiteY4" fmla="*/ 552298 h 1565727"/>
                  <a:gd name="connsiteX5" fmla="*/ 301914 w 2267911"/>
                  <a:gd name="connsiteY5" fmla="*/ 545948 h 1565727"/>
                  <a:gd name="connsiteX6" fmla="*/ 10969 w 2267911"/>
                  <a:gd name="connsiteY6" fmla="*/ 641198 h 1565727"/>
                  <a:gd name="connsiteX7" fmla="*/ 393469 w 2267911"/>
                  <a:gd name="connsiteY7" fmla="*/ 749148 h 1565727"/>
                  <a:gd name="connsiteX8" fmla="*/ 278245 w 2267911"/>
                  <a:gd name="connsiteY8" fmla="*/ 939648 h 1565727"/>
                  <a:gd name="connsiteX9" fmla="*/ 583045 w 2267911"/>
                  <a:gd name="connsiteY9" fmla="*/ 1485748 h 1565727"/>
                  <a:gd name="connsiteX10" fmla="*/ 1980045 w 2267911"/>
                  <a:gd name="connsiteY10" fmla="*/ 1511148 h 1565727"/>
                  <a:gd name="connsiteX11" fmla="*/ 2246745 w 2267911"/>
                  <a:gd name="connsiteY11" fmla="*/ 711048 h 1565727"/>
                  <a:gd name="connsiteX12" fmla="*/ 2081645 w 2267911"/>
                  <a:gd name="connsiteY12" fmla="*/ 152248 h 1565727"/>
                  <a:gd name="connsiteX13" fmla="*/ 329045 w 2267911"/>
                  <a:gd name="connsiteY13" fmla="*/ 203048 h 1565727"/>
                  <a:gd name="connsiteX0" fmla="*/ 329045 w 2267911"/>
                  <a:gd name="connsiteY0" fmla="*/ 203048 h 1565727"/>
                  <a:gd name="connsiteX1" fmla="*/ 410556 w 2267911"/>
                  <a:gd name="connsiteY1" fmla="*/ 387198 h 1565727"/>
                  <a:gd name="connsiteX2" fmla="*/ 169412 w 2267911"/>
                  <a:gd name="connsiteY2" fmla="*/ 482448 h 1565727"/>
                  <a:gd name="connsiteX3" fmla="*/ 0 w 2267911"/>
                  <a:gd name="connsiteY3" fmla="*/ 457048 h 1565727"/>
                  <a:gd name="connsiteX4" fmla="*/ 301914 w 2267911"/>
                  <a:gd name="connsiteY4" fmla="*/ 545948 h 1565727"/>
                  <a:gd name="connsiteX5" fmla="*/ 10969 w 2267911"/>
                  <a:gd name="connsiteY5" fmla="*/ 641198 h 1565727"/>
                  <a:gd name="connsiteX6" fmla="*/ 393469 w 2267911"/>
                  <a:gd name="connsiteY6" fmla="*/ 749148 h 1565727"/>
                  <a:gd name="connsiteX7" fmla="*/ 278245 w 2267911"/>
                  <a:gd name="connsiteY7" fmla="*/ 939648 h 1565727"/>
                  <a:gd name="connsiteX8" fmla="*/ 583045 w 2267911"/>
                  <a:gd name="connsiteY8" fmla="*/ 1485748 h 1565727"/>
                  <a:gd name="connsiteX9" fmla="*/ 1980045 w 2267911"/>
                  <a:gd name="connsiteY9" fmla="*/ 1511148 h 1565727"/>
                  <a:gd name="connsiteX10" fmla="*/ 2246745 w 2267911"/>
                  <a:gd name="connsiteY10" fmla="*/ 711048 h 1565727"/>
                  <a:gd name="connsiteX11" fmla="*/ 2081645 w 2267911"/>
                  <a:gd name="connsiteY11" fmla="*/ 152248 h 1565727"/>
                  <a:gd name="connsiteX12" fmla="*/ 329045 w 2267911"/>
                  <a:gd name="connsiteY12" fmla="*/ 203048 h 1565727"/>
                  <a:gd name="connsiteX0" fmla="*/ 318076 w 2256942"/>
                  <a:gd name="connsiteY0" fmla="*/ 203048 h 1565727"/>
                  <a:gd name="connsiteX1" fmla="*/ 399587 w 2256942"/>
                  <a:gd name="connsiteY1" fmla="*/ 387198 h 1565727"/>
                  <a:gd name="connsiteX2" fmla="*/ 158443 w 2256942"/>
                  <a:gd name="connsiteY2" fmla="*/ 482448 h 1565727"/>
                  <a:gd name="connsiteX3" fmla="*/ 290945 w 2256942"/>
                  <a:gd name="connsiteY3" fmla="*/ 545948 h 1565727"/>
                  <a:gd name="connsiteX4" fmla="*/ 0 w 2256942"/>
                  <a:gd name="connsiteY4" fmla="*/ 641198 h 1565727"/>
                  <a:gd name="connsiteX5" fmla="*/ 382500 w 2256942"/>
                  <a:gd name="connsiteY5" fmla="*/ 749148 h 1565727"/>
                  <a:gd name="connsiteX6" fmla="*/ 267276 w 2256942"/>
                  <a:gd name="connsiteY6" fmla="*/ 939648 h 1565727"/>
                  <a:gd name="connsiteX7" fmla="*/ 572076 w 2256942"/>
                  <a:gd name="connsiteY7" fmla="*/ 1485748 h 1565727"/>
                  <a:gd name="connsiteX8" fmla="*/ 1969076 w 2256942"/>
                  <a:gd name="connsiteY8" fmla="*/ 1511148 h 1565727"/>
                  <a:gd name="connsiteX9" fmla="*/ 2235776 w 2256942"/>
                  <a:gd name="connsiteY9" fmla="*/ 711048 h 1565727"/>
                  <a:gd name="connsiteX10" fmla="*/ 2070676 w 2256942"/>
                  <a:gd name="connsiteY10" fmla="*/ 152248 h 1565727"/>
                  <a:gd name="connsiteX11" fmla="*/ 318076 w 2256942"/>
                  <a:gd name="connsiteY11" fmla="*/ 203048 h 1565727"/>
                  <a:gd name="connsiteX0" fmla="*/ 219709 w 2256942"/>
                  <a:gd name="connsiteY0" fmla="*/ 244700 h 1550229"/>
                  <a:gd name="connsiteX1" fmla="*/ 399587 w 2256942"/>
                  <a:gd name="connsiteY1" fmla="*/ 371700 h 1550229"/>
                  <a:gd name="connsiteX2" fmla="*/ 158443 w 2256942"/>
                  <a:gd name="connsiteY2" fmla="*/ 466950 h 1550229"/>
                  <a:gd name="connsiteX3" fmla="*/ 290945 w 2256942"/>
                  <a:gd name="connsiteY3" fmla="*/ 530450 h 1550229"/>
                  <a:gd name="connsiteX4" fmla="*/ 0 w 2256942"/>
                  <a:gd name="connsiteY4" fmla="*/ 625700 h 1550229"/>
                  <a:gd name="connsiteX5" fmla="*/ 382500 w 2256942"/>
                  <a:gd name="connsiteY5" fmla="*/ 733650 h 1550229"/>
                  <a:gd name="connsiteX6" fmla="*/ 267276 w 2256942"/>
                  <a:gd name="connsiteY6" fmla="*/ 924150 h 1550229"/>
                  <a:gd name="connsiteX7" fmla="*/ 572076 w 2256942"/>
                  <a:gd name="connsiteY7" fmla="*/ 1470250 h 1550229"/>
                  <a:gd name="connsiteX8" fmla="*/ 1969076 w 2256942"/>
                  <a:gd name="connsiteY8" fmla="*/ 1495650 h 1550229"/>
                  <a:gd name="connsiteX9" fmla="*/ 2235776 w 2256942"/>
                  <a:gd name="connsiteY9" fmla="*/ 695550 h 1550229"/>
                  <a:gd name="connsiteX10" fmla="*/ 2070676 w 2256942"/>
                  <a:gd name="connsiteY10" fmla="*/ 136750 h 1550229"/>
                  <a:gd name="connsiteX11" fmla="*/ 219709 w 2256942"/>
                  <a:gd name="connsiteY11" fmla="*/ 244700 h 1550229"/>
                  <a:gd name="connsiteX0" fmla="*/ 227906 w 2265139"/>
                  <a:gd name="connsiteY0" fmla="*/ 244700 h 1550229"/>
                  <a:gd name="connsiteX1" fmla="*/ 407784 w 2265139"/>
                  <a:gd name="connsiteY1" fmla="*/ 371700 h 1550229"/>
                  <a:gd name="connsiteX2" fmla="*/ 166640 w 2265139"/>
                  <a:gd name="connsiteY2" fmla="*/ 466950 h 1550229"/>
                  <a:gd name="connsiteX3" fmla="*/ 299142 w 2265139"/>
                  <a:gd name="connsiteY3" fmla="*/ 530450 h 1550229"/>
                  <a:gd name="connsiteX4" fmla="*/ 0 w 2265139"/>
                  <a:gd name="connsiteY4" fmla="*/ 682850 h 1550229"/>
                  <a:gd name="connsiteX5" fmla="*/ 390697 w 2265139"/>
                  <a:gd name="connsiteY5" fmla="*/ 733650 h 1550229"/>
                  <a:gd name="connsiteX6" fmla="*/ 275473 w 2265139"/>
                  <a:gd name="connsiteY6" fmla="*/ 924150 h 1550229"/>
                  <a:gd name="connsiteX7" fmla="*/ 580273 w 2265139"/>
                  <a:gd name="connsiteY7" fmla="*/ 1470250 h 1550229"/>
                  <a:gd name="connsiteX8" fmla="*/ 1977273 w 2265139"/>
                  <a:gd name="connsiteY8" fmla="*/ 1495650 h 1550229"/>
                  <a:gd name="connsiteX9" fmla="*/ 2243973 w 2265139"/>
                  <a:gd name="connsiteY9" fmla="*/ 695550 h 1550229"/>
                  <a:gd name="connsiteX10" fmla="*/ 2078873 w 2265139"/>
                  <a:gd name="connsiteY10" fmla="*/ 136750 h 1550229"/>
                  <a:gd name="connsiteX11" fmla="*/ 227906 w 2265139"/>
                  <a:gd name="connsiteY11" fmla="*/ 244700 h 1550229"/>
                  <a:gd name="connsiteX0" fmla="*/ 195117 w 2232350"/>
                  <a:gd name="connsiteY0" fmla="*/ 244700 h 1550229"/>
                  <a:gd name="connsiteX1" fmla="*/ 374995 w 2232350"/>
                  <a:gd name="connsiteY1" fmla="*/ 371700 h 1550229"/>
                  <a:gd name="connsiteX2" fmla="*/ 133851 w 2232350"/>
                  <a:gd name="connsiteY2" fmla="*/ 466950 h 1550229"/>
                  <a:gd name="connsiteX3" fmla="*/ 266353 w 2232350"/>
                  <a:gd name="connsiteY3" fmla="*/ 530450 h 1550229"/>
                  <a:gd name="connsiteX4" fmla="*/ 0 w 2232350"/>
                  <a:gd name="connsiteY4" fmla="*/ 759050 h 1550229"/>
                  <a:gd name="connsiteX5" fmla="*/ 357908 w 2232350"/>
                  <a:gd name="connsiteY5" fmla="*/ 733650 h 1550229"/>
                  <a:gd name="connsiteX6" fmla="*/ 242684 w 2232350"/>
                  <a:gd name="connsiteY6" fmla="*/ 924150 h 1550229"/>
                  <a:gd name="connsiteX7" fmla="*/ 547484 w 2232350"/>
                  <a:gd name="connsiteY7" fmla="*/ 1470250 h 1550229"/>
                  <a:gd name="connsiteX8" fmla="*/ 1944484 w 2232350"/>
                  <a:gd name="connsiteY8" fmla="*/ 1495650 h 1550229"/>
                  <a:gd name="connsiteX9" fmla="*/ 2211184 w 2232350"/>
                  <a:gd name="connsiteY9" fmla="*/ 695550 h 1550229"/>
                  <a:gd name="connsiteX10" fmla="*/ 2046084 w 2232350"/>
                  <a:gd name="connsiteY10" fmla="*/ 136750 h 1550229"/>
                  <a:gd name="connsiteX11" fmla="*/ 195117 w 2232350"/>
                  <a:gd name="connsiteY11" fmla="*/ 244700 h 1550229"/>
                  <a:gd name="connsiteX0" fmla="*/ 198813 w 2236046"/>
                  <a:gd name="connsiteY0" fmla="*/ 244700 h 1550229"/>
                  <a:gd name="connsiteX1" fmla="*/ 378691 w 2236046"/>
                  <a:gd name="connsiteY1" fmla="*/ 371700 h 1550229"/>
                  <a:gd name="connsiteX2" fmla="*/ 137547 w 2236046"/>
                  <a:gd name="connsiteY2" fmla="*/ 466950 h 1550229"/>
                  <a:gd name="connsiteX3" fmla="*/ 270049 w 2236046"/>
                  <a:gd name="connsiteY3" fmla="*/ 530450 h 1550229"/>
                  <a:gd name="connsiteX4" fmla="*/ 3696 w 2236046"/>
                  <a:gd name="connsiteY4" fmla="*/ 759050 h 1550229"/>
                  <a:gd name="connsiteX5" fmla="*/ 361604 w 2236046"/>
                  <a:gd name="connsiteY5" fmla="*/ 733650 h 1550229"/>
                  <a:gd name="connsiteX6" fmla="*/ 246380 w 2236046"/>
                  <a:gd name="connsiteY6" fmla="*/ 924150 h 1550229"/>
                  <a:gd name="connsiteX7" fmla="*/ 551180 w 2236046"/>
                  <a:gd name="connsiteY7" fmla="*/ 1470250 h 1550229"/>
                  <a:gd name="connsiteX8" fmla="*/ 1948180 w 2236046"/>
                  <a:gd name="connsiteY8" fmla="*/ 1495650 h 1550229"/>
                  <a:gd name="connsiteX9" fmla="*/ 2214880 w 2236046"/>
                  <a:gd name="connsiteY9" fmla="*/ 695550 h 1550229"/>
                  <a:gd name="connsiteX10" fmla="*/ 2049780 w 2236046"/>
                  <a:gd name="connsiteY10" fmla="*/ 136750 h 1550229"/>
                  <a:gd name="connsiteX11" fmla="*/ 198813 w 2236046"/>
                  <a:gd name="connsiteY11" fmla="*/ 244700 h 1550229"/>
                  <a:gd name="connsiteX0" fmla="*/ 198813 w 2236046"/>
                  <a:gd name="connsiteY0" fmla="*/ 244700 h 1550229"/>
                  <a:gd name="connsiteX1" fmla="*/ 378691 w 2236046"/>
                  <a:gd name="connsiteY1" fmla="*/ 371700 h 1550229"/>
                  <a:gd name="connsiteX2" fmla="*/ 63772 w 2236046"/>
                  <a:gd name="connsiteY2" fmla="*/ 466950 h 1550229"/>
                  <a:gd name="connsiteX3" fmla="*/ 270049 w 2236046"/>
                  <a:gd name="connsiteY3" fmla="*/ 530450 h 1550229"/>
                  <a:gd name="connsiteX4" fmla="*/ 3696 w 2236046"/>
                  <a:gd name="connsiteY4" fmla="*/ 759050 h 1550229"/>
                  <a:gd name="connsiteX5" fmla="*/ 361604 w 2236046"/>
                  <a:gd name="connsiteY5" fmla="*/ 733650 h 1550229"/>
                  <a:gd name="connsiteX6" fmla="*/ 246380 w 2236046"/>
                  <a:gd name="connsiteY6" fmla="*/ 924150 h 1550229"/>
                  <a:gd name="connsiteX7" fmla="*/ 551180 w 2236046"/>
                  <a:gd name="connsiteY7" fmla="*/ 1470250 h 1550229"/>
                  <a:gd name="connsiteX8" fmla="*/ 1948180 w 2236046"/>
                  <a:gd name="connsiteY8" fmla="*/ 1495650 h 1550229"/>
                  <a:gd name="connsiteX9" fmla="*/ 2214880 w 2236046"/>
                  <a:gd name="connsiteY9" fmla="*/ 695550 h 1550229"/>
                  <a:gd name="connsiteX10" fmla="*/ 2049780 w 2236046"/>
                  <a:gd name="connsiteY10" fmla="*/ 136750 h 1550229"/>
                  <a:gd name="connsiteX11" fmla="*/ 198813 w 2236046"/>
                  <a:gd name="connsiteY11" fmla="*/ 244700 h 1550229"/>
                  <a:gd name="connsiteX0" fmla="*/ 198813 w 2236046"/>
                  <a:gd name="connsiteY0" fmla="*/ 244700 h 1550229"/>
                  <a:gd name="connsiteX1" fmla="*/ 378691 w 2236046"/>
                  <a:gd name="connsiteY1" fmla="*/ 371700 h 1550229"/>
                  <a:gd name="connsiteX2" fmla="*/ 63772 w 2236046"/>
                  <a:gd name="connsiteY2" fmla="*/ 466950 h 1550229"/>
                  <a:gd name="connsiteX3" fmla="*/ 270049 w 2236046"/>
                  <a:gd name="connsiteY3" fmla="*/ 530450 h 1550229"/>
                  <a:gd name="connsiteX4" fmla="*/ 3696 w 2236046"/>
                  <a:gd name="connsiteY4" fmla="*/ 759050 h 1550229"/>
                  <a:gd name="connsiteX5" fmla="*/ 361604 w 2236046"/>
                  <a:gd name="connsiteY5" fmla="*/ 733650 h 1550229"/>
                  <a:gd name="connsiteX6" fmla="*/ 246380 w 2236046"/>
                  <a:gd name="connsiteY6" fmla="*/ 924150 h 1550229"/>
                  <a:gd name="connsiteX7" fmla="*/ 551180 w 2236046"/>
                  <a:gd name="connsiteY7" fmla="*/ 1470250 h 1550229"/>
                  <a:gd name="connsiteX8" fmla="*/ 1948180 w 2236046"/>
                  <a:gd name="connsiteY8" fmla="*/ 1495650 h 1550229"/>
                  <a:gd name="connsiteX9" fmla="*/ 2214880 w 2236046"/>
                  <a:gd name="connsiteY9" fmla="*/ 695550 h 1550229"/>
                  <a:gd name="connsiteX10" fmla="*/ 2049780 w 2236046"/>
                  <a:gd name="connsiteY10" fmla="*/ 136750 h 1550229"/>
                  <a:gd name="connsiteX11" fmla="*/ 198813 w 2236046"/>
                  <a:gd name="connsiteY11" fmla="*/ 244700 h 1550229"/>
                  <a:gd name="connsiteX0" fmla="*/ 198813 w 2236046"/>
                  <a:gd name="connsiteY0" fmla="*/ 244700 h 1550229"/>
                  <a:gd name="connsiteX1" fmla="*/ 378691 w 2236046"/>
                  <a:gd name="connsiteY1" fmla="*/ 371700 h 1550229"/>
                  <a:gd name="connsiteX2" fmla="*/ 71969 w 2236046"/>
                  <a:gd name="connsiteY2" fmla="*/ 505050 h 1550229"/>
                  <a:gd name="connsiteX3" fmla="*/ 270049 w 2236046"/>
                  <a:gd name="connsiteY3" fmla="*/ 530450 h 1550229"/>
                  <a:gd name="connsiteX4" fmla="*/ 3696 w 2236046"/>
                  <a:gd name="connsiteY4" fmla="*/ 759050 h 1550229"/>
                  <a:gd name="connsiteX5" fmla="*/ 361604 w 2236046"/>
                  <a:gd name="connsiteY5" fmla="*/ 733650 h 1550229"/>
                  <a:gd name="connsiteX6" fmla="*/ 246380 w 2236046"/>
                  <a:gd name="connsiteY6" fmla="*/ 924150 h 1550229"/>
                  <a:gd name="connsiteX7" fmla="*/ 551180 w 2236046"/>
                  <a:gd name="connsiteY7" fmla="*/ 1470250 h 1550229"/>
                  <a:gd name="connsiteX8" fmla="*/ 1948180 w 2236046"/>
                  <a:gd name="connsiteY8" fmla="*/ 1495650 h 1550229"/>
                  <a:gd name="connsiteX9" fmla="*/ 2214880 w 2236046"/>
                  <a:gd name="connsiteY9" fmla="*/ 695550 h 1550229"/>
                  <a:gd name="connsiteX10" fmla="*/ 2049780 w 2236046"/>
                  <a:gd name="connsiteY10" fmla="*/ 136750 h 1550229"/>
                  <a:gd name="connsiteX11" fmla="*/ 198813 w 2236046"/>
                  <a:gd name="connsiteY11" fmla="*/ 244700 h 1550229"/>
                  <a:gd name="connsiteX0" fmla="*/ 198813 w 2236046"/>
                  <a:gd name="connsiteY0" fmla="*/ 244700 h 1550229"/>
                  <a:gd name="connsiteX1" fmla="*/ 378691 w 2236046"/>
                  <a:gd name="connsiteY1" fmla="*/ 371700 h 1550229"/>
                  <a:gd name="connsiteX2" fmla="*/ 71969 w 2236046"/>
                  <a:gd name="connsiteY2" fmla="*/ 505050 h 1550229"/>
                  <a:gd name="connsiteX3" fmla="*/ 270049 w 2236046"/>
                  <a:gd name="connsiteY3" fmla="*/ 530450 h 1550229"/>
                  <a:gd name="connsiteX4" fmla="*/ 3696 w 2236046"/>
                  <a:gd name="connsiteY4" fmla="*/ 759050 h 1550229"/>
                  <a:gd name="connsiteX5" fmla="*/ 361604 w 2236046"/>
                  <a:gd name="connsiteY5" fmla="*/ 733650 h 1550229"/>
                  <a:gd name="connsiteX6" fmla="*/ 221788 w 2236046"/>
                  <a:gd name="connsiteY6" fmla="*/ 924150 h 1550229"/>
                  <a:gd name="connsiteX7" fmla="*/ 551180 w 2236046"/>
                  <a:gd name="connsiteY7" fmla="*/ 1470250 h 1550229"/>
                  <a:gd name="connsiteX8" fmla="*/ 1948180 w 2236046"/>
                  <a:gd name="connsiteY8" fmla="*/ 1495650 h 1550229"/>
                  <a:gd name="connsiteX9" fmla="*/ 2214880 w 2236046"/>
                  <a:gd name="connsiteY9" fmla="*/ 695550 h 1550229"/>
                  <a:gd name="connsiteX10" fmla="*/ 2049780 w 2236046"/>
                  <a:gd name="connsiteY10" fmla="*/ 136750 h 1550229"/>
                  <a:gd name="connsiteX11" fmla="*/ 198813 w 2236046"/>
                  <a:gd name="connsiteY11" fmla="*/ 244700 h 1550229"/>
                  <a:gd name="connsiteX0" fmla="*/ 198813 w 2236046"/>
                  <a:gd name="connsiteY0" fmla="*/ 244700 h 1550229"/>
                  <a:gd name="connsiteX1" fmla="*/ 378691 w 2236046"/>
                  <a:gd name="connsiteY1" fmla="*/ 371700 h 1550229"/>
                  <a:gd name="connsiteX2" fmla="*/ 71969 w 2236046"/>
                  <a:gd name="connsiteY2" fmla="*/ 505050 h 1550229"/>
                  <a:gd name="connsiteX3" fmla="*/ 270049 w 2236046"/>
                  <a:gd name="connsiteY3" fmla="*/ 530450 h 1550229"/>
                  <a:gd name="connsiteX4" fmla="*/ 3696 w 2236046"/>
                  <a:gd name="connsiteY4" fmla="*/ 759050 h 1550229"/>
                  <a:gd name="connsiteX5" fmla="*/ 361604 w 2236046"/>
                  <a:gd name="connsiteY5" fmla="*/ 733650 h 1550229"/>
                  <a:gd name="connsiteX6" fmla="*/ 551180 w 2236046"/>
                  <a:gd name="connsiteY6" fmla="*/ 1470250 h 1550229"/>
                  <a:gd name="connsiteX7" fmla="*/ 1948180 w 2236046"/>
                  <a:gd name="connsiteY7" fmla="*/ 1495650 h 1550229"/>
                  <a:gd name="connsiteX8" fmla="*/ 2214880 w 2236046"/>
                  <a:gd name="connsiteY8" fmla="*/ 695550 h 1550229"/>
                  <a:gd name="connsiteX9" fmla="*/ 2049780 w 2236046"/>
                  <a:gd name="connsiteY9" fmla="*/ 136750 h 1550229"/>
                  <a:gd name="connsiteX10" fmla="*/ 198813 w 2236046"/>
                  <a:gd name="connsiteY10" fmla="*/ 244700 h 1550229"/>
                  <a:gd name="connsiteX0" fmla="*/ 129469 w 2166702"/>
                  <a:gd name="connsiteY0" fmla="*/ 244700 h 1550229"/>
                  <a:gd name="connsiteX1" fmla="*/ 309347 w 2166702"/>
                  <a:gd name="connsiteY1" fmla="*/ 371700 h 1550229"/>
                  <a:gd name="connsiteX2" fmla="*/ 2625 w 2166702"/>
                  <a:gd name="connsiteY2" fmla="*/ 505050 h 1550229"/>
                  <a:gd name="connsiteX3" fmla="*/ 200705 w 2166702"/>
                  <a:gd name="connsiteY3" fmla="*/ 530450 h 1550229"/>
                  <a:gd name="connsiteX4" fmla="*/ 292260 w 2166702"/>
                  <a:gd name="connsiteY4" fmla="*/ 733650 h 1550229"/>
                  <a:gd name="connsiteX5" fmla="*/ 481836 w 2166702"/>
                  <a:gd name="connsiteY5" fmla="*/ 1470250 h 1550229"/>
                  <a:gd name="connsiteX6" fmla="*/ 1878836 w 2166702"/>
                  <a:gd name="connsiteY6" fmla="*/ 1495650 h 1550229"/>
                  <a:gd name="connsiteX7" fmla="*/ 2145536 w 2166702"/>
                  <a:gd name="connsiteY7" fmla="*/ 695550 h 1550229"/>
                  <a:gd name="connsiteX8" fmla="*/ 1980436 w 2166702"/>
                  <a:gd name="connsiteY8" fmla="*/ 136750 h 1550229"/>
                  <a:gd name="connsiteX9" fmla="*/ 129469 w 2166702"/>
                  <a:gd name="connsiteY9" fmla="*/ 244700 h 1550229"/>
                  <a:gd name="connsiteX0" fmla="*/ 0 w 2037233"/>
                  <a:gd name="connsiteY0" fmla="*/ 244700 h 1550229"/>
                  <a:gd name="connsiteX1" fmla="*/ 179878 w 2037233"/>
                  <a:gd name="connsiteY1" fmla="*/ 371700 h 1550229"/>
                  <a:gd name="connsiteX2" fmla="*/ 71236 w 2037233"/>
                  <a:gd name="connsiteY2" fmla="*/ 530450 h 1550229"/>
                  <a:gd name="connsiteX3" fmla="*/ 162791 w 2037233"/>
                  <a:gd name="connsiteY3" fmla="*/ 733650 h 1550229"/>
                  <a:gd name="connsiteX4" fmla="*/ 352367 w 2037233"/>
                  <a:gd name="connsiteY4" fmla="*/ 1470250 h 1550229"/>
                  <a:gd name="connsiteX5" fmla="*/ 1749367 w 2037233"/>
                  <a:gd name="connsiteY5" fmla="*/ 1495650 h 1550229"/>
                  <a:gd name="connsiteX6" fmla="*/ 2016067 w 2037233"/>
                  <a:gd name="connsiteY6" fmla="*/ 695550 h 1550229"/>
                  <a:gd name="connsiteX7" fmla="*/ 1850967 w 2037233"/>
                  <a:gd name="connsiteY7" fmla="*/ 136750 h 1550229"/>
                  <a:gd name="connsiteX8" fmla="*/ 0 w 2037233"/>
                  <a:gd name="connsiteY8" fmla="*/ 244700 h 1550229"/>
                  <a:gd name="connsiteX0" fmla="*/ 1779731 w 1965997"/>
                  <a:gd name="connsiteY0" fmla="*/ 8336 h 1421815"/>
                  <a:gd name="connsiteX1" fmla="*/ 108642 w 1965997"/>
                  <a:gd name="connsiteY1" fmla="*/ 243286 h 1421815"/>
                  <a:gd name="connsiteX2" fmla="*/ 0 w 1965997"/>
                  <a:gd name="connsiteY2" fmla="*/ 402036 h 1421815"/>
                  <a:gd name="connsiteX3" fmla="*/ 91555 w 1965997"/>
                  <a:gd name="connsiteY3" fmla="*/ 605236 h 1421815"/>
                  <a:gd name="connsiteX4" fmla="*/ 281131 w 1965997"/>
                  <a:gd name="connsiteY4" fmla="*/ 1341836 h 1421815"/>
                  <a:gd name="connsiteX5" fmla="*/ 1678131 w 1965997"/>
                  <a:gd name="connsiteY5" fmla="*/ 1367236 h 1421815"/>
                  <a:gd name="connsiteX6" fmla="*/ 1944831 w 1965997"/>
                  <a:gd name="connsiteY6" fmla="*/ 567136 h 1421815"/>
                  <a:gd name="connsiteX7" fmla="*/ 1779731 w 1965997"/>
                  <a:gd name="connsiteY7" fmla="*/ 8336 h 1421815"/>
                  <a:gd name="connsiteX0" fmla="*/ 1779731 w 1965997"/>
                  <a:gd name="connsiteY0" fmla="*/ 76573 h 1490052"/>
                  <a:gd name="connsiteX1" fmla="*/ 108642 w 1965997"/>
                  <a:gd name="connsiteY1" fmla="*/ 311523 h 1490052"/>
                  <a:gd name="connsiteX2" fmla="*/ 0 w 1965997"/>
                  <a:gd name="connsiteY2" fmla="*/ 470273 h 1490052"/>
                  <a:gd name="connsiteX3" fmla="*/ 91555 w 1965997"/>
                  <a:gd name="connsiteY3" fmla="*/ 673473 h 1490052"/>
                  <a:gd name="connsiteX4" fmla="*/ 281131 w 1965997"/>
                  <a:gd name="connsiteY4" fmla="*/ 1410073 h 1490052"/>
                  <a:gd name="connsiteX5" fmla="*/ 1678131 w 1965997"/>
                  <a:gd name="connsiteY5" fmla="*/ 1435473 h 1490052"/>
                  <a:gd name="connsiteX6" fmla="*/ 1944831 w 1965997"/>
                  <a:gd name="connsiteY6" fmla="*/ 635373 h 1490052"/>
                  <a:gd name="connsiteX7" fmla="*/ 1779731 w 1965997"/>
                  <a:gd name="connsiteY7" fmla="*/ 76573 h 1490052"/>
                  <a:gd name="connsiteX0" fmla="*/ 1807782 w 1994048"/>
                  <a:gd name="connsiteY0" fmla="*/ 76573 h 1490052"/>
                  <a:gd name="connsiteX1" fmla="*/ 136693 w 1994048"/>
                  <a:gd name="connsiteY1" fmla="*/ 311523 h 1490052"/>
                  <a:gd name="connsiteX2" fmla="*/ 119606 w 1994048"/>
                  <a:gd name="connsiteY2" fmla="*/ 673473 h 1490052"/>
                  <a:gd name="connsiteX3" fmla="*/ 309182 w 1994048"/>
                  <a:gd name="connsiteY3" fmla="*/ 1410073 h 1490052"/>
                  <a:gd name="connsiteX4" fmla="*/ 1706182 w 1994048"/>
                  <a:gd name="connsiteY4" fmla="*/ 1435473 h 1490052"/>
                  <a:gd name="connsiteX5" fmla="*/ 1972882 w 1994048"/>
                  <a:gd name="connsiteY5" fmla="*/ 635373 h 1490052"/>
                  <a:gd name="connsiteX6" fmla="*/ 1807782 w 1994048"/>
                  <a:gd name="connsiteY6" fmla="*/ 76573 h 1490052"/>
                  <a:gd name="connsiteX0" fmla="*/ 1713783 w 1900049"/>
                  <a:gd name="connsiteY0" fmla="*/ 76573 h 1490052"/>
                  <a:gd name="connsiteX1" fmla="*/ 42694 w 1900049"/>
                  <a:gd name="connsiteY1" fmla="*/ 311523 h 1490052"/>
                  <a:gd name="connsiteX2" fmla="*/ 25607 w 1900049"/>
                  <a:gd name="connsiteY2" fmla="*/ 673473 h 1490052"/>
                  <a:gd name="connsiteX3" fmla="*/ 215183 w 1900049"/>
                  <a:gd name="connsiteY3" fmla="*/ 1410073 h 1490052"/>
                  <a:gd name="connsiteX4" fmla="*/ 1612183 w 1900049"/>
                  <a:gd name="connsiteY4" fmla="*/ 1435473 h 1490052"/>
                  <a:gd name="connsiteX5" fmla="*/ 1878883 w 1900049"/>
                  <a:gd name="connsiteY5" fmla="*/ 635373 h 1490052"/>
                  <a:gd name="connsiteX6" fmla="*/ 1713783 w 1900049"/>
                  <a:gd name="connsiteY6" fmla="*/ 76573 h 1490052"/>
                  <a:gd name="connsiteX0" fmla="*/ 1713783 w 1900049"/>
                  <a:gd name="connsiteY0" fmla="*/ 76573 h 1455811"/>
                  <a:gd name="connsiteX1" fmla="*/ 42694 w 1900049"/>
                  <a:gd name="connsiteY1" fmla="*/ 311523 h 1455811"/>
                  <a:gd name="connsiteX2" fmla="*/ 25607 w 1900049"/>
                  <a:gd name="connsiteY2" fmla="*/ 673473 h 1455811"/>
                  <a:gd name="connsiteX3" fmla="*/ 215183 w 1900049"/>
                  <a:gd name="connsiteY3" fmla="*/ 1410073 h 1455811"/>
                  <a:gd name="connsiteX4" fmla="*/ 1514829 w 1900049"/>
                  <a:gd name="connsiteY4" fmla="*/ 1350632 h 1455811"/>
                  <a:gd name="connsiteX5" fmla="*/ 1878883 w 1900049"/>
                  <a:gd name="connsiteY5" fmla="*/ 635373 h 1455811"/>
                  <a:gd name="connsiteX6" fmla="*/ 1713783 w 1900049"/>
                  <a:gd name="connsiteY6" fmla="*/ 76573 h 1455811"/>
                  <a:gd name="connsiteX0" fmla="*/ 1713783 w 1900049"/>
                  <a:gd name="connsiteY0" fmla="*/ 76573 h 1476670"/>
                  <a:gd name="connsiteX1" fmla="*/ 42694 w 1900049"/>
                  <a:gd name="connsiteY1" fmla="*/ 311523 h 1476670"/>
                  <a:gd name="connsiteX2" fmla="*/ 25607 w 1900049"/>
                  <a:gd name="connsiteY2" fmla="*/ 673473 h 1476670"/>
                  <a:gd name="connsiteX3" fmla="*/ 215183 w 1900049"/>
                  <a:gd name="connsiteY3" fmla="*/ 1410073 h 1476670"/>
                  <a:gd name="connsiteX4" fmla="*/ 1514829 w 1900049"/>
                  <a:gd name="connsiteY4" fmla="*/ 1350632 h 1476670"/>
                  <a:gd name="connsiteX5" fmla="*/ 1878883 w 1900049"/>
                  <a:gd name="connsiteY5" fmla="*/ 635373 h 1476670"/>
                  <a:gd name="connsiteX6" fmla="*/ 1713783 w 1900049"/>
                  <a:gd name="connsiteY6" fmla="*/ 76573 h 1476670"/>
                  <a:gd name="connsiteX0" fmla="*/ 1713783 w 1900049"/>
                  <a:gd name="connsiteY0" fmla="*/ 76573 h 1440494"/>
                  <a:gd name="connsiteX1" fmla="*/ 42694 w 1900049"/>
                  <a:gd name="connsiteY1" fmla="*/ 311523 h 1440494"/>
                  <a:gd name="connsiteX2" fmla="*/ 25607 w 1900049"/>
                  <a:gd name="connsiteY2" fmla="*/ 673473 h 1440494"/>
                  <a:gd name="connsiteX3" fmla="*/ 263859 w 1900049"/>
                  <a:gd name="connsiteY3" fmla="*/ 1334658 h 1440494"/>
                  <a:gd name="connsiteX4" fmla="*/ 1514829 w 1900049"/>
                  <a:gd name="connsiteY4" fmla="*/ 1350632 h 1440494"/>
                  <a:gd name="connsiteX5" fmla="*/ 1878883 w 1900049"/>
                  <a:gd name="connsiteY5" fmla="*/ 635373 h 1440494"/>
                  <a:gd name="connsiteX6" fmla="*/ 1713783 w 1900049"/>
                  <a:gd name="connsiteY6" fmla="*/ 76573 h 1440494"/>
                  <a:gd name="connsiteX0" fmla="*/ 1713783 w 1900049"/>
                  <a:gd name="connsiteY0" fmla="*/ 76573 h 1452627"/>
                  <a:gd name="connsiteX1" fmla="*/ 42694 w 1900049"/>
                  <a:gd name="connsiteY1" fmla="*/ 311523 h 1452627"/>
                  <a:gd name="connsiteX2" fmla="*/ 25607 w 1900049"/>
                  <a:gd name="connsiteY2" fmla="*/ 673473 h 1452627"/>
                  <a:gd name="connsiteX3" fmla="*/ 263859 w 1900049"/>
                  <a:gd name="connsiteY3" fmla="*/ 1334658 h 1452627"/>
                  <a:gd name="connsiteX4" fmla="*/ 1514829 w 1900049"/>
                  <a:gd name="connsiteY4" fmla="*/ 1350632 h 1452627"/>
                  <a:gd name="connsiteX5" fmla="*/ 1878883 w 1900049"/>
                  <a:gd name="connsiteY5" fmla="*/ 635373 h 1452627"/>
                  <a:gd name="connsiteX6" fmla="*/ 1713783 w 1900049"/>
                  <a:gd name="connsiteY6" fmla="*/ 76573 h 1452627"/>
                  <a:gd name="connsiteX0" fmla="*/ 1713783 w 1900049"/>
                  <a:gd name="connsiteY0" fmla="*/ 76573 h 1448652"/>
                  <a:gd name="connsiteX1" fmla="*/ 42694 w 1900049"/>
                  <a:gd name="connsiteY1" fmla="*/ 311523 h 1448652"/>
                  <a:gd name="connsiteX2" fmla="*/ 25607 w 1900049"/>
                  <a:gd name="connsiteY2" fmla="*/ 673473 h 1448652"/>
                  <a:gd name="connsiteX3" fmla="*/ 324704 w 1900049"/>
                  <a:gd name="connsiteY3" fmla="*/ 1325231 h 1448652"/>
                  <a:gd name="connsiteX4" fmla="*/ 1514829 w 1900049"/>
                  <a:gd name="connsiteY4" fmla="*/ 1350632 h 1448652"/>
                  <a:gd name="connsiteX5" fmla="*/ 1878883 w 1900049"/>
                  <a:gd name="connsiteY5" fmla="*/ 635373 h 1448652"/>
                  <a:gd name="connsiteX6" fmla="*/ 1713783 w 1900049"/>
                  <a:gd name="connsiteY6" fmla="*/ 76573 h 1448652"/>
                  <a:gd name="connsiteX0" fmla="*/ 1713783 w 1900049"/>
                  <a:gd name="connsiteY0" fmla="*/ 76573 h 1448652"/>
                  <a:gd name="connsiteX1" fmla="*/ 42694 w 1900049"/>
                  <a:gd name="connsiteY1" fmla="*/ 311523 h 1448652"/>
                  <a:gd name="connsiteX2" fmla="*/ 25607 w 1900049"/>
                  <a:gd name="connsiteY2" fmla="*/ 673473 h 1448652"/>
                  <a:gd name="connsiteX3" fmla="*/ 324704 w 1900049"/>
                  <a:gd name="connsiteY3" fmla="*/ 1325231 h 1448652"/>
                  <a:gd name="connsiteX4" fmla="*/ 1514829 w 1900049"/>
                  <a:gd name="connsiteY4" fmla="*/ 1350632 h 1448652"/>
                  <a:gd name="connsiteX5" fmla="*/ 1878883 w 1900049"/>
                  <a:gd name="connsiteY5" fmla="*/ 635373 h 1448652"/>
                  <a:gd name="connsiteX6" fmla="*/ 1713783 w 1900049"/>
                  <a:gd name="connsiteY6" fmla="*/ 76573 h 1448652"/>
                  <a:gd name="connsiteX0" fmla="*/ 1713783 w 1900049"/>
                  <a:gd name="connsiteY0" fmla="*/ 76573 h 1448652"/>
                  <a:gd name="connsiteX1" fmla="*/ 42694 w 1900049"/>
                  <a:gd name="connsiteY1" fmla="*/ 311523 h 1448652"/>
                  <a:gd name="connsiteX2" fmla="*/ 25607 w 1900049"/>
                  <a:gd name="connsiteY2" fmla="*/ 673473 h 1448652"/>
                  <a:gd name="connsiteX3" fmla="*/ 324704 w 1900049"/>
                  <a:gd name="connsiteY3" fmla="*/ 1325231 h 1448652"/>
                  <a:gd name="connsiteX4" fmla="*/ 1514829 w 1900049"/>
                  <a:gd name="connsiteY4" fmla="*/ 1350632 h 1448652"/>
                  <a:gd name="connsiteX5" fmla="*/ 1697155 w 1900049"/>
                  <a:gd name="connsiteY5" fmla="*/ 975402 h 1448652"/>
                  <a:gd name="connsiteX6" fmla="*/ 1878883 w 1900049"/>
                  <a:gd name="connsiteY6" fmla="*/ 635373 h 1448652"/>
                  <a:gd name="connsiteX7" fmla="*/ 1713783 w 1900049"/>
                  <a:gd name="connsiteY7" fmla="*/ 76573 h 1448652"/>
                  <a:gd name="connsiteX0" fmla="*/ 1713783 w 1900049"/>
                  <a:gd name="connsiteY0" fmla="*/ 76573 h 1448652"/>
                  <a:gd name="connsiteX1" fmla="*/ 42694 w 1900049"/>
                  <a:gd name="connsiteY1" fmla="*/ 311523 h 1448652"/>
                  <a:gd name="connsiteX2" fmla="*/ 25607 w 1900049"/>
                  <a:gd name="connsiteY2" fmla="*/ 673473 h 1448652"/>
                  <a:gd name="connsiteX3" fmla="*/ 324704 w 1900049"/>
                  <a:gd name="connsiteY3" fmla="*/ 1325231 h 1448652"/>
                  <a:gd name="connsiteX4" fmla="*/ 1514829 w 1900049"/>
                  <a:gd name="connsiteY4" fmla="*/ 1350632 h 1448652"/>
                  <a:gd name="connsiteX5" fmla="*/ 1697155 w 1900049"/>
                  <a:gd name="connsiteY5" fmla="*/ 975402 h 1448652"/>
                  <a:gd name="connsiteX6" fmla="*/ 1878883 w 1900049"/>
                  <a:gd name="connsiteY6" fmla="*/ 635373 h 1448652"/>
                  <a:gd name="connsiteX7" fmla="*/ 1713783 w 1900049"/>
                  <a:gd name="connsiteY7" fmla="*/ 76573 h 1448652"/>
                  <a:gd name="connsiteX0" fmla="*/ 1713783 w 1900049"/>
                  <a:gd name="connsiteY0" fmla="*/ 76573 h 1448652"/>
                  <a:gd name="connsiteX1" fmla="*/ 42694 w 1900049"/>
                  <a:gd name="connsiteY1" fmla="*/ 311523 h 1448652"/>
                  <a:gd name="connsiteX2" fmla="*/ 25607 w 1900049"/>
                  <a:gd name="connsiteY2" fmla="*/ 673473 h 1448652"/>
                  <a:gd name="connsiteX3" fmla="*/ 324704 w 1900049"/>
                  <a:gd name="connsiteY3" fmla="*/ 1325231 h 1448652"/>
                  <a:gd name="connsiteX4" fmla="*/ 1514829 w 1900049"/>
                  <a:gd name="connsiteY4" fmla="*/ 1350632 h 1448652"/>
                  <a:gd name="connsiteX5" fmla="*/ 1697155 w 1900049"/>
                  <a:gd name="connsiteY5" fmla="*/ 975402 h 1448652"/>
                  <a:gd name="connsiteX6" fmla="*/ 1878883 w 1900049"/>
                  <a:gd name="connsiteY6" fmla="*/ 635373 h 1448652"/>
                  <a:gd name="connsiteX7" fmla="*/ 1713783 w 1900049"/>
                  <a:gd name="connsiteY7" fmla="*/ 76573 h 1448652"/>
                  <a:gd name="connsiteX0" fmla="*/ 1713783 w 1900049"/>
                  <a:gd name="connsiteY0" fmla="*/ 76573 h 1448652"/>
                  <a:gd name="connsiteX1" fmla="*/ 42694 w 1900049"/>
                  <a:gd name="connsiteY1" fmla="*/ 311523 h 1448652"/>
                  <a:gd name="connsiteX2" fmla="*/ 25607 w 1900049"/>
                  <a:gd name="connsiteY2" fmla="*/ 673473 h 1448652"/>
                  <a:gd name="connsiteX3" fmla="*/ 253539 w 1900049"/>
                  <a:gd name="connsiteY3" fmla="*/ 1018016 h 1448652"/>
                  <a:gd name="connsiteX4" fmla="*/ 324704 w 1900049"/>
                  <a:gd name="connsiteY4" fmla="*/ 1325231 h 1448652"/>
                  <a:gd name="connsiteX5" fmla="*/ 1514829 w 1900049"/>
                  <a:gd name="connsiteY5" fmla="*/ 1350632 h 1448652"/>
                  <a:gd name="connsiteX6" fmla="*/ 1697155 w 1900049"/>
                  <a:gd name="connsiteY6" fmla="*/ 975402 h 1448652"/>
                  <a:gd name="connsiteX7" fmla="*/ 1878883 w 1900049"/>
                  <a:gd name="connsiteY7" fmla="*/ 635373 h 1448652"/>
                  <a:gd name="connsiteX8" fmla="*/ 1713783 w 1900049"/>
                  <a:gd name="connsiteY8" fmla="*/ 76573 h 1448652"/>
                  <a:gd name="connsiteX0" fmla="*/ 1713783 w 1900049"/>
                  <a:gd name="connsiteY0" fmla="*/ 76573 h 1448652"/>
                  <a:gd name="connsiteX1" fmla="*/ 42694 w 1900049"/>
                  <a:gd name="connsiteY1" fmla="*/ 311523 h 1448652"/>
                  <a:gd name="connsiteX2" fmla="*/ 25607 w 1900049"/>
                  <a:gd name="connsiteY2" fmla="*/ 673473 h 1448652"/>
                  <a:gd name="connsiteX3" fmla="*/ 253539 w 1900049"/>
                  <a:gd name="connsiteY3" fmla="*/ 1018016 h 1448652"/>
                  <a:gd name="connsiteX4" fmla="*/ 324704 w 1900049"/>
                  <a:gd name="connsiteY4" fmla="*/ 1325231 h 1448652"/>
                  <a:gd name="connsiteX5" fmla="*/ 1514829 w 1900049"/>
                  <a:gd name="connsiteY5" fmla="*/ 1350632 h 1448652"/>
                  <a:gd name="connsiteX6" fmla="*/ 1697155 w 1900049"/>
                  <a:gd name="connsiteY6" fmla="*/ 975402 h 1448652"/>
                  <a:gd name="connsiteX7" fmla="*/ 1878883 w 1900049"/>
                  <a:gd name="connsiteY7" fmla="*/ 635373 h 1448652"/>
                  <a:gd name="connsiteX8" fmla="*/ 1713783 w 1900049"/>
                  <a:gd name="connsiteY8" fmla="*/ 76573 h 1448652"/>
                  <a:gd name="connsiteX0" fmla="*/ 1713783 w 1900049"/>
                  <a:gd name="connsiteY0" fmla="*/ 76573 h 1448652"/>
                  <a:gd name="connsiteX1" fmla="*/ 42694 w 1900049"/>
                  <a:gd name="connsiteY1" fmla="*/ 311523 h 1448652"/>
                  <a:gd name="connsiteX2" fmla="*/ 25607 w 1900049"/>
                  <a:gd name="connsiteY2" fmla="*/ 673473 h 1448652"/>
                  <a:gd name="connsiteX3" fmla="*/ 253539 w 1900049"/>
                  <a:gd name="connsiteY3" fmla="*/ 1018016 h 1448652"/>
                  <a:gd name="connsiteX4" fmla="*/ 324704 w 1900049"/>
                  <a:gd name="connsiteY4" fmla="*/ 1325231 h 1448652"/>
                  <a:gd name="connsiteX5" fmla="*/ 1514829 w 1900049"/>
                  <a:gd name="connsiteY5" fmla="*/ 1350632 h 1448652"/>
                  <a:gd name="connsiteX6" fmla="*/ 1697155 w 1900049"/>
                  <a:gd name="connsiteY6" fmla="*/ 975402 h 1448652"/>
                  <a:gd name="connsiteX7" fmla="*/ 1878883 w 1900049"/>
                  <a:gd name="connsiteY7" fmla="*/ 635373 h 1448652"/>
                  <a:gd name="connsiteX8" fmla="*/ 1713783 w 1900049"/>
                  <a:gd name="connsiteY8" fmla="*/ 76573 h 1448652"/>
                  <a:gd name="connsiteX0" fmla="*/ 1713783 w 1900049"/>
                  <a:gd name="connsiteY0" fmla="*/ 76573 h 1459945"/>
                  <a:gd name="connsiteX1" fmla="*/ 42694 w 1900049"/>
                  <a:gd name="connsiteY1" fmla="*/ 311523 h 1459945"/>
                  <a:gd name="connsiteX2" fmla="*/ 25607 w 1900049"/>
                  <a:gd name="connsiteY2" fmla="*/ 673473 h 1459945"/>
                  <a:gd name="connsiteX3" fmla="*/ 253539 w 1900049"/>
                  <a:gd name="connsiteY3" fmla="*/ 1018016 h 1459945"/>
                  <a:gd name="connsiteX4" fmla="*/ 419368 w 1900049"/>
                  <a:gd name="connsiteY4" fmla="*/ 1350799 h 1459945"/>
                  <a:gd name="connsiteX5" fmla="*/ 1514829 w 1900049"/>
                  <a:gd name="connsiteY5" fmla="*/ 1350632 h 1459945"/>
                  <a:gd name="connsiteX6" fmla="*/ 1697155 w 1900049"/>
                  <a:gd name="connsiteY6" fmla="*/ 975402 h 1459945"/>
                  <a:gd name="connsiteX7" fmla="*/ 1878883 w 1900049"/>
                  <a:gd name="connsiteY7" fmla="*/ 635373 h 1459945"/>
                  <a:gd name="connsiteX8" fmla="*/ 1713783 w 1900049"/>
                  <a:gd name="connsiteY8" fmla="*/ 76573 h 1459945"/>
                  <a:gd name="connsiteX0" fmla="*/ 1713783 w 1900049"/>
                  <a:gd name="connsiteY0" fmla="*/ 76573 h 1479333"/>
                  <a:gd name="connsiteX1" fmla="*/ 42694 w 1900049"/>
                  <a:gd name="connsiteY1" fmla="*/ 311523 h 1479333"/>
                  <a:gd name="connsiteX2" fmla="*/ 25607 w 1900049"/>
                  <a:gd name="connsiteY2" fmla="*/ 673473 h 1479333"/>
                  <a:gd name="connsiteX3" fmla="*/ 253539 w 1900049"/>
                  <a:gd name="connsiteY3" fmla="*/ 1018016 h 1479333"/>
                  <a:gd name="connsiteX4" fmla="*/ 419368 w 1900049"/>
                  <a:gd name="connsiteY4" fmla="*/ 1350799 h 1479333"/>
                  <a:gd name="connsiteX5" fmla="*/ 1408333 w 1900049"/>
                  <a:gd name="connsiteY5" fmla="*/ 1384724 h 1479333"/>
                  <a:gd name="connsiteX6" fmla="*/ 1697155 w 1900049"/>
                  <a:gd name="connsiteY6" fmla="*/ 975402 h 1479333"/>
                  <a:gd name="connsiteX7" fmla="*/ 1878883 w 1900049"/>
                  <a:gd name="connsiteY7" fmla="*/ 635373 h 1479333"/>
                  <a:gd name="connsiteX8" fmla="*/ 1713783 w 1900049"/>
                  <a:gd name="connsiteY8" fmla="*/ 76573 h 1479333"/>
                  <a:gd name="connsiteX0" fmla="*/ 1630952 w 1887564"/>
                  <a:gd name="connsiteY0" fmla="*/ 151227 h 1417623"/>
                  <a:gd name="connsiteX1" fmla="*/ 42694 w 1887564"/>
                  <a:gd name="connsiteY1" fmla="*/ 249813 h 1417623"/>
                  <a:gd name="connsiteX2" fmla="*/ 25607 w 1887564"/>
                  <a:gd name="connsiteY2" fmla="*/ 611763 h 1417623"/>
                  <a:gd name="connsiteX3" fmla="*/ 253539 w 1887564"/>
                  <a:gd name="connsiteY3" fmla="*/ 956306 h 1417623"/>
                  <a:gd name="connsiteX4" fmla="*/ 419368 w 1887564"/>
                  <a:gd name="connsiteY4" fmla="*/ 1289089 h 1417623"/>
                  <a:gd name="connsiteX5" fmla="*/ 1408333 w 1887564"/>
                  <a:gd name="connsiteY5" fmla="*/ 1323014 h 1417623"/>
                  <a:gd name="connsiteX6" fmla="*/ 1697155 w 1887564"/>
                  <a:gd name="connsiteY6" fmla="*/ 913692 h 1417623"/>
                  <a:gd name="connsiteX7" fmla="*/ 1878883 w 1887564"/>
                  <a:gd name="connsiteY7" fmla="*/ 573663 h 1417623"/>
                  <a:gd name="connsiteX8" fmla="*/ 1630952 w 1887564"/>
                  <a:gd name="connsiteY8" fmla="*/ 151227 h 1417623"/>
                  <a:gd name="connsiteX0" fmla="*/ 1630952 w 1887564"/>
                  <a:gd name="connsiteY0" fmla="*/ 205072 h 1471468"/>
                  <a:gd name="connsiteX1" fmla="*/ 42694 w 1887564"/>
                  <a:gd name="connsiteY1" fmla="*/ 303658 h 1471468"/>
                  <a:gd name="connsiteX2" fmla="*/ 25607 w 1887564"/>
                  <a:gd name="connsiteY2" fmla="*/ 665608 h 1471468"/>
                  <a:gd name="connsiteX3" fmla="*/ 253539 w 1887564"/>
                  <a:gd name="connsiteY3" fmla="*/ 1010151 h 1471468"/>
                  <a:gd name="connsiteX4" fmla="*/ 419368 w 1887564"/>
                  <a:gd name="connsiteY4" fmla="*/ 1342934 h 1471468"/>
                  <a:gd name="connsiteX5" fmla="*/ 1408333 w 1887564"/>
                  <a:gd name="connsiteY5" fmla="*/ 1376859 h 1471468"/>
                  <a:gd name="connsiteX6" fmla="*/ 1697155 w 1887564"/>
                  <a:gd name="connsiteY6" fmla="*/ 967537 h 1471468"/>
                  <a:gd name="connsiteX7" fmla="*/ 1878883 w 1887564"/>
                  <a:gd name="connsiteY7" fmla="*/ 627508 h 1471468"/>
                  <a:gd name="connsiteX8" fmla="*/ 1630952 w 1887564"/>
                  <a:gd name="connsiteY8" fmla="*/ 205072 h 1471468"/>
                  <a:gd name="connsiteX0" fmla="*/ 1630952 w 1887564"/>
                  <a:gd name="connsiteY0" fmla="*/ 205072 h 1471468"/>
                  <a:gd name="connsiteX1" fmla="*/ 42694 w 1887564"/>
                  <a:gd name="connsiteY1" fmla="*/ 303658 h 1471468"/>
                  <a:gd name="connsiteX2" fmla="*/ 25607 w 1887564"/>
                  <a:gd name="connsiteY2" fmla="*/ 665608 h 1471468"/>
                  <a:gd name="connsiteX3" fmla="*/ 253539 w 1887564"/>
                  <a:gd name="connsiteY3" fmla="*/ 1010151 h 1471468"/>
                  <a:gd name="connsiteX4" fmla="*/ 419368 w 1887564"/>
                  <a:gd name="connsiteY4" fmla="*/ 1342934 h 1471468"/>
                  <a:gd name="connsiteX5" fmla="*/ 1408333 w 1887564"/>
                  <a:gd name="connsiteY5" fmla="*/ 1376859 h 1471468"/>
                  <a:gd name="connsiteX6" fmla="*/ 1697155 w 1887564"/>
                  <a:gd name="connsiteY6" fmla="*/ 967537 h 1471468"/>
                  <a:gd name="connsiteX7" fmla="*/ 1878883 w 1887564"/>
                  <a:gd name="connsiteY7" fmla="*/ 627508 h 1471468"/>
                  <a:gd name="connsiteX8" fmla="*/ 1630952 w 1887564"/>
                  <a:gd name="connsiteY8" fmla="*/ 205072 h 1471468"/>
                  <a:gd name="connsiteX0" fmla="*/ 1607286 w 1886055"/>
                  <a:gd name="connsiteY0" fmla="*/ 243374 h 1441589"/>
                  <a:gd name="connsiteX1" fmla="*/ 42694 w 1886055"/>
                  <a:gd name="connsiteY1" fmla="*/ 273779 h 1441589"/>
                  <a:gd name="connsiteX2" fmla="*/ 25607 w 1886055"/>
                  <a:gd name="connsiteY2" fmla="*/ 635729 h 1441589"/>
                  <a:gd name="connsiteX3" fmla="*/ 253539 w 1886055"/>
                  <a:gd name="connsiteY3" fmla="*/ 980272 h 1441589"/>
                  <a:gd name="connsiteX4" fmla="*/ 419368 w 1886055"/>
                  <a:gd name="connsiteY4" fmla="*/ 1313055 h 1441589"/>
                  <a:gd name="connsiteX5" fmla="*/ 1408333 w 1886055"/>
                  <a:gd name="connsiteY5" fmla="*/ 1346980 h 1441589"/>
                  <a:gd name="connsiteX6" fmla="*/ 1697155 w 1886055"/>
                  <a:gd name="connsiteY6" fmla="*/ 937658 h 1441589"/>
                  <a:gd name="connsiteX7" fmla="*/ 1878883 w 1886055"/>
                  <a:gd name="connsiteY7" fmla="*/ 597629 h 1441589"/>
                  <a:gd name="connsiteX8" fmla="*/ 1607286 w 1886055"/>
                  <a:gd name="connsiteY8" fmla="*/ 243374 h 1441589"/>
                  <a:gd name="connsiteX0" fmla="*/ 1607286 w 1886055"/>
                  <a:gd name="connsiteY0" fmla="*/ 351933 h 1550148"/>
                  <a:gd name="connsiteX1" fmla="*/ 42694 w 1886055"/>
                  <a:gd name="connsiteY1" fmla="*/ 382338 h 1550148"/>
                  <a:gd name="connsiteX2" fmla="*/ 25607 w 1886055"/>
                  <a:gd name="connsiteY2" fmla="*/ 744288 h 1550148"/>
                  <a:gd name="connsiteX3" fmla="*/ 253539 w 1886055"/>
                  <a:gd name="connsiteY3" fmla="*/ 1088831 h 1550148"/>
                  <a:gd name="connsiteX4" fmla="*/ 419368 w 1886055"/>
                  <a:gd name="connsiteY4" fmla="*/ 1421614 h 1550148"/>
                  <a:gd name="connsiteX5" fmla="*/ 1408333 w 1886055"/>
                  <a:gd name="connsiteY5" fmla="*/ 1455539 h 1550148"/>
                  <a:gd name="connsiteX6" fmla="*/ 1697155 w 1886055"/>
                  <a:gd name="connsiteY6" fmla="*/ 1046217 h 1550148"/>
                  <a:gd name="connsiteX7" fmla="*/ 1878883 w 1886055"/>
                  <a:gd name="connsiteY7" fmla="*/ 706188 h 1550148"/>
                  <a:gd name="connsiteX8" fmla="*/ 1607286 w 1886055"/>
                  <a:gd name="connsiteY8" fmla="*/ 351933 h 1550148"/>
                  <a:gd name="connsiteX0" fmla="*/ 1607286 w 1886055"/>
                  <a:gd name="connsiteY0" fmla="*/ 278005 h 1476220"/>
                  <a:gd name="connsiteX1" fmla="*/ 42694 w 1886055"/>
                  <a:gd name="connsiteY1" fmla="*/ 308410 h 1476220"/>
                  <a:gd name="connsiteX2" fmla="*/ 25607 w 1886055"/>
                  <a:gd name="connsiteY2" fmla="*/ 670360 h 1476220"/>
                  <a:gd name="connsiteX3" fmla="*/ 253539 w 1886055"/>
                  <a:gd name="connsiteY3" fmla="*/ 1014903 h 1476220"/>
                  <a:gd name="connsiteX4" fmla="*/ 419368 w 1886055"/>
                  <a:gd name="connsiteY4" fmla="*/ 1347686 h 1476220"/>
                  <a:gd name="connsiteX5" fmla="*/ 1408333 w 1886055"/>
                  <a:gd name="connsiteY5" fmla="*/ 1381611 h 1476220"/>
                  <a:gd name="connsiteX6" fmla="*/ 1697155 w 1886055"/>
                  <a:gd name="connsiteY6" fmla="*/ 972289 h 1476220"/>
                  <a:gd name="connsiteX7" fmla="*/ 1878883 w 1886055"/>
                  <a:gd name="connsiteY7" fmla="*/ 632260 h 1476220"/>
                  <a:gd name="connsiteX8" fmla="*/ 1607286 w 1886055"/>
                  <a:gd name="connsiteY8" fmla="*/ 278005 h 1476220"/>
                  <a:gd name="connsiteX0" fmla="*/ 1488957 w 1882587"/>
                  <a:gd name="connsiteY0" fmla="*/ 337833 h 1433776"/>
                  <a:gd name="connsiteX1" fmla="*/ 42694 w 1882587"/>
                  <a:gd name="connsiteY1" fmla="*/ 265966 h 1433776"/>
                  <a:gd name="connsiteX2" fmla="*/ 25607 w 1882587"/>
                  <a:gd name="connsiteY2" fmla="*/ 627916 h 1433776"/>
                  <a:gd name="connsiteX3" fmla="*/ 253539 w 1882587"/>
                  <a:gd name="connsiteY3" fmla="*/ 972459 h 1433776"/>
                  <a:gd name="connsiteX4" fmla="*/ 419368 w 1882587"/>
                  <a:gd name="connsiteY4" fmla="*/ 1305242 h 1433776"/>
                  <a:gd name="connsiteX5" fmla="*/ 1408333 w 1882587"/>
                  <a:gd name="connsiteY5" fmla="*/ 1339167 h 1433776"/>
                  <a:gd name="connsiteX6" fmla="*/ 1697155 w 1882587"/>
                  <a:gd name="connsiteY6" fmla="*/ 929845 h 1433776"/>
                  <a:gd name="connsiteX7" fmla="*/ 1878883 w 1882587"/>
                  <a:gd name="connsiteY7" fmla="*/ 589816 h 1433776"/>
                  <a:gd name="connsiteX8" fmla="*/ 1488957 w 1882587"/>
                  <a:gd name="connsiteY8" fmla="*/ 337833 h 1433776"/>
                  <a:gd name="connsiteX0" fmla="*/ 1488957 w 1890646"/>
                  <a:gd name="connsiteY0" fmla="*/ 337833 h 1433776"/>
                  <a:gd name="connsiteX1" fmla="*/ 42694 w 1890646"/>
                  <a:gd name="connsiteY1" fmla="*/ 265966 h 1433776"/>
                  <a:gd name="connsiteX2" fmla="*/ 25607 w 1890646"/>
                  <a:gd name="connsiteY2" fmla="*/ 627916 h 1433776"/>
                  <a:gd name="connsiteX3" fmla="*/ 253539 w 1890646"/>
                  <a:gd name="connsiteY3" fmla="*/ 972459 h 1433776"/>
                  <a:gd name="connsiteX4" fmla="*/ 419368 w 1890646"/>
                  <a:gd name="connsiteY4" fmla="*/ 1305242 h 1433776"/>
                  <a:gd name="connsiteX5" fmla="*/ 1408333 w 1890646"/>
                  <a:gd name="connsiteY5" fmla="*/ 1339167 h 1433776"/>
                  <a:gd name="connsiteX6" fmla="*/ 1697155 w 1890646"/>
                  <a:gd name="connsiteY6" fmla="*/ 929845 h 1433776"/>
                  <a:gd name="connsiteX7" fmla="*/ 1878883 w 1890646"/>
                  <a:gd name="connsiteY7" fmla="*/ 589816 h 1433776"/>
                  <a:gd name="connsiteX8" fmla="*/ 1488957 w 1890646"/>
                  <a:gd name="connsiteY8" fmla="*/ 337833 h 1433776"/>
                  <a:gd name="connsiteX0" fmla="*/ 1488957 w 1890646"/>
                  <a:gd name="connsiteY0" fmla="*/ 381779 h 1477722"/>
                  <a:gd name="connsiteX1" fmla="*/ 42694 w 1890646"/>
                  <a:gd name="connsiteY1" fmla="*/ 309912 h 1477722"/>
                  <a:gd name="connsiteX2" fmla="*/ 25607 w 1890646"/>
                  <a:gd name="connsiteY2" fmla="*/ 671862 h 1477722"/>
                  <a:gd name="connsiteX3" fmla="*/ 253539 w 1890646"/>
                  <a:gd name="connsiteY3" fmla="*/ 1016405 h 1477722"/>
                  <a:gd name="connsiteX4" fmla="*/ 419368 w 1890646"/>
                  <a:gd name="connsiteY4" fmla="*/ 1349188 h 1477722"/>
                  <a:gd name="connsiteX5" fmla="*/ 1408333 w 1890646"/>
                  <a:gd name="connsiteY5" fmla="*/ 1383113 h 1477722"/>
                  <a:gd name="connsiteX6" fmla="*/ 1697155 w 1890646"/>
                  <a:gd name="connsiteY6" fmla="*/ 973791 h 1477722"/>
                  <a:gd name="connsiteX7" fmla="*/ 1878883 w 1890646"/>
                  <a:gd name="connsiteY7" fmla="*/ 633762 h 1477722"/>
                  <a:gd name="connsiteX8" fmla="*/ 1488957 w 1890646"/>
                  <a:gd name="connsiteY8" fmla="*/ 381779 h 1477722"/>
                  <a:gd name="connsiteX0" fmla="*/ 1571787 w 1905308"/>
                  <a:gd name="connsiteY0" fmla="*/ 349736 h 1505338"/>
                  <a:gd name="connsiteX1" fmla="*/ 42694 w 1905308"/>
                  <a:gd name="connsiteY1" fmla="*/ 337528 h 1505338"/>
                  <a:gd name="connsiteX2" fmla="*/ 25607 w 1905308"/>
                  <a:gd name="connsiteY2" fmla="*/ 699478 h 1505338"/>
                  <a:gd name="connsiteX3" fmla="*/ 253539 w 1905308"/>
                  <a:gd name="connsiteY3" fmla="*/ 1044021 h 1505338"/>
                  <a:gd name="connsiteX4" fmla="*/ 419368 w 1905308"/>
                  <a:gd name="connsiteY4" fmla="*/ 1376804 h 1505338"/>
                  <a:gd name="connsiteX5" fmla="*/ 1408333 w 1905308"/>
                  <a:gd name="connsiteY5" fmla="*/ 1410729 h 1505338"/>
                  <a:gd name="connsiteX6" fmla="*/ 1697155 w 1905308"/>
                  <a:gd name="connsiteY6" fmla="*/ 1001407 h 1505338"/>
                  <a:gd name="connsiteX7" fmla="*/ 1878883 w 1905308"/>
                  <a:gd name="connsiteY7" fmla="*/ 661378 h 1505338"/>
                  <a:gd name="connsiteX8" fmla="*/ 1571787 w 1905308"/>
                  <a:gd name="connsiteY8" fmla="*/ 349736 h 1505338"/>
                  <a:gd name="connsiteX0" fmla="*/ 1571787 w 1886584"/>
                  <a:gd name="connsiteY0" fmla="*/ 349736 h 1505338"/>
                  <a:gd name="connsiteX1" fmla="*/ 42694 w 1886584"/>
                  <a:gd name="connsiteY1" fmla="*/ 337528 h 1505338"/>
                  <a:gd name="connsiteX2" fmla="*/ 25607 w 1886584"/>
                  <a:gd name="connsiteY2" fmla="*/ 699478 h 1505338"/>
                  <a:gd name="connsiteX3" fmla="*/ 253539 w 1886584"/>
                  <a:gd name="connsiteY3" fmla="*/ 1044021 h 1505338"/>
                  <a:gd name="connsiteX4" fmla="*/ 419368 w 1886584"/>
                  <a:gd name="connsiteY4" fmla="*/ 1376804 h 1505338"/>
                  <a:gd name="connsiteX5" fmla="*/ 1408333 w 1886584"/>
                  <a:gd name="connsiteY5" fmla="*/ 1410729 h 1505338"/>
                  <a:gd name="connsiteX6" fmla="*/ 1697155 w 1886584"/>
                  <a:gd name="connsiteY6" fmla="*/ 1001407 h 1505338"/>
                  <a:gd name="connsiteX7" fmla="*/ 1878883 w 1886584"/>
                  <a:gd name="connsiteY7" fmla="*/ 661378 h 1505338"/>
                  <a:gd name="connsiteX8" fmla="*/ 1571787 w 1886584"/>
                  <a:gd name="connsiteY8" fmla="*/ 349736 h 1505338"/>
                  <a:gd name="connsiteX0" fmla="*/ 1571787 w 1886584"/>
                  <a:gd name="connsiteY0" fmla="*/ 264580 h 1420182"/>
                  <a:gd name="connsiteX1" fmla="*/ 42694 w 1886584"/>
                  <a:gd name="connsiteY1" fmla="*/ 252372 h 1420182"/>
                  <a:gd name="connsiteX2" fmla="*/ 25607 w 1886584"/>
                  <a:gd name="connsiteY2" fmla="*/ 614322 h 1420182"/>
                  <a:gd name="connsiteX3" fmla="*/ 253539 w 1886584"/>
                  <a:gd name="connsiteY3" fmla="*/ 958865 h 1420182"/>
                  <a:gd name="connsiteX4" fmla="*/ 419368 w 1886584"/>
                  <a:gd name="connsiteY4" fmla="*/ 1291648 h 1420182"/>
                  <a:gd name="connsiteX5" fmla="*/ 1408333 w 1886584"/>
                  <a:gd name="connsiteY5" fmla="*/ 1325573 h 1420182"/>
                  <a:gd name="connsiteX6" fmla="*/ 1697155 w 1886584"/>
                  <a:gd name="connsiteY6" fmla="*/ 916251 h 1420182"/>
                  <a:gd name="connsiteX7" fmla="*/ 1878883 w 1886584"/>
                  <a:gd name="connsiteY7" fmla="*/ 576222 h 1420182"/>
                  <a:gd name="connsiteX8" fmla="*/ 1571787 w 1886584"/>
                  <a:gd name="connsiteY8" fmla="*/ 264580 h 1420182"/>
                  <a:gd name="connsiteX0" fmla="*/ 1571787 w 1886584"/>
                  <a:gd name="connsiteY0" fmla="*/ 290678 h 1446280"/>
                  <a:gd name="connsiteX1" fmla="*/ 42694 w 1886584"/>
                  <a:gd name="connsiteY1" fmla="*/ 278470 h 1446280"/>
                  <a:gd name="connsiteX2" fmla="*/ 25607 w 1886584"/>
                  <a:gd name="connsiteY2" fmla="*/ 640420 h 1446280"/>
                  <a:gd name="connsiteX3" fmla="*/ 253539 w 1886584"/>
                  <a:gd name="connsiteY3" fmla="*/ 984963 h 1446280"/>
                  <a:gd name="connsiteX4" fmla="*/ 419368 w 1886584"/>
                  <a:gd name="connsiteY4" fmla="*/ 1317746 h 1446280"/>
                  <a:gd name="connsiteX5" fmla="*/ 1408333 w 1886584"/>
                  <a:gd name="connsiteY5" fmla="*/ 1351671 h 1446280"/>
                  <a:gd name="connsiteX6" fmla="*/ 1697155 w 1886584"/>
                  <a:gd name="connsiteY6" fmla="*/ 942349 h 1446280"/>
                  <a:gd name="connsiteX7" fmla="*/ 1878883 w 1886584"/>
                  <a:gd name="connsiteY7" fmla="*/ 602320 h 1446280"/>
                  <a:gd name="connsiteX8" fmla="*/ 1571787 w 1886584"/>
                  <a:gd name="connsiteY8" fmla="*/ 290678 h 1446280"/>
                  <a:gd name="connsiteX0" fmla="*/ 1571787 w 1886584"/>
                  <a:gd name="connsiteY0" fmla="*/ 322168 h 1477770"/>
                  <a:gd name="connsiteX1" fmla="*/ 42694 w 1886584"/>
                  <a:gd name="connsiteY1" fmla="*/ 309960 h 1477770"/>
                  <a:gd name="connsiteX2" fmla="*/ 25607 w 1886584"/>
                  <a:gd name="connsiteY2" fmla="*/ 671910 h 1477770"/>
                  <a:gd name="connsiteX3" fmla="*/ 253539 w 1886584"/>
                  <a:gd name="connsiteY3" fmla="*/ 1016453 h 1477770"/>
                  <a:gd name="connsiteX4" fmla="*/ 419368 w 1886584"/>
                  <a:gd name="connsiteY4" fmla="*/ 1349236 h 1477770"/>
                  <a:gd name="connsiteX5" fmla="*/ 1408333 w 1886584"/>
                  <a:gd name="connsiteY5" fmla="*/ 1383161 h 1477770"/>
                  <a:gd name="connsiteX6" fmla="*/ 1697155 w 1886584"/>
                  <a:gd name="connsiteY6" fmla="*/ 973839 h 1477770"/>
                  <a:gd name="connsiteX7" fmla="*/ 1878883 w 1886584"/>
                  <a:gd name="connsiteY7" fmla="*/ 633810 h 1477770"/>
                  <a:gd name="connsiteX8" fmla="*/ 1571787 w 1886584"/>
                  <a:gd name="connsiteY8" fmla="*/ 322168 h 1477770"/>
                  <a:gd name="connsiteX0" fmla="*/ 1562365 w 1877162"/>
                  <a:gd name="connsiteY0" fmla="*/ 331630 h 1487232"/>
                  <a:gd name="connsiteX1" fmla="*/ 56937 w 1877162"/>
                  <a:gd name="connsiteY1" fmla="*/ 302377 h 1487232"/>
                  <a:gd name="connsiteX2" fmla="*/ 16185 w 1877162"/>
                  <a:gd name="connsiteY2" fmla="*/ 681372 h 1487232"/>
                  <a:gd name="connsiteX3" fmla="*/ 244117 w 1877162"/>
                  <a:gd name="connsiteY3" fmla="*/ 1025915 h 1487232"/>
                  <a:gd name="connsiteX4" fmla="*/ 409946 w 1877162"/>
                  <a:gd name="connsiteY4" fmla="*/ 1358698 h 1487232"/>
                  <a:gd name="connsiteX5" fmla="*/ 1398911 w 1877162"/>
                  <a:gd name="connsiteY5" fmla="*/ 1392623 h 1487232"/>
                  <a:gd name="connsiteX6" fmla="*/ 1687733 w 1877162"/>
                  <a:gd name="connsiteY6" fmla="*/ 983301 h 1487232"/>
                  <a:gd name="connsiteX7" fmla="*/ 1869461 w 1877162"/>
                  <a:gd name="connsiteY7" fmla="*/ 643272 h 1487232"/>
                  <a:gd name="connsiteX8" fmla="*/ 1562365 w 1877162"/>
                  <a:gd name="connsiteY8" fmla="*/ 331630 h 1487232"/>
                  <a:gd name="connsiteX0" fmla="*/ 1562365 w 1877162"/>
                  <a:gd name="connsiteY0" fmla="*/ 251869 h 1407471"/>
                  <a:gd name="connsiteX1" fmla="*/ 196786 w 1877162"/>
                  <a:gd name="connsiteY1" fmla="*/ 131 h 1407471"/>
                  <a:gd name="connsiteX2" fmla="*/ 56937 w 1877162"/>
                  <a:gd name="connsiteY2" fmla="*/ 222616 h 1407471"/>
                  <a:gd name="connsiteX3" fmla="*/ 16185 w 1877162"/>
                  <a:gd name="connsiteY3" fmla="*/ 601611 h 1407471"/>
                  <a:gd name="connsiteX4" fmla="*/ 244117 w 1877162"/>
                  <a:gd name="connsiteY4" fmla="*/ 946154 h 1407471"/>
                  <a:gd name="connsiteX5" fmla="*/ 409946 w 1877162"/>
                  <a:gd name="connsiteY5" fmla="*/ 1278937 h 1407471"/>
                  <a:gd name="connsiteX6" fmla="*/ 1398911 w 1877162"/>
                  <a:gd name="connsiteY6" fmla="*/ 1312862 h 1407471"/>
                  <a:gd name="connsiteX7" fmla="*/ 1687733 w 1877162"/>
                  <a:gd name="connsiteY7" fmla="*/ 903540 h 1407471"/>
                  <a:gd name="connsiteX8" fmla="*/ 1869461 w 1877162"/>
                  <a:gd name="connsiteY8" fmla="*/ 563511 h 1407471"/>
                  <a:gd name="connsiteX9" fmla="*/ 1562365 w 1877162"/>
                  <a:gd name="connsiteY9" fmla="*/ 251869 h 1407471"/>
                  <a:gd name="connsiteX0" fmla="*/ 1562365 w 1877162"/>
                  <a:gd name="connsiteY0" fmla="*/ 276031 h 1431633"/>
                  <a:gd name="connsiteX1" fmla="*/ 196786 w 1877162"/>
                  <a:gd name="connsiteY1" fmla="*/ 24293 h 1431633"/>
                  <a:gd name="connsiteX2" fmla="*/ 56937 w 1877162"/>
                  <a:gd name="connsiteY2" fmla="*/ 246778 h 1431633"/>
                  <a:gd name="connsiteX3" fmla="*/ 16185 w 1877162"/>
                  <a:gd name="connsiteY3" fmla="*/ 625773 h 1431633"/>
                  <a:gd name="connsiteX4" fmla="*/ 244117 w 1877162"/>
                  <a:gd name="connsiteY4" fmla="*/ 970316 h 1431633"/>
                  <a:gd name="connsiteX5" fmla="*/ 409946 w 1877162"/>
                  <a:gd name="connsiteY5" fmla="*/ 1303099 h 1431633"/>
                  <a:gd name="connsiteX6" fmla="*/ 1398911 w 1877162"/>
                  <a:gd name="connsiteY6" fmla="*/ 1337024 h 1431633"/>
                  <a:gd name="connsiteX7" fmla="*/ 1687733 w 1877162"/>
                  <a:gd name="connsiteY7" fmla="*/ 927702 h 1431633"/>
                  <a:gd name="connsiteX8" fmla="*/ 1869461 w 1877162"/>
                  <a:gd name="connsiteY8" fmla="*/ 587673 h 1431633"/>
                  <a:gd name="connsiteX9" fmla="*/ 1562365 w 1877162"/>
                  <a:gd name="connsiteY9" fmla="*/ 276031 h 1431633"/>
                  <a:gd name="connsiteX0" fmla="*/ 1562365 w 1877162"/>
                  <a:gd name="connsiteY0" fmla="*/ 281269 h 1436871"/>
                  <a:gd name="connsiteX1" fmla="*/ 196786 w 1877162"/>
                  <a:gd name="connsiteY1" fmla="*/ 29531 h 1436871"/>
                  <a:gd name="connsiteX2" fmla="*/ 56937 w 1877162"/>
                  <a:gd name="connsiteY2" fmla="*/ 252016 h 1436871"/>
                  <a:gd name="connsiteX3" fmla="*/ 16185 w 1877162"/>
                  <a:gd name="connsiteY3" fmla="*/ 631011 h 1436871"/>
                  <a:gd name="connsiteX4" fmla="*/ 244117 w 1877162"/>
                  <a:gd name="connsiteY4" fmla="*/ 975554 h 1436871"/>
                  <a:gd name="connsiteX5" fmla="*/ 409946 w 1877162"/>
                  <a:gd name="connsiteY5" fmla="*/ 1308337 h 1436871"/>
                  <a:gd name="connsiteX6" fmla="*/ 1398911 w 1877162"/>
                  <a:gd name="connsiteY6" fmla="*/ 1342262 h 1436871"/>
                  <a:gd name="connsiteX7" fmla="*/ 1687733 w 1877162"/>
                  <a:gd name="connsiteY7" fmla="*/ 932940 h 1436871"/>
                  <a:gd name="connsiteX8" fmla="*/ 1869461 w 1877162"/>
                  <a:gd name="connsiteY8" fmla="*/ 592911 h 1436871"/>
                  <a:gd name="connsiteX9" fmla="*/ 1562365 w 1877162"/>
                  <a:gd name="connsiteY9" fmla="*/ 281269 h 1436871"/>
                  <a:gd name="connsiteX0" fmla="*/ 1562365 w 1877162"/>
                  <a:gd name="connsiteY0" fmla="*/ 336609 h 1492211"/>
                  <a:gd name="connsiteX1" fmla="*/ 196786 w 1877162"/>
                  <a:gd name="connsiteY1" fmla="*/ 84871 h 1492211"/>
                  <a:gd name="connsiteX2" fmla="*/ 56937 w 1877162"/>
                  <a:gd name="connsiteY2" fmla="*/ 307356 h 1492211"/>
                  <a:gd name="connsiteX3" fmla="*/ 16185 w 1877162"/>
                  <a:gd name="connsiteY3" fmla="*/ 686351 h 1492211"/>
                  <a:gd name="connsiteX4" fmla="*/ 244117 w 1877162"/>
                  <a:gd name="connsiteY4" fmla="*/ 1030894 h 1492211"/>
                  <a:gd name="connsiteX5" fmla="*/ 409946 w 1877162"/>
                  <a:gd name="connsiteY5" fmla="*/ 1363677 h 1492211"/>
                  <a:gd name="connsiteX6" fmla="*/ 1398911 w 1877162"/>
                  <a:gd name="connsiteY6" fmla="*/ 1397602 h 1492211"/>
                  <a:gd name="connsiteX7" fmla="*/ 1687733 w 1877162"/>
                  <a:gd name="connsiteY7" fmla="*/ 988280 h 1492211"/>
                  <a:gd name="connsiteX8" fmla="*/ 1869461 w 1877162"/>
                  <a:gd name="connsiteY8" fmla="*/ 648251 h 1492211"/>
                  <a:gd name="connsiteX9" fmla="*/ 1562365 w 1877162"/>
                  <a:gd name="connsiteY9" fmla="*/ 336609 h 1492211"/>
                  <a:gd name="connsiteX0" fmla="*/ 1562365 w 1877162"/>
                  <a:gd name="connsiteY0" fmla="*/ 336609 h 1492211"/>
                  <a:gd name="connsiteX1" fmla="*/ 196786 w 1877162"/>
                  <a:gd name="connsiteY1" fmla="*/ 84871 h 1492211"/>
                  <a:gd name="connsiteX2" fmla="*/ 56937 w 1877162"/>
                  <a:gd name="connsiteY2" fmla="*/ 307356 h 1492211"/>
                  <a:gd name="connsiteX3" fmla="*/ 16185 w 1877162"/>
                  <a:gd name="connsiteY3" fmla="*/ 686351 h 1492211"/>
                  <a:gd name="connsiteX4" fmla="*/ 244117 w 1877162"/>
                  <a:gd name="connsiteY4" fmla="*/ 1030894 h 1492211"/>
                  <a:gd name="connsiteX5" fmla="*/ 409946 w 1877162"/>
                  <a:gd name="connsiteY5" fmla="*/ 1363677 h 1492211"/>
                  <a:gd name="connsiteX6" fmla="*/ 1398911 w 1877162"/>
                  <a:gd name="connsiteY6" fmla="*/ 1397602 h 1492211"/>
                  <a:gd name="connsiteX7" fmla="*/ 1687733 w 1877162"/>
                  <a:gd name="connsiteY7" fmla="*/ 988280 h 1492211"/>
                  <a:gd name="connsiteX8" fmla="*/ 1869461 w 1877162"/>
                  <a:gd name="connsiteY8" fmla="*/ 648251 h 1492211"/>
                  <a:gd name="connsiteX9" fmla="*/ 1562365 w 1877162"/>
                  <a:gd name="connsiteY9" fmla="*/ 336609 h 1492211"/>
                  <a:gd name="connsiteX0" fmla="*/ 1562365 w 1877162"/>
                  <a:gd name="connsiteY0" fmla="*/ 336609 h 1492211"/>
                  <a:gd name="connsiteX1" fmla="*/ 196786 w 1877162"/>
                  <a:gd name="connsiteY1" fmla="*/ 84871 h 1492211"/>
                  <a:gd name="connsiteX2" fmla="*/ 56937 w 1877162"/>
                  <a:gd name="connsiteY2" fmla="*/ 307356 h 1492211"/>
                  <a:gd name="connsiteX3" fmla="*/ 16185 w 1877162"/>
                  <a:gd name="connsiteY3" fmla="*/ 686351 h 1492211"/>
                  <a:gd name="connsiteX4" fmla="*/ 244117 w 1877162"/>
                  <a:gd name="connsiteY4" fmla="*/ 1030894 h 1492211"/>
                  <a:gd name="connsiteX5" fmla="*/ 409946 w 1877162"/>
                  <a:gd name="connsiteY5" fmla="*/ 1363677 h 1492211"/>
                  <a:gd name="connsiteX6" fmla="*/ 1398911 w 1877162"/>
                  <a:gd name="connsiteY6" fmla="*/ 1397602 h 1492211"/>
                  <a:gd name="connsiteX7" fmla="*/ 1687733 w 1877162"/>
                  <a:gd name="connsiteY7" fmla="*/ 988280 h 1492211"/>
                  <a:gd name="connsiteX8" fmla="*/ 1869461 w 1877162"/>
                  <a:gd name="connsiteY8" fmla="*/ 648251 h 1492211"/>
                  <a:gd name="connsiteX9" fmla="*/ 1562365 w 1877162"/>
                  <a:gd name="connsiteY9" fmla="*/ 336609 h 1492211"/>
                  <a:gd name="connsiteX0" fmla="*/ 1562365 w 1877162"/>
                  <a:gd name="connsiteY0" fmla="*/ 365676 h 1521278"/>
                  <a:gd name="connsiteX1" fmla="*/ 196786 w 1877162"/>
                  <a:gd name="connsiteY1" fmla="*/ 79848 h 1521278"/>
                  <a:gd name="connsiteX2" fmla="*/ 56937 w 1877162"/>
                  <a:gd name="connsiteY2" fmla="*/ 336423 h 1521278"/>
                  <a:gd name="connsiteX3" fmla="*/ 16185 w 1877162"/>
                  <a:gd name="connsiteY3" fmla="*/ 715418 h 1521278"/>
                  <a:gd name="connsiteX4" fmla="*/ 244117 w 1877162"/>
                  <a:gd name="connsiteY4" fmla="*/ 1059961 h 1521278"/>
                  <a:gd name="connsiteX5" fmla="*/ 409946 w 1877162"/>
                  <a:gd name="connsiteY5" fmla="*/ 1392744 h 1521278"/>
                  <a:gd name="connsiteX6" fmla="*/ 1398911 w 1877162"/>
                  <a:gd name="connsiteY6" fmla="*/ 1426669 h 1521278"/>
                  <a:gd name="connsiteX7" fmla="*/ 1687733 w 1877162"/>
                  <a:gd name="connsiteY7" fmla="*/ 1017347 h 1521278"/>
                  <a:gd name="connsiteX8" fmla="*/ 1869461 w 1877162"/>
                  <a:gd name="connsiteY8" fmla="*/ 677318 h 1521278"/>
                  <a:gd name="connsiteX9" fmla="*/ 1562365 w 1877162"/>
                  <a:gd name="connsiteY9" fmla="*/ 365676 h 1521278"/>
                  <a:gd name="connsiteX0" fmla="*/ 1562365 w 1877162"/>
                  <a:gd name="connsiteY0" fmla="*/ 318518 h 1474120"/>
                  <a:gd name="connsiteX1" fmla="*/ 196786 w 1877162"/>
                  <a:gd name="connsiteY1" fmla="*/ 32690 h 1474120"/>
                  <a:gd name="connsiteX2" fmla="*/ 56937 w 1877162"/>
                  <a:gd name="connsiteY2" fmla="*/ 289265 h 1474120"/>
                  <a:gd name="connsiteX3" fmla="*/ 16185 w 1877162"/>
                  <a:gd name="connsiteY3" fmla="*/ 668260 h 1474120"/>
                  <a:gd name="connsiteX4" fmla="*/ 244117 w 1877162"/>
                  <a:gd name="connsiteY4" fmla="*/ 1012803 h 1474120"/>
                  <a:gd name="connsiteX5" fmla="*/ 409946 w 1877162"/>
                  <a:gd name="connsiteY5" fmla="*/ 1345586 h 1474120"/>
                  <a:gd name="connsiteX6" fmla="*/ 1398911 w 1877162"/>
                  <a:gd name="connsiteY6" fmla="*/ 1379511 h 1474120"/>
                  <a:gd name="connsiteX7" fmla="*/ 1687733 w 1877162"/>
                  <a:gd name="connsiteY7" fmla="*/ 970189 h 1474120"/>
                  <a:gd name="connsiteX8" fmla="*/ 1869461 w 1877162"/>
                  <a:gd name="connsiteY8" fmla="*/ 630160 h 1474120"/>
                  <a:gd name="connsiteX9" fmla="*/ 1562365 w 1877162"/>
                  <a:gd name="connsiteY9" fmla="*/ 318518 h 1474120"/>
                  <a:gd name="connsiteX0" fmla="*/ 1562365 w 1877162"/>
                  <a:gd name="connsiteY0" fmla="*/ 318518 h 1474120"/>
                  <a:gd name="connsiteX1" fmla="*/ 196786 w 1877162"/>
                  <a:gd name="connsiteY1" fmla="*/ 32690 h 1474120"/>
                  <a:gd name="connsiteX2" fmla="*/ 56937 w 1877162"/>
                  <a:gd name="connsiteY2" fmla="*/ 289265 h 1474120"/>
                  <a:gd name="connsiteX3" fmla="*/ 16185 w 1877162"/>
                  <a:gd name="connsiteY3" fmla="*/ 668260 h 1474120"/>
                  <a:gd name="connsiteX4" fmla="*/ 244117 w 1877162"/>
                  <a:gd name="connsiteY4" fmla="*/ 1012803 h 1474120"/>
                  <a:gd name="connsiteX5" fmla="*/ 409946 w 1877162"/>
                  <a:gd name="connsiteY5" fmla="*/ 1345586 h 1474120"/>
                  <a:gd name="connsiteX6" fmla="*/ 1398911 w 1877162"/>
                  <a:gd name="connsiteY6" fmla="*/ 1379511 h 1474120"/>
                  <a:gd name="connsiteX7" fmla="*/ 1687733 w 1877162"/>
                  <a:gd name="connsiteY7" fmla="*/ 970189 h 1474120"/>
                  <a:gd name="connsiteX8" fmla="*/ 1869461 w 1877162"/>
                  <a:gd name="connsiteY8" fmla="*/ 630160 h 1474120"/>
                  <a:gd name="connsiteX9" fmla="*/ 1562365 w 1877162"/>
                  <a:gd name="connsiteY9" fmla="*/ 318518 h 1474120"/>
                  <a:gd name="connsiteX0" fmla="*/ 1555334 w 1870131"/>
                  <a:gd name="connsiteY0" fmla="*/ 318518 h 1474120"/>
                  <a:gd name="connsiteX1" fmla="*/ 189755 w 1870131"/>
                  <a:gd name="connsiteY1" fmla="*/ 32690 h 1474120"/>
                  <a:gd name="connsiteX2" fmla="*/ 85405 w 1870131"/>
                  <a:gd name="connsiteY2" fmla="*/ 289265 h 1474120"/>
                  <a:gd name="connsiteX3" fmla="*/ 9154 w 1870131"/>
                  <a:gd name="connsiteY3" fmla="*/ 668260 h 1474120"/>
                  <a:gd name="connsiteX4" fmla="*/ 237086 w 1870131"/>
                  <a:gd name="connsiteY4" fmla="*/ 1012803 h 1474120"/>
                  <a:gd name="connsiteX5" fmla="*/ 402915 w 1870131"/>
                  <a:gd name="connsiteY5" fmla="*/ 1345586 h 1474120"/>
                  <a:gd name="connsiteX6" fmla="*/ 1391880 w 1870131"/>
                  <a:gd name="connsiteY6" fmla="*/ 1379511 h 1474120"/>
                  <a:gd name="connsiteX7" fmla="*/ 1680702 w 1870131"/>
                  <a:gd name="connsiteY7" fmla="*/ 970189 h 1474120"/>
                  <a:gd name="connsiteX8" fmla="*/ 1862430 w 1870131"/>
                  <a:gd name="connsiteY8" fmla="*/ 630160 h 1474120"/>
                  <a:gd name="connsiteX9" fmla="*/ 1555334 w 1870131"/>
                  <a:gd name="connsiteY9" fmla="*/ 318518 h 1474120"/>
                  <a:gd name="connsiteX0" fmla="*/ 1562365 w 1877162"/>
                  <a:gd name="connsiteY0" fmla="*/ 318518 h 1474120"/>
                  <a:gd name="connsiteX1" fmla="*/ 196786 w 1877162"/>
                  <a:gd name="connsiteY1" fmla="*/ 32690 h 1474120"/>
                  <a:gd name="connsiteX2" fmla="*/ 56938 w 1877162"/>
                  <a:gd name="connsiteY2" fmla="*/ 306310 h 1474120"/>
                  <a:gd name="connsiteX3" fmla="*/ 16185 w 1877162"/>
                  <a:gd name="connsiteY3" fmla="*/ 668260 h 1474120"/>
                  <a:gd name="connsiteX4" fmla="*/ 244117 w 1877162"/>
                  <a:gd name="connsiteY4" fmla="*/ 1012803 h 1474120"/>
                  <a:gd name="connsiteX5" fmla="*/ 409946 w 1877162"/>
                  <a:gd name="connsiteY5" fmla="*/ 1345586 h 1474120"/>
                  <a:gd name="connsiteX6" fmla="*/ 1398911 w 1877162"/>
                  <a:gd name="connsiteY6" fmla="*/ 1379511 h 1474120"/>
                  <a:gd name="connsiteX7" fmla="*/ 1687733 w 1877162"/>
                  <a:gd name="connsiteY7" fmla="*/ 970189 h 1474120"/>
                  <a:gd name="connsiteX8" fmla="*/ 1869461 w 1877162"/>
                  <a:gd name="connsiteY8" fmla="*/ 630160 h 1474120"/>
                  <a:gd name="connsiteX9" fmla="*/ 1562365 w 1877162"/>
                  <a:gd name="connsiteY9" fmla="*/ 318518 h 1474120"/>
                  <a:gd name="connsiteX0" fmla="*/ 1562365 w 1877162"/>
                  <a:gd name="connsiteY0" fmla="*/ 338620 h 1494222"/>
                  <a:gd name="connsiteX1" fmla="*/ 196786 w 1877162"/>
                  <a:gd name="connsiteY1" fmla="*/ 52792 h 1494222"/>
                  <a:gd name="connsiteX2" fmla="*/ 56938 w 1877162"/>
                  <a:gd name="connsiteY2" fmla="*/ 326412 h 1494222"/>
                  <a:gd name="connsiteX3" fmla="*/ 16185 w 1877162"/>
                  <a:gd name="connsiteY3" fmla="*/ 688362 h 1494222"/>
                  <a:gd name="connsiteX4" fmla="*/ 244117 w 1877162"/>
                  <a:gd name="connsiteY4" fmla="*/ 1032905 h 1494222"/>
                  <a:gd name="connsiteX5" fmla="*/ 409946 w 1877162"/>
                  <a:gd name="connsiteY5" fmla="*/ 1365688 h 1494222"/>
                  <a:gd name="connsiteX6" fmla="*/ 1398911 w 1877162"/>
                  <a:gd name="connsiteY6" fmla="*/ 1399613 h 1494222"/>
                  <a:gd name="connsiteX7" fmla="*/ 1687733 w 1877162"/>
                  <a:gd name="connsiteY7" fmla="*/ 990291 h 1494222"/>
                  <a:gd name="connsiteX8" fmla="*/ 1869461 w 1877162"/>
                  <a:gd name="connsiteY8" fmla="*/ 650262 h 1494222"/>
                  <a:gd name="connsiteX9" fmla="*/ 1562365 w 1877162"/>
                  <a:gd name="connsiteY9" fmla="*/ 338620 h 1494222"/>
                  <a:gd name="connsiteX0" fmla="*/ 1562365 w 1877162"/>
                  <a:gd name="connsiteY0" fmla="*/ 338620 h 1494222"/>
                  <a:gd name="connsiteX1" fmla="*/ 196786 w 1877162"/>
                  <a:gd name="connsiteY1" fmla="*/ 52792 h 1494222"/>
                  <a:gd name="connsiteX2" fmla="*/ 56938 w 1877162"/>
                  <a:gd name="connsiteY2" fmla="*/ 326412 h 1494222"/>
                  <a:gd name="connsiteX3" fmla="*/ 16185 w 1877162"/>
                  <a:gd name="connsiteY3" fmla="*/ 688362 h 1494222"/>
                  <a:gd name="connsiteX4" fmla="*/ 244117 w 1877162"/>
                  <a:gd name="connsiteY4" fmla="*/ 1032905 h 1494222"/>
                  <a:gd name="connsiteX5" fmla="*/ 409946 w 1877162"/>
                  <a:gd name="connsiteY5" fmla="*/ 1365688 h 1494222"/>
                  <a:gd name="connsiteX6" fmla="*/ 1398911 w 1877162"/>
                  <a:gd name="connsiteY6" fmla="*/ 1399613 h 1494222"/>
                  <a:gd name="connsiteX7" fmla="*/ 1687733 w 1877162"/>
                  <a:gd name="connsiteY7" fmla="*/ 990291 h 1494222"/>
                  <a:gd name="connsiteX8" fmla="*/ 1869461 w 1877162"/>
                  <a:gd name="connsiteY8" fmla="*/ 650262 h 1494222"/>
                  <a:gd name="connsiteX9" fmla="*/ 1562365 w 1877162"/>
                  <a:gd name="connsiteY9" fmla="*/ 338620 h 1494222"/>
                  <a:gd name="connsiteX0" fmla="*/ 1562365 w 1877162"/>
                  <a:gd name="connsiteY0" fmla="*/ 338620 h 1494222"/>
                  <a:gd name="connsiteX1" fmla="*/ 196786 w 1877162"/>
                  <a:gd name="connsiteY1" fmla="*/ 52792 h 1494222"/>
                  <a:gd name="connsiteX2" fmla="*/ 56938 w 1877162"/>
                  <a:gd name="connsiteY2" fmla="*/ 326412 h 1494222"/>
                  <a:gd name="connsiteX3" fmla="*/ 16185 w 1877162"/>
                  <a:gd name="connsiteY3" fmla="*/ 688362 h 1494222"/>
                  <a:gd name="connsiteX4" fmla="*/ 244117 w 1877162"/>
                  <a:gd name="connsiteY4" fmla="*/ 1032905 h 1494222"/>
                  <a:gd name="connsiteX5" fmla="*/ 409946 w 1877162"/>
                  <a:gd name="connsiteY5" fmla="*/ 1365688 h 1494222"/>
                  <a:gd name="connsiteX6" fmla="*/ 1398911 w 1877162"/>
                  <a:gd name="connsiteY6" fmla="*/ 1399613 h 1494222"/>
                  <a:gd name="connsiteX7" fmla="*/ 1687733 w 1877162"/>
                  <a:gd name="connsiteY7" fmla="*/ 990291 h 1494222"/>
                  <a:gd name="connsiteX8" fmla="*/ 1869461 w 1877162"/>
                  <a:gd name="connsiteY8" fmla="*/ 650262 h 1494222"/>
                  <a:gd name="connsiteX9" fmla="*/ 1562365 w 1877162"/>
                  <a:gd name="connsiteY9" fmla="*/ 338620 h 1494222"/>
                  <a:gd name="connsiteX0" fmla="*/ 1562365 w 1877162"/>
                  <a:gd name="connsiteY0" fmla="*/ 338620 h 1494222"/>
                  <a:gd name="connsiteX1" fmla="*/ 196786 w 1877162"/>
                  <a:gd name="connsiteY1" fmla="*/ 52792 h 1494222"/>
                  <a:gd name="connsiteX2" fmla="*/ 56938 w 1877162"/>
                  <a:gd name="connsiteY2" fmla="*/ 326412 h 1494222"/>
                  <a:gd name="connsiteX3" fmla="*/ 16185 w 1877162"/>
                  <a:gd name="connsiteY3" fmla="*/ 688362 h 1494222"/>
                  <a:gd name="connsiteX4" fmla="*/ 244117 w 1877162"/>
                  <a:gd name="connsiteY4" fmla="*/ 1032905 h 1494222"/>
                  <a:gd name="connsiteX5" fmla="*/ 409946 w 1877162"/>
                  <a:gd name="connsiteY5" fmla="*/ 1365688 h 1494222"/>
                  <a:gd name="connsiteX6" fmla="*/ 1398911 w 1877162"/>
                  <a:gd name="connsiteY6" fmla="*/ 1399613 h 1494222"/>
                  <a:gd name="connsiteX7" fmla="*/ 1687733 w 1877162"/>
                  <a:gd name="connsiteY7" fmla="*/ 990291 h 1494222"/>
                  <a:gd name="connsiteX8" fmla="*/ 1869461 w 1877162"/>
                  <a:gd name="connsiteY8" fmla="*/ 650262 h 1494222"/>
                  <a:gd name="connsiteX9" fmla="*/ 1562365 w 1877162"/>
                  <a:gd name="connsiteY9" fmla="*/ 338620 h 1494222"/>
                  <a:gd name="connsiteX0" fmla="*/ 1562365 w 1877162"/>
                  <a:gd name="connsiteY0" fmla="*/ 342049 h 1497651"/>
                  <a:gd name="connsiteX1" fmla="*/ 255951 w 1877162"/>
                  <a:gd name="connsiteY1" fmla="*/ 51960 h 1497651"/>
                  <a:gd name="connsiteX2" fmla="*/ 56938 w 1877162"/>
                  <a:gd name="connsiteY2" fmla="*/ 329841 h 1497651"/>
                  <a:gd name="connsiteX3" fmla="*/ 16185 w 1877162"/>
                  <a:gd name="connsiteY3" fmla="*/ 691791 h 1497651"/>
                  <a:gd name="connsiteX4" fmla="*/ 244117 w 1877162"/>
                  <a:gd name="connsiteY4" fmla="*/ 1036334 h 1497651"/>
                  <a:gd name="connsiteX5" fmla="*/ 409946 w 1877162"/>
                  <a:gd name="connsiteY5" fmla="*/ 1369117 h 1497651"/>
                  <a:gd name="connsiteX6" fmla="*/ 1398911 w 1877162"/>
                  <a:gd name="connsiteY6" fmla="*/ 1403042 h 1497651"/>
                  <a:gd name="connsiteX7" fmla="*/ 1687733 w 1877162"/>
                  <a:gd name="connsiteY7" fmla="*/ 993720 h 1497651"/>
                  <a:gd name="connsiteX8" fmla="*/ 1869461 w 1877162"/>
                  <a:gd name="connsiteY8" fmla="*/ 653691 h 1497651"/>
                  <a:gd name="connsiteX9" fmla="*/ 1562365 w 1877162"/>
                  <a:gd name="connsiteY9" fmla="*/ 342049 h 1497651"/>
                  <a:gd name="connsiteX0" fmla="*/ 1562365 w 1877162"/>
                  <a:gd name="connsiteY0" fmla="*/ 328958 h 1484560"/>
                  <a:gd name="connsiteX1" fmla="*/ 255951 w 1877162"/>
                  <a:gd name="connsiteY1" fmla="*/ 38869 h 1484560"/>
                  <a:gd name="connsiteX2" fmla="*/ 56938 w 1877162"/>
                  <a:gd name="connsiteY2" fmla="*/ 316750 h 1484560"/>
                  <a:gd name="connsiteX3" fmla="*/ 16185 w 1877162"/>
                  <a:gd name="connsiteY3" fmla="*/ 678700 h 1484560"/>
                  <a:gd name="connsiteX4" fmla="*/ 244117 w 1877162"/>
                  <a:gd name="connsiteY4" fmla="*/ 1023243 h 1484560"/>
                  <a:gd name="connsiteX5" fmla="*/ 409946 w 1877162"/>
                  <a:gd name="connsiteY5" fmla="*/ 1356026 h 1484560"/>
                  <a:gd name="connsiteX6" fmla="*/ 1398911 w 1877162"/>
                  <a:gd name="connsiteY6" fmla="*/ 1389951 h 1484560"/>
                  <a:gd name="connsiteX7" fmla="*/ 1687733 w 1877162"/>
                  <a:gd name="connsiteY7" fmla="*/ 980629 h 1484560"/>
                  <a:gd name="connsiteX8" fmla="*/ 1869461 w 1877162"/>
                  <a:gd name="connsiteY8" fmla="*/ 640600 h 1484560"/>
                  <a:gd name="connsiteX9" fmla="*/ 1562365 w 1877162"/>
                  <a:gd name="connsiteY9" fmla="*/ 328958 h 1484560"/>
                  <a:gd name="connsiteX0" fmla="*/ 1615614 w 1881903"/>
                  <a:gd name="connsiteY0" fmla="*/ 278046 h 1493307"/>
                  <a:gd name="connsiteX1" fmla="*/ 255951 w 1881903"/>
                  <a:gd name="connsiteY1" fmla="*/ 47616 h 1493307"/>
                  <a:gd name="connsiteX2" fmla="*/ 56938 w 1881903"/>
                  <a:gd name="connsiteY2" fmla="*/ 325497 h 1493307"/>
                  <a:gd name="connsiteX3" fmla="*/ 16185 w 1881903"/>
                  <a:gd name="connsiteY3" fmla="*/ 687447 h 1493307"/>
                  <a:gd name="connsiteX4" fmla="*/ 244117 w 1881903"/>
                  <a:gd name="connsiteY4" fmla="*/ 1031990 h 1493307"/>
                  <a:gd name="connsiteX5" fmla="*/ 409946 w 1881903"/>
                  <a:gd name="connsiteY5" fmla="*/ 1364773 h 1493307"/>
                  <a:gd name="connsiteX6" fmla="*/ 1398911 w 1881903"/>
                  <a:gd name="connsiteY6" fmla="*/ 1398698 h 1493307"/>
                  <a:gd name="connsiteX7" fmla="*/ 1687733 w 1881903"/>
                  <a:gd name="connsiteY7" fmla="*/ 989376 h 1493307"/>
                  <a:gd name="connsiteX8" fmla="*/ 1869461 w 1881903"/>
                  <a:gd name="connsiteY8" fmla="*/ 649347 h 1493307"/>
                  <a:gd name="connsiteX9" fmla="*/ 1615614 w 1881903"/>
                  <a:gd name="connsiteY9" fmla="*/ 278046 h 1493307"/>
                  <a:gd name="connsiteX0" fmla="*/ 1615614 w 1881903"/>
                  <a:gd name="connsiteY0" fmla="*/ 283803 h 1499064"/>
                  <a:gd name="connsiteX1" fmla="*/ 255951 w 1881903"/>
                  <a:gd name="connsiteY1" fmla="*/ 53373 h 1499064"/>
                  <a:gd name="connsiteX2" fmla="*/ 56938 w 1881903"/>
                  <a:gd name="connsiteY2" fmla="*/ 331254 h 1499064"/>
                  <a:gd name="connsiteX3" fmla="*/ 16185 w 1881903"/>
                  <a:gd name="connsiteY3" fmla="*/ 693204 h 1499064"/>
                  <a:gd name="connsiteX4" fmla="*/ 244117 w 1881903"/>
                  <a:gd name="connsiteY4" fmla="*/ 1037747 h 1499064"/>
                  <a:gd name="connsiteX5" fmla="*/ 409946 w 1881903"/>
                  <a:gd name="connsiteY5" fmla="*/ 1370530 h 1499064"/>
                  <a:gd name="connsiteX6" fmla="*/ 1398911 w 1881903"/>
                  <a:gd name="connsiteY6" fmla="*/ 1404455 h 1499064"/>
                  <a:gd name="connsiteX7" fmla="*/ 1687733 w 1881903"/>
                  <a:gd name="connsiteY7" fmla="*/ 995133 h 1499064"/>
                  <a:gd name="connsiteX8" fmla="*/ 1869461 w 1881903"/>
                  <a:gd name="connsiteY8" fmla="*/ 655104 h 1499064"/>
                  <a:gd name="connsiteX9" fmla="*/ 1615614 w 1881903"/>
                  <a:gd name="connsiteY9" fmla="*/ 283803 h 1499064"/>
                  <a:gd name="connsiteX0" fmla="*/ 1615614 w 1877002"/>
                  <a:gd name="connsiteY0" fmla="*/ 283803 h 1499064"/>
                  <a:gd name="connsiteX1" fmla="*/ 255951 w 1877002"/>
                  <a:gd name="connsiteY1" fmla="*/ 53373 h 1499064"/>
                  <a:gd name="connsiteX2" fmla="*/ 56938 w 1877002"/>
                  <a:gd name="connsiteY2" fmla="*/ 331254 h 1499064"/>
                  <a:gd name="connsiteX3" fmla="*/ 16185 w 1877002"/>
                  <a:gd name="connsiteY3" fmla="*/ 693204 h 1499064"/>
                  <a:gd name="connsiteX4" fmla="*/ 244117 w 1877002"/>
                  <a:gd name="connsiteY4" fmla="*/ 1037747 h 1499064"/>
                  <a:gd name="connsiteX5" fmla="*/ 409946 w 1877002"/>
                  <a:gd name="connsiteY5" fmla="*/ 1370530 h 1499064"/>
                  <a:gd name="connsiteX6" fmla="*/ 1398911 w 1877002"/>
                  <a:gd name="connsiteY6" fmla="*/ 1404455 h 1499064"/>
                  <a:gd name="connsiteX7" fmla="*/ 1687733 w 1877002"/>
                  <a:gd name="connsiteY7" fmla="*/ 995133 h 1499064"/>
                  <a:gd name="connsiteX8" fmla="*/ 1869461 w 1877002"/>
                  <a:gd name="connsiteY8" fmla="*/ 655104 h 1499064"/>
                  <a:gd name="connsiteX9" fmla="*/ 1615614 w 1877002"/>
                  <a:gd name="connsiteY9" fmla="*/ 283803 h 1499064"/>
                  <a:gd name="connsiteX0" fmla="*/ 1615614 w 1877004"/>
                  <a:gd name="connsiteY0" fmla="*/ 281539 h 1496800"/>
                  <a:gd name="connsiteX1" fmla="*/ 255951 w 1877004"/>
                  <a:gd name="connsiteY1" fmla="*/ 51109 h 1496800"/>
                  <a:gd name="connsiteX2" fmla="*/ 56938 w 1877004"/>
                  <a:gd name="connsiteY2" fmla="*/ 328990 h 1496800"/>
                  <a:gd name="connsiteX3" fmla="*/ 16185 w 1877004"/>
                  <a:gd name="connsiteY3" fmla="*/ 690940 h 1496800"/>
                  <a:gd name="connsiteX4" fmla="*/ 244117 w 1877004"/>
                  <a:gd name="connsiteY4" fmla="*/ 1035483 h 1496800"/>
                  <a:gd name="connsiteX5" fmla="*/ 409946 w 1877004"/>
                  <a:gd name="connsiteY5" fmla="*/ 1368266 h 1496800"/>
                  <a:gd name="connsiteX6" fmla="*/ 1398911 w 1877004"/>
                  <a:gd name="connsiteY6" fmla="*/ 1402191 h 1496800"/>
                  <a:gd name="connsiteX7" fmla="*/ 1687733 w 1877004"/>
                  <a:gd name="connsiteY7" fmla="*/ 992869 h 1496800"/>
                  <a:gd name="connsiteX8" fmla="*/ 1869461 w 1877004"/>
                  <a:gd name="connsiteY8" fmla="*/ 652840 h 1496800"/>
                  <a:gd name="connsiteX9" fmla="*/ 1615614 w 1877004"/>
                  <a:gd name="connsiteY9" fmla="*/ 281539 h 1496800"/>
                  <a:gd name="connsiteX0" fmla="*/ 1621530 w 1877367"/>
                  <a:gd name="connsiteY0" fmla="*/ 258088 h 1503179"/>
                  <a:gd name="connsiteX1" fmla="*/ 255951 w 1877367"/>
                  <a:gd name="connsiteY1" fmla="*/ 57488 h 1503179"/>
                  <a:gd name="connsiteX2" fmla="*/ 56938 w 1877367"/>
                  <a:gd name="connsiteY2" fmla="*/ 335369 h 1503179"/>
                  <a:gd name="connsiteX3" fmla="*/ 16185 w 1877367"/>
                  <a:gd name="connsiteY3" fmla="*/ 697319 h 1503179"/>
                  <a:gd name="connsiteX4" fmla="*/ 244117 w 1877367"/>
                  <a:gd name="connsiteY4" fmla="*/ 1041862 h 1503179"/>
                  <a:gd name="connsiteX5" fmla="*/ 409946 w 1877367"/>
                  <a:gd name="connsiteY5" fmla="*/ 1374645 h 1503179"/>
                  <a:gd name="connsiteX6" fmla="*/ 1398911 w 1877367"/>
                  <a:gd name="connsiteY6" fmla="*/ 1408570 h 1503179"/>
                  <a:gd name="connsiteX7" fmla="*/ 1687733 w 1877367"/>
                  <a:gd name="connsiteY7" fmla="*/ 999248 h 1503179"/>
                  <a:gd name="connsiteX8" fmla="*/ 1869461 w 1877367"/>
                  <a:gd name="connsiteY8" fmla="*/ 659219 h 1503179"/>
                  <a:gd name="connsiteX9" fmla="*/ 1621530 w 1877367"/>
                  <a:gd name="connsiteY9" fmla="*/ 258088 h 1503179"/>
                  <a:gd name="connsiteX0" fmla="*/ 1621530 w 1875619"/>
                  <a:gd name="connsiteY0" fmla="*/ 258088 h 1503179"/>
                  <a:gd name="connsiteX1" fmla="*/ 255951 w 1875619"/>
                  <a:gd name="connsiteY1" fmla="*/ 57488 h 1503179"/>
                  <a:gd name="connsiteX2" fmla="*/ 56938 w 1875619"/>
                  <a:gd name="connsiteY2" fmla="*/ 335369 h 1503179"/>
                  <a:gd name="connsiteX3" fmla="*/ 16185 w 1875619"/>
                  <a:gd name="connsiteY3" fmla="*/ 697319 h 1503179"/>
                  <a:gd name="connsiteX4" fmla="*/ 244117 w 1875619"/>
                  <a:gd name="connsiteY4" fmla="*/ 1041862 h 1503179"/>
                  <a:gd name="connsiteX5" fmla="*/ 409946 w 1875619"/>
                  <a:gd name="connsiteY5" fmla="*/ 1374645 h 1503179"/>
                  <a:gd name="connsiteX6" fmla="*/ 1398911 w 1875619"/>
                  <a:gd name="connsiteY6" fmla="*/ 1408570 h 1503179"/>
                  <a:gd name="connsiteX7" fmla="*/ 1687733 w 1875619"/>
                  <a:gd name="connsiteY7" fmla="*/ 999248 h 1503179"/>
                  <a:gd name="connsiteX8" fmla="*/ 1869461 w 1875619"/>
                  <a:gd name="connsiteY8" fmla="*/ 659219 h 1503179"/>
                  <a:gd name="connsiteX9" fmla="*/ 1621530 w 1875619"/>
                  <a:gd name="connsiteY9" fmla="*/ 258088 h 1503179"/>
                  <a:gd name="connsiteX0" fmla="*/ 1621530 w 1875621"/>
                  <a:gd name="connsiteY0" fmla="*/ 243738 h 1488829"/>
                  <a:gd name="connsiteX1" fmla="*/ 255951 w 1875621"/>
                  <a:gd name="connsiteY1" fmla="*/ 43138 h 1488829"/>
                  <a:gd name="connsiteX2" fmla="*/ 56938 w 1875621"/>
                  <a:gd name="connsiteY2" fmla="*/ 321019 h 1488829"/>
                  <a:gd name="connsiteX3" fmla="*/ 16185 w 1875621"/>
                  <a:gd name="connsiteY3" fmla="*/ 682969 h 1488829"/>
                  <a:gd name="connsiteX4" fmla="*/ 244117 w 1875621"/>
                  <a:gd name="connsiteY4" fmla="*/ 1027512 h 1488829"/>
                  <a:gd name="connsiteX5" fmla="*/ 409946 w 1875621"/>
                  <a:gd name="connsiteY5" fmla="*/ 1360295 h 1488829"/>
                  <a:gd name="connsiteX6" fmla="*/ 1398911 w 1875621"/>
                  <a:gd name="connsiteY6" fmla="*/ 1394220 h 1488829"/>
                  <a:gd name="connsiteX7" fmla="*/ 1687733 w 1875621"/>
                  <a:gd name="connsiteY7" fmla="*/ 984898 h 1488829"/>
                  <a:gd name="connsiteX8" fmla="*/ 1869461 w 1875621"/>
                  <a:gd name="connsiteY8" fmla="*/ 644869 h 1488829"/>
                  <a:gd name="connsiteX9" fmla="*/ 1621530 w 1875621"/>
                  <a:gd name="connsiteY9" fmla="*/ 243738 h 1488829"/>
                  <a:gd name="connsiteX0" fmla="*/ 1621530 w 1875619"/>
                  <a:gd name="connsiteY0" fmla="*/ 173406 h 1418497"/>
                  <a:gd name="connsiteX1" fmla="*/ 343782 w 1875619"/>
                  <a:gd name="connsiteY1" fmla="*/ 61373 h 1418497"/>
                  <a:gd name="connsiteX2" fmla="*/ 56938 w 1875619"/>
                  <a:gd name="connsiteY2" fmla="*/ 250687 h 1418497"/>
                  <a:gd name="connsiteX3" fmla="*/ 16185 w 1875619"/>
                  <a:gd name="connsiteY3" fmla="*/ 612637 h 1418497"/>
                  <a:gd name="connsiteX4" fmla="*/ 244117 w 1875619"/>
                  <a:gd name="connsiteY4" fmla="*/ 957180 h 1418497"/>
                  <a:gd name="connsiteX5" fmla="*/ 409946 w 1875619"/>
                  <a:gd name="connsiteY5" fmla="*/ 1289963 h 1418497"/>
                  <a:gd name="connsiteX6" fmla="*/ 1398911 w 1875619"/>
                  <a:gd name="connsiteY6" fmla="*/ 1323888 h 1418497"/>
                  <a:gd name="connsiteX7" fmla="*/ 1687733 w 1875619"/>
                  <a:gd name="connsiteY7" fmla="*/ 914566 h 1418497"/>
                  <a:gd name="connsiteX8" fmla="*/ 1869461 w 1875619"/>
                  <a:gd name="connsiteY8" fmla="*/ 574537 h 1418497"/>
                  <a:gd name="connsiteX9" fmla="*/ 1621530 w 1875619"/>
                  <a:gd name="connsiteY9" fmla="*/ 173406 h 1418497"/>
                  <a:gd name="connsiteX0" fmla="*/ 1580115 w 1874262"/>
                  <a:gd name="connsiteY0" fmla="*/ 202502 h 1409241"/>
                  <a:gd name="connsiteX1" fmla="*/ 343782 w 1874262"/>
                  <a:gd name="connsiteY1" fmla="*/ 52117 h 1409241"/>
                  <a:gd name="connsiteX2" fmla="*/ 56938 w 1874262"/>
                  <a:gd name="connsiteY2" fmla="*/ 241431 h 1409241"/>
                  <a:gd name="connsiteX3" fmla="*/ 16185 w 1874262"/>
                  <a:gd name="connsiteY3" fmla="*/ 603381 h 1409241"/>
                  <a:gd name="connsiteX4" fmla="*/ 244117 w 1874262"/>
                  <a:gd name="connsiteY4" fmla="*/ 947924 h 1409241"/>
                  <a:gd name="connsiteX5" fmla="*/ 409946 w 1874262"/>
                  <a:gd name="connsiteY5" fmla="*/ 1280707 h 1409241"/>
                  <a:gd name="connsiteX6" fmla="*/ 1398911 w 1874262"/>
                  <a:gd name="connsiteY6" fmla="*/ 1314632 h 1409241"/>
                  <a:gd name="connsiteX7" fmla="*/ 1687733 w 1874262"/>
                  <a:gd name="connsiteY7" fmla="*/ 905310 h 1409241"/>
                  <a:gd name="connsiteX8" fmla="*/ 1869461 w 1874262"/>
                  <a:gd name="connsiteY8" fmla="*/ 565281 h 1409241"/>
                  <a:gd name="connsiteX9" fmla="*/ 1580115 w 1874262"/>
                  <a:gd name="connsiteY9" fmla="*/ 202502 h 1409241"/>
                  <a:gd name="connsiteX0" fmla="*/ 1580115 w 1874264"/>
                  <a:gd name="connsiteY0" fmla="*/ 195411 h 1402150"/>
                  <a:gd name="connsiteX1" fmla="*/ 343782 w 1874264"/>
                  <a:gd name="connsiteY1" fmla="*/ 45026 h 1402150"/>
                  <a:gd name="connsiteX2" fmla="*/ 56938 w 1874264"/>
                  <a:gd name="connsiteY2" fmla="*/ 234340 h 1402150"/>
                  <a:gd name="connsiteX3" fmla="*/ 16185 w 1874264"/>
                  <a:gd name="connsiteY3" fmla="*/ 596290 h 1402150"/>
                  <a:gd name="connsiteX4" fmla="*/ 244117 w 1874264"/>
                  <a:gd name="connsiteY4" fmla="*/ 940833 h 1402150"/>
                  <a:gd name="connsiteX5" fmla="*/ 409946 w 1874264"/>
                  <a:gd name="connsiteY5" fmla="*/ 1273616 h 1402150"/>
                  <a:gd name="connsiteX6" fmla="*/ 1398911 w 1874264"/>
                  <a:gd name="connsiteY6" fmla="*/ 1307541 h 1402150"/>
                  <a:gd name="connsiteX7" fmla="*/ 1687733 w 1874264"/>
                  <a:gd name="connsiteY7" fmla="*/ 898219 h 1402150"/>
                  <a:gd name="connsiteX8" fmla="*/ 1869461 w 1874264"/>
                  <a:gd name="connsiteY8" fmla="*/ 558190 h 1402150"/>
                  <a:gd name="connsiteX9" fmla="*/ 1580115 w 1874264"/>
                  <a:gd name="connsiteY9" fmla="*/ 195411 h 1402150"/>
                  <a:gd name="connsiteX0" fmla="*/ 1580115 w 1874262"/>
                  <a:gd name="connsiteY0" fmla="*/ 224842 h 1431581"/>
                  <a:gd name="connsiteX1" fmla="*/ 343782 w 1874262"/>
                  <a:gd name="connsiteY1" fmla="*/ 74457 h 1431581"/>
                  <a:gd name="connsiteX2" fmla="*/ 56938 w 1874262"/>
                  <a:gd name="connsiteY2" fmla="*/ 263771 h 1431581"/>
                  <a:gd name="connsiteX3" fmla="*/ 16185 w 1874262"/>
                  <a:gd name="connsiteY3" fmla="*/ 625721 h 1431581"/>
                  <a:gd name="connsiteX4" fmla="*/ 244117 w 1874262"/>
                  <a:gd name="connsiteY4" fmla="*/ 970264 h 1431581"/>
                  <a:gd name="connsiteX5" fmla="*/ 409946 w 1874262"/>
                  <a:gd name="connsiteY5" fmla="*/ 1303047 h 1431581"/>
                  <a:gd name="connsiteX6" fmla="*/ 1398911 w 1874262"/>
                  <a:gd name="connsiteY6" fmla="*/ 1336972 h 1431581"/>
                  <a:gd name="connsiteX7" fmla="*/ 1687733 w 1874262"/>
                  <a:gd name="connsiteY7" fmla="*/ 927650 h 1431581"/>
                  <a:gd name="connsiteX8" fmla="*/ 1869461 w 1874262"/>
                  <a:gd name="connsiteY8" fmla="*/ 587621 h 1431581"/>
                  <a:gd name="connsiteX9" fmla="*/ 1580115 w 1874262"/>
                  <a:gd name="connsiteY9" fmla="*/ 224842 h 143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4262" h="1431581">
                    <a:moveTo>
                      <a:pt x="1580115" y="224842"/>
                    </a:moveTo>
                    <a:cubicBezTo>
                      <a:pt x="1555744" y="106800"/>
                      <a:pt x="1624150" y="-116689"/>
                      <a:pt x="343782" y="74457"/>
                    </a:cubicBezTo>
                    <a:cubicBezTo>
                      <a:pt x="175708" y="107935"/>
                      <a:pt x="75203" y="173468"/>
                      <a:pt x="56938" y="263771"/>
                    </a:cubicBezTo>
                    <a:cubicBezTo>
                      <a:pt x="-5379" y="457522"/>
                      <a:pt x="-12563" y="442629"/>
                      <a:pt x="16185" y="625721"/>
                    </a:cubicBezTo>
                    <a:cubicBezTo>
                      <a:pt x="43437" y="754833"/>
                      <a:pt x="194268" y="861638"/>
                      <a:pt x="244117" y="970264"/>
                    </a:cubicBezTo>
                    <a:cubicBezTo>
                      <a:pt x="293966" y="1078890"/>
                      <a:pt x="310172" y="1156702"/>
                      <a:pt x="409946" y="1303047"/>
                    </a:cubicBezTo>
                    <a:cubicBezTo>
                      <a:pt x="863444" y="1438122"/>
                      <a:pt x="970813" y="1492819"/>
                      <a:pt x="1398911" y="1336972"/>
                    </a:cubicBezTo>
                    <a:cubicBezTo>
                      <a:pt x="1592155" y="1193439"/>
                      <a:pt x="1627057" y="1046860"/>
                      <a:pt x="1687733" y="927650"/>
                    </a:cubicBezTo>
                    <a:cubicBezTo>
                      <a:pt x="1748409" y="808440"/>
                      <a:pt x="1878522" y="737426"/>
                      <a:pt x="1869461" y="587621"/>
                    </a:cubicBezTo>
                    <a:cubicBezTo>
                      <a:pt x="1903328" y="452154"/>
                      <a:pt x="1752917" y="257701"/>
                      <a:pt x="1580115" y="224842"/>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76" name="Isosceles Triangle 28">
                <a:extLst>
                  <a:ext uri="{FF2B5EF4-FFF2-40B4-BE49-F238E27FC236}">
                    <a16:creationId xmlns:a16="http://schemas.microsoft.com/office/drawing/2014/main" id="{BFF41EE2-6F77-4891-9337-7BDB3E40234C}"/>
                  </a:ext>
                </a:extLst>
              </p:cNvPr>
              <p:cNvSpPr/>
              <p:nvPr/>
            </p:nvSpPr>
            <p:spPr bwMode="auto">
              <a:xfrm rot="19561879">
                <a:off x="14808208" y="2221195"/>
                <a:ext cx="70382" cy="92067"/>
              </a:xfrm>
              <a:custGeom>
                <a:avLst/>
                <a:gdLst>
                  <a:gd name="connsiteX0" fmla="*/ 0 w 45719"/>
                  <a:gd name="connsiteY0" fmla="*/ 85891 h 85891"/>
                  <a:gd name="connsiteX1" fmla="*/ 22860 w 45719"/>
                  <a:gd name="connsiteY1" fmla="*/ 0 h 85891"/>
                  <a:gd name="connsiteX2" fmla="*/ 45719 w 45719"/>
                  <a:gd name="connsiteY2" fmla="*/ 85891 h 85891"/>
                  <a:gd name="connsiteX3" fmla="*/ 0 w 45719"/>
                  <a:gd name="connsiteY3" fmla="*/ 85891 h 85891"/>
                  <a:gd name="connsiteX0" fmla="*/ 24662 w 70381"/>
                  <a:gd name="connsiteY0" fmla="*/ 92066 h 92066"/>
                  <a:gd name="connsiteX1" fmla="*/ 0 w 70381"/>
                  <a:gd name="connsiteY1" fmla="*/ 0 h 92066"/>
                  <a:gd name="connsiteX2" fmla="*/ 70381 w 70381"/>
                  <a:gd name="connsiteY2" fmla="*/ 92066 h 92066"/>
                  <a:gd name="connsiteX3" fmla="*/ 24662 w 70381"/>
                  <a:gd name="connsiteY3" fmla="*/ 92066 h 92066"/>
                  <a:gd name="connsiteX0" fmla="*/ 24662 w 70381"/>
                  <a:gd name="connsiteY0" fmla="*/ 92066 h 92066"/>
                  <a:gd name="connsiteX1" fmla="*/ 0 w 70381"/>
                  <a:gd name="connsiteY1" fmla="*/ 0 h 92066"/>
                  <a:gd name="connsiteX2" fmla="*/ 70381 w 70381"/>
                  <a:gd name="connsiteY2" fmla="*/ 92066 h 92066"/>
                  <a:gd name="connsiteX3" fmla="*/ 24662 w 70381"/>
                  <a:gd name="connsiteY3" fmla="*/ 92066 h 92066"/>
                  <a:gd name="connsiteX0" fmla="*/ 24662 w 70381"/>
                  <a:gd name="connsiteY0" fmla="*/ 92066 h 92066"/>
                  <a:gd name="connsiteX1" fmla="*/ 0 w 70381"/>
                  <a:gd name="connsiteY1" fmla="*/ 0 h 92066"/>
                  <a:gd name="connsiteX2" fmla="*/ 70381 w 70381"/>
                  <a:gd name="connsiteY2" fmla="*/ 92066 h 92066"/>
                  <a:gd name="connsiteX3" fmla="*/ 24662 w 70381"/>
                  <a:gd name="connsiteY3" fmla="*/ 92066 h 92066"/>
                </a:gdLst>
                <a:ahLst/>
                <a:cxnLst>
                  <a:cxn ang="0">
                    <a:pos x="connsiteX0" y="connsiteY0"/>
                  </a:cxn>
                  <a:cxn ang="0">
                    <a:pos x="connsiteX1" y="connsiteY1"/>
                  </a:cxn>
                  <a:cxn ang="0">
                    <a:pos x="connsiteX2" y="connsiteY2"/>
                  </a:cxn>
                  <a:cxn ang="0">
                    <a:pos x="connsiteX3" y="connsiteY3"/>
                  </a:cxn>
                </a:cxnLst>
                <a:rect l="l" t="t" r="r" b="b"/>
                <a:pathLst>
                  <a:path w="70381" h="92066">
                    <a:moveTo>
                      <a:pt x="24662" y="92066"/>
                    </a:moveTo>
                    <a:cubicBezTo>
                      <a:pt x="16441" y="61377"/>
                      <a:pt x="26036" y="34078"/>
                      <a:pt x="0" y="0"/>
                    </a:cubicBezTo>
                    <a:cubicBezTo>
                      <a:pt x="42690" y="14932"/>
                      <a:pt x="46921" y="61377"/>
                      <a:pt x="70381" y="92066"/>
                    </a:cubicBezTo>
                    <a:lnTo>
                      <a:pt x="24662" y="92066"/>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67" name="Rectangle: Top Corners Rounded 38">
              <a:extLst>
                <a:ext uri="{FF2B5EF4-FFF2-40B4-BE49-F238E27FC236}">
                  <a16:creationId xmlns:a16="http://schemas.microsoft.com/office/drawing/2014/main" id="{E736C0AD-3F8C-4478-9D74-CA78E6B516CA}"/>
                </a:ext>
              </a:extLst>
            </p:cNvPr>
            <p:cNvSpPr/>
            <p:nvPr/>
          </p:nvSpPr>
          <p:spPr bwMode="auto">
            <a:xfrm>
              <a:off x="-3472723" y="6294705"/>
              <a:ext cx="742154" cy="588695"/>
            </a:xfrm>
            <a:custGeom>
              <a:avLst/>
              <a:gdLst>
                <a:gd name="connsiteX0" fmla="*/ 152403 w 914400"/>
                <a:gd name="connsiteY0" fmla="*/ 0 h 914400"/>
                <a:gd name="connsiteX1" fmla="*/ 761997 w 914400"/>
                <a:gd name="connsiteY1" fmla="*/ 0 h 914400"/>
                <a:gd name="connsiteX2" fmla="*/ 914400 w 914400"/>
                <a:gd name="connsiteY2" fmla="*/ 152403 h 914400"/>
                <a:gd name="connsiteX3" fmla="*/ 914400 w 914400"/>
                <a:gd name="connsiteY3" fmla="*/ 914400 h 914400"/>
                <a:gd name="connsiteX4" fmla="*/ 914400 w 914400"/>
                <a:gd name="connsiteY4" fmla="*/ 914400 h 914400"/>
                <a:gd name="connsiteX5" fmla="*/ 0 w 914400"/>
                <a:gd name="connsiteY5" fmla="*/ 914400 h 914400"/>
                <a:gd name="connsiteX6" fmla="*/ 0 w 914400"/>
                <a:gd name="connsiteY6" fmla="*/ 914400 h 914400"/>
                <a:gd name="connsiteX7" fmla="*/ 0 w 914400"/>
                <a:gd name="connsiteY7" fmla="*/ 152403 h 914400"/>
                <a:gd name="connsiteX8" fmla="*/ 152403 w 914400"/>
                <a:gd name="connsiteY8" fmla="*/ 0 h 914400"/>
                <a:gd name="connsiteX0" fmla="*/ 152403 w 1104900"/>
                <a:gd name="connsiteY0" fmla="*/ 0 h 914400"/>
                <a:gd name="connsiteX1" fmla="*/ 761997 w 1104900"/>
                <a:gd name="connsiteY1" fmla="*/ 0 h 914400"/>
                <a:gd name="connsiteX2" fmla="*/ 914400 w 1104900"/>
                <a:gd name="connsiteY2" fmla="*/ 152403 h 914400"/>
                <a:gd name="connsiteX3" fmla="*/ 914400 w 1104900"/>
                <a:gd name="connsiteY3" fmla="*/ 914400 h 914400"/>
                <a:gd name="connsiteX4" fmla="*/ 1104900 w 1104900"/>
                <a:gd name="connsiteY4" fmla="*/ 914400 h 914400"/>
                <a:gd name="connsiteX5" fmla="*/ 0 w 1104900"/>
                <a:gd name="connsiteY5" fmla="*/ 914400 h 914400"/>
                <a:gd name="connsiteX6" fmla="*/ 0 w 1104900"/>
                <a:gd name="connsiteY6" fmla="*/ 914400 h 914400"/>
                <a:gd name="connsiteX7" fmla="*/ 0 w 1104900"/>
                <a:gd name="connsiteY7" fmla="*/ 152403 h 914400"/>
                <a:gd name="connsiteX8" fmla="*/ 152403 w 1104900"/>
                <a:gd name="connsiteY8" fmla="*/ 0 h 914400"/>
                <a:gd name="connsiteX0" fmla="*/ 152403 w 914400"/>
                <a:gd name="connsiteY0" fmla="*/ 0 h 914400"/>
                <a:gd name="connsiteX1" fmla="*/ 761997 w 914400"/>
                <a:gd name="connsiteY1" fmla="*/ 0 h 914400"/>
                <a:gd name="connsiteX2" fmla="*/ 914400 w 914400"/>
                <a:gd name="connsiteY2" fmla="*/ 152403 h 914400"/>
                <a:gd name="connsiteX3" fmla="*/ 914400 w 914400"/>
                <a:gd name="connsiteY3" fmla="*/ 914400 h 914400"/>
                <a:gd name="connsiteX4" fmla="*/ 0 w 914400"/>
                <a:gd name="connsiteY4" fmla="*/ 914400 h 914400"/>
                <a:gd name="connsiteX5" fmla="*/ 0 w 914400"/>
                <a:gd name="connsiteY5" fmla="*/ 914400 h 914400"/>
                <a:gd name="connsiteX6" fmla="*/ 0 w 914400"/>
                <a:gd name="connsiteY6" fmla="*/ 152403 h 914400"/>
                <a:gd name="connsiteX7" fmla="*/ 152403 w 914400"/>
                <a:gd name="connsiteY7" fmla="*/ 0 h 914400"/>
                <a:gd name="connsiteX0" fmla="*/ 152403 w 1054100"/>
                <a:gd name="connsiteY0" fmla="*/ 0 h 914400"/>
                <a:gd name="connsiteX1" fmla="*/ 761997 w 1054100"/>
                <a:gd name="connsiteY1" fmla="*/ 0 h 914400"/>
                <a:gd name="connsiteX2" fmla="*/ 914400 w 1054100"/>
                <a:gd name="connsiteY2" fmla="*/ 152403 h 914400"/>
                <a:gd name="connsiteX3" fmla="*/ 1054100 w 1054100"/>
                <a:gd name="connsiteY3" fmla="*/ 914400 h 914400"/>
                <a:gd name="connsiteX4" fmla="*/ 0 w 1054100"/>
                <a:gd name="connsiteY4" fmla="*/ 914400 h 914400"/>
                <a:gd name="connsiteX5" fmla="*/ 0 w 1054100"/>
                <a:gd name="connsiteY5" fmla="*/ 914400 h 914400"/>
                <a:gd name="connsiteX6" fmla="*/ 0 w 1054100"/>
                <a:gd name="connsiteY6" fmla="*/ 152403 h 914400"/>
                <a:gd name="connsiteX7" fmla="*/ 152403 w 1054100"/>
                <a:gd name="connsiteY7" fmla="*/ 0 h 914400"/>
                <a:gd name="connsiteX0" fmla="*/ 292103 w 1193800"/>
                <a:gd name="connsiteY0" fmla="*/ 0 h 914400"/>
                <a:gd name="connsiteX1" fmla="*/ 901697 w 1193800"/>
                <a:gd name="connsiteY1" fmla="*/ 0 h 914400"/>
                <a:gd name="connsiteX2" fmla="*/ 1054100 w 1193800"/>
                <a:gd name="connsiteY2" fmla="*/ 152403 h 914400"/>
                <a:gd name="connsiteX3" fmla="*/ 1193800 w 1193800"/>
                <a:gd name="connsiteY3" fmla="*/ 914400 h 914400"/>
                <a:gd name="connsiteX4" fmla="*/ 139700 w 1193800"/>
                <a:gd name="connsiteY4" fmla="*/ 914400 h 914400"/>
                <a:gd name="connsiteX5" fmla="*/ 0 w 1193800"/>
                <a:gd name="connsiteY5" fmla="*/ 914400 h 914400"/>
                <a:gd name="connsiteX6" fmla="*/ 139700 w 1193800"/>
                <a:gd name="connsiteY6" fmla="*/ 152403 h 914400"/>
                <a:gd name="connsiteX7" fmla="*/ 292103 w 1193800"/>
                <a:gd name="connsiteY7" fmla="*/ 0 h 914400"/>
                <a:gd name="connsiteX0" fmla="*/ 292103 w 1219200"/>
                <a:gd name="connsiteY0" fmla="*/ 0 h 914400"/>
                <a:gd name="connsiteX1" fmla="*/ 901697 w 1219200"/>
                <a:gd name="connsiteY1" fmla="*/ 0 h 914400"/>
                <a:gd name="connsiteX2" fmla="*/ 1054100 w 1219200"/>
                <a:gd name="connsiteY2" fmla="*/ 152403 h 914400"/>
                <a:gd name="connsiteX3" fmla="*/ 1219200 w 1219200"/>
                <a:gd name="connsiteY3" fmla="*/ 914400 h 914400"/>
                <a:gd name="connsiteX4" fmla="*/ 139700 w 1219200"/>
                <a:gd name="connsiteY4" fmla="*/ 914400 h 914400"/>
                <a:gd name="connsiteX5" fmla="*/ 0 w 1219200"/>
                <a:gd name="connsiteY5" fmla="*/ 914400 h 914400"/>
                <a:gd name="connsiteX6" fmla="*/ 139700 w 1219200"/>
                <a:gd name="connsiteY6" fmla="*/ 152403 h 914400"/>
                <a:gd name="connsiteX7" fmla="*/ 292103 w 1219200"/>
                <a:gd name="connsiteY7" fmla="*/ 0 h 914400"/>
                <a:gd name="connsiteX0" fmla="*/ 292103 w 1209675"/>
                <a:gd name="connsiteY0" fmla="*/ 0 h 914400"/>
                <a:gd name="connsiteX1" fmla="*/ 901697 w 1209675"/>
                <a:gd name="connsiteY1" fmla="*/ 0 h 914400"/>
                <a:gd name="connsiteX2" fmla="*/ 1054100 w 1209675"/>
                <a:gd name="connsiteY2" fmla="*/ 152403 h 914400"/>
                <a:gd name="connsiteX3" fmla="*/ 1209675 w 1209675"/>
                <a:gd name="connsiteY3" fmla="*/ 895350 h 914400"/>
                <a:gd name="connsiteX4" fmla="*/ 139700 w 1209675"/>
                <a:gd name="connsiteY4" fmla="*/ 914400 h 914400"/>
                <a:gd name="connsiteX5" fmla="*/ 0 w 1209675"/>
                <a:gd name="connsiteY5" fmla="*/ 914400 h 914400"/>
                <a:gd name="connsiteX6" fmla="*/ 139700 w 1209675"/>
                <a:gd name="connsiteY6" fmla="*/ 152403 h 914400"/>
                <a:gd name="connsiteX7" fmla="*/ 292103 w 1209675"/>
                <a:gd name="connsiteY7" fmla="*/ 0 h 914400"/>
                <a:gd name="connsiteX0" fmla="*/ 292103 w 1209675"/>
                <a:gd name="connsiteY0" fmla="*/ 0 h 914400"/>
                <a:gd name="connsiteX1" fmla="*/ 901697 w 1209675"/>
                <a:gd name="connsiteY1" fmla="*/ 0 h 914400"/>
                <a:gd name="connsiteX2" fmla="*/ 1054100 w 1209675"/>
                <a:gd name="connsiteY2" fmla="*/ 152403 h 914400"/>
                <a:gd name="connsiteX3" fmla="*/ 1209675 w 1209675"/>
                <a:gd name="connsiteY3" fmla="*/ 911225 h 914400"/>
                <a:gd name="connsiteX4" fmla="*/ 139700 w 1209675"/>
                <a:gd name="connsiteY4" fmla="*/ 914400 h 914400"/>
                <a:gd name="connsiteX5" fmla="*/ 0 w 1209675"/>
                <a:gd name="connsiteY5" fmla="*/ 914400 h 914400"/>
                <a:gd name="connsiteX6" fmla="*/ 139700 w 1209675"/>
                <a:gd name="connsiteY6" fmla="*/ 152403 h 914400"/>
                <a:gd name="connsiteX7" fmla="*/ 292103 w 1209675"/>
                <a:gd name="connsiteY7" fmla="*/ 0 h 914400"/>
                <a:gd name="connsiteX0" fmla="*/ 139700 w 1209675"/>
                <a:gd name="connsiteY0" fmla="*/ 152403 h 914400"/>
                <a:gd name="connsiteX1" fmla="*/ 901697 w 1209675"/>
                <a:gd name="connsiteY1" fmla="*/ 0 h 914400"/>
                <a:gd name="connsiteX2" fmla="*/ 1054100 w 1209675"/>
                <a:gd name="connsiteY2" fmla="*/ 152403 h 914400"/>
                <a:gd name="connsiteX3" fmla="*/ 1209675 w 1209675"/>
                <a:gd name="connsiteY3" fmla="*/ 911225 h 914400"/>
                <a:gd name="connsiteX4" fmla="*/ 139700 w 1209675"/>
                <a:gd name="connsiteY4" fmla="*/ 914400 h 914400"/>
                <a:gd name="connsiteX5" fmla="*/ 0 w 1209675"/>
                <a:gd name="connsiteY5" fmla="*/ 914400 h 914400"/>
                <a:gd name="connsiteX6" fmla="*/ 139700 w 1209675"/>
                <a:gd name="connsiteY6" fmla="*/ 152403 h 914400"/>
                <a:gd name="connsiteX0" fmla="*/ 139700 w 1209675"/>
                <a:gd name="connsiteY0" fmla="*/ 173522 h 935519"/>
                <a:gd name="connsiteX1" fmla="*/ 901697 w 1209675"/>
                <a:gd name="connsiteY1" fmla="*/ 21119 h 935519"/>
                <a:gd name="connsiteX2" fmla="*/ 1054100 w 1209675"/>
                <a:gd name="connsiteY2" fmla="*/ 173522 h 935519"/>
                <a:gd name="connsiteX3" fmla="*/ 1209675 w 1209675"/>
                <a:gd name="connsiteY3" fmla="*/ 932344 h 935519"/>
                <a:gd name="connsiteX4" fmla="*/ 139700 w 1209675"/>
                <a:gd name="connsiteY4" fmla="*/ 935519 h 935519"/>
                <a:gd name="connsiteX5" fmla="*/ 0 w 1209675"/>
                <a:gd name="connsiteY5" fmla="*/ 935519 h 935519"/>
                <a:gd name="connsiteX6" fmla="*/ 139700 w 1209675"/>
                <a:gd name="connsiteY6" fmla="*/ 173522 h 935519"/>
                <a:gd name="connsiteX0" fmla="*/ 139700 w 1209675"/>
                <a:gd name="connsiteY0" fmla="*/ 95051 h 857048"/>
                <a:gd name="connsiteX1" fmla="*/ 1054100 w 1209675"/>
                <a:gd name="connsiteY1" fmla="*/ 95051 h 857048"/>
                <a:gd name="connsiteX2" fmla="*/ 1209675 w 1209675"/>
                <a:gd name="connsiteY2" fmla="*/ 853873 h 857048"/>
                <a:gd name="connsiteX3" fmla="*/ 139700 w 1209675"/>
                <a:gd name="connsiteY3" fmla="*/ 857048 h 857048"/>
                <a:gd name="connsiteX4" fmla="*/ 0 w 1209675"/>
                <a:gd name="connsiteY4" fmla="*/ 857048 h 857048"/>
                <a:gd name="connsiteX5" fmla="*/ 139700 w 1209675"/>
                <a:gd name="connsiteY5" fmla="*/ 95051 h 857048"/>
                <a:gd name="connsiteX0" fmla="*/ 139700 w 1209675"/>
                <a:gd name="connsiteY0" fmla="*/ 143742 h 905739"/>
                <a:gd name="connsiteX1" fmla="*/ 1054100 w 1209675"/>
                <a:gd name="connsiteY1" fmla="*/ 143742 h 905739"/>
                <a:gd name="connsiteX2" fmla="*/ 1209675 w 1209675"/>
                <a:gd name="connsiteY2" fmla="*/ 902564 h 905739"/>
                <a:gd name="connsiteX3" fmla="*/ 139700 w 1209675"/>
                <a:gd name="connsiteY3" fmla="*/ 905739 h 905739"/>
                <a:gd name="connsiteX4" fmla="*/ 0 w 1209675"/>
                <a:gd name="connsiteY4" fmla="*/ 905739 h 905739"/>
                <a:gd name="connsiteX5" fmla="*/ 139700 w 1209675"/>
                <a:gd name="connsiteY5" fmla="*/ 143742 h 905739"/>
                <a:gd name="connsiteX0" fmla="*/ 139700 w 1209675"/>
                <a:gd name="connsiteY0" fmla="*/ 216336 h 978333"/>
                <a:gd name="connsiteX1" fmla="*/ 1054100 w 1209675"/>
                <a:gd name="connsiteY1" fmla="*/ 216336 h 978333"/>
                <a:gd name="connsiteX2" fmla="*/ 1209675 w 1209675"/>
                <a:gd name="connsiteY2" fmla="*/ 975158 h 978333"/>
                <a:gd name="connsiteX3" fmla="*/ 139700 w 1209675"/>
                <a:gd name="connsiteY3" fmla="*/ 978333 h 978333"/>
                <a:gd name="connsiteX4" fmla="*/ 0 w 1209675"/>
                <a:gd name="connsiteY4" fmla="*/ 978333 h 978333"/>
                <a:gd name="connsiteX5" fmla="*/ 139700 w 1209675"/>
                <a:gd name="connsiteY5" fmla="*/ 216336 h 978333"/>
                <a:gd name="connsiteX0" fmla="*/ 139700 w 1209675"/>
                <a:gd name="connsiteY0" fmla="*/ 249852 h 1011849"/>
                <a:gd name="connsiteX1" fmla="*/ 1054100 w 1209675"/>
                <a:gd name="connsiteY1" fmla="*/ 249852 h 1011849"/>
                <a:gd name="connsiteX2" fmla="*/ 1209675 w 1209675"/>
                <a:gd name="connsiteY2" fmla="*/ 1008674 h 1011849"/>
                <a:gd name="connsiteX3" fmla="*/ 139700 w 1209675"/>
                <a:gd name="connsiteY3" fmla="*/ 1011849 h 1011849"/>
                <a:gd name="connsiteX4" fmla="*/ 0 w 1209675"/>
                <a:gd name="connsiteY4" fmla="*/ 1011849 h 1011849"/>
                <a:gd name="connsiteX5" fmla="*/ 139700 w 1209675"/>
                <a:gd name="connsiteY5" fmla="*/ 249852 h 101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5" h="1011849">
                  <a:moveTo>
                    <a:pt x="139700" y="249852"/>
                  </a:moveTo>
                  <a:cubicBezTo>
                    <a:pt x="305858" y="-77172"/>
                    <a:pt x="891646" y="-89343"/>
                    <a:pt x="1054100" y="249852"/>
                  </a:cubicBezTo>
                  <a:lnTo>
                    <a:pt x="1209675" y="1008674"/>
                  </a:lnTo>
                  <a:lnTo>
                    <a:pt x="139700" y="1011849"/>
                  </a:lnTo>
                  <a:lnTo>
                    <a:pt x="0" y="1011849"/>
                  </a:lnTo>
                  <a:lnTo>
                    <a:pt x="139700" y="249852"/>
                  </a:lnTo>
                  <a:close/>
                </a:path>
              </a:pathLst>
            </a:custGeom>
            <a:solidFill>
              <a:schemeClr val="bg1">
                <a:lumMod val="95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68" name="Freeform: Shape 2467">
              <a:extLst>
                <a:ext uri="{FF2B5EF4-FFF2-40B4-BE49-F238E27FC236}">
                  <a16:creationId xmlns:a16="http://schemas.microsoft.com/office/drawing/2014/main" id="{0E08B246-E36B-48FD-B96F-4D45E6DC09AB}"/>
                </a:ext>
              </a:extLst>
            </p:cNvPr>
            <p:cNvSpPr/>
            <p:nvPr/>
          </p:nvSpPr>
          <p:spPr bwMode="auto">
            <a:xfrm>
              <a:off x="-3278890" y="5662794"/>
              <a:ext cx="392608" cy="224120"/>
            </a:xfrm>
            <a:custGeom>
              <a:avLst/>
              <a:gdLst>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85825 w 1566862"/>
                <a:gd name="connsiteY5" fmla="*/ 214312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85825 w 1566862"/>
                <a:gd name="connsiteY5" fmla="*/ 214312 h 723900"/>
                <a:gd name="connsiteX6" fmla="*/ 66675 w 1566862"/>
                <a:gd name="connsiteY6" fmla="*/ 704850 h 723900"/>
                <a:gd name="connsiteX7" fmla="*/ 0 w 1566862"/>
                <a:gd name="connsiteY7"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85825 w 1566862"/>
                <a:gd name="connsiteY5" fmla="*/ 214312 h 723900"/>
                <a:gd name="connsiteX6" fmla="*/ 66675 w 1566862"/>
                <a:gd name="connsiteY6" fmla="*/ 704850 h 723900"/>
                <a:gd name="connsiteX7" fmla="*/ 0 w 1566862"/>
                <a:gd name="connsiteY7"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19138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19138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14475 w 1566862"/>
                <a:gd name="connsiteY4" fmla="*/ 723900 h 723900"/>
                <a:gd name="connsiteX5" fmla="*/ 85725 w 1566862"/>
                <a:gd name="connsiteY5" fmla="*/ 719138 h 723900"/>
                <a:gd name="connsiteX6" fmla="*/ 0 w 1566862"/>
                <a:gd name="connsiteY6" fmla="*/ 709612 h 723900"/>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85725 w 1566862"/>
                <a:gd name="connsiteY5" fmla="*/ 719138 h 733425"/>
                <a:gd name="connsiteX6" fmla="*/ 0 w 1566862"/>
                <a:gd name="connsiteY6" fmla="*/ 709612 h 733425"/>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85725 w 1566862"/>
                <a:gd name="connsiteY5" fmla="*/ 719138 h 733425"/>
                <a:gd name="connsiteX6" fmla="*/ 0 w 1566862"/>
                <a:gd name="connsiteY6" fmla="*/ 709612 h 733425"/>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71438 w 1566862"/>
                <a:gd name="connsiteY5" fmla="*/ 714376 h 733425"/>
                <a:gd name="connsiteX6" fmla="*/ 0 w 1566862"/>
                <a:gd name="connsiteY6" fmla="*/ 709612 h 733425"/>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71438 w 1566862"/>
                <a:gd name="connsiteY5" fmla="*/ 714376 h 733425"/>
                <a:gd name="connsiteX6" fmla="*/ 0 w 1566862"/>
                <a:gd name="connsiteY6" fmla="*/ 709612 h 733425"/>
                <a:gd name="connsiteX0" fmla="*/ 0 w 1566862"/>
                <a:gd name="connsiteY0" fmla="*/ 709612 h 728662"/>
                <a:gd name="connsiteX1" fmla="*/ 0 w 1566862"/>
                <a:gd name="connsiteY1" fmla="*/ 0 h 728662"/>
                <a:gd name="connsiteX2" fmla="*/ 1381125 w 1566862"/>
                <a:gd name="connsiteY2" fmla="*/ 0 h 728662"/>
                <a:gd name="connsiteX3" fmla="*/ 1566862 w 1566862"/>
                <a:gd name="connsiteY3" fmla="*/ 723900 h 728662"/>
                <a:gd name="connsiteX4" fmla="*/ 1509712 w 1566862"/>
                <a:gd name="connsiteY4" fmla="*/ 728662 h 728662"/>
                <a:gd name="connsiteX5" fmla="*/ 71438 w 1566862"/>
                <a:gd name="connsiteY5" fmla="*/ 714376 h 728662"/>
                <a:gd name="connsiteX6" fmla="*/ 0 w 1566862"/>
                <a:gd name="connsiteY6" fmla="*/ 709612 h 728662"/>
                <a:gd name="connsiteX0" fmla="*/ 0 w 1566862"/>
                <a:gd name="connsiteY0" fmla="*/ 709612 h 728662"/>
                <a:gd name="connsiteX1" fmla="*/ 0 w 1566862"/>
                <a:gd name="connsiteY1" fmla="*/ 0 h 728662"/>
                <a:gd name="connsiteX2" fmla="*/ 1381125 w 1566862"/>
                <a:gd name="connsiteY2" fmla="*/ 0 h 728662"/>
                <a:gd name="connsiteX3" fmla="*/ 1566862 w 1566862"/>
                <a:gd name="connsiteY3" fmla="*/ 723900 h 728662"/>
                <a:gd name="connsiteX4" fmla="*/ 1509712 w 1566862"/>
                <a:gd name="connsiteY4" fmla="*/ 728662 h 728662"/>
                <a:gd name="connsiteX5" fmla="*/ 71438 w 1566862"/>
                <a:gd name="connsiteY5" fmla="*/ 714376 h 728662"/>
                <a:gd name="connsiteX6" fmla="*/ 0 w 1566862"/>
                <a:gd name="connsiteY6" fmla="*/ 709612 h 728662"/>
                <a:gd name="connsiteX0" fmla="*/ 0 w 1566862"/>
                <a:gd name="connsiteY0" fmla="*/ 709612 h 728662"/>
                <a:gd name="connsiteX1" fmla="*/ 0 w 1566862"/>
                <a:gd name="connsiteY1" fmla="*/ 0 h 728662"/>
                <a:gd name="connsiteX2" fmla="*/ 1381125 w 1566862"/>
                <a:gd name="connsiteY2" fmla="*/ 0 h 728662"/>
                <a:gd name="connsiteX3" fmla="*/ 1566862 w 1566862"/>
                <a:gd name="connsiteY3" fmla="*/ 723900 h 728662"/>
                <a:gd name="connsiteX4" fmla="*/ 1509712 w 1566862"/>
                <a:gd name="connsiteY4" fmla="*/ 728662 h 728662"/>
                <a:gd name="connsiteX5" fmla="*/ 80963 w 1566862"/>
                <a:gd name="connsiteY5" fmla="*/ 719139 h 728662"/>
                <a:gd name="connsiteX6" fmla="*/ 0 w 1566862"/>
                <a:gd name="connsiteY6" fmla="*/ 709612 h 728662"/>
                <a:gd name="connsiteX0" fmla="*/ 0 w 1566862"/>
                <a:gd name="connsiteY0" fmla="*/ 709612 h 728662"/>
                <a:gd name="connsiteX1" fmla="*/ 1381125 w 1566862"/>
                <a:gd name="connsiteY1" fmla="*/ 0 h 728662"/>
                <a:gd name="connsiteX2" fmla="*/ 1566862 w 1566862"/>
                <a:gd name="connsiteY2" fmla="*/ 723900 h 728662"/>
                <a:gd name="connsiteX3" fmla="*/ 1509712 w 1566862"/>
                <a:gd name="connsiteY3" fmla="*/ 728662 h 728662"/>
                <a:gd name="connsiteX4" fmla="*/ 80963 w 1566862"/>
                <a:gd name="connsiteY4" fmla="*/ 719139 h 728662"/>
                <a:gd name="connsiteX5" fmla="*/ 0 w 1566862"/>
                <a:gd name="connsiteY5" fmla="*/ 709612 h 728662"/>
                <a:gd name="connsiteX0" fmla="*/ 0 w 1566862"/>
                <a:gd name="connsiteY0" fmla="*/ 496857 h 515907"/>
                <a:gd name="connsiteX1" fmla="*/ 1566862 w 1566862"/>
                <a:gd name="connsiteY1" fmla="*/ 511145 h 515907"/>
                <a:gd name="connsiteX2" fmla="*/ 1509712 w 1566862"/>
                <a:gd name="connsiteY2" fmla="*/ 515907 h 515907"/>
                <a:gd name="connsiteX3" fmla="*/ 80963 w 1566862"/>
                <a:gd name="connsiteY3" fmla="*/ 506384 h 515907"/>
                <a:gd name="connsiteX4" fmla="*/ 0 w 1566862"/>
                <a:gd name="connsiteY4" fmla="*/ 496857 h 515907"/>
                <a:gd name="connsiteX0" fmla="*/ 0 w 1566862"/>
                <a:gd name="connsiteY0" fmla="*/ 496857 h 515907"/>
                <a:gd name="connsiteX1" fmla="*/ 1566862 w 1566862"/>
                <a:gd name="connsiteY1" fmla="*/ 511145 h 515907"/>
                <a:gd name="connsiteX2" fmla="*/ 1509712 w 1566862"/>
                <a:gd name="connsiteY2" fmla="*/ 515907 h 515907"/>
                <a:gd name="connsiteX3" fmla="*/ 80963 w 1566862"/>
                <a:gd name="connsiteY3" fmla="*/ 506384 h 515907"/>
                <a:gd name="connsiteX4" fmla="*/ 0 w 1566862"/>
                <a:gd name="connsiteY4" fmla="*/ 496857 h 515907"/>
                <a:gd name="connsiteX0" fmla="*/ 0 w 1566862"/>
                <a:gd name="connsiteY0" fmla="*/ 675569 h 694619"/>
                <a:gd name="connsiteX1" fmla="*/ 1566862 w 1566862"/>
                <a:gd name="connsiteY1" fmla="*/ 689857 h 694619"/>
                <a:gd name="connsiteX2" fmla="*/ 1509712 w 1566862"/>
                <a:gd name="connsiteY2" fmla="*/ 694619 h 694619"/>
                <a:gd name="connsiteX3" fmla="*/ 80963 w 1566862"/>
                <a:gd name="connsiteY3" fmla="*/ 685096 h 694619"/>
                <a:gd name="connsiteX4" fmla="*/ 0 w 1566862"/>
                <a:gd name="connsiteY4" fmla="*/ 675569 h 694619"/>
                <a:gd name="connsiteX0" fmla="*/ 0 w 1566862"/>
                <a:gd name="connsiteY0" fmla="*/ 693022 h 712072"/>
                <a:gd name="connsiteX1" fmla="*/ 1566862 w 1566862"/>
                <a:gd name="connsiteY1" fmla="*/ 707310 h 712072"/>
                <a:gd name="connsiteX2" fmla="*/ 1509712 w 1566862"/>
                <a:gd name="connsiteY2" fmla="*/ 712072 h 712072"/>
                <a:gd name="connsiteX3" fmla="*/ 80963 w 1566862"/>
                <a:gd name="connsiteY3" fmla="*/ 702549 h 712072"/>
                <a:gd name="connsiteX4" fmla="*/ 0 w 1566862"/>
                <a:gd name="connsiteY4" fmla="*/ 693022 h 712072"/>
                <a:gd name="connsiteX0" fmla="*/ 0 w 1566862"/>
                <a:gd name="connsiteY0" fmla="*/ 738687 h 757737"/>
                <a:gd name="connsiteX1" fmla="*/ 1566862 w 1566862"/>
                <a:gd name="connsiteY1" fmla="*/ 752975 h 757737"/>
                <a:gd name="connsiteX2" fmla="*/ 1509712 w 1566862"/>
                <a:gd name="connsiteY2" fmla="*/ 757737 h 757737"/>
                <a:gd name="connsiteX3" fmla="*/ 80963 w 1566862"/>
                <a:gd name="connsiteY3" fmla="*/ 748214 h 757737"/>
                <a:gd name="connsiteX4" fmla="*/ 0 w 1566862"/>
                <a:gd name="connsiteY4" fmla="*/ 738687 h 757737"/>
                <a:gd name="connsiteX0" fmla="*/ 0 w 1566862"/>
                <a:gd name="connsiteY0" fmla="*/ 740577 h 759627"/>
                <a:gd name="connsiteX1" fmla="*/ 1566862 w 1566862"/>
                <a:gd name="connsiteY1" fmla="*/ 754865 h 759627"/>
                <a:gd name="connsiteX2" fmla="*/ 1509712 w 1566862"/>
                <a:gd name="connsiteY2" fmla="*/ 759627 h 759627"/>
                <a:gd name="connsiteX3" fmla="*/ 80963 w 1566862"/>
                <a:gd name="connsiteY3" fmla="*/ 750104 h 759627"/>
                <a:gd name="connsiteX4" fmla="*/ 0 w 1566862"/>
                <a:gd name="connsiteY4" fmla="*/ 740577 h 759627"/>
                <a:gd name="connsiteX0" fmla="*/ 0 w 1566862"/>
                <a:gd name="connsiteY0" fmla="*/ 740577 h 759627"/>
                <a:gd name="connsiteX1" fmla="*/ 1566862 w 1566862"/>
                <a:gd name="connsiteY1" fmla="*/ 754865 h 759627"/>
                <a:gd name="connsiteX2" fmla="*/ 1509712 w 1566862"/>
                <a:gd name="connsiteY2" fmla="*/ 759627 h 759627"/>
                <a:gd name="connsiteX3" fmla="*/ 80963 w 1566862"/>
                <a:gd name="connsiteY3" fmla="*/ 750104 h 759627"/>
                <a:gd name="connsiteX4" fmla="*/ 0 w 1566862"/>
                <a:gd name="connsiteY4" fmla="*/ 740577 h 759627"/>
                <a:gd name="connsiteX0" fmla="*/ 0 w 1566862"/>
                <a:gd name="connsiteY0" fmla="*/ 740577 h 759627"/>
                <a:gd name="connsiteX1" fmla="*/ 1566862 w 1566862"/>
                <a:gd name="connsiteY1" fmla="*/ 754865 h 759627"/>
                <a:gd name="connsiteX2" fmla="*/ 1509712 w 1566862"/>
                <a:gd name="connsiteY2" fmla="*/ 759627 h 759627"/>
                <a:gd name="connsiteX3" fmla="*/ 80963 w 1566862"/>
                <a:gd name="connsiteY3" fmla="*/ 750104 h 759627"/>
                <a:gd name="connsiteX4" fmla="*/ 0 w 1566862"/>
                <a:gd name="connsiteY4" fmla="*/ 740577 h 759627"/>
                <a:gd name="connsiteX0" fmla="*/ 894 w 1567756"/>
                <a:gd name="connsiteY0" fmla="*/ 840351 h 859401"/>
                <a:gd name="connsiteX1" fmla="*/ 1567756 w 1567756"/>
                <a:gd name="connsiteY1" fmla="*/ 854639 h 859401"/>
                <a:gd name="connsiteX2" fmla="*/ 1510606 w 1567756"/>
                <a:gd name="connsiteY2" fmla="*/ 859401 h 859401"/>
                <a:gd name="connsiteX3" fmla="*/ 81857 w 1567756"/>
                <a:gd name="connsiteY3" fmla="*/ 849878 h 859401"/>
                <a:gd name="connsiteX4" fmla="*/ 894 w 1567756"/>
                <a:gd name="connsiteY4" fmla="*/ 840351 h 859401"/>
                <a:gd name="connsiteX0" fmla="*/ 723 w 1576671"/>
                <a:gd name="connsiteY0" fmla="*/ 828767 h 847817"/>
                <a:gd name="connsiteX1" fmla="*/ 1567585 w 1576671"/>
                <a:gd name="connsiteY1" fmla="*/ 843055 h 847817"/>
                <a:gd name="connsiteX2" fmla="*/ 1510435 w 1576671"/>
                <a:gd name="connsiteY2" fmla="*/ 847817 h 847817"/>
                <a:gd name="connsiteX3" fmla="*/ 81686 w 1576671"/>
                <a:gd name="connsiteY3" fmla="*/ 838294 h 847817"/>
                <a:gd name="connsiteX4" fmla="*/ 723 w 1576671"/>
                <a:gd name="connsiteY4" fmla="*/ 828767 h 847817"/>
                <a:gd name="connsiteX0" fmla="*/ 711 w 1595924"/>
                <a:gd name="connsiteY0" fmla="*/ 803879 h 884619"/>
                <a:gd name="connsiteX1" fmla="*/ 1586931 w 1595924"/>
                <a:gd name="connsiteY1" fmla="*/ 879857 h 884619"/>
                <a:gd name="connsiteX2" fmla="*/ 1529781 w 1595924"/>
                <a:gd name="connsiteY2" fmla="*/ 884619 h 884619"/>
                <a:gd name="connsiteX3" fmla="*/ 101032 w 1595924"/>
                <a:gd name="connsiteY3" fmla="*/ 875096 h 884619"/>
                <a:gd name="connsiteX4" fmla="*/ 711 w 1595924"/>
                <a:gd name="connsiteY4" fmla="*/ 803879 h 884619"/>
                <a:gd name="connsiteX0" fmla="*/ 711 w 1595924"/>
                <a:gd name="connsiteY0" fmla="*/ 803879 h 884619"/>
                <a:gd name="connsiteX1" fmla="*/ 1586931 w 1595924"/>
                <a:gd name="connsiteY1" fmla="*/ 879857 h 884619"/>
                <a:gd name="connsiteX2" fmla="*/ 1529781 w 1595924"/>
                <a:gd name="connsiteY2" fmla="*/ 884619 h 884619"/>
                <a:gd name="connsiteX3" fmla="*/ 101032 w 1595924"/>
                <a:gd name="connsiteY3" fmla="*/ 875096 h 884619"/>
                <a:gd name="connsiteX4" fmla="*/ 711 w 1595924"/>
                <a:gd name="connsiteY4" fmla="*/ 803879 h 884619"/>
                <a:gd name="connsiteX0" fmla="*/ 711 w 1595924"/>
                <a:gd name="connsiteY0" fmla="*/ 803879 h 884619"/>
                <a:gd name="connsiteX1" fmla="*/ 1586931 w 1595924"/>
                <a:gd name="connsiteY1" fmla="*/ 879857 h 884619"/>
                <a:gd name="connsiteX2" fmla="*/ 1529781 w 1595924"/>
                <a:gd name="connsiteY2" fmla="*/ 884619 h 884619"/>
                <a:gd name="connsiteX3" fmla="*/ 101032 w 1595924"/>
                <a:gd name="connsiteY3" fmla="*/ 875096 h 884619"/>
                <a:gd name="connsiteX4" fmla="*/ 711 w 1595924"/>
                <a:gd name="connsiteY4" fmla="*/ 803879 h 884619"/>
                <a:gd name="connsiteX0" fmla="*/ 711 w 1595924"/>
                <a:gd name="connsiteY0" fmla="*/ 803879 h 884619"/>
                <a:gd name="connsiteX1" fmla="*/ 1586931 w 1595924"/>
                <a:gd name="connsiteY1" fmla="*/ 879857 h 884619"/>
                <a:gd name="connsiteX2" fmla="*/ 1529781 w 1595924"/>
                <a:gd name="connsiteY2" fmla="*/ 884619 h 884619"/>
                <a:gd name="connsiteX3" fmla="*/ 91352 w 1595924"/>
                <a:gd name="connsiteY3" fmla="*/ 813405 h 884619"/>
                <a:gd name="connsiteX4" fmla="*/ 711 w 1595924"/>
                <a:gd name="connsiteY4" fmla="*/ 803879 h 884619"/>
                <a:gd name="connsiteX0" fmla="*/ 711 w 1595924"/>
                <a:gd name="connsiteY0" fmla="*/ 803879 h 884619"/>
                <a:gd name="connsiteX1" fmla="*/ 1586931 w 1595924"/>
                <a:gd name="connsiteY1" fmla="*/ 879857 h 884619"/>
                <a:gd name="connsiteX2" fmla="*/ 1529781 w 1595924"/>
                <a:gd name="connsiteY2" fmla="*/ 884619 h 884619"/>
                <a:gd name="connsiteX3" fmla="*/ 91352 w 1595924"/>
                <a:gd name="connsiteY3" fmla="*/ 813405 h 884619"/>
                <a:gd name="connsiteX4" fmla="*/ 711 w 1595924"/>
                <a:gd name="connsiteY4" fmla="*/ 803879 h 884619"/>
                <a:gd name="connsiteX0" fmla="*/ 0 w 1596009"/>
                <a:gd name="connsiteY0" fmla="*/ 748724 h 829464"/>
                <a:gd name="connsiteX1" fmla="*/ 1586220 w 1596009"/>
                <a:gd name="connsiteY1" fmla="*/ 824702 h 829464"/>
                <a:gd name="connsiteX2" fmla="*/ 1529070 w 1596009"/>
                <a:gd name="connsiteY2" fmla="*/ 829464 h 829464"/>
                <a:gd name="connsiteX3" fmla="*/ 90641 w 1596009"/>
                <a:gd name="connsiteY3" fmla="*/ 758250 h 829464"/>
                <a:gd name="connsiteX4" fmla="*/ 0 w 1596009"/>
                <a:gd name="connsiteY4" fmla="*/ 748724 h 829464"/>
                <a:gd name="connsiteX0" fmla="*/ 0 w 1596009"/>
                <a:gd name="connsiteY0" fmla="*/ 748720 h 829460"/>
                <a:gd name="connsiteX1" fmla="*/ 1586220 w 1596009"/>
                <a:gd name="connsiteY1" fmla="*/ 824698 h 829460"/>
                <a:gd name="connsiteX2" fmla="*/ 1490348 w 1596009"/>
                <a:gd name="connsiteY2" fmla="*/ 829460 h 829460"/>
                <a:gd name="connsiteX3" fmla="*/ 90641 w 1596009"/>
                <a:gd name="connsiteY3" fmla="*/ 758246 h 829460"/>
                <a:gd name="connsiteX4" fmla="*/ 0 w 1596009"/>
                <a:gd name="connsiteY4" fmla="*/ 748720 h 829460"/>
                <a:gd name="connsiteX0" fmla="*/ 0 w 1596009"/>
                <a:gd name="connsiteY0" fmla="*/ 748720 h 829460"/>
                <a:gd name="connsiteX1" fmla="*/ 1586220 w 1596009"/>
                <a:gd name="connsiteY1" fmla="*/ 824698 h 829460"/>
                <a:gd name="connsiteX2" fmla="*/ 1490348 w 1596009"/>
                <a:gd name="connsiteY2" fmla="*/ 829460 h 829460"/>
                <a:gd name="connsiteX3" fmla="*/ 90641 w 1596009"/>
                <a:gd name="connsiteY3" fmla="*/ 758246 h 829460"/>
                <a:gd name="connsiteX4" fmla="*/ 0 w 1596009"/>
                <a:gd name="connsiteY4" fmla="*/ 748720 h 82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6009" h="829460">
                  <a:moveTo>
                    <a:pt x="0" y="748720"/>
                  </a:moveTo>
                  <a:cubicBezTo>
                    <a:pt x="113438" y="-470748"/>
                    <a:pt x="1736269" y="-21114"/>
                    <a:pt x="1586220" y="824698"/>
                  </a:cubicBezTo>
                  <a:lnTo>
                    <a:pt x="1490348" y="829460"/>
                  </a:lnTo>
                  <a:cubicBezTo>
                    <a:pt x="1642295" y="315707"/>
                    <a:pt x="376425" y="-486832"/>
                    <a:pt x="90641" y="758246"/>
                  </a:cubicBezTo>
                  <a:lnTo>
                    <a:pt x="0" y="74872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69" name="Rectangle: Top Corners Rounded 8">
              <a:extLst>
                <a:ext uri="{FF2B5EF4-FFF2-40B4-BE49-F238E27FC236}">
                  <a16:creationId xmlns:a16="http://schemas.microsoft.com/office/drawing/2014/main" id="{88CED067-F20E-482A-9FED-19791A2D94E2}"/>
                </a:ext>
              </a:extLst>
            </p:cNvPr>
            <p:cNvSpPr/>
            <p:nvPr/>
          </p:nvSpPr>
          <p:spPr bwMode="auto">
            <a:xfrm rot="6269933" flipH="1">
              <a:off x="-2992319" y="5914382"/>
              <a:ext cx="165883" cy="62483"/>
            </a:xfrm>
            <a:custGeom>
              <a:avLst/>
              <a:gdLst>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373380"/>
                <a:gd name="connsiteX1" fmla="*/ 495300 w 609600"/>
                <a:gd name="connsiteY1" fmla="*/ 0 h 373380"/>
                <a:gd name="connsiteX2" fmla="*/ 609600 w 609600"/>
                <a:gd name="connsiteY2" fmla="*/ 114300 h 373380"/>
                <a:gd name="connsiteX3" fmla="*/ 609600 w 609600"/>
                <a:gd name="connsiteY3" fmla="*/ 228600 h 373380"/>
                <a:gd name="connsiteX4" fmla="*/ 236220 w 609600"/>
                <a:gd name="connsiteY4" fmla="*/ 373380 h 373380"/>
                <a:gd name="connsiteX5" fmla="*/ 0 w 609600"/>
                <a:gd name="connsiteY5" fmla="*/ 228600 h 373380"/>
                <a:gd name="connsiteX6" fmla="*/ 0 w 609600"/>
                <a:gd name="connsiteY6" fmla="*/ 228600 h 373380"/>
                <a:gd name="connsiteX7" fmla="*/ 0 w 609600"/>
                <a:gd name="connsiteY7" fmla="*/ 114300 h 373380"/>
                <a:gd name="connsiteX8" fmla="*/ 114300 w 609600"/>
                <a:gd name="connsiteY8" fmla="*/ 0 h 373380"/>
                <a:gd name="connsiteX0" fmla="*/ 114300 w 655901"/>
                <a:gd name="connsiteY0" fmla="*/ 0 h 514033"/>
                <a:gd name="connsiteX1" fmla="*/ 495300 w 655901"/>
                <a:gd name="connsiteY1" fmla="*/ 0 h 514033"/>
                <a:gd name="connsiteX2" fmla="*/ 609600 w 655901"/>
                <a:gd name="connsiteY2" fmla="*/ 114300 h 514033"/>
                <a:gd name="connsiteX3" fmla="*/ 609600 w 655901"/>
                <a:gd name="connsiteY3" fmla="*/ 228600 h 514033"/>
                <a:gd name="connsiteX4" fmla="*/ 236220 w 655901"/>
                <a:gd name="connsiteY4" fmla="*/ 373380 h 514033"/>
                <a:gd name="connsiteX5" fmla="*/ 0 w 655901"/>
                <a:gd name="connsiteY5" fmla="*/ 228600 h 514033"/>
                <a:gd name="connsiteX6" fmla="*/ 0 w 655901"/>
                <a:gd name="connsiteY6" fmla="*/ 228600 h 514033"/>
                <a:gd name="connsiteX7" fmla="*/ 0 w 655901"/>
                <a:gd name="connsiteY7" fmla="*/ 114300 h 514033"/>
                <a:gd name="connsiteX8" fmla="*/ 114300 w 655901"/>
                <a:gd name="connsiteY8" fmla="*/ 0 h 514033"/>
                <a:gd name="connsiteX0" fmla="*/ 114300 w 609600"/>
                <a:gd name="connsiteY0" fmla="*/ 0 h 237066"/>
                <a:gd name="connsiteX1" fmla="*/ 495300 w 609600"/>
                <a:gd name="connsiteY1" fmla="*/ 0 h 237066"/>
                <a:gd name="connsiteX2" fmla="*/ 609600 w 609600"/>
                <a:gd name="connsiteY2" fmla="*/ 114300 h 237066"/>
                <a:gd name="connsiteX3" fmla="*/ 609600 w 609600"/>
                <a:gd name="connsiteY3" fmla="*/ 228600 h 237066"/>
                <a:gd name="connsiteX4" fmla="*/ 0 w 609600"/>
                <a:gd name="connsiteY4" fmla="*/ 228600 h 237066"/>
                <a:gd name="connsiteX5" fmla="*/ 0 w 609600"/>
                <a:gd name="connsiteY5" fmla="*/ 228600 h 237066"/>
                <a:gd name="connsiteX6" fmla="*/ 0 w 609600"/>
                <a:gd name="connsiteY6" fmla="*/ 114300 h 237066"/>
                <a:gd name="connsiteX7" fmla="*/ 114300 w 609600"/>
                <a:gd name="connsiteY7" fmla="*/ 0 h 237066"/>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0 w 609600"/>
                <a:gd name="connsiteY4" fmla="*/ 228600 h 228600"/>
                <a:gd name="connsiteX5" fmla="*/ 0 w 609600"/>
                <a:gd name="connsiteY5" fmla="*/ 228600 h 228600"/>
                <a:gd name="connsiteX6" fmla="*/ 0 w 609600"/>
                <a:gd name="connsiteY6" fmla="*/ 114300 h 228600"/>
                <a:gd name="connsiteX7" fmla="*/ 114300 w 609600"/>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09609"/>
                <a:gd name="connsiteY0" fmla="*/ 0 h 301628"/>
                <a:gd name="connsiteX1" fmla="*/ 495300 w 609609"/>
                <a:gd name="connsiteY1" fmla="*/ 0 h 301628"/>
                <a:gd name="connsiteX2" fmla="*/ 609600 w 609609"/>
                <a:gd name="connsiteY2" fmla="*/ 114300 h 301628"/>
                <a:gd name="connsiteX3" fmla="*/ 561181 w 609609"/>
                <a:gd name="connsiteY3" fmla="*/ 301628 h 301628"/>
                <a:gd name="connsiteX4" fmla="*/ 0 w 609609"/>
                <a:gd name="connsiteY4" fmla="*/ 228600 h 301628"/>
                <a:gd name="connsiteX5" fmla="*/ 0 w 609609"/>
                <a:gd name="connsiteY5" fmla="*/ 228600 h 301628"/>
                <a:gd name="connsiteX6" fmla="*/ 0 w 609609"/>
                <a:gd name="connsiteY6" fmla="*/ 114300 h 301628"/>
                <a:gd name="connsiteX7" fmla="*/ 114300 w 609609"/>
                <a:gd name="connsiteY7" fmla="*/ 0 h 301628"/>
                <a:gd name="connsiteX0" fmla="*/ 114301 w 609610"/>
                <a:gd name="connsiteY0" fmla="*/ 0 h 301628"/>
                <a:gd name="connsiteX1" fmla="*/ 495301 w 609610"/>
                <a:gd name="connsiteY1" fmla="*/ 0 h 301628"/>
                <a:gd name="connsiteX2" fmla="*/ 609601 w 609610"/>
                <a:gd name="connsiteY2" fmla="*/ 114300 h 301628"/>
                <a:gd name="connsiteX3" fmla="*/ 561182 w 609610"/>
                <a:gd name="connsiteY3" fmla="*/ 301628 h 301628"/>
                <a:gd name="connsiteX4" fmla="*/ 1 w 609610"/>
                <a:gd name="connsiteY4" fmla="*/ 228600 h 301628"/>
                <a:gd name="connsiteX5" fmla="*/ 0 w 609610"/>
                <a:gd name="connsiteY5" fmla="*/ 244478 h 301628"/>
                <a:gd name="connsiteX6" fmla="*/ 1 w 609610"/>
                <a:gd name="connsiteY6" fmla="*/ 114300 h 301628"/>
                <a:gd name="connsiteX7" fmla="*/ 114301 w 609610"/>
                <a:gd name="connsiteY7"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28600 h 301628"/>
                <a:gd name="connsiteX5" fmla="*/ 46134 w 655743"/>
                <a:gd name="connsiteY5" fmla="*/ 114300 h 301628"/>
                <a:gd name="connsiteX6" fmla="*/ 160434 w 655743"/>
                <a:gd name="connsiteY6"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50828 h 301628"/>
                <a:gd name="connsiteX5" fmla="*/ 46134 w 655743"/>
                <a:gd name="connsiteY5" fmla="*/ 114300 h 301628"/>
                <a:gd name="connsiteX6" fmla="*/ 160434 w 655743"/>
                <a:gd name="connsiteY6" fmla="*/ 0 h 301628"/>
                <a:gd name="connsiteX0" fmla="*/ 123100 w 618409"/>
                <a:gd name="connsiteY0" fmla="*/ 0 h 301628"/>
                <a:gd name="connsiteX1" fmla="*/ 504100 w 618409"/>
                <a:gd name="connsiteY1" fmla="*/ 0 h 301628"/>
                <a:gd name="connsiteX2" fmla="*/ 618400 w 618409"/>
                <a:gd name="connsiteY2" fmla="*/ 114300 h 301628"/>
                <a:gd name="connsiteX3" fmla="*/ 569981 w 618409"/>
                <a:gd name="connsiteY3" fmla="*/ 301628 h 301628"/>
                <a:gd name="connsiteX4" fmla="*/ 8800 w 618409"/>
                <a:gd name="connsiteY4" fmla="*/ 250828 h 301628"/>
                <a:gd name="connsiteX5" fmla="*/ 8800 w 618409"/>
                <a:gd name="connsiteY5" fmla="*/ 114300 h 301628"/>
                <a:gd name="connsiteX6" fmla="*/ 123100 w 618409"/>
                <a:gd name="connsiteY6" fmla="*/ 0 h 301628"/>
                <a:gd name="connsiteX0" fmla="*/ 130370 w 625679"/>
                <a:gd name="connsiteY0" fmla="*/ 0 h 301628"/>
                <a:gd name="connsiteX1" fmla="*/ 511370 w 625679"/>
                <a:gd name="connsiteY1" fmla="*/ 0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625679"/>
                <a:gd name="connsiteY0" fmla="*/ 0 h 301628"/>
                <a:gd name="connsiteX1" fmla="*/ 520895 w 625679"/>
                <a:gd name="connsiteY1" fmla="*/ 120653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597116"/>
                <a:gd name="connsiteY0" fmla="*/ 0 h 301628"/>
                <a:gd name="connsiteX1" fmla="*/ 520895 w 597116"/>
                <a:gd name="connsiteY1" fmla="*/ 120653 h 301628"/>
                <a:gd name="connsiteX2" fmla="*/ 597095 w 597116"/>
                <a:gd name="connsiteY2" fmla="*/ 215903 h 301628"/>
                <a:gd name="connsiteX3" fmla="*/ 577251 w 597116"/>
                <a:gd name="connsiteY3" fmla="*/ 301628 h 301628"/>
                <a:gd name="connsiteX4" fmla="*/ 16070 w 597116"/>
                <a:gd name="connsiteY4" fmla="*/ 250828 h 301628"/>
                <a:gd name="connsiteX5" fmla="*/ 16070 w 597116"/>
                <a:gd name="connsiteY5" fmla="*/ 114300 h 301628"/>
                <a:gd name="connsiteX6" fmla="*/ 130370 w 597116"/>
                <a:gd name="connsiteY6" fmla="*/ 0 h 301628"/>
                <a:gd name="connsiteX0" fmla="*/ 133545 w 597116"/>
                <a:gd name="connsiteY0" fmla="*/ 0 h 254003"/>
                <a:gd name="connsiteX1" fmla="*/ 520895 w 597116"/>
                <a:gd name="connsiteY1" fmla="*/ 73028 h 254003"/>
                <a:gd name="connsiteX2" fmla="*/ 597095 w 597116"/>
                <a:gd name="connsiteY2" fmla="*/ 168278 h 254003"/>
                <a:gd name="connsiteX3" fmla="*/ 577251 w 597116"/>
                <a:gd name="connsiteY3" fmla="*/ 254003 h 254003"/>
                <a:gd name="connsiteX4" fmla="*/ 16070 w 597116"/>
                <a:gd name="connsiteY4" fmla="*/ 203203 h 254003"/>
                <a:gd name="connsiteX5" fmla="*/ 16070 w 597116"/>
                <a:gd name="connsiteY5" fmla="*/ 66675 h 254003"/>
                <a:gd name="connsiteX6" fmla="*/ 133545 w 59711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13929"/>
                <a:gd name="connsiteY0" fmla="*/ 0 h 254003"/>
                <a:gd name="connsiteX1" fmla="*/ 537675 w 613929"/>
                <a:gd name="connsiteY1" fmla="*/ 73028 h 254003"/>
                <a:gd name="connsiteX2" fmla="*/ 613875 w 613929"/>
                <a:gd name="connsiteY2" fmla="*/ 168278 h 254003"/>
                <a:gd name="connsiteX3" fmla="*/ 594031 w 613929"/>
                <a:gd name="connsiteY3" fmla="*/ 254003 h 254003"/>
                <a:gd name="connsiteX4" fmla="*/ 32850 w 613929"/>
                <a:gd name="connsiteY4" fmla="*/ 203203 h 254003"/>
                <a:gd name="connsiteX5" fmla="*/ 7449 w 613929"/>
                <a:gd name="connsiteY5" fmla="*/ 104778 h 254003"/>
                <a:gd name="connsiteX6" fmla="*/ 150325 w 613929"/>
                <a:gd name="connsiteY6" fmla="*/ 0 h 25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929" h="254003">
                  <a:moveTo>
                    <a:pt x="150325" y="0"/>
                  </a:moveTo>
                  <a:lnTo>
                    <a:pt x="537675" y="73028"/>
                  </a:lnTo>
                  <a:cubicBezTo>
                    <a:pt x="600801" y="73028"/>
                    <a:pt x="613875" y="105152"/>
                    <a:pt x="613875" y="168278"/>
                  </a:cubicBezTo>
                  <a:cubicBezTo>
                    <a:pt x="614669" y="190503"/>
                    <a:pt x="606731" y="199240"/>
                    <a:pt x="594031" y="254003"/>
                  </a:cubicBezTo>
                  <a:cubicBezTo>
                    <a:pt x="216682" y="138757"/>
                    <a:pt x="109050" y="187334"/>
                    <a:pt x="32850" y="203203"/>
                  </a:cubicBezTo>
                  <a:cubicBezTo>
                    <a:pt x="9169" y="181513"/>
                    <a:pt x="-11601" y="142878"/>
                    <a:pt x="7449" y="104778"/>
                  </a:cubicBezTo>
                  <a:cubicBezTo>
                    <a:pt x="7449" y="41652"/>
                    <a:pt x="87199" y="0"/>
                    <a:pt x="15032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70" name="Rectangle: Top Corners Rounded 8">
              <a:extLst>
                <a:ext uri="{FF2B5EF4-FFF2-40B4-BE49-F238E27FC236}">
                  <a16:creationId xmlns:a16="http://schemas.microsoft.com/office/drawing/2014/main" id="{C423D742-963F-46F3-AAFD-0E4D00FF033E}"/>
                </a:ext>
              </a:extLst>
            </p:cNvPr>
            <p:cNvSpPr/>
            <p:nvPr/>
          </p:nvSpPr>
          <p:spPr bwMode="auto">
            <a:xfrm rot="15146321">
              <a:off x="-3344968" y="5907238"/>
              <a:ext cx="165883" cy="62483"/>
            </a:xfrm>
            <a:custGeom>
              <a:avLst/>
              <a:gdLst>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373380"/>
                <a:gd name="connsiteX1" fmla="*/ 495300 w 609600"/>
                <a:gd name="connsiteY1" fmla="*/ 0 h 373380"/>
                <a:gd name="connsiteX2" fmla="*/ 609600 w 609600"/>
                <a:gd name="connsiteY2" fmla="*/ 114300 h 373380"/>
                <a:gd name="connsiteX3" fmla="*/ 609600 w 609600"/>
                <a:gd name="connsiteY3" fmla="*/ 228600 h 373380"/>
                <a:gd name="connsiteX4" fmla="*/ 236220 w 609600"/>
                <a:gd name="connsiteY4" fmla="*/ 373380 h 373380"/>
                <a:gd name="connsiteX5" fmla="*/ 0 w 609600"/>
                <a:gd name="connsiteY5" fmla="*/ 228600 h 373380"/>
                <a:gd name="connsiteX6" fmla="*/ 0 w 609600"/>
                <a:gd name="connsiteY6" fmla="*/ 228600 h 373380"/>
                <a:gd name="connsiteX7" fmla="*/ 0 w 609600"/>
                <a:gd name="connsiteY7" fmla="*/ 114300 h 373380"/>
                <a:gd name="connsiteX8" fmla="*/ 114300 w 609600"/>
                <a:gd name="connsiteY8" fmla="*/ 0 h 373380"/>
                <a:gd name="connsiteX0" fmla="*/ 114300 w 655901"/>
                <a:gd name="connsiteY0" fmla="*/ 0 h 514033"/>
                <a:gd name="connsiteX1" fmla="*/ 495300 w 655901"/>
                <a:gd name="connsiteY1" fmla="*/ 0 h 514033"/>
                <a:gd name="connsiteX2" fmla="*/ 609600 w 655901"/>
                <a:gd name="connsiteY2" fmla="*/ 114300 h 514033"/>
                <a:gd name="connsiteX3" fmla="*/ 609600 w 655901"/>
                <a:gd name="connsiteY3" fmla="*/ 228600 h 514033"/>
                <a:gd name="connsiteX4" fmla="*/ 236220 w 655901"/>
                <a:gd name="connsiteY4" fmla="*/ 373380 h 514033"/>
                <a:gd name="connsiteX5" fmla="*/ 0 w 655901"/>
                <a:gd name="connsiteY5" fmla="*/ 228600 h 514033"/>
                <a:gd name="connsiteX6" fmla="*/ 0 w 655901"/>
                <a:gd name="connsiteY6" fmla="*/ 228600 h 514033"/>
                <a:gd name="connsiteX7" fmla="*/ 0 w 655901"/>
                <a:gd name="connsiteY7" fmla="*/ 114300 h 514033"/>
                <a:gd name="connsiteX8" fmla="*/ 114300 w 655901"/>
                <a:gd name="connsiteY8" fmla="*/ 0 h 514033"/>
                <a:gd name="connsiteX0" fmla="*/ 114300 w 609600"/>
                <a:gd name="connsiteY0" fmla="*/ 0 h 237066"/>
                <a:gd name="connsiteX1" fmla="*/ 495300 w 609600"/>
                <a:gd name="connsiteY1" fmla="*/ 0 h 237066"/>
                <a:gd name="connsiteX2" fmla="*/ 609600 w 609600"/>
                <a:gd name="connsiteY2" fmla="*/ 114300 h 237066"/>
                <a:gd name="connsiteX3" fmla="*/ 609600 w 609600"/>
                <a:gd name="connsiteY3" fmla="*/ 228600 h 237066"/>
                <a:gd name="connsiteX4" fmla="*/ 0 w 609600"/>
                <a:gd name="connsiteY4" fmla="*/ 228600 h 237066"/>
                <a:gd name="connsiteX5" fmla="*/ 0 w 609600"/>
                <a:gd name="connsiteY5" fmla="*/ 228600 h 237066"/>
                <a:gd name="connsiteX6" fmla="*/ 0 w 609600"/>
                <a:gd name="connsiteY6" fmla="*/ 114300 h 237066"/>
                <a:gd name="connsiteX7" fmla="*/ 114300 w 609600"/>
                <a:gd name="connsiteY7" fmla="*/ 0 h 237066"/>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0 w 609600"/>
                <a:gd name="connsiteY4" fmla="*/ 228600 h 228600"/>
                <a:gd name="connsiteX5" fmla="*/ 0 w 609600"/>
                <a:gd name="connsiteY5" fmla="*/ 228600 h 228600"/>
                <a:gd name="connsiteX6" fmla="*/ 0 w 609600"/>
                <a:gd name="connsiteY6" fmla="*/ 114300 h 228600"/>
                <a:gd name="connsiteX7" fmla="*/ 114300 w 609600"/>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09609"/>
                <a:gd name="connsiteY0" fmla="*/ 0 h 301628"/>
                <a:gd name="connsiteX1" fmla="*/ 495300 w 609609"/>
                <a:gd name="connsiteY1" fmla="*/ 0 h 301628"/>
                <a:gd name="connsiteX2" fmla="*/ 609600 w 609609"/>
                <a:gd name="connsiteY2" fmla="*/ 114300 h 301628"/>
                <a:gd name="connsiteX3" fmla="*/ 561181 w 609609"/>
                <a:gd name="connsiteY3" fmla="*/ 301628 h 301628"/>
                <a:gd name="connsiteX4" fmla="*/ 0 w 609609"/>
                <a:gd name="connsiteY4" fmla="*/ 228600 h 301628"/>
                <a:gd name="connsiteX5" fmla="*/ 0 w 609609"/>
                <a:gd name="connsiteY5" fmla="*/ 228600 h 301628"/>
                <a:gd name="connsiteX6" fmla="*/ 0 w 609609"/>
                <a:gd name="connsiteY6" fmla="*/ 114300 h 301628"/>
                <a:gd name="connsiteX7" fmla="*/ 114300 w 609609"/>
                <a:gd name="connsiteY7" fmla="*/ 0 h 301628"/>
                <a:gd name="connsiteX0" fmla="*/ 114301 w 609610"/>
                <a:gd name="connsiteY0" fmla="*/ 0 h 301628"/>
                <a:gd name="connsiteX1" fmla="*/ 495301 w 609610"/>
                <a:gd name="connsiteY1" fmla="*/ 0 h 301628"/>
                <a:gd name="connsiteX2" fmla="*/ 609601 w 609610"/>
                <a:gd name="connsiteY2" fmla="*/ 114300 h 301628"/>
                <a:gd name="connsiteX3" fmla="*/ 561182 w 609610"/>
                <a:gd name="connsiteY3" fmla="*/ 301628 h 301628"/>
                <a:gd name="connsiteX4" fmla="*/ 1 w 609610"/>
                <a:gd name="connsiteY4" fmla="*/ 228600 h 301628"/>
                <a:gd name="connsiteX5" fmla="*/ 0 w 609610"/>
                <a:gd name="connsiteY5" fmla="*/ 244478 h 301628"/>
                <a:gd name="connsiteX6" fmla="*/ 1 w 609610"/>
                <a:gd name="connsiteY6" fmla="*/ 114300 h 301628"/>
                <a:gd name="connsiteX7" fmla="*/ 114301 w 609610"/>
                <a:gd name="connsiteY7"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28600 h 301628"/>
                <a:gd name="connsiteX5" fmla="*/ 46134 w 655743"/>
                <a:gd name="connsiteY5" fmla="*/ 114300 h 301628"/>
                <a:gd name="connsiteX6" fmla="*/ 160434 w 655743"/>
                <a:gd name="connsiteY6"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50828 h 301628"/>
                <a:gd name="connsiteX5" fmla="*/ 46134 w 655743"/>
                <a:gd name="connsiteY5" fmla="*/ 114300 h 301628"/>
                <a:gd name="connsiteX6" fmla="*/ 160434 w 655743"/>
                <a:gd name="connsiteY6" fmla="*/ 0 h 301628"/>
                <a:gd name="connsiteX0" fmla="*/ 123100 w 618409"/>
                <a:gd name="connsiteY0" fmla="*/ 0 h 301628"/>
                <a:gd name="connsiteX1" fmla="*/ 504100 w 618409"/>
                <a:gd name="connsiteY1" fmla="*/ 0 h 301628"/>
                <a:gd name="connsiteX2" fmla="*/ 618400 w 618409"/>
                <a:gd name="connsiteY2" fmla="*/ 114300 h 301628"/>
                <a:gd name="connsiteX3" fmla="*/ 569981 w 618409"/>
                <a:gd name="connsiteY3" fmla="*/ 301628 h 301628"/>
                <a:gd name="connsiteX4" fmla="*/ 8800 w 618409"/>
                <a:gd name="connsiteY4" fmla="*/ 250828 h 301628"/>
                <a:gd name="connsiteX5" fmla="*/ 8800 w 618409"/>
                <a:gd name="connsiteY5" fmla="*/ 114300 h 301628"/>
                <a:gd name="connsiteX6" fmla="*/ 123100 w 618409"/>
                <a:gd name="connsiteY6" fmla="*/ 0 h 301628"/>
                <a:gd name="connsiteX0" fmla="*/ 130370 w 625679"/>
                <a:gd name="connsiteY0" fmla="*/ 0 h 301628"/>
                <a:gd name="connsiteX1" fmla="*/ 511370 w 625679"/>
                <a:gd name="connsiteY1" fmla="*/ 0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625679"/>
                <a:gd name="connsiteY0" fmla="*/ 0 h 301628"/>
                <a:gd name="connsiteX1" fmla="*/ 520895 w 625679"/>
                <a:gd name="connsiteY1" fmla="*/ 120653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597116"/>
                <a:gd name="connsiteY0" fmla="*/ 0 h 301628"/>
                <a:gd name="connsiteX1" fmla="*/ 520895 w 597116"/>
                <a:gd name="connsiteY1" fmla="*/ 120653 h 301628"/>
                <a:gd name="connsiteX2" fmla="*/ 597095 w 597116"/>
                <a:gd name="connsiteY2" fmla="*/ 215903 h 301628"/>
                <a:gd name="connsiteX3" fmla="*/ 577251 w 597116"/>
                <a:gd name="connsiteY3" fmla="*/ 301628 h 301628"/>
                <a:gd name="connsiteX4" fmla="*/ 16070 w 597116"/>
                <a:gd name="connsiteY4" fmla="*/ 250828 h 301628"/>
                <a:gd name="connsiteX5" fmla="*/ 16070 w 597116"/>
                <a:gd name="connsiteY5" fmla="*/ 114300 h 301628"/>
                <a:gd name="connsiteX6" fmla="*/ 130370 w 597116"/>
                <a:gd name="connsiteY6" fmla="*/ 0 h 301628"/>
                <a:gd name="connsiteX0" fmla="*/ 133545 w 597116"/>
                <a:gd name="connsiteY0" fmla="*/ 0 h 254003"/>
                <a:gd name="connsiteX1" fmla="*/ 520895 w 597116"/>
                <a:gd name="connsiteY1" fmla="*/ 73028 h 254003"/>
                <a:gd name="connsiteX2" fmla="*/ 597095 w 597116"/>
                <a:gd name="connsiteY2" fmla="*/ 168278 h 254003"/>
                <a:gd name="connsiteX3" fmla="*/ 577251 w 597116"/>
                <a:gd name="connsiteY3" fmla="*/ 254003 h 254003"/>
                <a:gd name="connsiteX4" fmla="*/ 16070 w 597116"/>
                <a:gd name="connsiteY4" fmla="*/ 203203 h 254003"/>
                <a:gd name="connsiteX5" fmla="*/ 16070 w 597116"/>
                <a:gd name="connsiteY5" fmla="*/ 66675 h 254003"/>
                <a:gd name="connsiteX6" fmla="*/ 133545 w 59711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13929"/>
                <a:gd name="connsiteY0" fmla="*/ 0 h 254003"/>
                <a:gd name="connsiteX1" fmla="*/ 537675 w 613929"/>
                <a:gd name="connsiteY1" fmla="*/ 73028 h 254003"/>
                <a:gd name="connsiteX2" fmla="*/ 613875 w 613929"/>
                <a:gd name="connsiteY2" fmla="*/ 168278 h 254003"/>
                <a:gd name="connsiteX3" fmla="*/ 594031 w 613929"/>
                <a:gd name="connsiteY3" fmla="*/ 254003 h 254003"/>
                <a:gd name="connsiteX4" fmla="*/ 32850 w 613929"/>
                <a:gd name="connsiteY4" fmla="*/ 203203 h 254003"/>
                <a:gd name="connsiteX5" fmla="*/ 7449 w 613929"/>
                <a:gd name="connsiteY5" fmla="*/ 104778 h 254003"/>
                <a:gd name="connsiteX6" fmla="*/ 150325 w 613929"/>
                <a:gd name="connsiteY6" fmla="*/ 0 h 25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929" h="254003">
                  <a:moveTo>
                    <a:pt x="150325" y="0"/>
                  </a:moveTo>
                  <a:lnTo>
                    <a:pt x="537675" y="73028"/>
                  </a:lnTo>
                  <a:cubicBezTo>
                    <a:pt x="600801" y="73028"/>
                    <a:pt x="613875" y="105152"/>
                    <a:pt x="613875" y="168278"/>
                  </a:cubicBezTo>
                  <a:cubicBezTo>
                    <a:pt x="614669" y="190503"/>
                    <a:pt x="606731" y="199240"/>
                    <a:pt x="594031" y="254003"/>
                  </a:cubicBezTo>
                  <a:cubicBezTo>
                    <a:pt x="216682" y="138757"/>
                    <a:pt x="109050" y="187334"/>
                    <a:pt x="32850" y="203203"/>
                  </a:cubicBezTo>
                  <a:cubicBezTo>
                    <a:pt x="9169" y="181513"/>
                    <a:pt x="-11601" y="142878"/>
                    <a:pt x="7449" y="104778"/>
                  </a:cubicBezTo>
                  <a:cubicBezTo>
                    <a:pt x="7449" y="41652"/>
                    <a:pt x="87199" y="0"/>
                    <a:pt x="15032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477" name="Group 2476">
            <a:extLst>
              <a:ext uri="{FF2B5EF4-FFF2-40B4-BE49-F238E27FC236}">
                <a16:creationId xmlns:a16="http://schemas.microsoft.com/office/drawing/2014/main" id="{8EB923EE-8D98-4072-8456-4CC73D50F2DE}"/>
              </a:ext>
            </a:extLst>
          </p:cNvPr>
          <p:cNvGrpSpPr/>
          <p:nvPr/>
        </p:nvGrpSpPr>
        <p:grpSpPr>
          <a:xfrm>
            <a:off x="6835933" y="4712659"/>
            <a:ext cx="980579" cy="1388452"/>
            <a:chOff x="-4806142" y="2640980"/>
            <a:chExt cx="790532" cy="1119354"/>
          </a:xfrm>
        </p:grpSpPr>
        <p:sp>
          <p:nvSpPr>
            <p:cNvPr id="2478" name="Freeform: Shape 2477">
              <a:extLst>
                <a:ext uri="{FF2B5EF4-FFF2-40B4-BE49-F238E27FC236}">
                  <a16:creationId xmlns:a16="http://schemas.microsoft.com/office/drawing/2014/main" id="{60FC5518-622B-4AF3-AB15-5080EF19C003}"/>
                </a:ext>
              </a:extLst>
            </p:cNvPr>
            <p:cNvSpPr/>
            <p:nvPr/>
          </p:nvSpPr>
          <p:spPr bwMode="auto">
            <a:xfrm>
              <a:off x="-4358573" y="2919290"/>
              <a:ext cx="118396" cy="102303"/>
            </a:xfrm>
            <a:custGeom>
              <a:avLst/>
              <a:gdLst>
                <a:gd name="connsiteX0" fmla="*/ 657225 w 657225"/>
                <a:gd name="connsiteY0" fmla="*/ 0 h 361950"/>
                <a:gd name="connsiteX1" fmla="*/ 657225 w 657225"/>
                <a:gd name="connsiteY1" fmla="*/ 361950 h 361950"/>
                <a:gd name="connsiteX2" fmla="*/ 0 w 657225"/>
                <a:gd name="connsiteY2" fmla="*/ 352425 h 361950"/>
                <a:gd name="connsiteX3" fmla="*/ 123825 w 657225"/>
                <a:gd name="connsiteY3" fmla="*/ 285750 h 361950"/>
                <a:gd name="connsiteX4" fmla="*/ 590550 w 657225"/>
                <a:gd name="connsiteY4" fmla="*/ 314325 h 361950"/>
                <a:gd name="connsiteX5" fmla="*/ 657225 w 657225"/>
                <a:gd name="connsiteY5" fmla="*/ 0 h 361950"/>
                <a:gd name="connsiteX0" fmla="*/ 657225 w 657225"/>
                <a:gd name="connsiteY0" fmla="*/ 0 h 361950"/>
                <a:gd name="connsiteX1" fmla="*/ 657225 w 657225"/>
                <a:gd name="connsiteY1" fmla="*/ 361950 h 361950"/>
                <a:gd name="connsiteX2" fmla="*/ 0 w 657225"/>
                <a:gd name="connsiteY2" fmla="*/ 352425 h 361950"/>
                <a:gd name="connsiteX3" fmla="*/ 123825 w 657225"/>
                <a:gd name="connsiteY3" fmla="*/ 285750 h 361950"/>
                <a:gd name="connsiteX4" fmla="*/ 600075 w 657225"/>
                <a:gd name="connsiteY4" fmla="*/ 271462 h 361950"/>
                <a:gd name="connsiteX5" fmla="*/ 657225 w 657225"/>
                <a:gd name="connsiteY5" fmla="*/ 0 h 361950"/>
                <a:gd name="connsiteX0" fmla="*/ 657225 w 657225"/>
                <a:gd name="connsiteY0" fmla="*/ 47625 h 409575"/>
                <a:gd name="connsiteX1" fmla="*/ 657225 w 657225"/>
                <a:gd name="connsiteY1" fmla="*/ 409575 h 409575"/>
                <a:gd name="connsiteX2" fmla="*/ 0 w 657225"/>
                <a:gd name="connsiteY2" fmla="*/ 400050 h 409575"/>
                <a:gd name="connsiteX3" fmla="*/ 123825 w 657225"/>
                <a:gd name="connsiteY3" fmla="*/ 333375 h 409575"/>
                <a:gd name="connsiteX4" fmla="*/ 600075 w 657225"/>
                <a:gd name="connsiteY4" fmla="*/ 319087 h 409575"/>
                <a:gd name="connsiteX5" fmla="*/ 609600 w 657225"/>
                <a:gd name="connsiteY5" fmla="*/ 0 h 409575"/>
                <a:gd name="connsiteX6" fmla="*/ 657225 w 657225"/>
                <a:gd name="connsiteY6" fmla="*/ 47625 h 409575"/>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600075 w 657225"/>
                <a:gd name="connsiteY4" fmla="*/ 323850 h 414338"/>
                <a:gd name="connsiteX5" fmla="*/ 609600 w 657225"/>
                <a:gd name="connsiteY5" fmla="*/ 4763 h 414338"/>
                <a:gd name="connsiteX6" fmla="*/ 657225 w 657225"/>
                <a:gd name="connsiteY6"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576262 w 657225"/>
                <a:gd name="connsiteY4" fmla="*/ 221456 h 414338"/>
                <a:gd name="connsiteX5" fmla="*/ 609600 w 657225"/>
                <a:gd name="connsiteY5" fmla="*/ 4763 h 414338"/>
                <a:gd name="connsiteX6" fmla="*/ 657225 w 657225"/>
                <a:gd name="connsiteY6"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576262 w 657225"/>
                <a:gd name="connsiteY4" fmla="*/ 221456 h 414338"/>
                <a:gd name="connsiteX5" fmla="*/ 609600 w 657225"/>
                <a:gd name="connsiteY5" fmla="*/ 4763 h 414338"/>
                <a:gd name="connsiteX6" fmla="*/ 657225 w 657225"/>
                <a:gd name="connsiteY6"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8138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14338"/>
                <a:gd name="connsiteX1" fmla="*/ 657225 w 657225"/>
                <a:gd name="connsiteY1" fmla="*/ 414338 h 414338"/>
                <a:gd name="connsiteX2" fmla="*/ 0 w 657225"/>
                <a:gd name="connsiteY2" fmla="*/ 404813 h 414338"/>
                <a:gd name="connsiteX3" fmla="*/ 123825 w 657225"/>
                <a:gd name="connsiteY3" fmla="*/ 330994 h 414338"/>
                <a:gd name="connsiteX4" fmla="*/ 609600 w 657225"/>
                <a:gd name="connsiteY4" fmla="*/ 4763 h 414338"/>
                <a:gd name="connsiteX5" fmla="*/ 657225 w 657225"/>
                <a:gd name="connsiteY5" fmla="*/ 0 h 414338"/>
                <a:gd name="connsiteX0" fmla="*/ 657225 w 657225"/>
                <a:gd name="connsiteY0" fmla="*/ 0 h 404813"/>
                <a:gd name="connsiteX1" fmla="*/ 0 w 657225"/>
                <a:gd name="connsiteY1" fmla="*/ 404813 h 404813"/>
                <a:gd name="connsiteX2" fmla="*/ 123825 w 657225"/>
                <a:gd name="connsiteY2" fmla="*/ 330994 h 404813"/>
                <a:gd name="connsiteX3" fmla="*/ 609600 w 657225"/>
                <a:gd name="connsiteY3" fmla="*/ 4763 h 404813"/>
                <a:gd name="connsiteX4" fmla="*/ 657225 w 657225"/>
                <a:gd name="connsiteY4" fmla="*/ 0 h 404813"/>
                <a:gd name="connsiteX0" fmla="*/ 657225 w 657225"/>
                <a:gd name="connsiteY0" fmla="*/ 0 h 404813"/>
                <a:gd name="connsiteX1" fmla="*/ 0 w 657225"/>
                <a:gd name="connsiteY1" fmla="*/ 404813 h 404813"/>
                <a:gd name="connsiteX2" fmla="*/ 123825 w 657225"/>
                <a:gd name="connsiteY2" fmla="*/ 330994 h 404813"/>
                <a:gd name="connsiteX3" fmla="*/ 609600 w 657225"/>
                <a:gd name="connsiteY3" fmla="*/ 4763 h 404813"/>
                <a:gd name="connsiteX4" fmla="*/ 657225 w 657225"/>
                <a:gd name="connsiteY4" fmla="*/ 0 h 404813"/>
                <a:gd name="connsiteX0" fmla="*/ 657225 w 679302"/>
                <a:gd name="connsiteY0" fmla="*/ 0 h 404813"/>
                <a:gd name="connsiteX1" fmla="*/ 0 w 679302"/>
                <a:gd name="connsiteY1" fmla="*/ 404813 h 404813"/>
                <a:gd name="connsiteX2" fmla="*/ 123825 w 679302"/>
                <a:gd name="connsiteY2" fmla="*/ 330994 h 404813"/>
                <a:gd name="connsiteX3" fmla="*/ 609600 w 679302"/>
                <a:gd name="connsiteY3" fmla="*/ 4763 h 404813"/>
                <a:gd name="connsiteX4" fmla="*/ 657225 w 679302"/>
                <a:gd name="connsiteY4" fmla="*/ 0 h 404813"/>
                <a:gd name="connsiteX0" fmla="*/ 657225 w 715183"/>
                <a:gd name="connsiteY0" fmla="*/ 0 h 404813"/>
                <a:gd name="connsiteX1" fmla="*/ 0 w 715183"/>
                <a:gd name="connsiteY1" fmla="*/ 404813 h 404813"/>
                <a:gd name="connsiteX2" fmla="*/ 123825 w 715183"/>
                <a:gd name="connsiteY2" fmla="*/ 330994 h 404813"/>
                <a:gd name="connsiteX3" fmla="*/ 609600 w 715183"/>
                <a:gd name="connsiteY3" fmla="*/ 4763 h 404813"/>
                <a:gd name="connsiteX4" fmla="*/ 657225 w 715183"/>
                <a:gd name="connsiteY4" fmla="*/ 0 h 404813"/>
                <a:gd name="connsiteX0" fmla="*/ 657225 w 715183"/>
                <a:gd name="connsiteY0" fmla="*/ 0 h 404813"/>
                <a:gd name="connsiteX1" fmla="*/ 0 w 715183"/>
                <a:gd name="connsiteY1" fmla="*/ 404813 h 404813"/>
                <a:gd name="connsiteX2" fmla="*/ 123825 w 715183"/>
                <a:gd name="connsiteY2" fmla="*/ 330994 h 404813"/>
                <a:gd name="connsiteX3" fmla="*/ 609600 w 715183"/>
                <a:gd name="connsiteY3" fmla="*/ 4763 h 404813"/>
                <a:gd name="connsiteX4" fmla="*/ 657225 w 715183"/>
                <a:gd name="connsiteY4" fmla="*/ 0 h 404813"/>
                <a:gd name="connsiteX0" fmla="*/ 657225 w 672708"/>
                <a:gd name="connsiteY0" fmla="*/ 0 h 404813"/>
                <a:gd name="connsiteX1" fmla="*/ 0 w 672708"/>
                <a:gd name="connsiteY1" fmla="*/ 404813 h 404813"/>
                <a:gd name="connsiteX2" fmla="*/ 123825 w 672708"/>
                <a:gd name="connsiteY2" fmla="*/ 330994 h 404813"/>
                <a:gd name="connsiteX3" fmla="*/ 609600 w 672708"/>
                <a:gd name="connsiteY3" fmla="*/ 4763 h 404813"/>
                <a:gd name="connsiteX4" fmla="*/ 657225 w 672708"/>
                <a:gd name="connsiteY4" fmla="*/ 0 h 404813"/>
                <a:gd name="connsiteX0" fmla="*/ 657225 w 659259"/>
                <a:gd name="connsiteY0" fmla="*/ 0 h 404813"/>
                <a:gd name="connsiteX1" fmla="*/ 0 w 659259"/>
                <a:gd name="connsiteY1" fmla="*/ 404813 h 404813"/>
                <a:gd name="connsiteX2" fmla="*/ 123825 w 659259"/>
                <a:gd name="connsiteY2" fmla="*/ 330994 h 404813"/>
                <a:gd name="connsiteX3" fmla="*/ 609600 w 659259"/>
                <a:gd name="connsiteY3" fmla="*/ 4763 h 404813"/>
                <a:gd name="connsiteX4" fmla="*/ 657225 w 659259"/>
                <a:gd name="connsiteY4" fmla="*/ 0 h 404813"/>
                <a:gd name="connsiteX0" fmla="*/ 657225 w 659259"/>
                <a:gd name="connsiteY0" fmla="*/ 0 h 404813"/>
                <a:gd name="connsiteX1" fmla="*/ 0 w 659259"/>
                <a:gd name="connsiteY1" fmla="*/ 404813 h 404813"/>
                <a:gd name="connsiteX2" fmla="*/ 123825 w 659259"/>
                <a:gd name="connsiteY2" fmla="*/ 330994 h 404813"/>
                <a:gd name="connsiteX3" fmla="*/ 609600 w 659259"/>
                <a:gd name="connsiteY3" fmla="*/ 4763 h 404813"/>
                <a:gd name="connsiteX4" fmla="*/ 657225 w 659259"/>
                <a:gd name="connsiteY4" fmla="*/ 0 h 404813"/>
                <a:gd name="connsiteX0" fmla="*/ 657225 w 659259"/>
                <a:gd name="connsiteY0" fmla="*/ 0 h 404813"/>
                <a:gd name="connsiteX1" fmla="*/ 0 w 659259"/>
                <a:gd name="connsiteY1" fmla="*/ 404813 h 404813"/>
                <a:gd name="connsiteX2" fmla="*/ 123825 w 659259"/>
                <a:gd name="connsiteY2" fmla="*/ 330994 h 404813"/>
                <a:gd name="connsiteX3" fmla="*/ 609600 w 659259"/>
                <a:gd name="connsiteY3" fmla="*/ 4763 h 404813"/>
                <a:gd name="connsiteX4" fmla="*/ 657225 w 659259"/>
                <a:gd name="connsiteY4" fmla="*/ 0 h 404813"/>
                <a:gd name="connsiteX0" fmla="*/ 538163 w 548241"/>
                <a:gd name="connsiteY0" fmla="*/ 0 h 378619"/>
                <a:gd name="connsiteX1" fmla="*/ 0 w 548241"/>
                <a:gd name="connsiteY1" fmla="*/ 378619 h 378619"/>
                <a:gd name="connsiteX2" fmla="*/ 4763 w 548241"/>
                <a:gd name="connsiteY2" fmla="*/ 330994 h 378619"/>
                <a:gd name="connsiteX3" fmla="*/ 490538 w 548241"/>
                <a:gd name="connsiteY3" fmla="*/ 4763 h 378619"/>
                <a:gd name="connsiteX4" fmla="*/ 538163 w 548241"/>
                <a:gd name="connsiteY4" fmla="*/ 0 h 378619"/>
                <a:gd name="connsiteX0" fmla="*/ 538163 w 539991"/>
                <a:gd name="connsiteY0" fmla="*/ 0 h 378619"/>
                <a:gd name="connsiteX1" fmla="*/ 0 w 539991"/>
                <a:gd name="connsiteY1" fmla="*/ 378619 h 378619"/>
                <a:gd name="connsiteX2" fmla="*/ 4763 w 539991"/>
                <a:gd name="connsiteY2" fmla="*/ 330994 h 378619"/>
                <a:gd name="connsiteX3" fmla="*/ 490538 w 539991"/>
                <a:gd name="connsiteY3" fmla="*/ 4763 h 378619"/>
                <a:gd name="connsiteX4" fmla="*/ 538163 w 539991"/>
                <a:gd name="connsiteY4" fmla="*/ 0 h 37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991" h="378619">
                  <a:moveTo>
                    <a:pt x="538163" y="0"/>
                  </a:moveTo>
                  <a:cubicBezTo>
                    <a:pt x="552452" y="125414"/>
                    <a:pt x="492920" y="296068"/>
                    <a:pt x="0" y="378619"/>
                  </a:cubicBezTo>
                  <a:lnTo>
                    <a:pt x="4763" y="330994"/>
                  </a:lnTo>
                  <a:cubicBezTo>
                    <a:pt x="440532" y="236537"/>
                    <a:pt x="490538" y="134938"/>
                    <a:pt x="490538" y="4763"/>
                  </a:cubicBezTo>
                  <a:lnTo>
                    <a:pt x="53816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79" name="Freeform: Shape 2478">
              <a:extLst>
                <a:ext uri="{FF2B5EF4-FFF2-40B4-BE49-F238E27FC236}">
                  <a16:creationId xmlns:a16="http://schemas.microsoft.com/office/drawing/2014/main" id="{A277E78A-5052-4330-A30D-E85D3436C3B0}"/>
                </a:ext>
              </a:extLst>
            </p:cNvPr>
            <p:cNvSpPr/>
            <p:nvPr/>
          </p:nvSpPr>
          <p:spPr bwMode="auto">
            <a:xfrm>
              <a:off x="-4618741" y="2911313"/>
              <a:ext cx="173604" cy="516789"/>
            </a:xfrm>
            <a:custGeom>
              <a:avLst/>
              <a:gdLst>
                <a:gd name="connsiteX0" fmla="*/ 91440 w 403860"/>
                <a:gd name="connsiteY0" fmla="*/ 0 h 1531620"/>
                <a:gd name="connsiteX1" fmla="*/ 0 w 403860"/>
                <a:gd name="connsiteY1" fmla="*/ 693420 h 1531620"/>
                <a:gd name="connsiteX2" fmla="*/ 381000 w 403860"/>
                <a:gd name="connsiteY2" fmla="*/ 1531620 h 1531620"/>
                <a:gd name="connsiteX3" fmla="*/ 403860 w 403860"/>
                <a:gd name="connsiteY3" fmla="*/ 1478280 h 1531620"/>
                <a:gd name="connsiteX4" fmla="*/ 15240 w 403860"/>
                <a:gd name="connsiteY4" fmla="*/ 693420 h 1531620"/>
                <a:gd name="connsiteX5" fmla="*/ 129540 w 403860"/>
                <a:gd name="connsiteY5" fmla="*/ 38100 h 1531620"/>
                <a:gd name="connsiteX6" fmla="*/ 91440 w 403860"/>
                <a:gd name="connsiteY6" fmla="*/ 0 h 1531620"/>
                <a:gd name="connsiteX0" fmla="*/ 91440 w 403860"/>
                <a:gd name="connsiteY0" fmla="*/ 0 h 1531620"/>
                <a:gd name="connsiteX1" fmla="*/ 0 w 403860"/>
                <a:gd name="connsiteY1" fmla="*/ 693420 h 1531620"/>
                <a:gd name="connsiteX2" fmla="*/ 381000 w 403860"/>
                <a:gd name="connsiteY2" fmla="*/ 1531620 h 1531620"/>
                <a:gd name="connsiteX3" fmla="*/ 403860 w 403860"/>
                <a:gd name="connsiteY3" fmla="*/ 1478280 h 1531620"/>
                <a:gd name="connsiteX4" fmla="*/ 129540 w 403860"/>
                <a:gd name="connsiteY4" fmla="*/ 38100 h 1531620"/>
                <a:gd name="connsiteX5" fmla="*/ 91440 w 403860"/>
                <a:gd name="connsiteY5" fmla="*/ 0 h 1531620"/>
                <a:gd name="connsiteX0" fmla="*/ 0 w 312420"/>
                <a:gd name="connsiteY0" fmla="*/ 0 h 1531620"/>
                <a:gd name="connsiteX1" fmla="*/ 289560 w 312420"/>
                <a:gd name="connsiteY1" fmla="*/ 1531620 h 1531620"/>
                <a:gd name="connsiteX2" fmla="*/ 312420 w 312420"/>
                <a:gd name="connsiteY2" fmla="*/ 1478280 h 1531620"/>
                <a:gd name="connsiteX3" fmla="*/ 38100 w 312420"/>
                <a:gd name="connsiteY3" fmla="*/ 38100 h 1531620"/>
                <a:gd name="connsiteX4" fmla="*/ 0 w 312420"/>
                <a:gd name="connsiteY4" fmla="*/ 0 h 1531620"/>
                <a:gd name="connsiteX0" fmla="*/ 0 w 731520"/>
                <a:gd name="connsiteY0" fmla="*/ 0 h 1943100"/>
                <a:gd name="connsiteX1" fmla="*/ 289560 w 731520"/>
                <a:gd name="connsiteY1" fmla="*/ 1531620 h 1943100"/>
                <a:gd name="connsiteX2" fmla="*/ 731520 w 731520"/>
                <a:gd name="connsiteY2" fmla="*/ 1943100 h 1943100"/>
                <a:gd name="connsiteX3" fmla="*/ 38100 w 731520"/>
                <a:gd name="connsiteY3" fmla="*/ 38100 h 1943100"/>
                <a:gd name="connsiteX4" fmla="*/ 0 w 731520"/>
                <a:gd name="connsiteY4" fmla="*/ 0 h 1943100"/>
                <a:gd name="connsiteX0" fmla="*/ 0 w 731520"/>
                <a:gd name="connsiteY0" fmla="*/ 0 h 1988820"/>
                <a:gd name="connsiteX1" fmla="*/ 685800 w 731520"/>
                <a:gd name="connsiteY1" fmla="*/ 1988820 h 1988820"/>
                <a:gd name="connsiteX2" fmla="*/ 731520 w 731520"/>
                <a:gd name="connsiteY2" fmla="*/ 1943100 h 1988820"/>
                <a:gd name="connsiteX3" fmla="*/ 38100 w 731520"/>
                <a:gd name="connsiteY3" fmla="*/ 38100 h 1988820"/>
                <a:gd name="connsiteX4" fmla="*/ 0 w 731520"/>
                <a:gd name="connsiteY4" fmla="*/ 0 h 1988820"/>
                <a:gd name="connsiteX0" fmla="*/ 0 w 731520"/>
                <a:gd name="connsiteY0" fmla="*/ 0 h 1988820"/>
                <a:gd name="connsiteX1" fmla="*/ 685800 w 731520"/>
                <a:gd name="connsiteY1" fmla="*/ 1988820 h 1988820"/>
                <a:gd name="connsiteX2" fmla="*/ 731520 w 731520"/>
                <a:gd name="connsiteY2" fmla="*/ 1943100 h 1988820"/>
                <a:gd name="connsiteX3" fmla="*/ 38100 w 731520"/>
                <a:gd name="connsiteY3" fmla="*/ 38100 h 1988820"/>
                <a:gd name="connsiteX4" fmla="*/ 0 w 731520"/>
                <a:gd name="connsiteY4" fmla="*/ 0 h 1988820"/>
                <a:gd name="connsiteX0" fmla="*/ 99307 w 830827"/>
                <a:gd name="connsiteY0" fmla="*/ 0 h 1988820"/>
                <a:gd name="connsiteX1" fmla="*/ 785107 w 830827"/>
                <a:gd name="connsiteY1" fmla="*/ 1988820 h 1988820"/>
                <a:gd name="connsiteX2" fmla="*/ 830827 w 830827"/>
                <a:gd name="connsiteY2" fmla="*/ 1943100 h 1988820"/>
                <a:gd name="connsiteX3" fmla="*/ 137407 w 830827"/>
                <a:gd name="connsiteY3" fmla="*/ 38100 h 1988820"/>
                <a:gd name="connsiteX4" fmla="*/ 99307 w 830827"/>
                <a:gd name="connsiteY4" fmla="*/ 0 h 1988820"/>
                <a:gd name="connsiteX0" fmla="*/ 99307 w 830827"/>
                <a:gd name="connsiteY0" fmla="*/ 0 h 1988820"/>
                <a:gd name="connsiteX1" fmla="*/ 785107 w 830827"/>
                <a:gd name="connsiteY1" fmla="*/ 1988820 h 1988820"/>
                <a:gd name="connsiteX2" fmla="*/ 830827 w 830827"/>
                <a:gd name="connsiteY2" fmla="*/ 1943100 h 1988820"/>
                <a:gd name="connsiteX3" fmla="*/ 137407 w 830827"/>
                <a:gd name="connsiteY3" fmla="*/ 38100 h 1988820"/>
                <a:gd name="connsiteX4" fmla="*/ 99307 w 830827"/>
                <a:gd name="connsiteY4" fmla="*/ 0 h 1988820"/>
                <a:gd name="connsiteX0" fmla="*/ 99307 w 834379"/>
                <a:gd name="connsiteY0" fmla="*/ 0 h 1988820"/>
                <a:gd name="connsiteX1" fmla="*/ 785107 w 834379"/>
                <a:gd name="connsiteY1" fmla="*/ 1988820 h 1988820"/>
                <a:gd name="connsiteX2" fmla="*/ 830827 w 834379"/>
                <a:gd name="connsiteY2" fmla="*/ 1943100 h 1988820"/>
                <a:gd name="connsiteX3" fmla="*/ 137407 w 834379"/>
                <a:gd name="connsiteY3" fmla="*/ 38100 h 1988820"/>
                <a:gd name="connsiteX4" fmla="*/ 99307 w 834379"/>
                <a:gd name="connsiteY4" fmla="*/ 0 h 1988820"/>
                <a:gd name="connsiteX0" fmla="*/ 39299 w 774371"/>
                <a:gd name="connsiteY0" fmla="*/ 0 h 1988820"/>
                <a:gd name="connsiteX1" fmla="*/ 725099 w 774371"/>
                <a:gd name="connsiteY1" fmla="*/ 1988820 h 1988820"/>
                <a:gd name="connsiteX2" fmla="*/ 770819 w 774371"/>
                <a:gd name="connsiteY2" fmla="*/ 1943100 h 1988820"/>
                <a:gd name="connsiteX3" fmla="*/ 77399 w 774371"/>
                <a:gd name="connsiteY3" fmla="*/ 38100 h 1988820"/>
                <a:gd name="connsiteX4" fmla="*/ 39299 w 774371"/>
                <a:gd name="connsiteY4" fmla="*/ 0 h 1988820"/>
                <a:gd name="connsiteX0" fmla="*/ 57583 w 792655"/>
                <a:gd name="connsiteY0" fmla="*/ 0 h 1988820"/>
                <a:gd name="connsiteX1" fmla="*/ 743383 w 792655"/>
                <a:gd name="connsiteY1" fmla="*/ 1988820 h 1988820"/>
                <a:gd name="connsiteX2" fmla="*/ 789103 w 792655"/>
                <a:gd name="connsiteY2" fmla="*/ 1943100 h 1988820"/>
                <a:gd name="connsiteX3" fmla="*/ 95683 w 792655"/>
                <a:gd name="connsiteY3" fmla="*/ 38100 h 1988820"/>
                <a:gd name="connsiteX4" fmla="*/ 57583 w 792655"/>
                <a:gd name="connsiteY4" fmla="*/ 0 h 1988820"/>
                <a:gd name="connsiteX0" fmla="*/ 58435 w 793507"/>
                <a:gd name="connsiteY0" fmla="*/ 0 h 1950720"/>
                <a:gd name="connsiteX1" fmla="*/ 728995 w 793507"/>
                <a:gd name="connsiteY1" fmla="*/ 1950720 h 1950720"/>
                <a:gd name="connsiteX2" fmla="*/ 789955 w 793507"/>
                <a:gd name="connsiteY2" fmla="*/ 1943100 h 1950720"/>
                <a:gd name="connsiteX3" fmla="*/ 96535 w 793507"/>
                <a:gd name="connsiteY3" fmla="*/ 38100 h 1950720"/>
                <a:gd name="connsiteX4" fmla="*/ 58435 w 793507"/>
                <a:gd name="connsiteY4" fmla="*/ 0 h 1950720"/>
                <a:gd name="connsiteX0" fmla="*/ 60547 w 795619"/>
                <a:gd name="connsiteY0" fmla="*/ 0 h 1950720"/>
                <a:gd name="connsiteX1" fmla="*/ 731107 w 795619"/>
                <a:gd name="connsiteY1" fmla="*/ 1950720 h 1950720"/>
                <a:gd name="connsiteX2" fmla="*/ 792067 w 795619"/>
                <a:gd name="connsiteY2" fmla="*/ 1943100 h 1950720"/>
                <a:gd name="connsiteX3" fmla="*/ 98647 w 795619"/>
                <a:gd name="connsiteY3" fmla="*/ 38100 h 1950720"/>
                <a:gd name="connsiteX4" fmla="*/ 60547 w 795619"/>
                <a:gd name="connsiteY4" fmla="*/ 0 h 1950720"/>
                <a:gd name="connsiteX0" fmla="*/ 60547 w 795619"/>
                <a:gd name="connsiteY0" fmla="*/ 0 h 1950720"/>
                <a:gd name="connsiteX1" fmla="*/ 731107 w 795619"/>
                <a:gd name="connsiteY1" fmla="*/ 1950720 h 1950720"/>
                <a:gd name="connsiteX2" fmla="*/ 792067 w 795619"/>
                <a:gd name="connsiteY2" fmla="*/ 1897380 h 1950720"/>
                <a:gd name="connsiteX3" fmla="*/ 98647 w 795619"/>
                <a:gd name="connsiteY3" fmla="*/ 38100 h 1950720"/>
                <a:gd name="connsiteX4" fmla="*/ 60547 w 795619"/>
                <a:gd name="connsiteY4" fmla="*/ 0 h 1950720"/>
                <a:gd name="connsiteX0" fmla="*/ 58863 w 793935"/>
                <a:gd name="connsiteY0" fmla="*/ 0 h 1912620"/>
                <a:gd name="connsiteX1" fmla="*/ 757998 w 793935"/>
                <a:gd name="connsiteY1" fmla="*/ 1912620 h 1912620"/>
                <a:gd name="connsiteX2" fmla="*/ 790383 w 793935"/>
                <a:gd name="connsiteY2" fmla="*/ 1897380 h 1912620"/>
                <a:gd name="connsiteX3" fmla="*/ 96963 w 793935"/>
                <a:gd name="connsiteY3" fmla="*/ 38100 h 1912620"/>
                <a:gd name="connsiteX4" fmla="*/ 58863 w 793935"/>
                <a:gd name="connsiteY4" fmla="*/ 0 h 1912620"/>
                <a:gd name="connsiteX0" fmla="*/ 60271 w 795343"/>
                <a:gd name="connsiteY0" fmla="*/ 0 h 1912620"/>
                <a:gd name="connsiteX1" fmla="*/ 759406 w 795343"/>
                <a:gd name="connsiteY1" fmla="*/ 1912620 h 1912620"/>
                <a:gd name="connsiteX2" fmla="*/ 791791 w 795343"/>
                <a:gd name="connsiteY2" fmla="*/ 1897380 h 1912620"/>
                <a:gd name="connsiteX3" fmla="*/ 98371 w 795343"/>
                <a:gd name="connsiteY3" fmla="*/ 38100 h 1912620"/>
                <a:gd name="connsiteX4" fmla="*/ 60271 w 795343"/>
                <a:gd name="connsiteY4" fmla="*/ 0 h 1912620"/>
                <a:gd name="connsiteX0" fmla="*/ 60271 w 791791"/>
                <a:gd name="connsiteY0" fmla="*/ 0 h 1912620"/>
                <a:gd name="connsiteX1" fmla="*/ 759406 w 791791"/>
                <a:gd name="connsiteY1" fmla="*/ 1912620 h 1912620"/>
                <a:gd name="connsiteX2" fmla="*/ 791791 w 791791"/>
                <a:gd name="connsiteY2" fmla="*/ 1897380 h 1912620"/>
                <a:gd name="connsiteX3" fmla="*/ 98371 w 791791"/>
                <a:gd name="connsiteY3" fmla="*/ 38100 h 1912620"/>
                <a:gd name="connsiteX4" fmla="*/ 60271 w 791791"/>
                <a:gd name="connsiteY4" fmla="*/ 0 h 1912620"/>
                <a:gd name="connsiteX0" fmla="*/ 60271 w 791791"/>
                <a:gd name="connsiteY0" fmla="*/ 0 h 1912620"/>
                <a:gd name="connsiteX1" fmla="*/ 759406 w 791791"/>
                <a:gd name="connsiteY1" fmla="*/ 1912620 h 1912620"/>
                <a:gd name="connsiteX2" fmla="*/ 791791 w 791791"/>
                <a:gd name="connsiteY2" fmla="*/ 1897380 h 1912620"/>
                <a:gd name="connsiteX3" fmla="*/ 98371 w 791791"/>
                <a:gd name="connsiteY3" fmla="*/ 38100 h 1912620"/>
                <a:gd name="connsiteX4" fmla="*/ 60271 w 791791"/>
                <a:gd name="connsiteY4" fmla="*/ 0 h 1912620"/>
                <a:gd name="connsiteX0" fmla="*/ 60271 w 791791"/>
                <a:gd name="connsiteY0" fmla="*/ 0 h 1912620"/>
                <a:gd name="connsiteX1" fmla="*/ 759406 w 791791"/>
                <a:gd name="connsiteY1" fmla="*/ 1912620 h 1912620"/>
                <a:gd name="connsiteX2" fmla="*/ 791791 w 791791"/>
                <a:gd name="connsiteY2" fmla="*/ 1897380 h 1912620"/>
                <a:gd name="connsiteX3" fmla="*/ 98371 w 791791"/>
                <a:gd name="connsiteY3" fmla="*/ 38100 h 1912620"/>
                <a:gd name="connsiteX4" fmla="*/ 60271 w 791791"/>
                <a:gd name="connsiteY4" fmla="*/ 0 h 191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791" h="1912620">
                  <a:moveTo>
                    <a:pt x="60271" y="0"/>
                  </a:moveTo>
                  <a:cubicBezTo>
                    <a:pt x="-221669" y="396240"/>
                    <a:pt x="566366" y="582295"/>
                    <a:pt x="759406" y="1912620"/>
                  </a:cubicBezTo>
                  <a:lnTo>
                    <a:pt x="791791" y="1897380"/>
                  </a:lnTo>
                  <a:cubicBezTo>
                    <a:pt x="646376" y="592455"/>
                    <a:pt x="-199444" y="328930"/>
                    <a:pt x="98371" y="38100"/>
                  </a:cubicBezTo>
                  <a:lnTo>
                    <a:pt x="60271"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80" name="Group 2479">
              <a:extLst>
                <a:ext uri="{FF2B5EF4-FFF2-40B4-BE49-F238E27FC236}">
                  <a16:creationId xmlns:a16="http://schemas.microsoft.com/office/drawing/2014/main" id="{F596DC78-8295-4433-BD84-DC25FA3A86BB}"/>
                </a:ext>
              </a:extLst>
            </p:cNvPr>
            <p:cNvGrpSpPr/>
            <p:nvPr/>
          </p:nvGrpSpPr>
          <p:grpSpPr>
            <a:xfrm>
              <a:off x="-4806142" y="2670090"/>
              <a:ext cx="790532" cy="997836"/>
              <a:chOff x="12900756" y="3633458"/>
              <a:chExt cx="2556284" cy="3226638"/>
            </a:xfrm>
          </p:grpSpPr>
          <p:sp>
            <p:nvSpPr>
              <p:cNvPr id="2645" name="Oval 2644">
                <a:extLst>
                  <a:ext uri="{FF2B5EF4-FFF2-40B4-BE49-F238E27FC236}">
                    <a16:creationId xmlns:a16="http://schemas.microsoft.com/office/drawing/2014/main" id="{8C7E66DB-3D7D-4229-808D-385E5898A99A}"/>
                  </a:ext>
                </a:extLst>
              </p:cNvPr>
              <p:cNvSpPr/>
              <p:nvPr/>
            </p:nvSpPr>
            <p:spPr bwMode="auto">
              <a:xfrm>
                <a:off x="13674942" y="3722994"/>
                <a:ext cx="937822" cy="1239950"/>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47" name="Rounded Rectangle 1002">
                <a:extLst>
                  <a:ext uri="{FF2B5EF4-FFF2-40B4-BE49-F238E27FC236}">
                    <a16:creationId xmlns:a16="http://schemas.microsoft.com/office/drawing/2014/main" id="{B14BB5A0-92D9-47D2-B89F-AB835A838B59}"/>
                  </a:ext>
                </a:extLst>
              </p:cNvPr>
              <p:cNvSpPr/>
              <p:nvPr/>
            </p:nvSpPr>
            <p:spPr bwMode="auto">
              <a:xfrm>
                <a:off x="13003265" y="5649653"/>
                <a:ext cx="2351266" cy="567911"/>
              </a:xfrm>
              <a:prstGeom prst="round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48" name="Freeform: Shape 2647">
                <a:extLst>
                  <a:ext uri="{FF2B5EF4-FFF2-40B4-BE49-F238E27FC236}">
                    <a16:creationId xmlns:a16="http://schemas.microsoft.com/office/drawing/2014/main" id="{7D1D320F-1665-4982-B38C-BB601D279659}"/>
                  </a:ext>
                </a:extLst>
              </p:cNvPr>
              <p:cNvSpPr/>
              <p:nvPr/>
            </p:nvSpPr>
            <p:spPr bwMode="auto">
              <a:xfrm>
                <a:off x="13628429" y="3633458"/>
                <a:ext cx="1028307" cy="1035758"/>
              </a:xfrm>
              <a:custGeom>
                <a:avLst/>
                <a:gdLst>
                  <a:gd name="connsiteX0" fmla="*/ 0 w 2757714"/>
                  <a:gd name="connsiteY0" fmla="*/ 261258 h 2046515"/>
                  <a:gd name="connsiteX1" fmla="*/ 130629 w 2757714"/>
                  <a:gd name="connsiteY1" fmla="*/ 1973943 h 2046515"/>
                  <a:gd name="connsiteX2" fmla="*/ 2351314 w 2757714"/>
                  <a:gd name="connsiteY2" fmla="*/ 2046515 h 2046515"/>
                  <a:gd name="connsiteX3" fmla="*/ 2757714 w 2757714"/>
                  <a:gd name="connsiteY3" fmla="*/ 14515 h 2046515"/>
                  <a:gd name="connsiteX4" fmla="*/ 377372 w 2757714"/>
                  <a:gd name="connsiteY4" fmla="*/ 0 h 2046515"/>
                  <a:gd name="connsiteX5" fmla="*/ 0 w 2757714"/>
                  <a:gd name="connsiteY5" fmla="*/ 261258 h 2046515"/>
                  <a:gd name="connsiteX0" fmla="*/ 0 w 2757714"/>
                  <a:gd name="connsiteY0" fmla="*/ 261258 h 2046515"/>
                  <a:gd name="connsiteX1" fmla="*/ 375726 w 2757714"/>
                  <a:gd name="connsiteY1" fmla="*/ 1973943 h 2046515"/>
                  <a:gd name="connsiteX2" fmla="*/ 2351314 w 2757714"/>
                  <a:gd name="connsiteY2" fmla="*/ 2046515 h 2046515"/>
                  <a:gd name="connsiteX3" fmla="*/ 2757714 w 2757714"/>
                  <a:gd name="connsiteY3" fmla="*/ 14515 h 2046515"/>
                  <a:gd name="connsiteX4" fmla="*/ 377372 w 2757714"/>
                  <a:gd name="connsiteY4" fmla="*/ 0 h 2046515"/>
                  <a:gd name="connsiteX5" fmla="*/ 0 w 2757714"/>
                  <a:gd name="connsiteY5" fmla="*/ 261258 h 2046515"/>
                  <a:gd name="connsiteX0" fmla="*/ 0 w 2757714"/>
                  <a:gd name="connsiteY0" fmla="*/ 261258 h 2046515"/>
                  <a:gd name="connsiteX1" fmla="*/ 375726 w 2757714"/>
                  <a:gd name="connsiteY1" fmla="*/ 1973943 h 2046515"/>
                  <a:gd name="connsiteX2" fmla="*/ 2351314 w 2757714"/>
                  <a:gd name="connsiteY2" fmla="*/ 2046515 h 2046515"/>
                  <a:gd name="connsiteX3" fmla="*/ 2757714 w 2757714"/>
                  <a:gd name="connsiteY3" fmla="*/ 14515 h 2046515"/>
                  <a:gd name="connsiteX4" fmla="*/ 377372 w 2757714"/>
                  <a:gd name="connsiteY4" fmla="*/ 0 h 2046515"/>
                  <a:gd name="connsiteX5" fmla="*/ 0 w 2757714"/>
                  <a:gd name="connsiteY5" fmla="*/ 261258 h 2046515"/>
                  <a:gd name="connsiteX0" fmla="*/ 0 w 2757714"/>
                  <a:gd name="connsiteY0" fmla="*/ 261258 h 2095746"/>
                  <a:gd name="connsiteX1" fmla="*/ 375726 w 2757714"/>
                  <a:gd name="connsiteY1" fmla="*/ 1973943 h 2095746"/>
                  <a:gd name="connsiteX2" fmla="*/ 2351314 w 2757714"/>
                  <a:gd name="connsiteY2" fmla="*/ 2046515 h 2095746"/>
                  <a:gd name="connsiteX3" fmla="*/ 2757714 w 2757714"/>
                  <a:gd name="connsiteY3" fmla="*/ 14515 h 2095746"/>
                  <a:gd name="connsiteX4" fmla="*/ 377372 w 2757714"/>
                  <a:gd name="connsiteY4" fmla="*/ 0 h 2095746"/>
                  <a:gd name="connsiteX5" fmla="*/ 0 w 2757714"/>
                  <a:gd name="connsiteY5" fmla="*/ 261258 h 2095746"/>
                  <a:gd name="connsiteX0" fmla="*/ 4858 w 2762572"/>
                  <a:gd name="connsiteY0" fmla="*/ 261258 h 2095746"/>
                  <a:gd name="connsiteX1" fmla="*/ 380584 w 2762572"/>
                  <a:gd name="connsiteY1" fmla="*/ 1973943 h 2095746"/>
                  <a:gd name="connsiteX2" fmla="*/ 2356172 w 2762572"/>
                  <a:gd name="connsiteY2" fmla="*/ 2046515 h 2095746"/>
                  <a:gd name="connsiteX3" fmla="*/ 2762572 w 2762572"/>
                  <a:gd name="connsiteY3" fmla="*/ 14515 h 2095746"/>
                  <a:gd name="connsiteX4" fmla="*/ 382230 w 2762572"/>
                  <a:gd name="connsiteY4" fmla="*/ 0 h 2095746"/>
                  <a:gd name="connsiteX5" fmla="*/ 4858 w 2762572"/>
                  <a:gd name="connsiteY5" fmla="*/ 261258 h 2095746"/>
                  <a:gd name="connsiteX0" fmla="*/ 10995 w 2578403"/>
                  <a:gd name="connsiteY0" fmla="*/ 402660 h 2095746"/>
                  <a:gd name="connsiteX1" fmla="*/ 196415 w 2578403"/>
                  <a:gd name="connsiteY1" fmla="*/ 1973943 h 2095746"/>
                  <a:gd name="connsiteX2" fmla="*/ 2172003 w 2578403"/>
                  <a:gd name="connsiteY2" fmla="*/ 2046515 h 2095746"/>
                  <a:gd name="connsiteX3" fmla="*/ 2578403 w 2578403"/>
                  <a:gd name="connsiteY3" fmla="*/ 14515 h 2095746"/>
                  <a:gd name="connsiteX4" fmla="*/ 198061 w 2578403"/>
                  <a:gd name="connsiteY4" fmla="*/ 0 h 2095746"/>
                  <a:gd name="connsiteX5" fmla="*/ 10995 w 2578403"/>
                  <a:gd name="connsiteY5" fmla="*/ 402660 h 2095746"/>
                  <a:gd name="connsiteX0" fmla="*/ 10995 w 2578403"/>
                  <a:gd name="connsiteY0" fmla="*/ 402660 h 2095746"/>
                  <a:gd name="connsiteX1" fmla="*/ 196415 w 2578403"/>
                  <a:gd name="connsiteY1" fmla="*/ 1973943 h 2095746"/>
                  <a:gd name="connsiteX2" fmla="*/ 2172003 w 2578403"/>
                  <a:gd name="connsiteY2" fmla="*/ 2046515 h 2095746"/>
                  <a:gd name="connsiteX3" fmla="*/ 2578403 w 2578403"/>
                  <a:gd name="connsiteY3" fmla="*/ 14515 h 2095746"/>
                  <a:gd name="connsiteX4" fmla="*/ 198061 w 2578403"/>
                  <a:gd name="connsiteY4" fmla="*/ 0 h 2095746"/>
                  <a:gd name="connsiteX5" fmla="*/ 10995 w 2578403"/>
                  <a:gd name="connsiteY5" fmla="*/ 402660 h 2095746"/>
                  <a:gd name="connsiteX0" fmla="*/ 10995 w 2578403"/>
                  <a:gd name="connsiteY0" fmla="*/ 402660 h 2095746"/>
                  <a:gd name="connsiteX1" fmla="*/ 196415 w 2578403"/>
                  <a:gd name="connsiteY1" fmla="*/ 1973943 h 2095746"/>
                  <a:gd name="connsiteX2" fmla="*/ 2172003 w 2578403"/>
                  <a:gd name="connsiteY2" fmla="*/ 2046515 h 2095746"/>
                  <a:gd name="connsiteX3" fmla="*/ 2578403 w 2578403"/>
                  <a:gd name="connsiteY3" fmla="*/ 14515 h 2095746"/>
                  <a:gd name="connsiteX4" fmla="*/ 198061 w 2578403"/>
                  <a:gd name="connsiteY4" fmla="*/ 0 h 2095746"/>
                  <a:gd name="connsiteX5" fmla="*/ 10995 w 2578403"/>
                  <a:gd name="connsiteY5" fmla="*/ 402660 h 2095746"/>
                  <a:gd name="connsiteX0" fmla="*/ 10995 w 2578403"/>
                  <a:gd name="connsiteY0" fmla="*/ 402660 h 2095746"/>
                  <a:gd name="connsiteX1" fmla="*/ 196415 w 2578403"/>
                  <a:gd name="connsiteY1" fmla="*/ 1973943 h 2095746"/>
                  <a:gd name="connsiteX2" fmla="*/ 2172003 w 2578403"/>
                  <a:gd name="connsiteY2" fmla="*/ 2046515 h 2095746"/>
                  <a:gd name="connsiteX3" fmla="*/ 2578403 w 2578403"/>
                  <a:gd name="connsiteY3" fmla="*/ 14515 h 2095746"/>
                  <a:gd name="connsiteX4" fmla="*/ 198061 w 2578403"/>
                  <a:gd name="connsiteY4" fmla="*/ 0 h 2095746"/>
                  <a:gd name="connsiteX5" fmla="*/ 10995 w 2578403"/>
                  <a:gd name="connsiteY5" fmla="*/ 402660 h 2095746"/>
                  <a:gd name="connsiteX0" fmla="*/ 10995 w 2578403"/>
                  <a:gd name="connsiteY0" fmla="*/ 402660 h 2089095"/>
                  <a:gd name="connsiteX1" fmla="*/ 196415 w 2578403"/>
                  <a:gd name="connsiteY1" fmla="*/ 1973943 h 2089095"/>
                  <a:gd name="connsiteX2" fmla="*/ 2045131 w 2578403"/>
                  <a:gd name="connsiteY2" fmla="*/ 2037088 h 2089095"/>
                  <a:gd name="connsiteX3" fmla="*/ 2578403 w 2578403"/>
                  <a:gd name="connsiteY3" fmla="*/ 14515 h 2089095"/>
                  <a:gd name="connsiteX4" fmla="*/ 198061 w 2578403"/>
                  <a:gd name="connsiteY4" fmla="*/ 0 h 2089095"/>
                  <a:gd name="connsiteX5" fmla="*/ 10995 w 2578403"/>
                  <a:gd name="connsiteY5" fmla="*/ 402660 h 2089095"/>
                  <a:gd name="connsiteX0" fmla="*/ 10995 w 2578403"/>
                  <a:gd name="connsiteY0" fmla="*/ 402660 h 2089095"/>
                  <a:gd name="connsiteX1" fmla="*/ 196415 w 2578403"/>
                  <a:gd name="connsiteY1" fmla="*/ 1973943 h 2089095"/>
                  <a:gd name="connsiteX2" fmla="*/ 2045131 w 2578403"/>
                  <a:gd name="connsiteY2" fmla="*/ 2037088 h 2089095"/>
                  <a:gd name="connsiteX3" fmla="*/ 2578403 w 2578403"/>
                  <a:gd name="connsiteY3" fmla="*/ 14515 h 2089095"/>
                  <a:gd name="connsiteX4" fmla="*/ 198061 w 2578403"/>
                  <a:gd name="connsiteY4" fmla="*/ 0 h 2089095"/>
                  <a:gd name="connsiteX5" fmla="*/ 10995 w 2578403"/>
                  <a:gd name="connsiteY5" fmla="*/ 402660 h 2089095"/>
                  <a:gd name="connsiteX0" fmla="*/ 10995 w 2578403"/>
                  <a:gd name="connsiteY0" fmla="*/ 402660 h 2116401"/>
                  <a:gd name="connsiteX1" fmla="*/ 404846 w 2578403"/>
                  <a:gd name="connsiteY1" fmla="*/ 2039931 h 2116401"/>
                  <a:gd name="connsiteX2" fmla="*/ 2045131 w 2578403"/>
                  <a:gd name="connsiteY2" fmla="*/ 2037088 h 2116401"/>
                  <a:gd name="connsiteX3" fmla="*/ 2578403 w 2578403"/>
                  <a:gd name="connsiteY3" fmla="*/ 14515 h 2116401"/>
                  <a:gd name="connsiteX4" fmla="*/ 198061 w 2578403"/>
                  <a:gd name="connsiteY4" fmla="*/ 0 h 2116401"/>
                  <a:gd name="connsiteX5" fmla="*/ 10995 w 2578403"/>
                  <a:gd name="connsiteY5" fmla="*/ 402660 h 2116401"/>
                  <a:gd name="connsiteX0" fmla="*/ 10995 w 2578403"/>
                  <a:gd name="connsiteY0" fmla="*/ 402660 h 2116401"/>
                  <a:gd name="connsiteX1" fmla="*/ 413908 w 2578403"/>
                  <a:gd name="connsiteY1" fmla="*/ 2039931 h 2116401"/>
                  <a:gd name="connsiteX2" fmla="*/ 2045131 w 2578403"/>
                  <a:gd name="connsiteY2" fmla="*/ 2037088 h 2116401"/>
                  <a:gd name="connsiteX3" fmla="*/ 2578403 w 2578403"/>
                  <a:gd name="connsiteY3" fmla="*/ 14515 h 2116401"/>
                  <a:gd name="connsiteX4" fmla="*/ 198061 w 2578403"/>
                  <a:gd name="connsiteY4" fmla="*/ 0 h 2116401"/>
                  <a:gd name="connsiteX5" fmla="*/ 10995 w 2578403"/>
                  <a:gd name="connsiteY5" fmla="*/ 402660 h 2116401"/>
                  <a:gd name="connsiteX0" fmla="*/ 10995 w 2578403"/>
                  <a:gd name="connsiteY0" fmla="*/ 402660 h 2116401"/>
                  <a:gd name="connsiteX1" fmla="*/ 413908 w 2578403"/>
                  <a:gd name="connsiteY1" fmla="*/ 2039931 h 2116401"/>
                  <a:gd name="connsiteX2" fmla="*/ 1936385 w 2578403"/>
                  <a:gd name="connsiteY2" fmla="*/ 2037088 h 2116401"/>
                  <a:gd name="connsiteX3" fmla="*/ 2578403 w 2578403"/>
                  <a:gd name="connsiteY3" fmla="*/ 14515 h 2116401"/>
                  <a:gd name="connsiteX4" fmla="*/ 198061 w 2578403"/>
                  <a:gd name="connsiteY4" fmla="*/ 0 h 2116401"/>
                  <a:gd name="connsiteX5" fmla="*/ 10995 w 2578403"/>
                  <a:gd name="connsiteY5" fmla="*/ 402660 h 2116401"/>
                  <a:gd name="connsiteX0" fmla="*/ 10995 w 2288412"/>
                  <a:gd name="connsiteY0" fmla="*/ 402660 h 2116401"/>
                  <a:gd name="connsiteX1" fmla="*/ 413908 w 2288412"/>
                  <a:gd name="connsiteY1" fmla="*/ 2039931 h 2116401"/>
                  <a:gd name="connsiteX2" fmla="*/ 1936385 w 2288412"/>
                  <a:gd name="connsiteY2" fmla="*/ 2037088 h 2116401"/>
                  <a:gd name="connsiteX3" fmla="*/ 2288412 w 2288412"/>
                  <a:gd name="connsiteY3" fmla="*/ 61649 h 2116401"/>
                  <a:gd name="connsiteX4" fmla="*/ 198061 w 2288412"/>
                  <a:gd name="connsiteY4" fmla="*/ 0 h 2116401"/>
                  <a:gd name="connsiteX5" fmla="*/ 10995 w 2288412"/>
                  <a:gd name="connsiteY5" fmla="*/ 402660 h 2116401"/>
                  <a:gd name="connsiteX0" fmla="*/ 10995 w 2328557"/>
                  <a:gd name="connsiteY0" fmla="*/ 402660 h 2116401"/>
                  <a:gd name="connsiteX1" fmla="*/ 413908 w 2328557"/>
                  <a:gd name="connsiteY1" fmla="*/ 2039931 h 2116401"/>
                  <a:gd name="connsiteX2" fmla="*/ 1936385 w 2328557"/>
                  <a:gd name="connsiteY2" fmla="*/ 2037088 h 2116401"/>
                  <a:gd name="connsiteX3" fmla="*/ 2288412 w 2328557"/>
                  <a:gd name="connsiteY3" fmla="*/ 61649 h 2116401"/>
                  <a:gd name="connsiteX4" fmla="*/ 198061 w 2328557"/>
                  <a:gd name="connsiteY4" fmla="*/ 0 h 2116401"/>
                  <a:gd name="connsiteX5" fmla="*/ 10995 w 2328557"/>
                  <a:gd name="connsiteY5" fmla="*/ 402660 h 2116401"/>
                  <a:gd name="connsiteX0" fmla="*/ 10995 w 2328557"/>
                  <a:gd name="connsiteY0" fmla="*/ 484268 h 2198009"/>
                  <a:gd name="connsiteX1" fmla="*/ 413908 w 2328557"/>
                  <a:gd name="connsiteY1" fmla="*/ 2121539 h 2198009"/>
                  <a:gd name="connsiteX2" fmla="*/ 1936385 w 2328557"/>
                  <a:gd name="connsiteY2" fmla="*/ 2118696 h 2198009"/>
                  <a:gd name="connsiteX3" fmla="*/ 2288412 w 2328557"/>
                  <a:gd name="connsiteY3" fmla="*/ 143257 h 2198009"/>
                  <a:gd name="connsiteX4" fmla="*/ 198061 w 2328557"/>
                  <a:gd name="connsiteY4" fmla="*/ 81608 h 2198009"/>
                  <a:gd name="connsiteX5" fmla="*/ 10995 w 2328557"/>
                  <a:gd name="connsiteY5" fmla="*/ 484268 h 2198009"/>
                  <a:gd name="connsiteX0" fmla="*/ 8493 w 2371366"/>
                  <a:gd name="connsiteY0" fmla="*/ 484268 h 2198009"/>
                  <a:gd name="connsiteX1" fmla="*/ 456717 w 2371366"/>
                  <a:gd name="connsiteY1" fmla="*/ 2121539 h 2198009"/>
                  <a:gd name="connsiteX2" fmla="*/ 1979194 w 2371366"/>
                  <a:gd name="connsiteY2" fmla="*/ 2118696 h 2198009"/>
                  <a:gd name="connsiteX3" fmla="*/ 2331221 w 2371366"/>
                  <a:gd name="connsiteY3" fmla="*/ 143257 h 2198009"/>
                  <a:gd name="connsiteX4" fmla="*/ 240870 w 2371366"/>
                  <a:gd name="connsiteY4" fmla="*/ 81608 h 2198009"/>
                  <a:gd name="connsiteX5" fmla="*/ 8493 w 2371366"/>
                  <a:gd name="connsiteY5" fmla="*/ 484268 h 2198009"/>
                  <a:gd name="connsiteX0" fmla="*/ 0 w 2362873"/>
                  <a:gd name="connsiteY0" fmla="*/ 484268 h 2198009"/>
                  <a:gd name="connsiteX1" fmla="*/ 448224 w 2362873"/>
                  <a:gd name="connsiteY1" fmla="*/ 2121539 h 2198009"/>
                  <a:gd name="connsiteX2" fmla="*/ 1970701 w 2362873"/>
                  <a:gd name="connsiteY2" fmla="*/ 2118696 h 2198009"/>
                  <a:gd name="connsiteX3" fmla="*/ 2322728 w 2362873"/>
                  <a:gd name="connsiteY3" fmla="*/ 143257 h 2198009"/>
                  <a:gd name="connsiteX4" fmla="*/ 232377 w 2362873"/>
                  <a:gd name="connsiteY4" fmla="*/ 81608 h 2198009"/>
                  <a:gd name="connsiteX5" fmla="*/ 0 w 2362873"/>
                  <a:gd name="connsiteY5" fmla="*/ 484268 h 2198009"/>
                  <a:gd name="connsiteX0" fmla="*/ 0 w 2362873"/>
                  <a:gd name="connsiteY0" fmla="*/ 484268 h 2198009"/>
                  <a:gd name="connsiteX1" fmla="*/ 448224 w 2362873"/>
                  <a:gd name="connsiteY1" fmla="*/ 2121539 h 2198009"/>
                  <a:gd name="connsiteX2" fmla="*/ 1970701 w 2362873"/>
                  <a:gd name="connsiteY2" fmla="*/ 2118696 h 2198009"/>
                  <a:gd name="connsiteX3" fmla="*/ 2322728 w 2362873"/>
                  <a:gd name="connsiteY3" fmla="*/ 143257 h 2198009"/>
                  <a:gd name="connsiteX4" fmla="*/ 232377 w 2362873"/>
                  <a:gd name="connsiteY4" fmla="*/ 81608 h 2198009"/>
                  <a:gd name="connsiteX5" fmla="*/ 0 w 2362873"/>
                  <a:gd name="connsiteY5" fmla="*/ 484268 h 2198009"/>
                  <a:gd name="connsiteX0" fmla="*/ 0 w 2362873"/>
                  <a:gd name="connsiteY0" fmla="*/ 593299 h 2307040"/>
                  <a:gd name="connsiteX1" fmla="*/ 448224 w 2362873"/>
                  <a:gd name="connsiteY1" fmla="*/ 2230570 h 2307040"/>
                  <a:gd name="connsiteX2" fmla="*/ 1970701 w 2362873"/>
                  <a:gd name="connsiteY2" fmla="*/ 2227727 h 2307040"/>
                  <a:gd name="connsiteX3" fmla="*/ 2322728 w 2362873"/>
                  <a:gd name="connsiteY3" fmla="*/ 252288 h 2307040"/>
                  <a:gd name="connsiteX4" fmla="*/ 232377 w 2362873"/>
                  <a:gd name="connsiteY4" fmla="*/ 190639 h 2307040"/>
                  <a:gd name="connsiteX5" fmla="*/ 0 w 2362873"/>
                  <a:gd name="connsiteY5" fmla="*/ 593299 h 2307040"/>
                  <a:gd name="connsiteX0" fmla="*/ 0 w 2362873"/>
                  <a:gd name="connsiteY0" fmla="*/ 590549 h 2304290"/>
                  <a:gd name="connsiteX1" fmla="*/ 448224 w 2362873"/>
                  <a:gd name="connsiteY1" fmla="*/ 2227820 h 2304290"/>
                  <a:gd name="connsiteX2" fmla="*/ 1970701 w 2362873"/>
                  <a:gd name="connsiteY2" fmla="*/ 2224977 h 2304290"/>
                  <a:gd name="connsiteX3" fmla="*/ 2322728 w 2362873"/>
                  <a:gd name="connsiteY3" fmla="*/ 249538 h 2304290"/>
                  <a:gd name="connsiteX4" fmla="*/ 363997 w 2362873"/>
                  <a:gd name="connsiteY4" fmla="*/ 13718 h 2304290"/>
                  <a:gd name="connsiteX5" fmla="*/ 232377 w 2362873"/>
                  <a:gd name="connsiteY5" fmla="*/ 187889 h 2304290"/>
                  <a:gd name="connsiteX6" fmla="*/ 0 w 2362873"/>
                  <a:gd name="connsiteY6" fmla="*/ 590549 h 2304290"/>
                  <a:gd name="connsiteX0" fmla="*/ 0 w 2362873"/>
                  <a:gd name="connsiteY0" fmla="*/ 545290 h 2259031"/>
                  <a:gd name="connsiteX1" fmla="*/ 448224 w 2362873"/>
                  <a:gd name="connsiteY1" fmla="*/ 2182561 h 2259031"/>
                  <a:gd name="connsiteX2" fmla="*/ 1970701 w 2362873"/>
                  <a:gd name="connsiteY2" fmla="*/ 2179718 h 2259031"/>
                  <a:gd name="connsiteX3" fmla="*/ 2322728 w 2362873"/>
                  <a:gd name="connsiteY3" fmla="*/ 204279 h 2259031"/>
                  <a:gd name="connsiteX4" fmla="*/ 373060 w 2362873"/>
                  <a:gd name="connsiteY4" fmla="*/ 53300 h 2259031"/>
                  <a:gd name="connsiteX5" fmla="*/ 232377 w 2362873"/>
                  <a:gd name="connsiteY5" fmla="*/ 142630 h 2259031"/>
                  <a:gd name="connsiteX6" fmla="*/ 0 w 2362873"/>
                  <a:gd name="connsiteY6" fmla="*/ 545290 h 2259031"/>
                  <a:gd name="connsiteX0" fmla="*/ 0 w 2362873"/>
                  <a:gd name="connsiteY0" fmla="*/ 604491 h 2318232"/>
                  <a:gd name="connsiteX1" fmla="*/ 448224 w 2362873"/>
                  <a:gd name="connsiteY1" fmla="*/ 2241762 h 2318232"/>
                  <a:gd name="connsiteX2" fmla="*/ 1970701 w 2362873"/>
                  <a:gd name="connsiteY2" fmla="*/ 2238919 h 2318232"/>
                  <a:gd name="connsiteX3" fmla="*/ 2322728 w 2362873"/>
                  <a:gd name="connsiteY3" fmla="*/ 263480 h 2318232"/>
                  <a:gd name="connsiteX4" fmla="*/ 373060 w 2362873"/>
                  <a:gd name="connsiteY4" fmla="*/ 112501 h 2318232"/>
                  <a:gd name="connsiteX5" fmla="*/ 232377 w 2362873"/>
                  <a:gd name="connsiteY5" fmla="*/ 201831 h 2318232"/>
                  <a:gd name="connsiteX6" fmla="*/ 0 w 2362873"/>
                  <a:gd name="connsiteY6" fmla="*/ 604491 h 2318232"/>
                  <a:gd name="connsiteX0" fmla="*/ 11615 w 2374488"/>
                  <a:gd name="connsiteY0" fmla="*/ 604491 h 2318232"/>
                  <a:gd name="connsiteX1" fmla="*/ 459839 w 2374488"/>
                  <a:gd name="connsiteY1" fmla="*/ 2241762 h 2318232"/>
                  <a:gd name="connsiteX2" fmla="*/ 1982316 w 2374488"/>
                  <a:gd name="connsiteY2" fmla="*/ 2238919 h 2318232"/>
                  <a:gd name="connsiteX3" fmla="*/ 2334343 w 2374488"/>
                  <a:gd name="connsiteY3" fmla="*/ 263480 h 2318232"/>
                  <a:gd name="connsiteX4" fmla="*/ 384675 w 2374488"/>
                  <a:gd name="connsiteY4" fmla="*/ 112501 h 2318232"/>
                  <a:gd name="connsiteX5" fmla="*/ 243992 w 2374488"/>
                  <a:gd name="connsiteY5" fmla="*/ 201831 h 2318232"/>
                  <a:gd name="connsiteX6" fmla="*/ 112809 w 2374488"/>
                  <a:gd name="connsiteY6" fmla="*/ 150208 h 2318232"/>
                  <a:gd name="connsiteX7" fmla="*/ 11615 w 2374488"/>
                  <a:gd name="connsiteY7" fmla="*/ 604491 h 2318232"/>
                  <a:gd name="connsiteX0" fmla="*/ 0 w 2362873"/>
                  <a:gd name="connsiteY0" fmla="*/ 604491 h 2318232"/>
                  <a:gd name="connsiteX1" fmla="*/ 448224 w 2362873"/>
                  <a:gd name="connsiteY1" fmla="*/ 2241762 h 2318232"/>
                  <a:gd name="connsiteX2" fmla="*/ 1970701 w 2362873"/>
                  <a:gd name="connsiteY2" fmla="*/ 2238919 h 2318232"/>
                  <a:gd name="connsiteX3" fmla="*/ 2322728 w 2362873"/>
                  <a:gd name="connsiteY3" fmla="*/ 263480 h 2318232"/>
                  <a:gd name="connsiteX4" fmla="*/ 373060 w 2362873"/>
                  <a:gd name="connsiteY4" fmla="*/ 112501 h 2318232"/>
                  <a:gd name="connsiteX5" fmla="*/ 232377 w 2362873"/>
                  <a:gd name="connsiteY5" fmla="*/ 201831 h 2318232"/>
                  <a:gd name="connsiteX6" fmla="*/ 101194 w 2362873"/>
                  <a:gd name="connsiteY6" fmla="*/ 150208 h 2318232"/>
                  <a:gd name="connsiteX7" fmla="*/ 0 w 2362873"/>
                  <a:gd name="connsiteY7" fmla="*/ 604491 h 2318232"/>
                  <a:gd name="connsiteX0" fmla="*/ 0 w 2362873"/>
                  <a:gd name="connsiteY0" fmla="*/ 604491 h 2318232"/>
                  <a:gd name="connsiteX1" fmla="*/ 448224 w 2362873"/>
                  <a:gd name="connsiteY1" fmla="*/ 2241762 h 2318232"/>
                  <a:gd name="connsiteX2" fmla="*/ 1970701 w 2362873"/>
                  <a:gd name="connsiteY2" fmla="*/ 2238919 h 2318232"/>
                  <a:gd name="connsiteX3" fmla="*/ 2322728 w 2362873"/>
                  <a:gd name="connsiteY3" fmla="*/ 263480 h 2318232"/>
                  <a:gd name="connsiteX4" fmla="*/ 373060 w 2362873"/>
                  <a:gd name="connsiteY4" fmla="*/ 112501 h 2318232"/>
                  <a:gd name="connsiteX5" fmla="*/ 232377 w 2362873"/>
                  <a:gd name="connsiteY5" fmla="*/ 201831 h 2318232"/>
                  <a:gd name="connsiteX6" fmla="*/ 83385 w 2362873"/>
                  <a:gd name="connsiteY6" fmla="*/ 125342 h 2318232"/>
                  <a:gd name="connsiteX7" fmla="*/ 0 w 2362873"/>
                  <a:gd name="connsiteY7" fmla="*/ 604491 h 2318232"/>
                  <a:gd name="connsiteX0" fmla="*/ 0 w 2362873"/>
                  <a:gd name="connsiteY0" fmla="*/ 604491 h 2318232"/>
                  <a:gd name="connsiteX1" fmla="*/ 448224 w 2362873"/>
                  <a:gd name="connsiteY1" fmla="*/ 2241762 h 2318232"/>
                  <a:gd name="connsiteX2" fmla="*/ 1970701 w 2362873"/>
                  <a:gd name="connsiteY2" fmla="*/ 2238919 h 2318232"/>
                  <a:gd name="connsiteX3" fmla="*/ 2322728 w 2362873"/>
                  <a:gd name="connsiteY3" fmla="*/ 263480 h 2318232"/>
                  <a:gd name="connsiteX4" fmla="*/ 373060 w 2362873"/>
                  <a:gd name="connsiteY4" fmla="*/ 112501 h 2318232"/>
                  <a:gd name="connsiteX5" fmla="*/ 232377 w 2362873"/>
                  <a:gd name="connsiteY5" fmla="*/ 201831 h 2318232"/>
                  <a:gd name="connsiteX6" fmla="*/ 83385 w 2362873"/>
                  <a:gd name="connsiteY6" fmla="*/ 125342 h 2318232"/>
                  <a:gd name="connsiteX7" fmla="*/ 0 w 2362873"/>
                  <a:gd name="connsiteY7" fmla="*/ 604491 h 2318232"/>
                  <a:gd name="connsiteX0" fmla="*/ 0 w 2355744"/>
                  <a:gd name="connsiteY0" fmla="*/ 604491 h 2326528"/>
                  <a:gd name="connsiteX1" fmla="*/ 448224 w 2355744"/>
                  <a:gd name="connsiteY1" fmla="*/ 2241762 h 2326528"/>
                  <a:gd name="connsiteX2" fmla="*/ 1881655 w 2355744"/>
                  <a:gd name="connsiteY2" fmla="*/ 2255496 h 2326528"/>
                  <a:gd name="connsiteX3" fmla="*/ 2322728 w 2355744"/>
                  <a:gd name="connsiteY3" fmla="*/ 263480 h 2326528"/>
                  <a:gd name="connsiteX4" fmla="*/ 373060 w 2355744"/>
                  <a:gd name="connsiteY4" fmla="*/ 112501 h 2326528"/>
                  <a:gd name="connsiteX5" fmla="*/ 232377 w 2355744"/>
                  <a:gd name="connsiteY5" fmla="*/ 201831 h 2326528"/>
                  <a:gd name="connsiteX6" fmla="*/ 83385 w 2355744"/>
                  <a:gd name="connsiteY6" fmla="*/ 125342 h 2326528"/>
                  <a:gd name="connsiteX7" fmla="*/ 0 w 2355744"/>
                  <a:gd name="connsiteY7" fmla="*/ 604491 h 2326528"/>
                  <a:gd name="connsiteX0" fmla="*/ 0 w 2355744"/>
                  <a:gd name="connsiteY0" fmla="*/ 604491 h 2334809"/>
                  <a:gd name="connsiteX1" fmla="*/ 608510 w 2355744"/>
                  <a:gd name="connsiteY1" fmla="*/ 2258338 h 2334809"/>
                  <a:gd name="connsiteX2" fmla="*/ 1881655 w 2355744"/>
                  <a:gd name="connsiteY2" fmla="*/ 2255496 h 2334809"/>
                  <a:gd name="connsiteX3" fmla="*/ 2322728 w 2355744"/>
                  <a:gd name="connsiteY3" fmla="*/ 263480 h 2334809"/>
                  <a:gd name="connsiteX4" fmla="*/ 373060 w 2355744"/>
                  <a:gd name="connsiteY4" fmla="*/ 112501 h 2334809"/>
                  <a:gd name="connsiteX5" fmla="*/ 232377 w 2355744"/>
                  <a:gd name="connsiteY5" fmla="*/ 201831 h 2334809"/>
                  <a:gd name="connsiteX6" fmla="*/ 83385 w 2355744"/>
                  <a:gd name="connsiteY6" fmla="*/ 125342 h 2334809"/>
                  <a:gd name="connsiteX7" fmla="*/ 0 w 2355744"/>
                  <a:gd name="connsiteY7" fmla="*/ 604491 h 2334809"/>
                  <a:gd name="connsiteX0" fmla="*/ 0 w 2355743"/>
                  <a:gd name="connsiteY0" fmla="*/ 604491 h 2322966"/>
                  <a:gd name="connsiteX1" fmla="*/ 498796 w 2355743"/>
                  <a:gd name="connsiteY1" fmla="*/ 2233945 h 2322966"/>
                  <a:gd name="connsiteX2" fmla="*/ 1881655 w 2355743"/>
                  <a:gd name="connsiteY2" fmla="*/ 2255496 h 2322966"/>
                  <a:gd name="connsiteX3" fmla="*/ 2322728 w 2355743"/>
                  <a:gd name="connsiteY3" fmla="*/ 263480 h 2322966"/>
                  <a:gd name="connsiteX4" fmla="*/ 373060 w 2355743"/>
                  <a:gd name="connsiteY4" fmla="*/ 112501 h 2322966"/>
                  <a:gd name="connsiteX5" fmla="*/ 232377 w 2355743"/>
                  <a:gd name="connsiteY5" fmla="*/ 201831 h 2322966"/>
                  <a:gd name="connsiteX6" fmla="*/ 83385 w 2355743"/>
                  <a:gd name="connsiteY6" fmla="*/ 125342 h 2322966"/>
                  <a:gd name="connsiteX7" fmla="*/ 0 w 2355743"/>
                  <a:gd name="connsiteY7" fmla="*/ 604491 h 2322966"/>
                  <a:gd name="connsiteX0" fmla="*/ 0 w 2355743"/>
                  <a:gd name="connsiteY0" fmla="*/ 604491 h 2320211"/>
                  <a:gd name="connsiteX1" fmla="*/ 498796 w 2355743"/>
                  <a:gd name="connsiteY1" fmla="*/ 2233945 h 2320211"/>
                  <a:gd name="connsiteX2" fmla="*/ 1881655 w 2355743"/>
                  <a:gd name="connsiteY2" fmla="*/ 2255496 h 2320211"/>
                  <a:gd name="connsiteX3" fmla="*/ 2322728 w 2355743"/>
                  <a:gd name="connsiteY3" fmla="*/ 263480 h 2320211"/>
                  <a:gd name="connsiteX4" fmla="*/ 373060 w 2355743"/>
                  <a:gd name="connsiteY4" fmla="*/ 112501 h 2320211"/>
                  <a:gd name="connsiteX5" fmla="*/ 232377 w 2355743"/>
                  <a:gd name="connsiteY5" fmla="*/ 201831 h 2320211"/>
                  <a:gd name="connsiteX6" fmla="*/ 83385 w 2355743"/>
                  <a:gd name="connsiteY6" fmla="*/ 125342 h 2320211"/>
                  <a:gd name="connsiteX7" fmla="*/ 0 w 2355743"/>
                  <a:gd name="connsiteY7" fmla="*/ 604491 h 2320211"/>
                  <a:gd name="connsiteX0" fmla="*/ 0 w 2355743"/>
                  <a:gd name="connsiteY0" fmla="*/ 604491 h 2342460"/>
                  <a:gd name="connsiteX1" fmla="*/ 498796 w 2355743"/>
                  <a:gd name="connsiteY1" fmla="*/ 2233945 h 2342460"/>
                  <a:gd name="connsiteX2" fmla="*/ 1881655 w 2355743"/>
                  <a:gd name="connsiteY2" fmla="*/ 2255496 h 2342460"/>
                  <a:gd name="connsiteX3" fmla="*/ 2322728 w 2355743"/>
                  <a:gd name="connsiteY3" fmla="*/ 263480 h 2342460"/>
                  <a:gd name="connsiteX4" fmla="*/ 373060 w 2355743"/>
                  <a:gd name="connsiteY4" fmla="*/ 112501 h 2342460"/>
                  <a:gd name="connsiteX5" fmla="*/ 232377 w 2355743"/>
                  <a:gd name="connsiteY5" fmla="*/ 201831 h 2342460"/>
                  <a:gd name="connsiteX6" fmla="*/ 83385 w 2355743"/>
                  <a:gd name="connsiteY6" fmla="*/ 125342 h 2342460"/>
                  <a:gd name="connsiteX7" fmla="*/ 0 w 2355743"/>
                  <a:gd name="connsiteY7" fmla="*/ 604491 h 2342460"/>
                  <a:gd name="connsiteX0" fmla="*/ 0 w 2357585"/>
                  <a:gd name="connsiteY0" fmla="*/ 604491 h 2342460"/>
                  <a:gd name="connsiteX1" fmla="*/ 498796 w 2357585"/>
                  <a:gd name="connsiteY1" fmla="*/ 2233945 h 2342460"/>
                  <a:gd name="connsiteX2" fmla="*/ 1907987 w 2357585"/>
                  <a:gd name="connsiteY2" fmla="*/ 2255496 h 2342460"/>
                  <a:gd name="connsiteX3" fmla="*/ 2322728 w 2357585"/>
                  <a:gd name="connsiteY3" fmla="*/ 263480 h 2342460"/>
                  <a:gd name="connsiteX4" fmla="*/ 373060 w 2357585"/>
                  <a:gd name="connsiteY4" fmla="*/ 112501 h 2342460"/>
                  <a:gd name="connsiteX5" fmla="*/ 232377 w 2357585"/>
                  <a:gd name="connsiteY5" fmla="*/ 201831 h 2342460"/>
                  <a:gd name="connsiteX6" fmla="*/ 83385 w 2357585"/>
                  <a:gd name="connsiteY6" fmla="*/ 125342 h 2342460"/>
                  <a:gd name="connsiteX7" fmla="*/ 0 w 2357585"/>
                  <a:gd name="connsiteY7" fmla="*/ 604491 h 2342460"/>
                  <a:gd name="connsiteX0" fmla="*/ 0 w 2354256"/>
                  <a:gd name="connsiteY0" fmla="*/ 604491 h 2342460"/>
                  <a:gd name="connsiteX1" fmla="*/ 498796 w 2354256"/>
                  <a:gd name="connsiteY1" fmla="*/ 2233945 h 2342460"/>
                  <a:gd name="connsiteX2" fmla="*/ 1907987 w 2354256"/>
                  <a:gd name="connsiteY2" fmla="*/ 2255496 h 2342460"/>
                  <a:gd name="connsiteX3" fmla="*/ 2322728 w 2354256"/>
                  <a:gd name="connsiteY3" fmla="*/ 263480 h 2342460"/>
                  <a:gd name="connsiteX4" fmla="*/ 373060 w 2354256"/>
                  <a:gd name="connsiteY4" fmla="*/ 112501 h 2342460"/>
                  <a:gd name="connsiteX5" fmla="*/ 232377 w 2354256"/>
                  <a:gd name="connsiteY5" fmla="*/ 201831 h 2342460"/>
                  <a:gd name="connsiteX6" fmla="*/ 83385 w 2354256"/>
                  <a:gd name="connsiteY6" fmla="*/ 125342 h 2342460"/>
                  <a:gd name="connsiteX7" fmla="*/ 0 w 2354256"/>
                  <a:gd name="connsiteY7" fmla="*/ 604491 h 2342460"/>
                  <a:gd name="connsiteX0" fmla="*/ 0 w 2354256"/>
                  <a:gd name="connsiteY0" fmla="*/ 604491 h 2317576"/>
                  <a:gd name="connsiteX1" fmla="*/ 498796 w 2354256"/>
                  <a:gd name="connsiteY1" fmla="*/ 2233945 h 2317576"/>
                  <a:gd name="connsiteX2" fmla="*/ 1907987 w 2354256"/>
                  <a:gd name="connsiteY2" fmla="*/ 2255496 h 2317576"/>
                  <a:gd name="connsiteX3" fmla="*/ 2322728 w 2354256"/>
                  <a:gd name="connsiteY3" fmla="*/ 263480 h 2317576"/>
                  <a:gd name="connsiteX4" fmla="*/ 373060 w 2354256"/>
                  <a:gd name="connsiteY4" fmla="*/ 112501 h 2317576"/>
                  <a:gd name="connsiteX5" fmla="*/ 232377 w 2354256"/>
                  <a:gd name="connsiteY5" fmla="*/ 201831 h 2317576"/>
                  <a:gd name="connsiteX6" fmla="*/ 83385 w 2354256"/>
                  <a:gd name="connsiteY6" fmla="*/ 125342 h 2317576"/>
                  <a:gd name="connsiteX7" fmla="*/ 0 w 2354256"/>
                  <a:gd name="connsiteY7" fmla="*/ 604491 h 2317576"/>
                  <a:gd name="connsiteX0" fmla="*/ 0 w 2355656"/>
                  <a:gd name="connsiteY0" fmla="*/ 604491 h 2333806"/>
                  <a:gd name="connsiteX1" fmla="*/ 498796 w 2355656"/>
                  <a:gd name="connsiteY1" fmla="*/ 2233945 h 2333806"/>
                  <a:gd name="connsiteX2" fmla="*/ 1929930 w 2355656"/>
                  <a:gd name="connsiteY2" fmla="*/ 2296152 h 2333806"/>
                  <a:gd name="connsiteX3" fmla="*/ 2322728 w 2355656"/>
                  <a:gd name="connsiteY3" fmla="*/ 263480 h 2333806"/>
                  <a:gd name="connsiteX4" fmla="*/ 373060 w 2355656"/>
                  <a:gd name="connsiteY4" fmla="*/ 112501 h 2333806"/>
                  <a:gd name="connsiteX5" fmla="*/ 232377 w 2355656"/>
                  <a:gd name="connsiteY5" fmla="*/ 201831 h 2333806"/>
                  <a:gd name="connsiteX6" fmla="*/ 83385 w 2355656"/>
                  <a:gd name="connsiteY6" fmla="*/ 125342 h 2333806"/>
                  <a:gd name="connsiteX7" fmla="*/ 0 w 2355656"/>
                  <a:gd name="connsiteY7" fmla="*/ 604491 h 2333806"/>
                  <a:gd name="connsiteX0" fmla="*/ 0 w 2354802"/>
                  <a:gd name="connsiteY0" fmla="*/ 604491 h 2313621"/>
                  <a:gd name="connsiteX1" fmla="*/ 498796 w 2354802"/>
                  <a:gd name="connsiteY1" fmla="*/ 2233945 h 2313621"/>
                  <a:gd name="connsiteX2" fmla="*/ 1916765 w 2354802"/>
                  <a:gd name="connsiteY2" fmla="*/ 2243300 h 2313621"/>
                  <a:gd name="connsiteX3" fmla="*/ 2322728 w 2354802"/>
                  <a:gd name="connsiteY3" fmla="*/ 263480 h 2313621"/>
                  <a:gd name="connsiteX4" fmla="*/ 373060 w 2354802"/>
                  <a:gd name="connsiteY4" fmla="*/ 112501 h 2313621"/>
                  <a:gd name="connsiteX5" fmla="*/ 232377 w 2354802"/>
                  <a:gd name="connsiteY5" fmla="*/ 201831 h 2313621"/>
                  <a:gd name="connsiteX6" fmla="*/ 83385 w 2354802"/>
                  <a:gd name="connsiteY6" fmla="*/ 125342 h 2313621"/>
                  <a:gd name="connsiteX7" fmla="*/ 0 w 2354802"/>
                  <a:gd name="connsiteY7" fmla="*/ 604491 h 2313621"/>
                  <a:gd name="connsiteX0" fmla="*/ 0 w 2354802"/>
                  <a:gd name="connsiteY0" fmla="*/ 604491 h 2330182"/>
                  <a:gd name="connsiteX1" fmla="*/ 498796 w 2354802"/>
                  <a:gd name="connsiteY1" fmla="*/ 2233945 h 2330182"/>
                  <a:gd name="connsiteX2" fmla="*/ 1916765 w 2354802"/>
                  <a:gd name="connsiteY2" fmla="*/ 2243300 h 2330182"/>
                  <a:gd name="connsiteX3" fmla="*/ 2322728 w 2354802"/>
                  <a:gd name="connsiteY3" fmla="*/ 263480 h 2330182"/>
                  <a:gd name="connsiteX4" fmla="*/ 373060 w 2354802"/>
                  <a:gd name="connsiteY4" fmla="*/ 112501 h 2330182"/>
                  <a:gd name="connsiteX5" fmla="*/ 232377 w 2354802"/>
                  <a:gd name="connsiteY5" fmla="*/ 201831 h 2330182"/>
                  <a:gd name="connsiteX6" fmla="*/ 83385 w 2354802"/>
                  <a:gd name="connsiteY6" fmla="*/ 125342 h 2330182"/>
                  <a:gd name="connsiteX7" fmla="*/ 0 w 2354802"/>
                  <a:gd name="connsiteY7" fmla="*/ 604491 h 2330182"/>
                  <a:gd name="connsiteX0" fmla="*/ 0 w 2354802"/>
                  <a:gd name="connsiteY0" fmla="*/ 504040 h 2229731"/>
                  <a:gd name="connsiteX1" fmla="*/ 498796 w 2354802"/>
                  <a:gd name="connsiteY1" fmla="*/ 2133494 h 2229731"/>
                  <a:gd name="connsiteX2" fmla="*/ 1916765 w 2354802"/>
                  <a:gd name="connsiteY2" fmla="*/ 2142849 h 2229731"/>
                  <a:gd name="connsiteX3" fmla="*/ 2322728 w 2354802"/>
                  <a:gd name="connsiteY3" fmla="*/ 163029 h 2229731"/>
                  <a:gd name="connsiteX4" fmla="*/ 232377 w 2354802"/>
                  <a:gd name="connsiteY4" fmla="*/ 101380 h 2229731"/>
                  <a:gd name="connsiteX5" fmla="*/ 83385 w 2354802"/>
                  <a:gd name="connsiteY5" fmla="*/ 24891 h 2229731"/>
                  <a:gd name="connsiteX6" fmla="*/ 0 w 2354802"/>
                  <a:gd name="connsiteY6" fmla="*/ 504040 h 2229731"/>
                  <a:gd name="connsiteX0" fmla="*/ 0 w 2354802"/>
                  <a:gd name="connsiteY0" fmla="*/ 563853 h 2289544"/>
                  <a:gd name="connsiteX1" fmla="*/ 498796 w 2354802"/>
                  <a:gd name="connsiteY1" fmla="*/ 2193307 h 2289544"/>
                  <a:gd name="connsiteX2" fmla="*/ 1916765 w 2354802"/>
                  <a:gd name="connsiteY2" fmla="*/ 2202662 h 2289544"/>
                  <a:gd name="connsiteX3" fmla="*/ 2322728 w 2354802"/>
                  <a:gd name="connsiteY3" fmla="*/ 222842 h 2289544"/>
                  <a:gd name="connsiteX4" fmla="*/ 83385 w 2354802"/>
                  <a:gd name="connsiteY4" fmla="*/ 84704 h 2289544"/>
                  <a:gd name="connsiteX5" fmla="*/ 0 w 2354802"/>
                  <a:gd name="connsiteY5" fmla="*/ 563853 h 2289544"/>
                  <a:gd name="connsiteX0" fmla="*/ 0 w 2354802"/>
                  <a:gd name="connsiteY0" fmla="*/ 450334 h 2176025"/>
                  <a:gd name="connsiteX1" fmla="*/ 498796 w 2354802"/>
                  <a:gd name="connsiteY1" fmla="*/ 2079788 h 2176025"/>
                  <a:gd name="connsiteX2" fmla="*/ 1916765 w 2354802"/>
                  <a:gd name="connsiteY2" fmla="*/ 2089143 h 2176025"/>
                  <a:gd name="connsiteX3" fmla="*/ 2322728 w 2354802"/>
                  <a:gd name="connsiteY3" fmla="*/ 109323 h 2176025"/>
                  <a:gd name="connsiteX4" fmla="*/ 0 w 2354802"/>
                  <a:gd name="connsiteY4" fmla="*/ 450334 h 2176025"/>
                  <a:gd name="connsiteX0" fmla="*/ 0 w 2354802"/>
                  <a:gd name="connsiteY0" fmla="*/ 600497 h 2326188"/>
                  <a:gd name="connsiteX1" fmla="*/ 498796 w 2354802"/>
                  <a:gd name="connsiteY1" fmla="*/ 2229951 h 2326188"/>
                  <a:gd name="connsiteX2" fmla="*/ 1916765 w 2354802"/>
                  <a:gd name="connsiteY2" fmla="*/ 2239306 h 2326188"/>
                  <a:gd name="connsiteX3" fmla="*/ 2322728 w 2354802"/>
                  <a:gd name="connsiteY3" fmla="*/ 259486 h 2326188"/>
                  <a:gd name="connsiteX4" fmla="*/ 0 w 2354802"/>
                  <a:gd name="connsiteY4" fmla="*/ 600497 h 2326188"/>
                  <a:gd name="connsiteX0" fmla="*/ 0 w 2382387"/>
                  <a:gd name="connsiteY0" fmla="*/ 517298 h 2242989"/>
                  <a:gd name="connsiteX1" fmla="*/ 498796 w 2382387"/>
                  <a:gd name="connsiteY1" fmla="*/ 2146752 h 2242989"/>
                  <a:gd name="connsiteX2" fmla="*/ 1916765 w 2382387"/>
                  <a:gd name="connsiteY2" fmla="*/ 2156107 h 2242989"/>
                  <a:gd name="connsiteX3" fmla="*/ 2352067 w 2382387"/>
                  <a:gd name="connsiteY3" fmla="*/ 352953 h 2242989"/>
                  <a:gd name="connsiteX4" fmla="*/ 0 w 2382387"/>
                  <a:gd name="connsiteY4" fmla="*/ 517298 h 2242989"/>
                  <a:gd name="connsiteX0" fmla="*/ 0 w 2382387"/>
                  <a:gd name="connsiteY0" fmla="*/ 681631 h 2407322"/>
                  <a:gd name="connsiteX1" fmla="*/ 498796 w 2382387"/>
                  <a:gd name="connsiteY1" fmla="*/ 2311085 h 2407322"/>
                  <a:gd name="connsiteX2" fmla="*/ 1916765 w 2382387"/>
                  <a:gd name="connsiteY2" fmla="*/ 2320440 h 2407322"/>
                  <a:gd name="connsiteX3" fmla="*/ 2352067 w 2382387"/>
                  <a:gd name="connsiteY3" fmla="*/ 517286 h 2407322"/>
                  <a:gd name="connsiteX4" fmla="*/ 0 w 2382387"/>
                  <a:gd name="connsiteY4" fmla="*/ 681631 h 2407322"/>
                  <a:gd name="connsiteX0" fmla="*/ 0 w 2382385"/>
                  <a:gd name="connsiteY0" fmla="*/ 681629 h 2534538"/>
                  <a:gd name="connsiteX1" fmla="*/ 498796 w 2382385"/>
                  <a:gd name="connsiteY1" fmla="*/ 2311083 h 2534538"/>
                  <a:gd name="connsiteX2" fmla="*/ 1916765 w 2382385"/>
                  <a:gd name="connsiteY2" fmla="*/ 2320438 h 2534538"/>
                  <a:gd name="connsiteX3" fmla="*/ 2352067 w 2382385"/>
                  <a:gd name="connsiteY3" fmla="*/ 517284 h 2534538"/>
                  <a:gd name="connsiteX4" fmla="*/ 0 w 2382385"/>
                  <a:gd name="connsiteY4" fmla="*/ 681629 h 2534538"/>
                  <a:gd name="connsiteX0" fmla="*/ 0 w 2214989"/>
                  <a:gd name="connsiteY0" fmla="*/ 645392 h 2567223"/>
                  <a:gd name="connsiteX1" fmla="*/ 331400 w 2214989"/>
                  <a:gd name="connsiteY1" fmla="*/ 2343768 h 2567223"/>
                  <a:gd name="connsiteX2" fmla="*/ 1749369 w 2214989"/>
                  <a:gd name="connsiteY2" fmla="*/ 2353123 h 2567223"/>
                  <a:gd name="connsiteX3" fmla="*/ 2184671 w 2214989"/>
                  <a:gd name="connsiteY3" fmla="*/ 549969 h 2567223"/>
                  <a:gd name="connsiteX4" fmla="*/ 0 w 2214989"/>
                  <a:gd name="connsiteY4" fmla="*/ 645392 h 2567223"/>
                  <a:gd name="connsiteX0" fmla="*/ 0 w 2028689"/>
                  <a:gd name="connsiteY0" fmla="*/ 619683 h 2541514"/>
                  <a:gd name="connsiteX1" fmla="*/ 331400 w 2028689"/>
                  <a:gd name="connsiteY1" fmla="*/ 2318059 h 2541514"/>
                  <a:gd name="connsiteX2" fmla="*/ 1749369 w 2028689"/>
                  <a:gd name="connsiteY2" fmla="*/ 2327414 h 2541514"/>
                  <a:gd name="connsiteX3" fmla="*/ 1980077 w 2028689"/>
                  <a:gd name="connsiteY3" fmla="*/ 575951 h 2541514"/>
                  <a:gd name="connsiteX4" fmla="*/ 0 w 2028689"/>
                  <a:gd name="connsiteY4" fmla="*/ 619683 h 2541514"/>
                  <a:gd name="connsiteX0" fmla="*/ 0 w 2028689"/>
                  <a:gd name="connsiteY0" fmla="*/ 651787 h 2573618"/>
                  <a:gd name="connsiteX1" fmla="*/ 331400 w 2028689"/>
                  <a:gd name="connsiteY1" fmla="*/ 2350163 h 2573618"/>
                  <a:gd name="connsiteX2" fmla="*/ 1749369 w 2028689"/>
                  <a:gd name="connsiteY2" fmla="*/ 2359518 h 2573618"/>
                  <a:gd name="connsiteX3" fmla="*/ 1980077 w 2028689"/>
                  <a:gd name="connsiteY3" fmla="*/ 608055 h 2573618"/>
                  <a:gd name="connsiteX4" fmla="*/ 0 w 2028689"/>
                  <a:gd name="connsiteY4" fmla="*/ 651787 h 2573618"/>
                  <a:gd name="connsiteX0" fmla="*/ 0 w 2180051"/>
                  <a:gd name="connsiteY0" fmla="*/ 609918 h 2531749"/>
                  <a:gd name="connsiteX1" fmla="*/ 331400 w 2180051"/>
                  <a:gd name="connsiteY1" fmla="*/ 2308294 h 2531749"/>
                  <a:gd name="connsiteX2" fmla="*/ 1749369 w 2180051"/>
                  <a:gd name="connsiteY2" fmla="*/ 2317649 h 2531749"/>
                  <a:gd name="connsiteX3" fmla="*/ 2147472 w 2180051"/>
                  <a:gd name="connsiteY3" fmla="*/ 652338 h 2531749"/>
                  <a:gd name="connsiteX4" fmla="*/ 0 w 2180051"/>
                  <a:gd name="connsiteY4" fmla="*/ 609918 h 2531749"/>
                  <a:gd name="connsiteX0" fmla="*/ 0 w 2153758"/>
                  <a:gd name="connsiteY0" fmla="*/ 609918 h 2531749"/>
                  <a:gd name="connsiteX1" fmla="*/ 331400 w 2153758"/>
                  <a:gd name="connsiteY1" fmla="*/ 2308294 h 2531749"/>
                  <a:gd name="connsiteX2" fmla="*/ 1749369 w 2153758"/>
                  <a:gd name="connsiteY2" fmla="*/ 2317649 h 2531749"/>
                  <a:gd name="connsiteX3" fmla="*/ 2147472 w 2153758"/>
                  <a:gd name="connsiteY3" fmla="*/ 652338 h 2531749"/>
                  <a:gd name="connsiteX4" fmla="*/ 0 w 2153758"/>
                  <a:gd name="connsiteY4" fmla="*/ 609918 h 2531749"/>
                  <a:gd name="connsiteX0" fmla="*/ 0 w 2147472"/>
                  <a:gd name="connsiteY0" fmla="*/ 609920 h 2531751"/>
                  <a:gd name="connsiteX1" fmla="*/ 331400 w 2147472"/>
                  <a:gd name="connsiteY1" fmla="*/ 2308296 h 2531751"/>
                  <a:gd name="connsiteX2" fmla="*/ 1749369 w 2147472"/>
                  <a:gd name="connsiteY2" fmla="*/ 2317651 h 2531751"/>
                  <a:gd name="connsiteX3" fmla="*/ 2147472 w 2147472"/>
                  <a:gd name="connsiteY3" fmla="*/ 652340 h 2531751"/>
                  <a:gd name="connsiteX4" fmla="*/ 0 w 2147472"/>
                  <a:gd name="connsiteY4" fmla="*/ 609920 h 2531751"/>
                  <a:gd name="connsiteX0" fmla="*/ 0 w 2128872"/>
                  <a:gd name="connsiteY0" fmla="*/ 678498 h 2600329"/>
                  <a:gd name="connsiteX1" fmla="*/ 331400 w 2128872"/>
                  <a:gd name="connsiteY1" fmla="*/ 2376874 h 2600329"/>
                  <a:gd name="connsiteX2" fmla="*/ 1749369 w 2128872"/>
                  <a:gd name="connsiteY2" fmla="*/ 2386229 h 2600329"/>
                  <a:gd name="connsiteX3" fmla="*/ 2128872 w 2128872"/>
                  <a:gd name="connsiteY3" fmla="*/ 583074 h 2600329"/>
                  <a:gd name="connsiteX4" fmla="*/ 0 w 2128872"/>
                  <a:gd name="connsiteY4" fmla="*/ 678498 h 2600329"/>
                  <a:gd name="connsiteX0" fmla="*/ 0 w 2128872"/>
                  <a:gd name="connsiteY0" fmla="*/ 678498 h 2541091"/>
                  <a:gd name="connsiteX1" fmla="*/ 331400 w 2128872"/>
                  <a:gd name="connsiteY1" fmla="*/ 2376874 h 2541091"/>
                  <a:gd name="connsiteX2" fmla="*/ 1767970 w 2128872"/>
                  <a:gd name="connsiteY2" fmla="*/ 2127772 h 2541091"/>
                  <a:gd name="connsiteX3" fmla="*/ 2128872 w 2128872"/>
                  <a:gd name="connsiteY3" fmla="*/ 583074 h 2541091"/>
                  <a:gd name="connsiteX4" fmla="*/ 0 w 2128872"/>
                  <a:gd name="connsiteY4" fmla="*/ 678498 h 2541091"/>
                  <a:gd name="connsiteX0" fmla="*/ 0 w 2128872"/>
                  <a:gd name="connsiteY0" fmla="*/ 678498 h 2443840"/>
                  <a:gd name="connsiteX1" fmla="*/ 294200 w 2128872"/>
                  <a:gd name="connsiteY1" fmla="*/ 2256261 h 2443840"/>
                  <a:gd name="connsiteX2" fmla="*/ 1767970 w 2128872"/>
                  <a:gd name="connsiteY2" fmla="*/ 2127772 h 2443840"/>
                  <a:gd name="connsiteX3" fmla="*/ 2128872 w 2128872"/>
                  <a:gd name="connsiteY3" fmla="*/ 583074 h 2443840"/>
                  <a:gd name="connsiteX4" fmla="*/ 0 w 2128872"/>
                  <a:gd name="connsiteY4" fmla="*/ 678498 h 2443840"/>
                  <a:gd name="connsiteX0" fmla="*/ 0 w 2128872"/>
                  <a:gd name="connsiteY0" fmla="*/ 678498 h 2504802"/>
                  <a:gd name="connsiteX1" fmla="*/ 294200 w 2128872"/>
                  <a:gd name="connsiteY1" fmla="*/ 2256261 h 2504802"/>
                  <a:gd name="connsiteX2" fmla="*/ 1767970 w 2128872"/>
                  <a:gd name="connsiteY2" fmla="*/ 2127772 h 2504802"/>
                  <a:gd name="connsiteX3" fmla="*/ 2128872 w 2128872"/>
                  <a:gd name="connsiteY3" fmla="*/ 583074 h 2504802"/>
                  <a:gd name="connsiteX4" fmla="*/ 0 w 2128872"/>
                  <a:gd name="connsiteY4" fmla="*/ 678498 h 2504802"/>
                  <a:gd name="connsiteX0" fmla="*/ 0 w 1961477"/>
                  <a:gd name="connsiteY0" fmla="*/ 634645 h 2460951"/>
                  <a:gd name="connsiteX1" fmla="*/ 294200 w 1961477"/>
                  <a:gd name="connsiteY1" fmla="*/ 2212408 h 2460951"/>
                  <a:gd name="connsiteX2" fmla="*/ 1767970 w 1961477"/>
                  <a:gd name="connsiteY2" fmla="*/ 2083919 h 2460951"/>
                  <a:gd name="connsiteX3" fmla="*/ 1961477 w 1961477"/>
                  <a:gd name="connsiteY3" fmla="*/ 625374 h 2460951"/>
                  <a:gd name="connsiteX4" fmla="*/ 0 w 1961477"/>
                  <a:gd name="connsiteY4" fmla="*/ 634645 h 2460951"/>
                  <a:gd name="connsiteX0" fmla="*/ 0 w 1961477"/>
                  <a:gd name="connsiteY0" fmla="*/ 634643 h 2477700"/>
                  <a:gd name="connsiteX1" fmla="*/ 294200 w 1961477"/>
                  <a:gd name="connsiteY1" fmla="*/ 2212406 h 2477700"/>
                  <a:gd name="connsiteX2" fmla="*/ 1637773 w 1961477"/>
                  <a:gd name="connsiteY2" fmla="*/ 2152839 h 2477700"/>
                  <a:gd name="connsiteX3" fmla="*/ 1961477 w 1961477"/>
                  <a:gd name="connsiteY3" fmla="*/ 625372 h 2477700"/>
                  <a:gd name="connsiteX4" fmla="*/ 0 w 1961477"/>
                  <a:gd name="connsiteY4" fmla="*/ 634643 h 2477700"/>
                  <a:gd name="connsiteX0" fmla="*/ 0 w 1961477"/>
                  <a:gd name="connsiteY0" fmla="*/ 634643 h 2477702"/>
                  <a:gd name="connsiteX1" fmla="*/ 368598 w 1961477"/>
                  <a:gd name="connsiteY1" fmla="*/ 2212407 h 2477702"/>
                  <a:gd name="connsiteX2" fmla="*/ 1637773 w 1961477"/>
                  <a:gd name="connsiteY2" fmla="*/ 2152839 h 2477702"/>
                  <a:gd name="connsiteX3" fmla="*/ 1961477 w 1961477"/>
                  <a:gd name="connsiteY3" fmla="*/ 625372 h 2477702"/>
                  <a:gd name="connsiteX4" fmla="*/ 0 w 1961477"/>
                  <a:gd name="connsiteY4" fmla="*/ 634643 h 2477702"/>
                  <a:gd name="connsiteX0" fmla="*/ 0 w 1961477"/>
                  <a:gd name="connsiteY0" fmla="*/ 634643 h 2401121"/>
                  <a:gd name="connsiteX1" fmla="*/ 368598 w 1961477"/>
                  <a:gd name="connsiteY1" fmla="*/ 2212407 h 2401121"/>
                  <a:gd name="connsiteX2" fmla="*/ 1637773 w 1961477"/>
                  <a:gd name="connsiteY2" fmla="*/ 2152839 h 2401121"/>
                  <a:gd name="connsiteX3" fmla="*/ 1961477 w 1961477"/>
                  <a:gd name="connsiteY3" fmla="*/ 625372 h 2401121"/>
                  <a:gd name="connsiteX4" fmla="*/ 0 w 1961477"/>
                  <a:gd name="connsiteY4" fmla="*/ 634643 h 2401121"/>
                  <a:gd name="connsiteX0" fmla="*/ 0 w 1961477"/>
                  <a:gd name="connsiteY0" fmla="*/ 634643 h 2404998"/>
                  <a:gd name="connsiteX1" fmla="*/ 368598 w 1961477"/>
                  <a:gd name="connsiteY1" fmla="*/ 2212407 h 2404998"/>
                  <a:gd name="connsiteX2" fmla="*/ 1637773 w 1961477"/>
                  <a:gd name="connsiteY2" fmla="*/ 2152839 h 2404998"/>
                  <a:gd name="connsiteX3" fmla="*/ 1961477 w 1961477"/>
                  <a:gd name="connsiteY3" fmla="*/ 625372 h 2404998"/>
                  <a:gd name="connsiteX4" fmla="*/ 0 w 1961477"/>
                  <a:gd name="connsiteY4" fmla="*/ 634643 h 2404998"/>
                  <a:gd name="connsiteX0" fmla="*/ 0 w 1961477"/>
                  <a:gd name="connsiteY0" fmla="*/ 634643 h 2431854"/>
                  <a:gd name="connsiteX1" fmla="*/ 368598 w 1961477"/>
                  <a:gd name="connsiteY1" fmla="*/ 2212407 h 2431854"/>
                  <a:gd name="connsiteX2" fmla="*/ 1637773 w 1961477"/>
                  <a:gd name="connsiteY2" fmla="*/ 2152839 h 2431854"/>
                  <a:gd name="connsiteX3" fmla="*/ 1961477 w 1961477"/>
                  <a:gd name="connsiteY3" fmla="*/ 625372 h 2431854"/>
                  <a:gd name="connsiteX4" fmla="*/ 0 w 1961477"/>
                  <a:gd name="connsiteY4" fmla="*/ 634643 h 2431854"/>
                  <a:gd name="connsiteX0" fmla="*/ 0 w 1961477"/>
                  <a:gd name="connsiteY0" fmla="*/ 634643 h 2428390"/>
                  <a:gd name="connsiteX1" fmla="*/ 368598 w 1961477"/>
                  <a:gd name="connsiteY1" fmla="*/ 2212407 h 2428390"/>
                  <a:gd name="connsiteX2" fmla="*/ 1637773 w 1961477"/>
                  <a:gd name="connsiteY2" fmla="*/ 2152839 h 2428390"/>
                  <a:gd name="connsiteX3" fmla="*/ 1961477 w 1961477"/>
                  <a:gd name="connsiteY3" fmla="*/ 625372 h 2428390"/>
                  <a:gd name="connsiteX4" fmla="*/ 0 w 1961477"/>
                  <a:gd name="connsiteY4" fmla="*/ 634643 h 2428390"/>
                  <a:gd name="connsiteX0" fmla="*/ 0 w 1961477"/>
                  <a:gd name="connsiteY0" fmla="*/ 634643 h 2405429"/>
                  <a:gd name="connsiteX1" fmla="*/ 322100 w 1961477"/>
                  <a:gd name="connsiteY1" fmla="*/ 2177946 h 2405429"/>
                  <a:gd name="connsiteX2" fmla="*/ 1637773 w 1961477"/>
                  <a:gd name="connsiteY2" fmla="*/ 2152839 h 2405429"/>
                  <a:gd name="connsiteX3" fmla="*/ 1961477 w 1961477"/>
                  <a:gd name="connsiteY3" fmla="*/ 625372 h 2405429"/>
                  <a:gd name="connsiteX4" fmla="*/ 0 w 1961477"/>
                  <a:gd name="connsiteY4" fmla="*/ 634643 h 2405429"/>
                  <a:gd name="connsiteX0" fmla="*/ 0 w 1961477"/>
                  <a:gd name="connsiteY0" fmla="*/ 634643 h 2419660"/>
                  <a:gd name="connsiteX1" fmla="*/ 340700 w 1961477"/>
                  <a:gd name="connsiteY1" fmla="*/ 2199484 h 2419660"/>
                  <a:gd name="connsiteX2" fmla="*/ 1637773 w 1961477"/>
                  <a:gd name="connsiteY2" fmla="*/ 2152839 h 2419660"/>
                  <a:gd name="connsiteX3" fmla="*/ 1961477 w 1961477"/>
                  <a:gd name="connsiteY3" fmla="*/ 625372 h 2419660"/>
                  <a:gd name="connsiteX4" fmla="*/ 0 w 1961477"/>
                  <a:gd name="connsiteY4" fmla="*/ 634643 h 2419660"/>
                  <a:gd name="connsiteX0" fmla="*/ 0 w 1961477"/>
                  <a:gd name="connsiteY0" fmla="*/ 634643 h 2419660"/>
                  <a:gd name="connsiteX1" fmla="*/ 340700 w 1961477"/>
                  <a:gd name="connsiteY1" fmla="*/ 2199484 h 2419660"/>
                  <a:gd name="connsiteX2" fmla="*/ 1637773 w 1961477"/>
                  <a:gd name="connsiteY2" fmla="*/ 2152839 h 2419660"/>
                  <a:gd name="connsiteX3" fmla="*/ 1961477 w 1961477"/>
                  <a:gd name="connsiteY3" fmla="*/ 625372 h 2419660"/>
                  <a:gd name="connsiteX4" fmla="*/ 0 w 1961477"/>
                  <a:gd name="connsiteY4" fmla="*/ 634643 h 2419660"/>
                  <a:gd name="connsiteX0" fmla="*/ 0 w 1961477"/>
                  <a:gd name="connsiteY0" fmla="*/ 634643 h 2385903"/>
                  <a:gd name="connsiteX1" fmla="*/ 340700 w 1961477"/>
                  <a:gd name="connsiteY1" fmla="*/ 2199484 h 2385903"/>
                  <a:gd name="connsiteX2" fmla="*/ 1637773 w 1961477"/>
                  <a:gd name="connsiteY2" fmla="*/ 2152839 h 2385903"/>
                  <a:gd name="connsiteX3" fmla="*/ 1961477 w 1961477"/>
                  <a:gd name="connsiteY3" fmla="*/ 625372 h 2385903"/>
                  <a:gd name="connsiteX4" fmla="*/ 0 w 1961477"/>
                  <a:gd name="connsiteY4" fmla="*/ 634643 h 2385903"/>
                  <a:gd name="connsiteX0" fmla="*/ 0 w 2007977"/>
                  <a:gd name="connsiteY0" fmla="*/ 634643 h 2385901"/>
                  <a:gd name="connsiteX1" fmla="*/ 387200 w 2007977"/>
                  <a:gd name="connsiteY1" fmla="*/ 2199484 h 2385901"/>
                  <a:gd name="connsiteX2" fmla="*/ 1684273 w 2007977"/>
                  <a:gd name="connsiteY2" fmla="*/ 2152839 h 2385901"/>
                  <a:gd name="connsiteX3" fmla="*/ 2007977 w 2007977"/>
                  <a:gd name="connsiteY3" fmla="*/ 625372 h 2385901"/>
                  <a:gd name="connsiteX4" fmla="*/ 0 w 2007977"/>
                  <a:gd name="connsiteY4" fmla="*/ 634643 h 2385901"/>
                  <a:gd name="connsiteX0" fmla="*/ 0 w 2007977"/>
                  <a:gd name="connsiteY0" fmla="*/ 634643 h 2385903"/>
                  <a:gd name="connsiteX1" fmla="*/ 387200 w 2007977"/>
                  <a:gd name="connsiteY1" fmla="*/ 2199484 h 2385903"/>
                  <a:gd name="connsiteX2" fmla="*/ 1684273 w 2007977"/>
                  <a:gd name="connsiteY2" fmla="*/ 2152839 h 2385903"/>
                  <a:gd name="connsiteX3" fmla="*/ 2007977 w 2007977"/>
                  <a:gd name="connsiteY3" fmla="*/ 625372 h 2385903"/>
                  <a:gd name="connsiteX4" fmla="*/ 0 w 2007977"/>
                  <a:gd name="connsiteY4" fmla="*/ 634643 h 2385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7977" h="2385903">
                    <a:moveTo>
                      <a:pt x="0" y="634643"/>
                    </a:moveTo>
                    <a:cubicBezTo>
                      <a:pt x="48570" y="1945947"/>
                      <a:pt x="279370" y="2067342"/>
                      <a:pt x="387200" y="2199484"/>
                    </a:cubicBezTo>
                    <a:cubicBezTo>
                      <a:pt x="817736" y="2542289"/>
                      <a:pt x="1536362" y="2342869"/>
                      <a:pt x="1684273" y="2152839"/>
                    </a:cubicBezTo>
                    <a:cubicBezTo>
                      <a:pt x="1848637" y="1934649"/>
                      <a:pt x="1948845" y="1619970"/>
                      <a:pt x="2007977" y="625372"/>
                    </a:cubicBezTo>
                    <a:cubicBezTo>
                      <a:pt x="1981124" y="-182359"/>
                      <a:pt x="25275" y="-237337"/>
                      <a:pt x="0" y="634643"/>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00" name="Rounded Rectangle 1002">
                <a:extLst>
                  <a:ext uri="{FF2B5EF4-FFF2-40B4-BE49-F238E27FC236}">
                    <a16:creationId xmlns:a16="http://schemas.microsoft.com/office/drawing/2014/main" id="{67F6859E-A31D-40E7-8BFA-FF36BBDB417E}"/>
                  </a:ext>
                </a:extLst>
              </p:cNvPr>
              <p:cNvSpPr/>
              <p:nvPr/>
            </p:nvSpPr>
            <p:spPr bwMode="auto">
              <a:xfrm>
                <a:off x="12900756" y="5044180"/>
                <a:ext cx="2556284" cy="795192"/>
              </a:xfrm>
              <a:custGeom>
                <a:avLst/>
                <a:gdLst>
                  <a:gd name="connsiteX0" fmla="*/ 0 w 810308"/>
                  <a:gd name="connsiteY0" fmla="*/ 40027 h 240159"/>
                  <a:gd name="connsiteX1" fmla="*/ 40027 w 810308"/>
                  <a:gd name="connsiteY1" fmla="*/ 0 h 240159"/>
                  <a:gd name="connsiteX2" fmla="*/ 770281 w 810308"/>
                  <a:gd name="connsiteY2" fmla="*/ 0 h 240159"/>
                  <a:gd name="connsiteX3" fmla="*/ 810308 w 810308"/>
                  <a:gd name="connsiteY3" fmla="*/ 40027 h 240159"/>
                  <a:gd name="connsiteX4" fmla="*/ 810308 w 810308"/>
                  <a:gd name="connsiteY4" fmla="*/ 200132 h 240159"/>
                  <a:gd name="connsiteX5" fmla="*/ 770281 w 810308"/>
                  <a:gd name="connsiteY5" fmla="*/ 240159 h 240159"/>
                  <a:gd name="connsiteX6" fmla="*/ 40027 w 810308"/>
                  <a:gd name="connsiteY6" fmla="*/ 240159 h 240159"/>
                  <a:gd name="connsiteX7" fmla="*/ 0 w 810308"/>
                  <a:gd name="connsiteY7" fmla="*/ 200132 h 240159"/>
                  <a:gd name="connsiteX8" fmla="*/ 0 w 810308"/>
                  <a:gd name="connsiteY8" fmla="*/ 40027 h 240159"/>
                  <a:gd name="connsiteX0" fmla="*/ 0 w 810308"/>
                  <a:gd name="connsiteY0" fmla="*/ 42408 h 242540"/>
                  <a:gd name="connsiteX1" fmla="*/ 40027 w 810308"/>
                  <a:gd name="connsiteY1" fmla="*/ 2381 h 242540"/>
                  <a:gd name="connsiteX2" fmla="*/ 748850 w 810308"/>
                  <a:gd name="connsiteY2" fmla="*/ 0 h 242540"/>
                  <a:gd name="connsiteX3" fmla="*/ 810308 w 810308"/>
                  <a:gd name="connsiteY3" fmla="*/ 42408 h 242540"/>
                  <a:gd name="connsiteX4" fmla="*/ 810308 w 810308"/>
                  <a:gd name="connsiteY4" fmla="*/ 202513 h 242540"/>
                  <a:gd name="connsiteX5" fmla="*/ 770281 w 810308"/>
                  <a:gd name="connsiteY5" fmla="*/ 242540 h 242540"/>
                  <a:gd name="connsiteX6" fmla="*/ 40027 w 810308"/>
                  <a:gd name="connsiteY6" fmla="*/ 242540 h 242540"/>
                  <a:gd name="connsiteX7" fmla="*/ 0 w 810308"/>
                  <a:gd name="connsiteY7" fmla="*/ 202513 h 242540"/>
                  <a:gd name="connsiteX8" fmla="*/ 0 w 810308"/>
                  <a:gd name="connsiteY8" fmla="*/ 42408 h 242540"/>
                  <a:gd name="connsiteX0" fmla="*/ 0 w 810308"/>
                  <a:gd name="connsiteY0" fmla="*/ 42408 h 242540"/>
                  <a:gd name="connsiteX1" fmla="*/ 40027 w 810308"/>
                  <a:gd name="connsiteY1" fmla="*/ 2381 h 242540"/>
                  <a:gd name="connsiteX2" fmla="*/ 748850 w 810308"/>
                  <a:gd name="connsiteY2" fmla="*/ 0 h 242540"/>
                  <a:gd name="connsiteX3" fmla="*/ 788877 w 810308"/>
                  <a:gd name="connsiteY3" fmla="*/ 44789 h 242540"/>
                  <a:gd name="connsiteX4" fmla="*/ 810308 w 810308"/>
                  <a:gd name="connsiteY4" fmla="*/ 202513 h 242540"/>
                  <a:gd name="connsiteX5" fmla="*/ 770281 w 810308"/>
                  <a:gd name="connsiteY5" fmla="*/ 242540 h 242540"/>
                  <a:gd name="connsiteX6" fmla="*/ 40027 w 810308"/>
                  <a:gd name="connsiteY6" fmla="*/ 242540 h 242540"/>
                  <a:gd name="connsiteX7" fmla="*/ 0 w 810308"/>
                  <a:gd name="connsiteY7" fmla="*/ 202513 h 242540"/>
                  <a:gd name="connsiteX8" fmla="*/ 0 w 810308"/>
                  <a:gd name="connsiteY8" fmla="*/ 42408 h 242540"/>
                  <a:gd name="connsiteX0" fmla="*/ 0 w 810308"/>
                  <a:gd name="connsiteY0" fmla="*/ 42408 h 242540"/>
                  <a:gd name="connsiteX1" fmla="*/ 180520 w 810308"/>
                  <a:gd name="connsiteY1" fmla="*/ 0 h 242540"/>
                  <a:gd name="connsiteX2" fmla="*/ 748850 w 810308"/>
                  <a:gd name="connsiteY2" fmla="*/ 0 h 242540"/>
                  <a:gd name="connsiteX3" fmla="*/ 788877 w 810308"/>
                  <a:gd name="connsiteY3" fmla="*/ 44789 h 242540"/>
                  <a:gd name="connsiteX4" fmla="*/ 810308 w 810308"/>
                  <a:gd name="connsiteY4" fmla="*/ 202513 h 242540"/>
                  <a:gd name="connsiteX5" fmla="*/ 770281 w 810308"/>
                  <a:gd name="connsiteY5" fmla="*/ 242540 h 242540"/>
                  <a:gd name="connsiteX6" fmla="*/ 40027 w 810308"/>
                  <a:gd name="connsiteY6" fmla="*/ 242540 h 242540"/>
                  <a:gd name="connsiteX7" fmla="*/ 0 w 810308"/>
                  <a:gd name="connsiteY7" fmla="*/ 202513 h 242540"/>
                  <a:gd name="connsiteX8" fmla="*/ 0 w 810308"/>
                  <a:gd name="connsiteY8" fmla="*/ 42408 h 242540"/>
                  <a:gd name="connsiteX0" fmla="*/ 61913 w 810308"/>
                  <a:gd name="connsiteY0" fmla="*/ 49552 h 242540"/>
                  <a:gd name="connsiteX1" fmla="*/ 180520 w 810308"/>
                  <a:gd name="connsiteY1" fmla="*/ 0 h 242540"/>
                  <a:gd name="connsiteX2" fmla="*/ 748850 w 810308"/>
                  <a:gd name="connsiteY2" fmla="*/ 0 h 242540"/>
                  <a:gd name="connsiteX3" fmla="*/ 788877 w 810308"/>
                  <a:gd name="connsiteY3" fmla="*/ 44789 h 242540"/>
                  <a:gd name="connsiteX4" fmla="*/ 810308 w 810308"/>
                  <a:gd name="connsiteY4" fmla="*/ 202513 h 242540"/>
                  <a:gd name="connsiteX5" fmla="*/ 770281 w 810308"/>
                  <a:gd name="connsiteY5" fmla="*/ 242540 h 242540"/>
                  <a:gd name="connsiteX6" fmla="*/ 40027 w 810308"/>
                  <a:gd name="connsiteY6" fmla="*/ 242540 h 242540"/>
                  <a:gd name="connsiteX7" fmla="*/ 0 w 810308"/>
                  <a:gd name="connsiteY7" fmla="*/ 202513 h 242540"/>
                  <a:gd name="connsiteX8" fmla="*/ 61913 w 810308"/>
                  <a:gd name="connsiteY8" fmla="*/ 49552 h 242540"/>
                  <a:gd name="connsiteX0" fmla="*/ 61913 w 810308"/>
                  <a:gd name="connsiteY0" fmla="*/ 59077 h 252065"/>
                  <a:gd name="connsiteX1" fmla="*/ 180520 w 810308"/>
                  <a:gd name="connsiteY1" fmla="*/ 9525 h 252065"/>
                  <a:gd name="connsiteX2" fmla="*/ 627406 w 810308"/>
                  <a:gd name="connsiteY2" fmla="*/ 0 h 252065"/>
                  <a:gd name="connsiteX3" fmla="*/ 788877 w 810308"/>
                  <a:gd name="connsiteY3" fmla="*/ 54314 h 252065"/>
                  <a:gd name="connsiteX4" fmla="*/ 810308 w 810308"/>
                  <a:gd name="connsiteY4" fmla="*/ 212038 h 252065"/>
                  <a:gd name="connsiteX5" fmla="*/ 770281 w 810308"/>
                  <a:gd name="connsiteY5" fmla="*/ 252065 h 252065"/>
                  <a:gd name="connsiteX6" fmla="*/ 40027 w 810308"/>
                  <a:gd name="connsiteY6" fmla="*/ 252065 h 252065"/>
                  <a:gd name="connsiteX7" fmla="*/ 0 w 810308"/>
                  <a:gd name="connsiteY7" fmla="*/ 212038 h 252065"/>
                  <a:gd name="connsiteX8" fmla="*/ 61913 w 810308"/>
                  <a:gd name="connsiteY8" fmla="*/ 59077 h 252065"/>
                  <a:gd name="connsiteX0" fmla="*/ 61913 w 810308"/>
                  <a:gd name="connsiteY0" fmla="*/ 59077 h 252065"/>
                  <a:gd name="connsiteX1" fmla="*/ 180520 w 810308"/>
                  <a:gd name="connsiteY1" fmla="*/ 9525 h 252065"/>
                  <a:gd name="connsiteX2" fmla="*/ 627406 w 810308"/>
                  <a:gd name="connsiteY2" fmla="*/ 0 h 252065"/>
                  <a:gd name="connsiteX3" fmla="*/ 738870 w 810308"/>
                  <a:gd name="connsiteY3" fmla="*/ 75745 h 252065"/>
                  <a:gd name="connsiteX4" fmla="*/ 810308 w 810308"/>
                  <a:gd name="connsiteY4" fmla="*/ 212038 h 252065"/>
                  <a:gd name="connsiteX5" fmla="*/ 770281 w 810308"/>
                  <a:gd name="connsiteY5" fmla="*/ 252065 h 252065"/>
                  <a:gd name="connsiteX6" fmla="*/ 40027 w 810308"/>
                  <a:gd name="connsiteY6" fmla="*/ 252065 h 252065"/>
                  <a:gd name="connsiteX7" fmla="*/ 0 w 810308"/>
                  <a:gd name="connsiteY7" fmla="*/ 212038 h 252065"/>
                  <a:gd name="connsiteX8" fmla="*/ 61913 w 810308"/>
                  <a:gd name="connsiteY8" fmla="*/ 59077 h 252065"/>
                  <a:gd name="connsiteX0" fmla="*/ 61913 w 810308"/>
                  <a:gd name="connsiteY0" fmla="*/ 75746 h 252065"/>
                  <a:gd name="connsiteX1" fmla="*/ 180520 w 810308"/>
                  <a:gd name="connsiteY1" fmla="*/ 9525 h 252065"/>
                  <a:gd name="connsiteX2" fmla="*/ 627406 w 810308"/>
                  <a:gd name="connsiteY2" fmla="*/ 0 h 252065"/>
                  <a:gd name="connsiteX3" fmla="*/ 738870 w 810308"/>
                  <a:gd name="connsiteY3" fmla="*/ 75745 h 252065"/>
                  <a:gd name="connsiteX4" fmla="*/ 810308 w 810308"/>
                  <a:gd name="connsiteY4" fmla="*/ 212038 h 252065"/>
                  <a:gd name="connsiteX5" fmla="*/ 770281 w 810308"/>
                  <a:gd name="connsiteY5" fmla="*/ 252065 h 252065"/>
                  <a:gd name="connsiteX6" fmla="*/ 40027 w 810308"/>
                  <a:gd name="connsiteY6" fmla="*/ 252065 h 252065"/>
                  <a:gd name="connsiteX7" fmla="*/ 0 w 810308"/>
                  <a:gd name="connsiteY7" fmla="*/ 212038 h 252065"/>
                  <a:gd name="connsiteX8" fmla="*/ 61913 w 810308"/>
                  <a:gd name="connsiteY8" fmla="*/ 75746 h 252065"/>
                  <a:gd name="connsiteX0" fmla="*/ 61913 w 810308"/>
                  <a:gd name="connsiteY0" fmla="*/ 75746 h 252065"/>
                  <a:gd name="connsiteX1" fmla="*/ 180520 w 810308"/>
                  <a:gd name="connsiteY1" fmla="*/ 9525 h 252065"/>
                  <a:gd name="connsiteX2" fmla="*/ 627406 w 810308"/>
                  <a:gd name="connsiteY2" fmla="*/ 0 h 252065"/>
                  <a:gd name="connsiteX3" fmla="*/ 738870 w 810308"/>
                  <a:gd name="connsiteY3" fmla="*/ 75745 h 252065"/>
                  <a:gd name="connsiteX4" fmla="*/ 810308 w 810308"/>
                  <a:gd name="connsiteY4" fmla="*/ 212038 h 252065"/>
                  <a:gd name="connsiteX5" fmla="*/ 770281 w 810308"/>
                  <a:gd name="connsiteY5" fmla="*/ 252065 h 252065"/>
                  <a:gd name="connsiteX6" fmla="*/ 40027 w 810308"/>
                  <a:gd name="connsiteY6" fmla="*/ 252065 h 252065"/>
                  <a:gd name="connsiteX7" fmla="*/ 0 w 810308"/>
                  <a:gd name="connsiteY7" fmla="*/ 212038 h 252065"/>
                  <a:gd name="connsiteX8" fmla="*/ 61913 w 810308"/>
                  <a:gd name="connsiteY8" fmla="*/ 75746 h 252065"/>
                  <a:gd name="connsiteX0" fmla="*/ 61913 w 810308"/>
                  <a:gd name="connsiteY0" fmla="*/ 75746 h 252065"/>
                  <a:gd name="connsiteX1" fmla="*/ 180520 w 810308"/>
                  <a:gd name="connsiteY1" fmla="*/ 9525 h 252065"/>
                  <a:gd name="connsiteX2" fmla="*/ 627406 w 810308"/>
                  <a:gd name="connsiteY2" fmla="*/ 0 h 252065"/>
                  <a:gd name="connsiteX3" fmla="*/ 810308 w 810308"/>
                  <a:gd name="connsiteY3" fmla="*/ 212038 h 252065"/>
                  <a:gd name="connsiteX4" fmla="*/ 770281 w 810308"/>
                  <a:gd name="connsiteY4" fmla="*/ 252065 h 252065"/>
                  <a:gd name="connsiteX5" fmla="*/ 40027 w 810308"/>
                  <a:gd name="connsiteY5" fmla="*/ 252065 h 252065"/>
                  <a:gd name="connsiteX6" fmla="*/ 0 w 810308"/>
                  <a:gd name="connsiteY6" fmla="*/ 212038 h 252065"/>
                  <a:gd name="connsiteX7" fmla="*/ 61913 w 810308"/>
                  <a:gd name="connsiteY7" fmla="*/ 75746 h 252065"/>
                  <a:gd name="connsiteX0" fmla="*/ 0 w 810308"/>
                  <a:gd name="connsiteY0" fmla="*/ 212038 h 252065"/>
                  <a:gd name="connsiteX1" fmla="*/ 180520 w 810308"/>
                  <a:gd name="connsiteY1" fmla="*/ 9525 h 252065"/>
                  <a:gd name="connsiteX2" fmla="*/ 627406 w 810308"/>
                  <a:gd name="connsiteY2" fmla="*/ 0 h 252065"/>
                  <a:gd name="connsiteX3" fmla="*/ 810308 w 810308"/>
                  <a:gd name="connsiteY3" fmla="*/ 212038 h 252065"/>
                  <a:gd name="connsiteX4" fmla="*/ 770281 w 810308"/>
                  <a:gd name="connsiteY4" fmla="*/ 252065 h 252065"/>
                  <a:gd name="connsiteX5" fmla="*/ 40027 w 810308"/>
                  <a:gd name="connsiteY5" fmla="*/ 252065 h 252065"/>
                  <a:gd name="connsiteX6" fmla="*/ 0 w 810308"/>
                  <a:gd name="connsiteY6" fmla="*/ 212038 h 252065"/>
                  <a:gd name="connsiteX0" fmla="*/ 29 w 810337"/>
                  <a:gd name="connsiteY0" fmla="*/ 212038 h 252065"/>
                  <a:gd name="connsiteX1" fmla="*/ 180549 w 810337"/>
                  <a:gd name="connsiteY1" fmla="*/ 9525 h 252065"/>
                  <a:gd name="connsiteX2" fmla="*/ 627435 w 810337"/>
                  <a:gd name="connsiteY2" fmla="*/ 0 h 252065"/>
                  <a:gd name="connsiteX3" fmla="*/ 810337 w 810337"/>
                  <a:gd name="connsiteY3" fmla="*/ 212038 h 252065"/>
                  <a:gd name="connsiteX4" fmla="*/ 770310 w 810337"/>
                  <a:gd name="connsiteY4" fmla="*/ 252065 h 252065"/>
                  <a:gd name="connsiteX5" fmla="*/ 40056 w 810337"/>
                  <a:gd name="connsiteY5" fmla="*/ 252065 h 252065"/>
                  <a:gd name="connsiteX6" fmla="*/ 29 w 810337"/>
                  <a:gd name="connsiteY6" fmla="*/ 212038 h 252065"/>
                  <a:gd name="connsiteX0" fmla="*/ 27 w 810335"/>
                  <a:gd name="connsiteY0" fmla="*/ 212038 h 252065"/>
                  <a:gd name="connsiteX1" fmla="*/ 180547 w 810335"/>
                  <a:gd name="connsiteY1" fmla="*/ 9525 h 252065"/>
                  <a:gd name="connsiteX2" fmla="*/ 627433 w 810335"/>
                  <a:gd name="connsiteY2" fmla="*/ 0 h 252065"/>
                  <a:gd name="connsiteX3" fmla="*/ 810335 w 810335"/>
                  <a:gd name="connsiteY3" fmla="*/ 212038 h 252065"/>
                  <a:gd name="connsiteX4" fmla="*/ 770308 w 810335"/>
                  <a:gd name="connsiteY4" fmla="*/ 252065 h 252065"/>
                  <a:gd name="connsiteX5" fmla="*/ 40054 w 810335"/>
                  <a:gd name="connsiteY5" fmla="*/ 252065 h 252065"/>
                  <a:gd name="connsiteX6" fmla="*/ 27 w 810335"/>
                  <a:gd name="connsiteY6" fmla="*/ 212038 h 252065"/>
                  <a:gd name="connsiteX0" fmla="*/ 0 w 810308"/>
                  <a:gd name="connsiteY0" fmla="*/ 212038 h 252065"/>
                  <a:gd name="connsiteX1" fmla="*/ 180520 w 810308"/>
                  <a:gd name="connsiteY1" fmla="*/ 9525 h 252065"/>
                  <a:gd name="connsiteX2" fmla="*/ 627406 w 810308"/>
                  <a:gd name="connsiteY2" fmla="*/ 0 h 252065"/>
                  <a:gd name="connsiteX3" fmla="*/ 810308 w 810308"/>
                  <a:gd name="connsiteY3" fmla="*/ 212038 h 252065"/>
                  <a:gd name="connsiteX4" fmla="*/ 770281 w 810308"/>
                  <a:gd name="connsiteY4" fmla="*/ 252065 h 252065"/>
                  <a:gd name="connsiteX5" fmla="*/ 40027 w 810308"/>
                  <a:gd name="connsiteY5" fmla="*/ 252065 h 252065"/>
                  <a:gd name="connsiteX6" fmla="*/ 0 w 810308"/>
                  <a:gd name="connsiteY6" fmla="*/ 212038 h 25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0308" h="252065">
                    <a:moveTo>
                      <a:pt x="0" y="212038"/>
                    </a:moveTo>
                    <a:cubicBezTo>
                      <a:pt x="40044" y="84148"/>
                      <a:pt x="134437" y="20669"/>
                      <a:pt x="180520" y="9525"/>
                    </a:cubicBezTo>
                    <a:lnTo>
                      <a:pt x="627406" y="0"/>
                    </a:lnTo>
                    <a:cubicBezTo>
                      <a:pt x="732371" y="33752"/>
                      <a:pt x="786495" y="170027"/>
                      <a:pt x="810308" y="212038"/>
                    </a:cubicBezTo>
                    <a:cubicBezTo>
                      <a:pt x="810308" y="234144"/>
                      <a:pt x="792387" y="252065"/>
                      <a:pt x="770281" y="252065"/>
                    </a:cubicBezTo>
                    <a:lnTo>
                      <a:pt x="40027" y="252065"/>
                    </a:lnTo>
                    <a:cubicBezTo>
                      <a:pt x="17921" y="252065"/>
                      <a:pt x="0" y="234144"/>
                      <a:pt x="0" y="212038"/>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01" name="Freeform 994">
                <a:extLst>
                  <a:ext uri="{FF2B5EF4-FFF2-40B4-BE49-F238E27FC236}">
                    <a16:creationId xmlns:a16="http://schemas.microsoft.com/office/drawing/2014/main" id="{FF100DC4-317F-4B70-9841-B65B69075ED4}"/>
                  </a:ext>
                </a:extLst>
              </p:cNvPr>
              <p:cNvSpPr>
                <a:spLocks/>
              </p:cNvSpPr>
              <p:nvPr/>
            </p:nvSpPr>
            <p:spPr bwMode="auto">
              <a:xfrm>
                <a:off x="13184654" y="4851562"/>
                <a:ext cx="2078974" cy="2008534"/>
              </a:xfrm>
              <a:custGeom>
                <a:avLst/>
                <a:gdLst>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29379 w 553405"/>
                  <a:gd name="connsiteY52" fmla="*/ 17047 h 551547"/>
                  <a:gd name="connsiteX53" fmla="*/ 142943 w 553405"/>
                  <a:gd name="connsiteY53" fmla="*/ 13520 h 551547"/>
                  <a:gd name="connsiteX54" fmla="*/ 157028 w 553405"/>
                  <a:gd name="connsiteY54" fmla="*/ 10581 h 551547"/>
                  <a:gd name="connsiteX55" fmla="*/ 171114 w 553405"/>
                  <a:gd name="connsiteY55" fmla="*/ 8230 h 551547"/>
                  <a:gd name="connsiteX56" fmla="*/ 189894 w 553405"/>
                  <a:gd name="connsiteY56" fmla="*/ 5291 h 551547"/>
                  <a:gd name="connsiteX57" fmla="*/ 209197 w 553405"/>
                  <a:gd name="connsiteY57" fmla="*/ 3527 h 551547"/>
                  <a:gd name="connsiteX58" fmla="*/ 227977 w 553405"/>
                  <a:gd name="connsiteY58" fmla="*/ 1764 h 551547"/>
                  <a:gd name="connsiteX59" fmla="*/ 246758 w 553405"/>
                  <a:gd name="connsiteY59" fmla="*/ 588 h 551547"/>
                  <a:gd name="connsiteX0" fmla="*/ 265539 w 553405"/>
                  <a:gd name="connsiteY0" fmla="*/ 36705 h 588252"/>
                  <a:gd name="connsiteX1" fmla="*/ 284841 w 553405"/>
                  <a:gd name="connsiteY1" fmla="*/ 36705 h 588252"/>
                  <a:gd name="connsiteX2" fmla="*/ 303622 w 553405"/>
                  <a:gd name="connsiteY2" fmla="*/ 37293 h 588252"/>
                  <a:gd name="connsiteX3" fmla="*/ 322925 w 553405"/>
                  <a:gd name="connsiteY3" fmla="*/ 38469 h 588252"/>
                  <a:gd name="connsiteX4" fmla="*/ 344835 w 553405"/>
                  <a:gd name="connsiteY4" fmla="*/ 40232 h 588252"/>
                  <a:gd name="connsiteX5" fmla="*/ 366746 w 553405"/>
                  <a:gd name="connsiteY5" fmla="*/ 42583 h 588252"/>
                  <a:gd name="connsiteX6" fmla="*/ 388657 w 553405"/>
                  <a:gd name="connsiteY6" fmla="*/ 45523 h 588252"/>
                  <a:gd name="connsiteX7" fmla="*/ 411090 w 553405"/>
                  <a:gd name="connsiteY7" fmla="*/ 50225 h 588252"/>
                  <a:gd name="connsiteX8" fmla="*/ 432479 w 553405"/>
                  <a:gd name="connsiteY8" fmla="*/ 55516 h 588252"/>
                  <a:gd name="connsiteX9" fmla="*/ 453868 w 553405"/>
                  <a:gd name="connsiteY9" fmla="*/ 61394 h 588252"/>
                  <a:gd name="connsiteX10" fmla="*/ 474735 w 553405"/>
                  <a:gd name="connsiteY10" fmla="*/ 69036 h 588252"/>
                  <a:gd name="connsiteX11" fmla="*/ 495603 w 553405"/>
                  <a:gd name="connsiteY11" fmla="*/ 77853 h 588252"/>
                  <a:gd name="connsiteX12" fmla="*/ 499776 w 553405"/>
                  <a:gd name="connsiteY12" fmla="*/ 80205 h 588252"/>
                  <a:gd name="connsiteX13" fmla="*/ 502907 w 553405"/>
                  <a:gd name="connsiteY13" fmla="*/ 83144 h 588252"/>
                  <a:gd name="connsiteX14" fmla="*/ 503950 w 553405"/>
                  <a:gd name="connsiteY14" fmla="*/ 84907 h 588252"/>
                  <a:gd name="connsiteX15" fmla="*/ 504993 w 553405"/>
                  <a:gd name="connsiteY15" fmla="*/ 86671 h 588252"/>
                  <a:gd name="connsiteX16" fmla="*/ 505515 w 553405"/>
                  <a:gd name="connsiteY16" fmla="*/ 89022 h 588252"/>
                  <a:gd name="connsiteX17" fmla="*/ 506037 w 553405"/>
                  <a:gd name="connsiteY17" fmla="*/ 92549 h 588252"/>
                  <a:gd name="connsiteX18" fmla="*/ 520122 w 553405"/>
                  <a:gd name="connsiteY18" fmla="*/ 207764 h 588252"/>
                  <a:gd name="connsiteX19" fmla="*/ 526904 w 553405"/>
                  <a:gd name="connsiteY19" fmla="*/ 265372 h 588252"/>
                  <a:gd name="connsiteX20" fmla="*/ 534208 w 553405"/>
                  <a:gd name="connsiteY20" fmla="*/ 323567 h 588252"/>
                  <a:gd name="connsiteX21" fmla="*/ 540990 w 553405"/>
                  <a:gd name="connsiteY21" fmla="*/ 389992 h 588252"/>
                  <a:gd name="connsiteX22" fmla="*/ 544120 w 553405"/>
                  <a:gd name="connsiteY22" fmla="*/ 424086 h 588252"/>
                  <a:gd name="connsiteX23" fmla="*/ 546728 w 553405"/>
                  <a:gd name="connsiteY23" fmla="*/ 457005 h 588252"/>
                  <a:gd name="connsiteX24" fmla="*/ 548815 w 553405"/>
                  <a:gd name="connsiteY24" fmla="*/ 491099 h 588252"/>
                  <a:gd name="connsiteX25" fmla="*/ 550902 w 553405"/>
                  <a:gd name="connsiteY25" fmla="*/ 524018 h 588252"/>
                  <a:gd name="connsiteX26" fmla="*/ 552467 w 553405"/>
                  <a:gd name="connsiteY26" fmla="*/ 558112 h 588252"/>
                  <a:gd name="connsiteX27" fmla="*/ 553405 w 553405"/>
                  <a:gd name="connsiteY27" fmla="*/ 588252 h 588252"/>
                  <a:gd name="connsiteX28" fmla="*/ 0 w 553405"/>
                  <a:gd name="connsiteY28" fmla="*/ 588252 h 588252"/>
                  <a:gd name="connsiteX29" fmla="*/ 0 w 553405"/>
                  <a:gd name="connsiteY29" fmla="*/ 573983 h 588252"/>
                  <a:gd name="connsiteX30" fmla="*/ 1044 w 553405"/>
                  <a:gd name="connsiteY30" fmla="*/ 549882 h 588252"/>
                  <a:gd name="connsiteX31" fmla="*/ 2609 w 553405"/>
                  <a:gd name="connsiteY31" fmla="*/ 516376 h 588252"/>
                  <a:gd name="connsiteX32" fmla="*/ 5217 w 553405"/>
                  <a:gd name="connsiteY32" fmla="*/ 482281 h 588252"/>
                  <a:gd name="connsiteX33" fmla="*/ 10434 w 553405"/>
                  <a:gd name="connsiteY33" fmla="*/ 415269 h 588252"/>
                  <a:gd name="connsiteX34" fmla="*/ 17216 w 553405"/>
                  <a:gd name="connsiteY34" fmla="*/ 342965 h 588252"/>
                  <a:gd name="connsiteX35" fmla="*/ 25041 w 553405"/>
                  <a:gd name="connsiteY35" fmla="*/ 270662 h 588252"/>
                  <a:gd name="connsiteX36" fmla="*/ 34432 w 553405"/>
                  <a:gd name="connsiteY36" fmla="*/ 192481 h 588252"/>
                  <a:gd name="connsiteX37" fmla="*/ 44344 w 553405"/>
                  <a:gd name="connsiteY37" fmla="*/ 113123 h 588252"/>
                  <a:gd name="connsiteX38" fmla="*/ 45909 w 553405"/>
                  <a:gd name="connsiteY38" fmla="*/ 104894 h 588252"/>
                  <a:gd name="connsiteX39" fmla="*/ 46430 w 553405"/>
                  <a:gd name="connsiteY39" fmla="*/ 101367 h 588252"/>
                  <a:gd name="connsiteX40" fmla="*/ 46430 w 553405"/>
                  <a:gd name="connsiteY40" fmla="*/ 97252 h 588252"/>
                  <a:gd name="connsiteX41" fmla="*/ 46952 w 553405"/>
                  <a:gd name="connsiteY41" fmla="*/ 91961 h 588252"/>
                  <a:gd name="connsiteX42" fmla="*/ 47995 w 553405"/>
                  <a:gd name="connsiteY42" fmla="*/ 88434 h 588252"/>
                  <a:gd name="connsiteX43" fmla="*/ 49561 w 553405"/>
                  <a:gd name="connsiteY43" fmla="*/ 85495 h 588252"/>
                  <a:gd name="connsiteX44" fmla="*/ 51126 w 553405"/>
                  <a:gd name="connsiteY44" fmla="*/ 83144 h 588252"/>
                  <a:gd name="connsiteX45" fmla="*/ 53212 w 553405"/>
                  <a:gd name="connsiteY45" fmla="*/ 80792 h 588252"/>
                  <a:gd name="connsiteX46" fmla="*/ 55299 w 553405"/>
                  <a:gd name="connsiteY46" fmla="*/ 79029 h 588252"/>
                  <a:gd name="connsiteX47" fmla="*/ 61038 w 553405"/>
                  <a:gd name="connsiteY47" fmla="*/ 76090 h 588252"/>
                  <a:gd name="connsiteX48" fmla="*/ 74601 w 553405"/>
                  <a:gd name="connsiteY48" fmla="*/ 70212 h 588252"/>
                  <a:gd name="connsiteX49" fmla="*/ 88165 w 553405"/>
                  <a:gd name="connsiteY49" fmla="*/ 65509 h 588252"/>
                  <a:gd name="connsiteX50" fmla="*/ 101208 w 553405"/>
                  <a:gd name="connsiteY50" fmla="*/ 60806 h 588252"/>
                  <a:gd name="connsiteX51" fmla="*/ 115293 w 553405"/>
                  <a:gd name="connsiteY51" fmla="*/ 57279 h 588252"/>
                  <a:gd name="connsiteX52" fmla="*/ 129379 w 553405"/>
                  <a:gd name="connsiteY52" fmla="*/ 53752 h 588252"/>
                  <a:gd name="connsiteX53" fmla="*/ 142943 w 553405"/>
                  <a:gd name="connsiteY53" fmla="*/ 50225 h 588252"/>
                  <a:gd name="connsiteX54" fmla="*/ 157028 w 553405"/>
                  <a:gd name="connsiteY54" fmla="*/ 47286 h 588252"/>
                  <a:gd name="connsiteX55" fmla="*/ 171114 w 553405"/>
                  <a:gd name="connsiteY55" fmla="*/ 44935 h 588252"/>
                  <a:gd name="connsiteX56" fmla="*/ 158201 w 553405"/>
                  <a:gd name="connsiteY56" fmla="*/ 0 h 588252"/>
                  <a:gd name="connsiteX57" fmla="*/ 209197 w 553405"/>
                  <a:gd name="connsiteY57" fmla="*/ 40232 h 588252"/>
                  <a:gd name="connsiteX58" fmla="*/ 227977 w 553405"/>
                  <a:gd name="connsiteY58" fmla="*/ 38469 h 588252"/>
                  <a:gd name="connsiteX59" fmla="*/ 246758 w 553405"/>
                  <a:gd name="connsiteY59" fmla="*/ 37293 h 588252"/>
                  <a:gd name="connsiteX60" fmla="*/ 265539 w 553405"/>
                  <a:gd name="connsiteY60" fmla="*/ 36705 h 588252"/>
                  <a:gd name="connsiteX0" fmla="*/ 265539 w 553405"/>
                  <a:gd name="connsiteY0" fmla="*/ 36705 h 588252"/>
                  <a:gd name="connsiteX1" fmla="*/ 284841 w 553405"/>
                  <a:gd name="connsiteY1" fmla="*/ 36705 h 588252"/>
                  <a:gd name="connsiteX2" fmla="*/ 303622 w 553405"/>
                  <a:gd name="connsiteY2" fmla="*/ 37293 h 588252"/>
                  <a:gd name="connsiteX3" fmla="*/ 322925 w 553405"/>
                  <a:gd name="connsiteY3" fmla="*/ 38469 h 588252"/>
                  <a:gd name="connsiteX4" fmla="*/ 344835 w 553405"/>
                  <a:gd name="connsiteY4" fmla="*/ 40232 h 588252"/>
                  <a:gd name="connsiteX5" fmla="*/ 366746 w 553405"/>
                  <a:gd name="connsiteY5" fmla="*/ 42583 h 588252"/>
                  <a:gd name="connsiteX6" fmla="*/ 388657 w 553405"/>
                  <a:gd name="connsiteY6" fmla="*/ 45523 h 588252"/>
                  <a:gd name="connsiteX7" fmla="*/ 411090 w 553405"/>
                  <a:gd name="connsiteY7" fmla="*/ 50225 h 588252"/>
                  <a:gd name="connsiteX8" fmla="*/ 432479 w 553405"/>
                  <a:gd name="connsiteY8" fmla="*/ 55516 h 588252"/>
                  <a:gd name="connsiteX9" fmla="*/ 453868 w 553405"/>
                  <a:gd name="connsiteY9" fmla="*/ 61394 h 588252"/>
                  <a:gd name="connsiteX10" fmla="*/ 474735 w 553405"/>
                  <a:gd name="connsiteY10" fmla="*/ 69036 h 588252"/>
                  <a:gd name="connsiteX11" fmla="*/ 495603 w 553405"/>
                  <a:gd name="connsiteY11" fmla="*/ 77853 h 588252"/>
                  <a:gd name="connsiteX12" fmla="*/ 499776 w 553405"/>
                  <a:gd name="connsiteY12" fmla="*/ 80205 h 588252"/>
                  <a:gd name="connsiteX13" fmla="*/ 502907 w 553405"/>
                  <a:gd name="connsiteY13" fmla="*/ 83144 h 588252"/>
                  <a:gd name="connsiteX14" fmla="*/ 503950 w 553405"/>
                  <a:gd name="connsiteY14" fmla="*/ 84907 h 588252"/>
                  <a:gd name="connsiteX15" fmla="*/ 504993 w 553405"/>
                  <a:gd name="connsiteY15" fmla="*/ 86671 h 588252"/>
                  <a:gd name="connsiteX16" fmla="*/ 505515 w 553405"/>
                  <a:gd name="connsiteY16" fmla="*/ 89022 h 588252"/>
                  <a:gd name="connsiteX17" fmla="*/ 506037 w 553405"/>
                  <a:gd name="connsiteY17" fmla="*/ 92549 h 588252"/>
                  <a:gd name="connsiteX18" fmla="*/ 520122 w 553405"/>
                  <a:gd name="connsiteY18" fmla="*/ 207764 h 588252"/>
                  <a:gd name="connsiteX19" fmla="*/ 526904 w 553405"/>
                  <a:gd name="connsiteY19" fmla="*/ 265372 h 588252"/>
                  <a:gd name="connsiteX20" fmla="*/ 534208 w 553405"/>
                  <a:gd name="connsiteY20" fmla="*/ 323567 h 588252"/>
                  <a:gd name="connsiteX21" fmla="*/ 540990 w 553405"/>
                  <a:gd name="connsiteY21" fmla="*/ 389992 h 588252"/>
                  <a:gd name="connsiteX22" fmla="*/ 544120 w 553405"/>
                  <a:gd name="connsiteY22" fmla="*/ 424086 h 588252"/>
                  <a:gd name="connsiteX23" fmla="*/ 546728 w 553405"/>
                  <a:gd name="connsiteY23" fmla="*/ 457005 h 588252"/>
                  <a:gd name="connsiteX24" fmla="*/ 548815 w 553405"/>
                  <a:gd name="connsiteY24" fmla="*/ 491099 h 588252"/>
                  <a:gd name="connsiteX25" fmla="*/ 550902 w 553405"/>
                  <a:gd name="connsiteY25" fmla="*/ 524018 h 588252"/>
                  <a:gd name="connsiteX26" fmla="*/ 552467 w 553405"/>
                  <a:gd name="connsiteY26" fmla="*/ 558112 h 588252"/>
                  <a:gd name="connsiteX27" fmla="*/ 553405 w 553405"/>
                  <a:gd name="connsiteY27" fmla="*/ 588252 h 588252"/>
                  <a:gd name="connsiteX28" fmla="*/ 0 w 553405"/>
                  <a:gd name="connsiteY28" fmla="*/ 588252 h 588252"/>
                  <a:gd name="connsiteX29" fmla="*/ 0 w 553405"/>
                  <a:gd name="connsiteY29" fmla="*/ 573983 h 588252"/>
                  <a:gd name="connsiteX30" fmla="*/ 1044 w 553405"/>
                  <a:gd name="connsiteY30" fmla="*/ 549882 h 588252"/>
                  <a:gd name="connsiteX31" fmla="*/ 2609 w 553405"/>
                  <a:gd name="connsiteY31" fmla="*/ 516376 h 588252"/>
                  <a:gd name="connsiteX32" fmla="*/ 5217 w 553405"/>
                  <a:gd name="connsiteY32" fmla="*/ 482281 h 588252"/>
                  <a:gd name="connsiteX33" fmla="*/ 10434 w 553405"/>
                  <a:gd name="connsiteY33" fmla="*/ 415269 h 588252"/>
                  <a:gd name="connsiteX34" fmla="*/ 17216 w 553405"/>
                  <a:gd name="connsiteY34" fmla="*/ 342965 h 588252"/>
                  <a:gd name="connsiteX35" fmla="*/ 25041 w 553405"/>
                  <a:gd name="connsiteY35" fmla="*/ 270662 h 588252"/>
                  <a:gd name="connsiteX36" fmla="*/ 34432 w 553405"/>
                  <a:gd name="connsiteY36" fmla="*/ 192481 h 588252"/>
                  <a:gd name="connsiteX37" fmla="*/ 44344 w 553405"/>
                  <a:gd name="connsiteY37" fmla="*/ 113123 h 588252"/>
                  <a:gd name="connsiteX38" fmla="*/ 45909 w 553405"/>
                  <a:gd name="connsiteY38" fmla="*/ 104894 h 588252"/>
                  <a:gd name="connsiteX39" fmla="*/ 46430 w 553405"/>
                  <a:gd name="connsiteY39" fmla="*/ 101367 h 588252"/>
                  <a:gd name="connsiteX40" fmla="*/ 46430 w 553405"/>
                  <a:gd name="connsiteY40" fmla="*/ 97252 h 588252"/>
                  <a:gd name="connsiteX41" fmla="*/ 46952 w 553405"/>
                  <a:gd name="connsiteY41" fmla="*/ 91961 h 588252"/>
                  <a:gd name="connsiteX42" fmla="*/ 47995 w 553405"/>
                  <a:gd name="connsiteY42" fmla="*/ 88434 h 588252"/>
                  <a:gd name="connsiteX43" fmla="*/ 49561 w 553405"/>
                  <a:gd name="connsiteY43" fmla="*/ 85495 h 588252"/>
                  <a:gd name="connsiteX44" fmla="*/ 51126 w 553405"/>
                  <a:gd name="connsiteY44" fmla="*/ 83144 h 588252"/>
                  <a:gd name="connsiteX45" fmla="*/ 53212 w 553405"/>
                  <a:gd name="connsiteY45" fmla="*/ 80792 h 588252"/>
                  <a:gd name="connsiteX46" fmla="*/ 55299 w 553405"/>
                  <a:gd name="connsiteY46" fmla="*/ 79029 h 588252"/>
                  <a:gd name="connsiteX47" fmla="*/ 61038 w 553405"/>
                  <a:gd name="connsiteY47" fmla="*/ 76090 h 588252"/>
                  <a:gd name="connsiteX48" fmla="*/ 74601 w 553405"/>
                  <a:gd name="connsiteY48" fmla="*/ 70212 h 588252"/>
                  <a:gd name="connsiteX49" fmla="*/ 88165 w 553405"/>
                  <a:gd name="connsiteY49" fmla="*/ 65509 h 588252"/>
                  <a:gd name="connsiteX50" fmla="*/ 101208 w 553405"/>
                  <a:gd name="connsiteY50" fmla="*/ 60806 h 588252"/>
                  <a:gd name="connsiteX51" fmla="*/ 115293 w 553405"/>
                  <a:gd name="connsiteY51" fmla="*/ 57279 h 588252"/>
                  <a:gd name="connsiteX52" fmla="*/ 129379 w 553405"/>
                  <a:gd name="connsiteY52" fmla="*/ 53752 h 588252"/>
                  <a:gd name="connsiteX53" fmla="*/ 142943 w 553405"/>
                  <a:gd name="connsiteY53" fmla="*/ 50225 h 588252"/>
                  <a:gd name="connsiteX54" fmla="*/ 157028 w 553405"/>
                  <a:gd name="connsiteY54" fmla="*/ 47286 h 588252"/>
                  <a:gd name="connsiteX55" fmla="*/ 171114 w 553405"/>
                  <a:gd name="connsiteY55" fmla="*/ 44935 h 588252"/>
                  <a:gd name="connsiteX56" fmla="*/ 158201 w 553405"/>
                  <a:gd name="connsiteY56" fmla="*/ 0 h 588252"/>
                  <a:gd name="connsiteX57" fmla="*/ 227977 w 553405"/>
                  <a:gd name="connsiteY57" fmla="*/ 38469 h 588252"/>
                  <a:gd name="connsiteX58" fmla="*/ 246758 w 553405"/>
                  <a:gd name="connsiteY58" fmla="*/ 37293 h 588252"/>
                  <a:gd name="connsiteX59" fmla="*/ 265539 w 553405"/>
                  <a:gd name="connsiteY59" fmla="*/ 36705 h 588252"/>
                  <a:gd name="connsiteX0" fmla="*/ 265539 w 553405"/>
                  <a:gd name="connsiteY0" fmla="*/ 36705 h 588252"/>
                  <a:gd name="connsiteX1" fmla="*/ 284841 w 553405"/>
                  <a:gd name="connsiteY1" fmla="*/ 36705 h 588252"/>
                  <a:gd name="connsiteX2" fmla="*/ 303622 w 553405"/>
                  <a:gd name="connsiteY2" fmla="*/ 37293 h 588252"/>
                  <a:gd name="connsiteX3" fmla="*/ 322925 w 553405"/>
                  <a:gd name="connsiteY3" fmla="*/ 38469 h 588252"/>
                  <a:gd name="connsiteX4" fmla="*/ 344835 w 553405"/>
                  <a:gd name="connsiteY4" fmla="*/ 40232 h 588252"/>
                  <a:gd name="connsiteX5" fmla="*/ 366746 w 553405"/>
                  <a:gd name="connsiteY5" fmla="*/ 42583 h 588252"/>
                  <a:gd name="connsiteX6" fmla="*/ 388657 w 553405"/>
                  <a:gd name="connsiteY6" fmla="*/ 45523 h 588252"/>
                  <a:gd name="connsiteX7" fmla="*/ 411090 w 553405"/>
                  <a:gd name="connsiteY7" fmla="*/ 50225 h 588252"/>
                  <a:gd name="connsiteX8" fmla="*/ 432479 w 553405"/>
                  <a:gd name="connsiteY8" fmla="*/ 55516 h 588252"/>
                  <a:gd name="connsiteX9" fmla="*/ 453868 w 553405"/>
                  <a:gd name="connsiteY9" fmla="*/ 61394 h 588252"/>
                  <a:gd name="connsiteX10" fmla="*/ 474735 w 553405"/>
                  <a:gd name="connsiteY10" fmla="*/ 69036 h 588252"/>
                  <a:gd name="connsiteX11" fmla="*/ 495603 w 553405"/>
                  <a:gd name="connsiteY11" fmla="*/ 77853 h 588252"/>
                  <a:gd name="connsiteX12" fmla="*/ 499776 w 553405"/>
                  <a:gd name="connsiteY12" fmla="*/ 80205 h 588252"/>
                  <a:gd name="connsiteX13" fmla="*/ 502907 w 553405"/>
                  <a:gd name="connsiteY13" fmla="*/ 83144 h 588252"/>
                  <a:gd name="connsiteX14" fmla="*/ 503950 w 553405"/>
                  <a:gd name="connsiteY14" fmla="*/ 84907 h 588252"/>
                  <a:gd name="connsiteX15" fmla="*/ 504993 w 553405"/>
                  <a:gd name="connsiteY15" fmla="*/ 86671 h 588252"/>
                  <a:gd name="connsiteX16" fmla="*/ 505515 w 553405"/>
                  <a:gd name="connsiteY16" fmla="*/ 89022 h 588252"/>
                  <a:gd name="connsiteX17" fmla="*/ 506037 w 553405"/>
                  <a:gd name="connsiteY17" fmla="*/ 92549 h 588252"/>
                  <a:gd name="connsiteX18" fmla="*/ 520122 w 553405"/>
                  <a:gd name="connsiteY18" fmla="*/ 207764 h 588252"/>
                  <a:gd name="connsiteX19" fmla="*/ 526904 w 553405"/>
                  <a:gd name="connsiteY19" fmla="*/ 265372 h 588252"/>
                  <a:gd name="connsiteX20" fmla="*/ 534208 w 553405"/>
                  <a:gd name="connsiteY20" fmla="*/ 323567 h 588252"/>
                  <a:gd name="connsiteX21" fmla="*/ 540990 w 553405"/>
                  <a:gd name="connsiteY21" fmla="*/ 389992 h 588252"/>
                  <a:gd name="connsiteX22" fmla="*/ 544120 w 553405"/>
                  <a:gd name="connsiteY22" fmla="*/ 424086 h 588252"/>
                  <a:gd name="connsiteX23" fmla="*/ 546728 w 553405"/>
                  <a:gd name="connsiteY23" fmla="*/ 457005 h 588252"/>
                  <a:gd name="connsiteX24" fmla="*/ 548815 w 553405"/>
                  <a:gd name="connsiteY24" fmla="*/ 491099 h 588252"/>
                  <a:gd name="connsiteX25" fmla="*/ 550902 w 553405"/>
                  <a:gd name="connsiteY25" fmla="*/ 524018 h 588252"/>
                  <a:gd name="connsiteX26" fmla="*/ 552467 w 553405"/>
                  <a:gd name="connsiteY26" fmla="*/ 558112 h 588252"/>
                  <a:gd name="connsiteX27" fmla="*/ 553405 w 553405"/>
                  <a:gd name="connsiteY27" fmla="*/ 588252 h 588252"/>
                  <a:gd name="connsiteX28" fmla="*/ 0 w 553405"/>
                  <a:gd name="connsiteY28" fmla="*/ 588252 h 588252"/>
                  <a:gd name="connsiteX29" fmla="*/ 0 w 553405"/>
                  <a:gd name="connsiteY29" fmla="*/ 573983 h 588252"/>
                  <a:gd name="connsiteX30" fmla="*/ 1044 w 553405"/>
                  <a:gd name="connsiteY30" fmla="*/ 549882 h 588252"/>
                  <a:gd name="connsiteX31" fmla="*/ 2609 w 553405"/>
                  <a:gd name="connsiteY31" fmla="*/ 516376 h 588252"/>
                  <a:gd name="connsiteX32" fmla="*/ 5217 w 553405"/>
                  <a:gd name="connsiteY32" fmla="*/ 482281 h 588252"/>
                  <a:gd name="connsiteX33" fmla="*/ 10434 w 553405"/>
                  <a:gd name="connsiteY33" fmla="*/ 415269 h 588252"/>
                  <a:gd name="connsiteX34" fmla="*/ 17216 w 553405"/>
                  <a:gd name="connsiteY34" fmla="*/ 342965 h 588252"/>
                  <a:gd name="connsiteX35" fmla="*/ 25041 w 553405"/>
                  <a:gd name="connsiteY35" fmla="*/ 270662 h 588252"/>
                  <a:gd name="connsiteX36" fmla="*/ 34432 w 553405"/>
                  <a:gd name="connsiteY36" fmla="*/ 192481 h 588252"/>
                  <a:gd name="connsiteX37" fmla="*/ 44344 w 553405"/>
                  <a:gd name="connsiteY37" fmla="*/ 113123 h 588252"/>
                  <a:gd name="connsiteX38" fmla="*/ 45909 w 553405"/>
                  <a:gd name="connsiteY38" fmla="*/ 104894 h 588252"/>
                  <a:gd name="connsiteX39" fmla="*/ 46430 w 553405"/>
                  <a:gd name="connsiteY39" fmla="*/ 101367 h 588252"/>
                  <a:gd name="connsiteX40" fmla="*/ 46430 w 553405"/>
                  <a:gd name="connsiteY40" fmla="*/ 97252 h 588252"/>
                  <a:gd name="connsiteX41" fmla="*/ 46952 w 553405"/>
                  <a:gd name="connsiteY41" fmla="*/ 91961 h 588252"/>
                  <a:gd name="connsiteX42" fmla="*/ 47995 w 553405"/>
                  <a:gd name="connsiteY42" fmla="*/ 88434 h 588252"/>
                  <a:gd name="connsiteX43" fmla="*/ 49561 w 553405"/>
                  <a:gd name="connsiteY43" fmla="*/ 85495 h 588252"/>
                  <a:gd name="connsiteX44" fmla="*/ 51126 w 553405"/>
                  <a:gd name="connsiteY44" fmla="*/ 83144 h 588252"/>
                  <a:gd name="connsiteX45" fmla="*/ 53212 w 553405"/>
                  <a:gd name="connsiteY45" fmla="*/ 80792 h 588252"/>
                  <a:gd name="connsiteX46" fmla="*/ 55299 w 553405"/>
                  <a:gd name="connsiteY46" fmla="*/ 79029 h 588252"/>
                  <a:gd name="connsiteX47" fmla="*/ 61038 w 553405"/>
                  <a:gd name="connsiteY47" fmla="*/ 76090 h 588252"/>
                  <a:gd name="connsiteX48" fmla="*/ 74601 w 553405"/>
                  <a:gd name="connsiteY48" fmla="*/ 70212 h 588252"/>
                  <a:gd name="connsiteX49" fmla="*/ 88165 w 553405"/>
                  <a:gd name="connsiteY49" fmla="*/ 65509 h 588252"/>
                  <a:gd name="connsiteX50" fmla="*/ 101208 w 553405"/>
                  <a:gd name="connsiteY50" fmla="*/ 60806 h 588252"/>
                  <a:gd name="connsiteX51" fmla="*/ 115293 w 553405"/>
                  <a:gd name="connsiteY51" fmla="*/ 57279 h 588252"/>
                  <a:gd name="connsiteX52" fmla="*/ 129379 w 553405"/>
                  <a:gd name="connsiteY52" fmla="*/ 53752 h 588252"/>
                  <a:gd name="connsiteX53" fmla="*/ 142943 w 553405"/>
                  <a:gd name="connsiteY53" fmla="*/ 50225 h 588252"/>
                  <a:gd name="connsiteX54" fmla="*/ 157028 w 553405"/>
                  <a:gd name="connsiteY54" fmla="*/ 47286 h 588252"/>
                  <a:gd name="connsiteX55" fmla="*/ 171114 w 553405"/>
                  <a:gd name="connsiteY55" fmla="*/ 44935 h 588252"/>
                  <a:gd name="connsiteX56" fmla="*/ 158201 w 553405"/>
                  <a:gd name="connsiteY56" fmla="*/ 0 h 588252"/>
                  <a:gd name="connsiteX57" fmla="*/ 246758 w 553405"/>
                  <a:gd name="connsiteY57" fmla="*/ 37293 h 588252"/>
                  <a:gd name="connsiteX58" fmla="*/ 265539 w 553405"/>
                  <a:gd name="connsiteY58" fmla="*/ 36705 h 588252"/>
                  <a:gd name="connsiteX0" fmla="*/ 265539 w 553405"/>
                  <a:gd name="connsiteY0" fmla="*/ 36705 h 588252"/>
                  <a:gd name="connsiteX1" fmla="*/ 284841 w 553405"/>
                  <a:gd name="connsiteY1" fmla="*/ 36705 h 588252"/>
                  <a:gd name="connsiteX2" fmla="*/ 303622 w 553405"/>
                  <a:gd name="connsiteY2" fmla="*/ 37293 h 588252"/>
                  <a:gd name="connsiteX3" fmla="*/ 322925 w 553405"/>
                  <a:gd name="connsiteY3" fmla="*/ 38469 h 588252"/>
                  <a:gd name="connsiteX4" fmla="*/ 344835 w 553405"/>
                  <a:gd name="connsiteY4" fmla="*/ 40232 h 588252"/>
                  <a:gd name="connsiteX5" fmla="*/ 366746 w 553405"/>
                  <a:gd name="connsiteY5" fmla="*/ 42583 h 588252"/>
                  <a:gd name="connsiteX6" fmla="*/ 388657 w 553405"/>
                  <a:gd name="connsiteY6" fmla="*/ 45523 h 588252"/>
                  <a:gd name="connsiteX7" fmla="*/ 411090 w 553405"/>
                  <a:gd name="connsiteY7" fmla="*/ 50225 h 588252"/>
                  <a:gd name="connsiteX8" fmla="*/ 432479 w 553405"/>
                  <a:gd name="connsiteY8" fmla="*/ 55516 h 588252"/>
                  <a:gd name="connsiteX9" fmla="*/ 453868 w 553405"/>
                  <a:gd name="connsiteY9" fmla="*/ 61394 h 588252"/>
                  <a:gd name="connsiteX10" fmla="*/ 474735 w 553405"/>
                  <a:gd name="connsiteY10" fmla="*/ 69036 h 588252"/>
                  <a:gd name="connsiteX11" fmla="*/ 495603 w 553405"/>
                  <a:gd name="connsiteY11" fmla="*/ 77853 h 588252"/>
                  <a:gd name="connsiteX12" fmla="*/ 499776 w 553405"/>
                  <a:gd name="connsiteY12" fmla="*/ 80205 h 588252"/>
                  <a:gd name="connsiteX13" fmla="*/ 502907 w 553405"/>
                  <a:gd name="connsiteY13" fmla="*/ 83144 h 588252"/>
                  <a:gd name="connsiteX14" fmla="*/ 503950 w 553405"/>
                  <a:gd name="connsiteY14" fmla="*/ 84907 h 588252"/>
                  <a:gd name="connsiteX15" fmla="*/ 504993 w 553405"/>
                  <a:gd name="connsiteY15" fmla="*/ 86671 h 588252"/>
                  <a:gd name="connsiteX16" fmla="*/ 505515 w 553405"/>
                  <a:gd name="connsiteY16" fmla="*/ 89022 h 588252"/>
                  <a:gd name="connsiteX17" fmla="*/ 506037 w 553405"/>
                  <a:gd name="connsiteY17" fmla="*/ 92549 h 588252"/>
                  <a:gd name="connsiteX18" fmla="*/ 520122 w 553405"/>
                  <a:gd name="connsiteY18" fmla="*/ 207764 h 588252"/>
                  <a:gd name="connsiteX19" fmla="*/ 526904 w 553405"/>
                  <a:gd name="connsiteY19" fmla="*/ 265372 h 588252"/>
                  <a:gd name="connsiteX20" fmla="*/ 534208 w 553405"/>
                  <a:gd name="connsiteY20" fmla="*/ 323567 h 588252"/>
                  <a:gd name="connsiteX21" fmla="*/ 540990 w 553405"/>
                  <a:gd name="connsiteY21" fmla="*/ 389992 h 588252"/>
                  <a:gd name="connsiteX22" fmla="*/ 544120 w 553405"/>
                  <a:gd name="connsiteY22" fmla="*/ 424086 h 588252"/>
                  <a:gd name="connsiteX23" fmla="*/ 546728 w 553405"/>
                  <a:gd name="connsiteY23" fmla="*/ 457005 h 588252"/>
                  <a:gd name="connsiteX24" fmla="*/ 548815 w 553405"/>
                  <a:gd name="connsiteY24" fmla="*/ 491099 h 588252"/>
                  <a:gd name="connsiteX25" fmla="*/ 550902 w 553405"/>
                  <a:gd name="connsiteY25" fmla="*/ 524018 h 588252"/>
                  <a:gd name="connsiteX26" fmla="*/ 552467 w 553405"/>
                  <a:gd name="connsiteY26" fmla="*/ 558112 h 588252"/>
                  <a:gd name="connsiteX27" fmla="*/ 553405 w 553405"/>
                  <a:gd name="connsiteY27" fmla="*/ 588252 h 588252"/>
                  <a:gd name="connsiteX28" fmla="*/ 0 w 553405"/>
                  <a:gd name="connsiteY28" fmla="*/ 588252 h 588252"/>
                  <a:gd name="connsiteX29" fmla="*/ 0 w 553405"/>
                  <a:gd name="connsiteY29" fmla="*/ 573983 h 588252"/>
                  <a:gd name="connsiteX30" fmla="*/ 1044 w 553405"/>
                  <a:gd name="connsiteY30" fmla="*/ 549882 h 588252"/>
                  <a:gd name="connsiteX31" fmla="*/ 2609 w 553405"/>
                  <a:gd name="connsiteY31" fmla="*/ 516376 h 588252"/>
                  <a:gd name="connsiteX32" fmla="*/ 5217 w 553405"/>
                  <a:gd name="connsiteY32" fmla="*/ 482281 h 588252"/>
                  <a:gd name="connsiteX33" fmla="*/ 10434 w 553405"/>
                  <a:gd name="connsiteY33" fmla="*/ 415269 h 588252"/>
                  <a:gd name="connsiteX34" fmla="*/ 17216 w 553405"/>
                  <a:gd name="connsiteY34" fmla="*/ 342965 h 588252"/>
                  <a:gd name="connsiteX35" fmla="*/ 25041 w 553405"/>
                  <a:gd name="connsiteY35" fmla="*/ 270662 h 588252"/>
                  <a:gd name="connsiteX36" fmla="*/ 34432 w 553405"/>
                  <a:gd name="connsiteY36" fmla="*/ 192481 h 588252"/>
                  <a:gd name="connsiteX37" fmla="*/ 44344 w 553405"/>
                  <a:gd name="connsiteY37" fmla="*/ 113123 h 588252"/>
                  <a:gd name="connsiteX38" fmla="*/ 45909 w 553405"/>
                  <a:gd name="connsiteY38" fmla="*/ 104894 h 588252"/>
                  <a:gd name="connsiteX39" fmla="*/ 46430 w 553405"/>
                  <a:gd name="connsiteY39" fmla="*/ 101367 h 588252"/>
                  <a:gd name="connsiteX40" fmla="*/ 46430 w 553405"/>
                  <a:gd name="connsiteY40" fmla="*/ 97252 h 588252"/>
                  <a:gd name="connsiteX41" fmla="*/ 46952 w 553405"/>
                  <a:gd name="connsiteY41" fmla="*/ 91961 h 588252"/>
                  <a:gd name="connsiteX42" fmla="*/ 47995 w 553405"/>
                  <a:gd name="connsiteY42" fmla="*/ 88434 h 588252"/>
                  <a:gd name="connsiteX43" fmla="*/ 49561 w 553405"/>
                  <a:gd name="connsiteY43" fmla="*/ 85495 h 588252"/>
                  <a:gd name="connsiteX44" fmla="*/ 51126 w 553405"/>
                  <a:gd name="connsiteY44" fmla="*/ 83144 h 588252"/>
                  <a:gd name="connsiteX45" fmla="*/ 53212 w 553405"/>
                  <a:gd name="connsiteY45" fmla="*/ 80792 h 588252"/>
                  <a:gd name="connsiteX46" fmla="*/ 55299 w 553405"/>
                  <a:gd name="connsiteY46" fmla="*/ 79029 h 588252"/>
                  <a:gd name="connsiteX47" fmla="*/ 61038 w 553405"/>
                  <a:gd name="connsiteY47" fmla="*/ 76090 h 588252"/>
                  <a:gd name="connsiteX48" fmla="*/ 74601 w 553405"/>
                  <a:gd name="connsiteY48" fmla="*/ 70212 h 588252"/>
                  <a:gd name="connsiteX49" fmla="*/ 88165 w 553405"/>
                  <a:gd name="connsiteY49" fmla="*/ 65509 h 588252"/>
                  <a:gd name="connsiteX50" fmla="*/ 101208 w 553405"/>
                  <a:gd name="connsiteY50" fmla="*/ 60806 h 588252"/>
                  <a:gd name="connsiteX51" fmla="*/ 115293 w 553405"/>
                  <a:gd name="connsiteY51" fmla="*/ 57279 h 588252"/>
                  <a:gd name="connsiteX52" fmla="*/ 129379 w 553405"/>
                  <a:gd name="connsiteY52" fmla="*/ 53752 h 588252"/>
                  <a:gd name="connsiteX53" fmla="*/ 142943 w 553405"/>
                  <a:gd name="connsiteY53" fmla="*/ 50225 h 588252"/>
                  <a:gd name="connsiteX54" fmla="*/ 157028 w 553405"/>
                  <a:gd name="connsiteY54" fmla="*/ 47286 h 588252"/>
                  <a:gd name="connsiteX55" fmla="*/ 171114 w 553405"/>
                  <a:gd name="connsiteY55" fmla="*/ 44935 h 588252"/>
                  <a:gd name="connsiteX56" fmla="*/ 158201 w 553405"/>
                  <a:gd name="connsiteY56" fmla="*/ 0 h 588252"/>
                  <a:gd name="connsiteX57" fmla="*/ 265539 w 553405"/>
                  <a:gd name="connsiteY57" fmla="*/ 36705 h 588252"/>
                  <a:gd name="connsiteX0" fmla="*/ 158201 w 553405"/>
                  <a:gd name="connsiteY0" fmla="*/ 0 h 588252"/>
                  <a:gd name="connsiteX1" fmla="*/ 284841 w 553405"/>
                  <a:gd name="connsiteY1" fmla="*/ 36705 h 588252"/>
                  <a:gd name="connsiteX2" fmla="*/ 303622 w 553405"/>
                  <a:gd name="connsiteY2" fmla="*/ 37293 h 588252"/>
                  <a:gd name="connsiteX3" fmla="*/ 322925 w 553405"/>
                  <a:gd name="connsiteY3" fmla="*/ 38469 h 588252"/>
                  <a:gd name="connsiteX4" fmla="*/ 344835 w 553405"/>
                  <a:gd name="connsiteY4" fmla="*/ 40232 h 588252"/>
                  <a:gd name="connsiteX5" fmla="*/ 366746 w 553405"/>
                  <a:gd name="connsiteY5" fmla="*/ 42583 h 588252"/>
                  <a:gd name="connsiteX6" fmla="*/ 388657 w 553405"/>
                  <a:gd name="connsiteY6" fmla="*/ 45523 h 588252"/>
                  <a:gd name="connsiteX7" fmla="*/ 411090 w 553405"/>
                  <a:gd name="connsiteY7" fmla="*/ 50225 h 588252"/>
                  <a:gd name="connsiteX8" fmla="*/ 432479 w 553405"/>
                  <a:gd name="connsiteY8" fmla="*/ 55516 h 588252"/>
                  <a:gd name="connsiteX9" fmla="*/ 453868 w 553405"/>
                  <a:gd name="connsiteY9" fmla="*/ 61394 h 588252"/>
                  <a:gd name="connsiteX10" fmla="*/ 474735 w 553405"/>
                  <a:gd name="connsiteY10" fmla="*/ 69036 h 588252"/>
                  <a:gd name="connsiteX11" fmla="*/ 495603 w 553405"/>
                  <a:gd name="connsiteY11" fmla="*/ 77853 h 588252"/>
                  <a:gd name="connsiteX12" fmla="*/ 499776 w 553405"/>
                  <a:gd name="connsiteY12" fmla="*/ 80205 h 588252"/>
                  <a:gd name="connsiteX13" fmla="*/ 502907 w 553405"/>
                  <a:gd name="connsiteY13" fmla="*/ 83144 h 588252"/>
                  <a:gd name="connsiteX14" fmla="*/ 503950 w 553405"/>
                  <a:gd name="connsiteY14" fmla="*/ 84907 h 588252"/>
                  <a:gd name="connsiteX15" fmla="*/ 504993 w 553405"/>
                  <a:gd name="connsiteY15" fmla="*/ 86671 h 588252"/>
                  <a:gd name="connsiteX16" fmla="*/ 505515 w 553405"/>
                  <a:gd name="connsiteY16" fmla="*/ 89022 h 588252"/>
                  <a:gd name="connsiteX17" fmla="*/ 506037 w 553405"/>
                  <a:gd name="connsiteY17" fmla="*/ 92549 h 588252"/>
                  <a:gd name="connsiteX18" fmla="*/ 520122 w 553405"/>
                  <a:gd name="connsiteY18" fmla="*/ 207764 h 588252"/>
                  <a:gd name="connsiteX19" fmla="*/ 526904 w 553405"/>
                  <a:gd name="connsiteY19" fmla="*/ 265372 h 588252"/>
                  <a:gd name="connsiteX20" fmla="*/ 534208 w 553405"/>
                  <a:gd name="connsiteY20" fmla="*/ 323567 h 588252"/>
                  <a:gd name="connsiteX21" fmla="*/ 540990 w 553405"/>
                  <a:gd name="connsiteY21" fmla="*/ 389992 h 588252"/>
                  <a:gd name="connsiteX22" fmla="*/ 544120 w 553405"/>
                  <a:gd name="connsiteY22" fmla="*/ 424086 h 588252"/>
                  <a:gd name="connsiteX23" fmla="*/ 546728 w 553405"/>
                  <a:gd name="connsiteY23" fmla="*/ 457005 h 588252"/>
                  <a:gd name="connsiteX24" fmla="*/ 548815 w 553405"/>
                  <a:gd name="connsiteY24" fmla="*/ 491099 h 588252"/>
                  <a:gd name="connsiteX25" fmla="*/ 550902 w 553405"/>
                  <a:gd name="connsiteY25" fmla="*/ 524018 h 588252"/>
                  <a:gd name="connsiteX26" fmla="*/ 552467 w 553405"/>
                  <a:gd name="connsiteY26" fmla="*/ 558112 h 588252"/>
                  <a:gd name="connsiteX27" fmla="*/ 553405 w 553405"/>
                  <a:gd name="connsiteY27" fmla="*/ 588252 h 588252"/>
                  <a:gd name="connsiteX28" fmla="*/ 0 w 553405"/>
                  <a:gd name="connsiteY28" fmla="*/ 588252 h 588252"/>
                  <a:gd name="connsiteX29" fmla="*/ 0 w 553405"/>
                  <a:gd name="connsiteY29" fmla="*/ 573983 h 588252"/>
                  <a:gd name="connsiteX30" fmla="*/ 1044 w 553405"/>
                  <a:gd name="connsiteY30" fmla="*/ 549882 h 588252"/>
                  <a:gd name="connsiteX31" fmla="*/ 2609 w 553405"/>
                  <a:gd name="connsiteY31" fmla="*/ 516376 h 588252"/>
                  <a:gd name="connsiteX32" fmla="*/ 5217 w 553405"/>
                  <a:gd name="connsiteY32" fmla="*/ 482281 h 588252"/>
                  <a:gd name="connsiteX33" fmla="*/ 10434 w 553405"/>
                  <a:gd name="connsiteY33" fmla="*/ 415269 h 588252"/>
                  <a:gd name="connsiteX34" fmla="*/ 17216 w 553405"/>
                  <a:gd name="connsiteY34" fmla="*/ 342965 h 588252"/>
                  <a:gd name="connsiteX35" fmla="*/ 25041 w 553405"/>
                  <a:gd name="connsiteY35" fmla="*/ 270662 h 588252"/>
                  <a:gd name="connsiteX36" fmla="*/ 34432 w 553405"/>
                  <a:gd name="connsiteY36" fmla="*/ 192481 h 588252"/>
                  <a:gd name="connsiteX37" fmla="*/ 44344 w 553405"/>
                  <a:gd name="connsiteY37" fmla="*/ 113123 h 588252"/>
                  <a:gd name="connsiteX38" fmla="*/ 45909 w 553405"/>
                  <a:gd name="connsiteY38" fmla="*/ 104894 h 588252"/>
                  <a:gd name="connsiteX39" fmla="*/ 46430 w 553405"/>
                  <a:gd name="connsiteY39" fmla="*/ 101367 h 588252"/>
                  <a:gd name="connsiteX40" fmla="*/ 46430 w 553405"/>
                  <a:gd name="connsiteY40" fmla="*/ 97252 h 588252"/>
                  <a:gd name="connsiteX41" fmla="*/ 46952 w 553405"/>
                  <a:gd name="connsiteY41" fmla="*/ 91961 h 588252"/>
                  <a:gd name="connsiteX42" fmla="*/ 47995 w 553405"/>
                  <a:gd name="connsiteY42" fmla="*/ 88434 h 588252"/>
                  <a:gd name="connsiteX43" fmla="*/ 49561 w 553405"/>
                  <a:gd name="connsiteY43" fmla="*/ 85495 h 588252"/>
                  <a:gd name="connsiteX44" fmla="*/ 51126 w 553405"/>
                  <a:gd name="connsiteY44" fmla="*/ 83144 h 588252"/>
                  <a:gd name="connsiteX45" fmla="*/ 53212 w 553405"/>
                  <a:gd name="connsiteY45" fmla="*/ 80792 h 588252"/>
                  <a:gd name="connsiteX46" fmla="*/ 55299 w 553405"/>
                  <a:gd name="connsiteY46" fmla="*/ 79029 h 588252"/>
                  <a:gd name="connsiteX47" fmla="*/ 61038 w 553405"/>
                  <a:gd name="connsiteY47" fmla="*/ 76090 h 588252"/>
                  <a:gd name="connsiteX48" fmla="*/ 74601 w 553405"/>
                  <a:gd name="connsiteY48" fmla="*/ 70212 h 588252"/>
                  <a:gd name="connsiteX49" fmla="*/ 88165 w 553405"/>
                  <a:gd name="connsiteY49" fmla="*/ 65509 h 588252"/>
                  <a:gd name="connsiteX50" fmla="*/ 101208 w 553405"/>
                  <a:gd name="connsiteY50" fmla="*/ 60806 h 588252"/>
                  <a:gd name="connsiteX51" fmla="*/ 115293 w 553405"/>
                  <a:gd name="connsiteY51" fmla="*/ 57279 h 588252"/>
                  <a:gd name="connsiteX52" fmla="*/ 129379 w 553405"/>
                  <a:gd name="connsiteY52" fmla="*/ 53752 h 588252"/>
                  <a:gd name="connsiteX53" fmla="*/ 142943 w 553405"/>
                  <a:gd name="connsiteY53" fmla="*/ 50225 h 588252"/>
                  <a:gd name="connsiteX54" fmla="*/ 157028 w 553405"/>
                  <a:gd name="connsiteY54" fmla="*/ 47286 h 588252"/>
                  <a:gd name="connsiteX55" fmla="*/ 171114 w 553405"/>
                  <a:gd name="connsiteY55" fmla="*/ 44935 h 588252"/>
                  <a:gd name="connsiteX56" fmla="*/ 158201 w 553405"/>
                  <a:gd name="connsiteY56" fmla="*/ 0 h 588252"/>
                  <a:gd name="connsiteX0" fmla="*/ 158201 w 553405"/>
                  <a:gd name="connsiteY0" fmla="*/ 0 h 588252"/>
                  <a:gd name="connsiteX1" fmla="*/ 303622 w 553405"/>
                  <a:gd name="connsiteY1" fmla="*/ 37293 h 588252"/>
                  <a:gd name="connsiteX2" fmla="*/ 322925 w 553405"/>
                  <a:gd name="connsiteY2" fmla="*/ 38469 h 588252"/>
                  <a:gd name="connsiteX3" fmla="*/ 344835 w 553405"/>
                  <a:gd name="connsiteY3" fmla="*/ 40232 h 588252"/>
                  <a:gd name="connsiteX4" fmla="*/ 366746 w 553405"/>
                  <a:gd name="connsiteY4" fmla="*/ 42583 h 588252"/>
                  <a:gd name="connsiteX5" fmla="*/ 388657 w 553405"/>
                  <a:gd name="connsiteY5" fmla="*/ 45523 h 588252"/>
                  <a:gd name="connsiteX6" fmla="*/ 411090 w 553405"/>
                  <a:gd name="connsiteY6" fmla="*/ 50225 h 588252"/>
                  <a:gd name="connsiteX7" fmla="*/ 432479 w 553405"/>
                  <a:gd name="connsiteY7" fmla="*/ 55516 h 588252"/>
                  <a:gd name="connsiteX8" fmla="*/ 453868 w 553405"/>
                  <a:gd name="connsiteY8" fmla="*/ 61394 h 588252"/>
                  <a:gd name="connsiteX9" fmla="*/ 474735 w 553405"/>
                  <a:gd name="connsiteY9" fmla="*/ 69036 h 588252"/>
                  <a:gd name="connsiteX10" fmla="*/ 495603 w 553405"/>
                  <a:gd name="connsiteY10" fmla="*/ 77853 h 588252"/>
                  <a:gd name="connsiteX11" fmla="*/ 499776 w 553405"/>
                  <a:gd name="connsiteY11" fmla="*/ 80205 h 588252"/>
                  <a:gd name="connsiteX12" fmla="*/ 502907 w 553405"/>
                  <a:gd name="connsiteY12" fmla="*/ 83144 h 588252"/>
                  <a:gd name="connsiteX13" fmla="*/ 503950 w 553405"/>
                  <a:gd name="connsiteY13" fmla="*/ 84907 h 588252"/>
                  <a:gd name="connsiteX14" fmla="*/ 504993 w 553405"/>
                  <a:gd name="connsiteY14" fmla="*/ 86671 h 588252"/>
                  <a:gd name="connsiteX15" fmla="*/ 505515 w 553405"/>
                  <a:gd name="connsiteY15" fmla="*/ 89022 h 588252"/>
                  <a:gd name="connsiteX16" fmla="*/ 506037 w 553405"/>
                  <a:gd name="connsiteY16" fmla="*/ 92549 h 588252"/>
                  <a:gd name="connsiteX17" fmla="*/ 520122 w 553405"/>
                  <a:gd name="connsiteY17" fmla="*/ 207764 h 588252"/>
                  <a:gd name="connsiteX18" fmla="*/ 526904 w 553405"/>
                  <a:gd name="connsiteY18" fmla="*/ 265372 h 588252"/>
                  <a:gd name="connsiteX19" fmla="*/ 534208 w 553405"/>
                  <a:gd name="connsiteY19" fmla="*/ 323567 h 588252"/>
                  <a:gd name="connsiteX20" fmla="*/ 540990 w 553405"/>
                  <a:gd name="connsiteY20" fmla="*/ 389992 h 588252"/>
                  <a:gd name="connsiteX21" fmla="*/ 544120 w 553405"/>
                  <a:gd name="connsiteY21" fmla="*/ 424086 h 588252"/>
                  <a:gd name="connsiteX22" fmla="*/ 546728 w 553405"/>
                  <a:gd name="connsiteY22" fmla="*/ 457005 h 588252"/>
                  <a:gd name="connsiteX23" fmla="*/ 548815 w 553405"/>
                  <a:gd name="connsiteY23" fmla="*/ 491099 h 588252"/>
                  <a:gd name="connsiteX24" fmla="*/ 550902 w 553405"/>
                  <a:gd name="connsiteY24" fmla="*/ 524018 h 588252"/>
                  <a:gd name="connsiteX25" fmla="*/ 552467 w 553405"/>
                  <a:gd name="connsiteY25" fmla="*/ 558112 h 588252"/>
                  <a:gd name="connsiteX26" fmla="*/ 553405 w 553405"/>
                  <a:gd name="connsiteY26" fmla="*/ 588252 h 588252"/>
                  <a:gd name="connsiteX27" fmla="*/ 0 w 553405"/>
                  <a:gd name="connsiteY27" fmla="*/ 588252 h 588252"/>
                  <a:gd name="connsiteX28" fmla="*/ 0 w 553405"/>
                  <a:gd name="connsiteY28" fmla="*/ 573983 h 588252"/>
                  <a:gd name="connsiteX29" fmla="*/ 1044 w 553405"/>
                  <a:gd name="connsiteY29" fmla="*/ 549882 h 588252"/>
                  <a:gd name="connsiteX30" fmla="*/ 2609 w 553405"/>
                  <a:gd name="connsiteY30" fmla="*/ 516376 h 588252"/>
                  <a:gd name="connsiteX31" fmla="*/ 5217 w 553405"/>
                  <a:gd name="connsiteY31" fmla="*/ 482281 h 588252"/>
                  <a:gd name="connsiteX32" fmla="*/ 10434 w 553405"/>
                  <a:gd name="connsiteY32" fmla="*/ 415269 h 588252"/>
                  <a:gd name="connsiteX33" fmla="*/ 17216 w 553405"/>
                  <a:gd name="connsiteY33" fmla="*/ 342965 h 588252"/>
                  <a:gd name="connsiteX34" fmla="*/ 25041 w 553405"/>
                  <a:gd name="connsiteY34" fmla="*/ 270662 h 588252"/>
                  <a:gd name="connsiteX35" fmla="*/ 34432 w 553405"/>
                  <a:gd name="connsiteY35" fmla="*/ 192481 h 588252"/>
                  <a:gd name="connsiteX36" fmla="*/ 44344 w 553405"/>
                  <a:gd name="connsiteY36" fmla="*/ 113123 h 588252"/>
                  <a:gd name="connsiteX37" fmla="*/ 45909 w 553405"/>
                  <a:gd name="connsiteY37" fmla="*/ 104894 h 588252"/>
                  <a:gd name="connsiteX38" fmla="*/ 46430 w 553405"/>
                  <a:gd name="connsiteY38" fmla="*/ 101367 h 588252"/>
                  <a:gd name="connsiteX39" fmla="*/ 46430 w 553405"/>
                  <a:gd name="connsiteY39" fmla="*/ 97252 h 588252"/>
                  <a:gd name="connsiteX40" fmla="*/ 46952 w 553405"/>
                  <a:gd name="connsiteY40" fmla="*/ 91961 h 588252"/>
                  <a:gd name="connsiteX41" fmla="*/ 47995 w 553405"/>
                  <a:gd name="connsiteY41" fmla="*/ 88434 h 588252"/>
                  <a:gd name="connsiteX42" fmla="*/ 49561 w 553405"/>
                  <a:gd name="connsiteY42" fmla="*/ 85495 h 588252"/>
                  <a:gd name="connsiteX43" fmla="*/ 51126 w 553405"/>
                  <a:gd name="connsiteY43" fmla="*/ 83144 h 588252"/>
                  <a:gd name="connsiteX44" fmla="*/ 53212 w 553405"/>
                  <a:gd name="connsiteY44" fmla="*/ 80792 h 588252"/>
                  <a:gd name="connsiteX45" fmla="*/ 55299 w 553405"/>
                  <a:gd name="connsiteY45" fmla="*/ 79029 h 588252"/>
                  <a:gd name="connsiteX46" fmla="*/ 61038 w 553405"/>
                  <a:gd name="connsiteY46" fmla="*/ 76090 h 588252"/>
                  <a:gd name="connsiteX47" fmla="*/ 74601 w 553405"/>
                  <a:gd name="connsiteY47" fmla="*/ 70212 h 588252"/>
                  <a:gd name="connsiteX48" fmla="*/ 88165 w 553405"/>
                  <a:gd name="connsiteY48" fmla="*/ 65509 h 588252"/>
                  <a:gd name="connsiteX49" fmla="*/ 101208 w 553405"/>
                  <a:gd name="connsiteY49" fmla="*/ 60806 h 588252"/>
                  <a:gd name="connsiteX50" fmla="*/ 115293 w 553405"/>
                  <a:gd name="connsiteY50" fmla="*/ 57279 h 588252"/>
                  <a:gd name="connsiteX51" fmla="*/ 129379 w 553405"/>
                  <a:gd name="connsiteY51" fmla="*/ 53752 h 588252"/>
                  <a:gd name="connsiteX52" fmla="*/ 142943 w 553405"/>
                  <a:gd name="connsiteY52" fmla="*/ 50225 h 588252"/>
                  <a:gd name="connsiteX53" fmla="*/ 157028 w 553405"/>
                  <a:gd name="connsiteY53" fmla="*/ 47286 h 588252"/>
                  <a:gd name="connsiteX54" fmla="*/ 171114 w 553405"/>
                  <a:gd name="connsiteY54" fmla="*/ 44935 h 588252"/>
                  <a:gd name="connsiteX55" fmla="*/ 158201 w 553405"/>
                  <a:gd name="connsiteY55" fmla="*/ 0 h 588252"/>
                  <a:gd name="connsiteX0" fmla="*/ 158201 w 553405"/>
                  <a:gd name="connsiteY0" fmla="*/ 0 h 588252"/>
                  <a:gd name="connsiteX1" fmla="*/ 322925 w 553405"/>
                  <a:gd name="connsiteY1" fmla="*/ 38469 h 588252"/>
                  <a:gd name="connsiteX2" fmla="*/ 344835 w 553405"/>
                  <a:gd name="connsiteY2" fmla="*/ 40232 h 588252"/>
                  <a:gd name="connsiteX3" fmla="*/ 366746 w 553405"/>
                  <a:gd name="connsiteY3" fmla="*/ 42583 h 588252"/>
                  <a:gd name="connsiteX4" fmla="*/ 388657 w 553405"/>
                  <a:gd name="connsiteY4" fmla="*/ 45523 h 588252"/>
                  <a:gd name="connsiteX5" fmla="*/ 411090 w 553405"/>
                  <a:gd name="connsiteY5" fmla="*/ 50225 h 588252"/>
                  <a:gd name="connsiteX6" fmla="*/ 432479 w 553405"/>
                  <a:gd name="connsiteY6" fmla="*/ 55516 h 588252"/>
                  <a:gd name="connsiteX7" fmla="*/ 453868 w 553405"/>
                  <a:gd name="connsiteY7" fmla="*/ 61394 h 588252"/>
                  <a:gd name="connsiteX8" fmla="*/ 474735 w 553405"/>
                  <a:gd name="connsiteY8" fmla="*/ 69036 h 588252"/>
                  <a:gd name="connsiteX9" fmla="*/ 495603 w 553405"/>
                  <a:gd name="connsiteY9" fmla="*/ 77853 h 588252"/>
                  <a:gd name="connsiteX10" fmla="*/ 499776 w 553405"/>
                  <a:gd name="connsiteY10" fmla="*/ 80205 h 588252"/>
                  <a:gd name="connsiteX11" fmla="*/ 502907 w 553405"/>
                  <a:gd name="connsiteY11" fmla="*/ 83144 h 588252"/>
                  <a:gd name="connsiteX12" fmla="*/ 503950 w 553405"/>
                  <a:gd name="connsiteY12" fmla="*/ 84907 h 588252"/>
                  <a:gd name="connsiteX13" fmla="*/ 504993 w 553405"/>
                  <a:gd name="connsiteY13" fmla="*/ 86671 h 588252"/>
                  <a:gd name="connsiteX14" fmla="*/ 505515 w 553405"/>
                  <a:gd name="connsiteY14" fmla="*/ 89022 h 588252"/>
                  <a:gd name="connsiteX15" fmla="*/ 506037 w 553405"/>
                  <a:gd name="connsiteY15" fmla="*/ 92549 h 588252"/>
                  <a:gd name="connsiteX16" fmla="*/ 520122 w 553405"/>
                  <a:gd name="connsiteY16" fmla="*/ 207764 h 588252"/>
                  <a:gd name="connsiteX17" fmla="*/ 526904 w 553405"/>
                  <a:gd name="connsiteY17" fmla="*/ 265372 h 588252"/>
                  <a:gd name="connsiteX18" fmla="*/ 534208 w 553405"/>
                  <a:gd name="connsiteY18" fmla="*/ 323567 h 588252"/>
                  <a:gd name="connsiteX19" fmla="*/ 540990 w 553405"/>
                  <a:gd name="connsiteY19" fmla="*/ 389992 h 588252"/>
                  <a:gd name="connsiteX20" fmla="*/ 544120 w 553405"/>
                  <a:gd name="connsiteY20" fmla="*/ 424086 h 588252"/>
                  <a:gd name="connsiteX21" fmla="*/ 546728 w 553405"/>
                  <a:gd name="connsiteY21" fmla="*/ 457005 h 588252"/>
                  <a:gd name="connsiteX22" fmla="*/ 548815 w 553405"/>
                  <a:gd name="connsiteY22" fmla="*/ 491099 h 588252"/>
                  <a:gd name="connsiteX23" fmla="*/ 550902 w 553405"/>
                  <a:gd name="connsiteY23" fmla="*/ 524018 h 588252"/>
                  <a:gd name="connsiteX24" fmla="*/ 552467 w 553405"/>
                  <a:gd name="connsiteY24" fmla="*/ 558112 h 588252"/>
                  <a:gd name="connsiteX25" fmla="*/ 553405 w 553405"/>
                  <a:gd name="connsiteY25" fmla="*/ 588252 h 588252"/>
                  <a:gd name="connsiteX26" fmla="*/ 0 w 553405"/>
                  <a:gd name="connsiteY26" fmla="*/ 588252 h 588252"/>
                  <a:gd name="connsiteX27" fmla="*/ 0 w 553405"/>
                  <a:gd name="connsiteY27" fmla="*/ 573983 h 588252"/>
                  <a:gd name="connsiteX28" fmla="*/ 1044 w 553405"/>
                  <a:gd name="connsiteY28" fmla="*/ 549882 h 588252"/>
                  <a:gd name="connsiteX29" fmla="*/ 2609 w 553405"/>
                  <a:gd name="connsiteY29" fmla="*/ 516376 h 588252"/>
                  <a:gd name="connsiteX30" fmla="*/ 5217 w 553405"/>
                  <a:gd name="connsiteY30" fmla="*/ 482281 h 588252"/>
                  <a:gd name="connsiteX31" fmla="*/ 10434 w 553405"/>
                  <a:gd name="connsiteY31" fmla="*/ 415269 h 588252"/>
                  <a:gd name="connsiteX32" fmla="*/ 17216 w 553405"/>
                  <a:gd name="connsiteY32" fmla="*/ 342965 h 588252"/>
                  <a:gd name="connsiteX33" fmla="*/ 25041 w 553405"/>
                  <a:gd name="connsiteY33" fmla="*/ 270662 h 588252"/>
                  <a:gd name="connsiteX34" fmla="*/ 34432 w 553405"/>
                  <a:gd name="connsiteY34" fmla="*/ 192481 h 588252"/>
                  <a:gd name="connsiteX35" fmla="*/ 44344 w 553405"/>
                  <a:gd name="connsiteY35" fmla="*/ 113123 h 588252"/>
                  <a:gd name="connsiteX36" fmla="*/ 45909 w 553405"/>
                  <a:gd name="connsiteY36" fmla="*/ 104894 h 588252"/>
                  <a:gd name="connsiteX37" fmla="*/ 46430 w 553405"/>
                  <a:gd name="connsiteY37" fmla="*/ 101367 h 588252"/>
                  <a:gd name="connsiteX38" fmla="*/ 46430 w 553405"/>
                  <a:gd name="connsiteY38" fmla="*/ 97252 h 588252"/>
                  <a:gd name="connsiteX39" fmla="*/ 46952 w 553405"/>
                  <a:gd name="connsiteY39" fmla="*/ 91961 h 588252"/>
                  <a:gd name="connsiteX40" fmla="*/ 47995 w 553405"/>
                  <a:gd name="connsiteY40" fmla="*/ 88434 h 588252"/>
                  <a:gd name="connsiteX41" fmla="*/ 49561 w 553405"/>
                  <a:gd name="connsiteY41" fmla="*/ 85495 h 588252"/>
                  <a:gd name="connsiteX42" fmla="*/ 51126 w 553405"/>
                  <a:gd name="connsiteY42" fmla="*/ 83144 h 588252"/>
                  <a:gd name="connsiteX43" fmla="*/ 53212 w 553405"/>
                  <a:gd name="connsiteY43" fmla="*/ 80792 h 588252"/>
                  <a:gd name="connsiteX44" fmla="*/ 55299 w 553405"/>
                  <a:gd name="connsiteY44" fmla="*/ 79029 h 588252"/>
                  <a:gd name="connsiteX45" fmla="*/ 61038 w 553405"/>
                  <a:gd name="connsiteY45" fmla="*/ 76090 h 588252"/>
                  <a:gd name="connsiteX46" fmla="*/ 74601 w 553405"/>
                  <a:gd name="connsiteY46" fmla="*/ 70212 h 588252"/>
                  <a:gd name="connsiteX47" fmla="*/ 88165 w 553405"/>
                  <a:gd name="connsiteY47" fmla="*/ 65509 h 588252"/>
                  <a:gd name="connsiteX48" fmla="*/ 101208 w 553405"/>
                  <a:gd name="connsiteY48" fmla="*/ 60806 h 588252"/>
                  <a:gd name="connsiteX49" fmla="*/ 115293 w 553405"/>
                  <a:gd name="connsiteY49" fmla="*/ 57279 h 588252"/>
                  <a:gd name="connsiteX50" fmla="*/ 129379 w 553405"/>
                  <a:gd name="connsiteY50" fmla="*/ 53752 h 588252"/>
                  <a:gd name="connsiteX51" fmla="*/ 142943 w 553405"/>
                  <a:gd name="connsiteY51" fmla="*/ 50225 h 588252"/>
                  <a:gd name="connsiteX52" fmla="*/ 157028 w 553405"/>
                  <a:gd name="connsiteY52" fmla="*/ 47286 h 588252"/>
                  <a:gd name="connsiteX53" fmla="*/ 171114 w 553405"/>
                  <a:gd name="connsiteY53" fmla="*/ 44935 h 588252"/>
                  <a:gd name="connsiteX54" fmla="*/ 158201 w 553405"/>
                  <a:gd name="connsiteY54" fmla="*/ 0 h 588252"/>
                  <a:gd name="connsiteX0" fmla="*/ 158201 w 553405"/>
                  <a:gd name="connsiteY0" fmla="*/ 0 h 588252"/>
                  <a:gd name="connsiteX1" fmla="*/ 360957 w 553405"/>
                  <a:gd name="connsiteY1" fmla="*/ 4872 h 588252"/>
                  <a:gd name="connsiteX2" fmla="*/ 344835 w 553405"/>
                  <a:gd name="connsiteY2" fmla="*/ 40232 h 588252"/>
                  <a:gd name="connsiteX3" fmla="*/ 366746 w 553405"/>
                  <a:gd name="connsiteY3" fmla="*/ 42583 h 588252"/>
                  <a:gd name="connsiteX4" fmla="*/ 388657 w 553405"/>
                  <a:gd name="connsiteY4" fmla="*/ 45523 h 588252"/>
                  <a:gd name="connsiteX5" fmla="*/ 411090 w 553405"/>
                  <a:gd name="connsiteY5" fmla="*/ 50225 h 588252"/>
                  <a:gd name="connsiteX6" fmla="*/ 432479 w 553405"/>
                  <a:gd name="connsiteY6" fmla="*/ 55516 h 588252"/>
                  <a:gd name="connsiteX7" fmla="*/ 453868 w 553405"/>
                  <a:gd name="connsiteY7" fmla="*/ 61394 h 588252"/>
                  <a:gd name="connsiteX8" fmla="*/ 474735 w 553405"/>
                  <a:gd name="connsiteY8" fmla="*/ 69036 h 588252"/>
                  <a:gd name="connsiteX9" fmla="*/ 495603 w 553405"/>
                  <a:gd name="connsiteY9" fmla="*/ 77853 h 588252"/>
                  <a:gd name="connsiteX10" fmla="*/ 499776 w 553405"/>
                  <a:gd name="connsiteY10" fmla="*/ 80205 h 588252"/>
                  <a:gd name="connsiteX11" fmla="*/ 502907 w 553405"/>
                  <a:gd name="connsiteY11" fmla="*/ 83144 h 588252"/>
                  <a:gd name="connsiteX12" fmla="*/ 503950 w 553405"/>
                  <a:gd name="connsiteY12" fmla="*/ 84907 h 588252"/>
                  <a:gd name="connsiteX13" fmla="*/ 504993 w 553405"/>
                  <a:gd name="connsiteY13" fmla="*/ 86671 h 588252"/>
                  <a:gd name="connsiteX14" fmla="*/ 505515 w 553405"/>
                  <a:gd name="connsiteY14" fmla="*/ 89022 h 588252"/>
                  <a:gd name="connsiteX15" fmla="*/ 506037 w 553405"/>
                  <a:gd name="connsiteY15" fmla="*/ 92549 h 588252"/>
                  <a:gd name="connsiteX16" fmla="*/ 520122 w 553405"/>
                  <a:gd name="connsiteY16" fmla="*/ 207764 h 588252"/>
                  <a:gd name="connsiteX17" fmla="*/ 526904 w 553405"/>
                  <a:gd name="connsiteY17" fmla="*/ 265372 h 588252"/>
                  <a:gd name="connsiteX18" fmla="*/ 534208 w 553405"/>
                  <a:gd name="connsiteY18" fmla="*/ 323567 h 588252"/>
                  <a:gd name="connsiteX19" fmla="*/ 540990 w 553405"/>
                  <a:gd name="connsiteY19" fmla="*/ 389992 h 588252"/>
                  <a:gd name="connsiteX20" fmla="*/ 544120 w 553405"/>
                  <a:gd name="connsiteY20" fmla="*/ 424086 h 588252"/>
                  <a:gd name="connsiteX21" fmla="*/ 546728 w 553405"/>
                  <a:gd name="connsiteY21" fmla="*/ 457005 h 588252"/>
                  <a:gd name="connsiteX22" fmla="*/ 548815 w 553405"/>
                  <a:gd name="connsiteY22" fmla="*/ 491099 h 588252"/>
                  <a:gd name="connsiteX23" fmla="*/ 550902 w 553405"/>
                  <a:gd name="connsiteY23" fmla="*/ 524018 h 588252"/>
                  <a:gd name="connsiteX24" fmla="*/ 552467 w 553405"/>
                  <a:gd name="connsiteY24" fmla="*/ 558112 h 588252"/>
                  <a:gd name="connsiteX25" fmla="*/ 553405 w 553405"/>
                  <a:gd name="connsiteY25" fmla="*/ 588252 h 588252"/>
                  <a:gd name="connsiteX26" fmla="*/ 0 w 553405"/>
                  <a:gd name="connsiteY26" fmla="*/ 588252 h 588252"/>
                  <a:gd name="connsiteX27" fmla="*/ 0 w 553405"/>
                  <a:gd name="connsiteY27" fmla="*/ 573983 h 588252"/>
                  <a:gd name="connsiteX28" fmla="*/ 1044 w 553405"/>
                  <a:gd name="connsiteY28" fmla="*/ 549882 h 588252"/>
                  <a:gd name="connsiteX29" fmla="*/ 2609 w 553405"/>
                  <a:gd name="connsiteY29" fmla="*/ 516376 h 588252"/>
                  <a:gd name="connsiteX30" fmla="*/ 5217 w 553405"/>
                  <a:gd name="connsiteY30" fmla="*/ 482281 h 588252"/>
                  <a:gd name="connsiteX31" fmla="*/ 10434 w 553405"/>
                  <a:gd name="connsiteY31" fmla="*/ 415269 h 588252"/>
                  <a:gd name="connsiteX32" fmla="*/ 17216 w 553405"/>
                  <a:gd name="connsiteY32" fmla="*/ 342965 h 588252"/>
                  <a:gd name="connsiteX33" fmla="*/ 25041 w 553405"/>
                  <a:gd name="connsiteY33" fmla="*/ 270662 h 588252"/>
                  <a:gd name="connsiteX34" fmla="*/ 34432 w 553405"/>
                  <a:gd name="connsiteY34" fmla="*/ 192481 h 588252"/>
                  <a:gd name="connsiteX35" fmla="*/ 44344 w 553405"/>
                  <a:gd name="connsiteY35" fmla="*/ 113123 h 588252"/>
                  <a:gd name="connsiteX36" fmla="*/ 45909 w 553405"/>
                  <a:gd name="connsiteY36" fmla="*/ 104894 h 588252"/>
                  <a:gd name="connsiteX37" fmla="*/ 46430 w 553405"/>
                  <a:gd name="connsiteY37" fmla="*/ 101367 h 588252"/>
                  <a:gd name="connsiteX38" fmla="*/ 46430 w 553405"/>
                  <a:gd name="connsiteY38" fmla="*/ 97252 h 588252"/>
                  <a:gd name="connsiteX39" fmla="*/ 46952 w 553405"/>
                  <a:gd name="connsiteY39" fmla="*/ 91961 h 588252"/>
                  <a:gd name="connsiteX40" fmla="*/ 47995 w 553405"/>
                  <a:gd name="connsiteY40" fmla="*/ 88434 h 588252"/>
                  <a:gd name="connsiteX41" fmla="*/ 49561 w 553405"/>
                  <a:gd name="connsiteY41" fmla="*/ 85495 h 588252"/>
                  <a:gd name="connsiteX42" fmla="*/ 51126 w 553405"/>
                  <a:gd name="connsiteY42" fmla="*/ 83144 h 588252"/>
                  <a:gd name="connsiteX43" fmla="*/ 53212 w 553405"/>
                  <a:gd name="connsiteY43" fmla="*/ 80792 h 588252"/>
                  <a:gd name="connsiteX44" fmla="*/ 55299 w 553405"/>
                  <a:gd name="connsiteY44" fmla="*/ 79029 h 588252"/>
                  <a:gd name="connsiteX45" fmla="*/ 61038 w 553405"/>
                  <a:gd name="connsiteY45" fmla="*/ 76090 h 588252"/>
                  <a:gd name="connsiteX46" fmla="*/ 74601 w 553405"/>
                  <a:gd name="connsiteY46" fmla="*/ 70212 h 588252"/>
                  <a:gd name="connsiteX47" fmla="*/ 88165 w 553405"/>
                  <a:gd name="connsiteY47" fmla="*/ 65509 h 588252"/>
                  <a:gd name="connsiteX48" fmla="*/ 101208 w 553405"/>
                  <a:gd name="connsiteY48" fmla="*/ 60806 h 588252"/>
                  <a:gd name="connsiteX49" fmla="*/ 115293 w 553405"/>
                  <a:gd name="connsiteY49" fmla="*/ 57279 h 588252"/>
                  <a:gd name="connsiteX50" fmla="*/ 129379 w 553405"/>
                  <a:gd name="connsiteY50" fmla="*/ 53752 h 588252"/>
                  <a:gd name="connsiteX51" fmla="*/ 142943 w 553405"/>
                  <a:gd name="connsiteY51" fmla="*/ 50225 h 588252"/>
                  <a:gd name="connsiteX52" fmla="*/ 157028 w 553405"/>
                  <a:gd name="connsiteY52" fmla="*/ 47286 h 588252"/>
                  <a:gd name="connsiteX53" fmla="*/ 171114 w 553405"/>
                  <a:gd name="connsiteY53" fmla="*/ 44935 h 588252"/>
                  <a:gd name="connsiteX54" fmla="*/ 158201 w 553405"/>
                  <a:gd name="connsiteY54" fmla="*/ 0 h 588252"/>
                  <a:gd name="connsiteX0" fmla="*/ 158201 w 553405"/>
                  <a:gd name="connsiteY0" fmla="*/ 3527 h 591779"/>
                  <a:gd name="connsiteX1" fmla="*/ 358422 w 553405"/>
                  <a:gd name="connsiteY1" fmla="*/ 0 h 591779"/>
                  <a:gd name="connsiteX2" fmla="*/ 344835 w 553405"/>
                  <a:gd name="connsiteY2" fmla="*/ 43759 h 591779"/>
                  <a:gd name="connsiteX3" fmla="*/ 366746 w 553405"/>
                  <a:gd name="connsiteY3" fmla="*/ 46110 h 591779"/>
                  <a:gd name="connsiteX4" fmla="*/ 388657 w 553405"/>
                  <a:gd name="connsiteY4" fmla="*/ 49050 h 591779"/>
                  <a:gd name="connsiteX5" fmla="*/ 411090 w 553405"/>
                  <a:gd name="connsiteY5" fmla="*/ 53752 h 591779"/>
                  <a:gd name="connsiteX6" fmla="*/ 432479 w 553405"/>
                  <a:gd name="connsiteY6" fmla="*/ 59043 h 591779"/>
                  <a:gd name="connsiteX7" fmla="*/ 453868 w 553405"/>
                  <a:gd name="connsiteY7" fmla="*/ 64921 h 591779"/>
                  <a:gd name="connsiteX8" fmla="*/ 474735 w 553405"/>
                  <a:gd name="connsiteY8" fmla="*/ 72563 h 591779"/>
                  <a:gd name="connsiteX9" fmla="*/ 495603 w 553405"/>
                  <a:gd name="connsiteY9" fmla="*/ 81380 h 591779"/>
                  <a:gd name="connsiteX10" fmla="*/ 499776 w 553405"/>
                  <a:gd name="connsiteY10" fmla="*/ 83732 h 591779"/>
                  <a:gd name="connsiteX11" fmla="*/ 502907 w 553405"/>
                  <a:gd name="connsiteY11" fmla="*/ 86671 h 591779"/>
                  <a:gd name="connsiteX12" fmla="*/ 503950 w 553405"/>
                  <a:gd name="connsiteY12" fmla="*/ 88434 h 591779"/>
                  <a:gd name="connsiteX13" fmla="*/ 504993 w 553405"/>
                  <a:gd name="connsiteY13" fmla="*/ 90198 h 591779"/>
                  <a:gd name="connsiteX14" fmla="*/ 505515 w 553405"/>
                  <a:gd name="connsiteY14" fmla="*/ 92549 h 591779"/>
                  <a:gd name="connsiteX15" fmla="*/ 506037 w 553405"/>
                  <a:gd name="connsiteY15" fmla="*/ 96076 h 591779"/>
                  <a:gd name="connsiteX16" fmla="*/ 520122 w 553405"/>
                  <a:gd name="connsiteY16" fmla="*/ 211291 h 591779"/>
                  <a:gd name="connsiteX17" fmla="*/ 526904 w 553405"/>
                  <a:gd name="connsiteY17" fmla="*/ 268899 h 591779"/>
                  <a:gd name="connsiteX18" fmla="*/ 534208 w 553405"/>
                  <a:gd name="connsiteY18" fmla="*/ 327094 h 591779"/>
                  <a:gd name="connsiteX19" fmla="*/ 540990 w 553405"/>
                  <a:gd name="connsiteY19" fmla="*/ 393519 h 591779"/>
                  <a:gd name="connsiteX20" fmla="*/ 544120 w 553405"/>
                  <a:gd name="connsiteY20" fmla="*/ 427613 h 591779"/>
                  <a:gd name="connsiteX21" fmla="*/ 546728 w 553405"/>
                  <a:gd name="connsiteY21" fmla="*/ 460532 h 591779"/>
                  <a:gd name="connsiteX22" fmla="*/ 548815 w 553405"/>
                  <a:gd name="connsiteY22" fmla="*/ 494626 h 591779"/>
                  <a:gd name="connsiteX23" fmla="*/ 550902 w 553405"/>
                  <a:gd name="connsiteY23" fmla="*/ 527545 h 591779"/>
                  <a:gd name="connsiteX24" fmla="*/ 552467 w 553405"/>
                  <a:gd name="connsiteY24" fmla="*/ 561639 h 591779"/>
                  <a:gd name="connsiteX25" fmla="*/ 553405 w 553405"/>
                  <a:gd name="connsiteY25" fmla="*/ 591779 h 591779"/>
                  <a:gd name="connsiteX26" fmla="*/ 0 w 553405"/>
                  <a:gd name="connsiteY26" fmla="*/ 591779 h 591779"/>
                  <a:gd name="connsiteX27" fmla="*/ 0 w 553405"/>
                  <a:gd name="connsiteY27" fmla="*/ 577510 h 591779"/>
                  <a:gd name="connsiteX28" fmla="*/ 1044 w 553405"/>
                  <a:gd name="connsiteY28" fmla="*/ 553409 h 591779"/>
                  <a:gd name="connsiteX29" fmla="*/ 2609 w 553405"/>
                  <a:gd name="connsiteY29" fmla="*/ 519903 h 591779"/>
                  <a:gd name="connsiteX30" fmla="*/ 5217 w 553405"/>
                  <a:gd name="connsiteY30" fmla="*/ 485808 h 591779"/>
                  <a:gd name="connsiteX31" fmla="*/ 10434 w 553405"/>
                  <a:gd name="connsiteY31" fmla="*/ 418796 h 591779"/>
                  <a:gd name="connsiteX32" fmla="*/ 17216 w 553405"/>
                  <a:gd name="connsiteY32" fmla="*/ 346492 h 591779"/>
                  <a:gd name="connsiteX33" fmla="*/ 25041 w 553405"/>
                  <a:gd name="connsiteY33" fmla="*/ 274189 h 591779"/>
                  <a:gd name="connsiteX34" fmla="*/ 34432 w 553405"/>
                  <a:gd name="connsiteY34" fmla="*/ 196008 h 591779"/>
                  <a:gd name="connsiteX35" fmla="*/ 44344 w 553405"/>
                  <a:gd name="connsiteY35" fmla="*/ 116650 h 591779"/>
                  <a:gd name="connsiteX36" fmla="*/ 45909 w 553405"/>
                  <a:gd name="connsiteY36" fmla="*/ 108421 h 591779"/>
                  <a:gd name="connsiteX37" fmla="*/ 46430 w 553405"/>
                  <a:gd name="connsiteY37" fmla="*/ 104894 h 591779"/>
                  <a:gd name="connsiteX38" fmla="*/ 46430 w 553405"/>
                  <a:gd name="connsiteY38" fmla="*/ 100779 h 591779"/>
                  <a:gd name="connsiteX39" fmla="*/ 46952 w 553405"/>
                  <a:gd name="connsiteY39" fmla="*/ 95488 h 591779"/>
                  <a:gd name="connsiteX40" fmla="*/ 47995 w 553405"/>
                  <a:gd name="connsiteY40" fmla="*/ 91961 h 591779"/>
                  <a:gd name="connsiteX41" fmla="*/ 49561 w 553405"/>
                  <a:gd name="connsiteY41" fmla="*/ 89022 h 591779"/>
                  <a:gd name="connsiteX42" fmla="*/ 51126 w 553405"/>
                  <a:gd name="connsiteY42" fmla="*/ 86671 h 591779"/>
                  <a:gd name="connsiteX43" fmla="*/ 53212 w 553405"/>
                  <a:gd name="connsiteY43" fmla="*/ 84319 h 591779"/>
                  <a:gd name="connsiteX44" fmla="*/ 55299 w 553405"/>
                  <a:gd name="connsiteY44" fmla="*/ 82556 h 591779"/>
                  <a:gd name="connsiteX45" fmla="*/ 61038 w 553405"/>
                  <a:gd name="connsiteY45" fmla="*/ 79617 h 591779"/>
                  <a:gd name="connsiteX46" fmla="*/ 74601 w 553405"/>
                  <a:gd name="connsiteY46" fmla="*/ 73739 h 591779"/>
                  <a:gd name="connsiteX47" fmla="*/ 88165 w 553405"/>
                  <a:gd name="connsiteY47" fmla="*/ 69036 h 591779"/>
                  <a:gd name="connsiteX48" fmla="*/ 101208 w 553405"/>
                  <a:gd name="connsiteY48" fmla="*/ 64333 h 591779"/>
                  <a:gd name="connsiteX49" fmla="*/ 115293 w 553405"/>
                  <a:gd name="connsiteY49" fmla="*/ 60806 h 591779"/>
                  <a:gd name="connsiteX50" fmla="*/ 129379 w 553405"/>
                  <a:gd name="connsiteY50" fmla="*/ 57279 h 591779"/>
                  <a:gd name="connsiteX51" fmla="*/ 142943 w 553405"/>
                  <a:gd name="connsiteY51" fmla="*/ 53752 h 591779"/>
                  <a:gd name="connsiteX52" fmla="*/ 157028 w 553405"/>
                  <a:gd name="connsiteY52" fmla="*/ 50813 h 591779"/>
                  <a:gd name="connsiteX53" fmla="*/ 171114 w 553405"/>
                  <a:gd name="connsiteY53" fmla="*/ 48462 h 591779"/>
                  <a:gd name="connsiteX54" fmla="*/ 158201 w 553405"/>
                  <a:gd name="connsiteY54" fmla="*/ 3527 h 591779"/>
                  <a:gd name="connsiteX0" fmla="*/ 158201 w 553405"/>
                  <a:gd name="connsiteY0" fmla="*/ 3527 h 591779"/>
                  <a:gd name="connsiteX1" fmla="*/ 358422 w 553405"/>
                  <a:gd name="connsiteY1" fmla="*/ 0 h 591779"/>
                  <a:gd name="connsiteX2" fmla="*/ 354977 w 553405"/>
                  <a:gd name="connsiteY2" fmla="*/ 43759 h 591779"/>
                  <a:gd name="connsiteX3" fmla="*/ 366746 w 553405"/>
                  <a:gd name="connsiteY3" fmla="*/ 46110 h 591779"/>
                  <a:gd name="connsiteX4" fmla="*/ 388657 w 553405"/>
                  <a:gd name="connsiteY4" fmla="*/ 49050 h 591779"/>
                  <a:gd name="connsiteX5" fmla="*/ 411090 w 553405"/>
                  <a:gd name="connsiteY5" fmla="*/ 53752 h 591779"/>
                  <a:gd name="connsiteX6" fmla="*/ 432479 w 553405"/>
                  <a:gd name="connsiteY6" fmla="*/ 59043 h 591779"/>
                  <a:gd name="connsiteX7" fmla="*/ 453868 w 553405"/>
                  <a:gd name="connsiteY7" fmla="*/ 64921 h 591779"/>
                  <a:gd name="connsiteX8" fmla="*/ 474735 w 553405"/>
                  <a:gd name="connsiteY8" fmla="*/ 72563 h 591779"/>
                  <a:gd name="connsiteX9" fmla="*/ 495603 w 553405"/>
                  <a:gd name="connsiteY9" fmla="*/ 81380 h 591779"/>
                  <a:gd name="connsiteX10" fmla="*/ 499776 w 553405"/>
                  <a:gd name="connsiteY10" fmla="*/ 83732 h 591779"/>
                  <a:gd name="connsiteX11" fmla="*/ 502907 w 553405"/>
                  <a:gd name="connsiteY11" fmla="*/ 86671 h 591779"/>
                  <a:gd name="connsiteX12" fmla="*/ 503950 w 553405"/>
                  <a:gd name="connsiteY12" fmla="*/ 88434 h 591779"/>
                  <a:gd name="connsiteX13" fmla="*/ 504993 w 553405"/>
                  <a:gd name="connsiteY13" fmla="*/ 90198 h 591779"/>
                  <a:gd name="connsiteX14" fmla="*/ 505515 w 553405"/>
                  <a:gd name="connsiteY14" fmla="*/ 92549 h 591779"/>
                  <a:gd name="connsiteX15" fmla="*/ 506037 w 553405"/>
                  <a:gd name="connsiteY15" fmla="*/ 96076 h 591779"/>
                  <a:gd name="connsiteX16" fmla="*/ 520122 w 553405"/>
                  <a:gd name="connsiteY16" fmla="*/ 211291 h 591779"/>
                  <a:gd name="connsiteX17" fmla="*/ 526904 w 553405"/>
                  <a:gd name="connsiteY17" fmla="*/ 268899 h 591779"/>
                  <a:gd name="connsiteX18" fmla="*/ 534208 w 553405"/>
                  <a:gd name="connsiteY18" fmla="*/ 327094 h 591779"/>
                  <a:gd name="connsiteX19" fmla="*/ 540990 w 553405"/>
                  <a:gd name="connsiteY19" fmla="*/ 393519 h 591779"/>
                  <a:gd name="connsiteX20" fmla="*/ 544120 w 553405"/>
                  <a:gd name="connsiteY20" fmla="*/ 427613 h 591779"/>
                  <a:gd name="connsiteX21" fmla="*/ 546728 w 553405"/>
                  <a:gd name="connsiteY21" fmla="*/ 460532 h 591779"/>
                  <a:gd name="connsiteX22" fmla="*/ 548815 w 553405"/>
                  <a:gd name="connsiteY22" fmla="*/ 494626 h 591779"/>
                  <a:gd name="connsiteX23" fmla="*/ 550902 w 553405"/>
                  <a:gd name="connsiteY23" fmla="*/ 527545 h 591779"/>
                  <a:gd name="connsiteX24" fmla="*/ 552467 w 553405"/>
                  <a:gd name="connsiteY24" fmla="*/ 561639 h 591779"/>
                  <a:gd name="connsiteX25" fmla="*/ 553405 w 553405"/>
                  <a:gd name="connsiteY25" fmla="*/ 591779 h 591779"/>
                  <a:gd name="connsiteX26" fmla="*/ 0 w 553405"/>
                  <a:gd name="connsiteY26" fmla="*/ 591779 h 591779"/>
                  <a:gd name="connsiteX27" fmla="*/ 0 w 553405"/>
                  <a:gd name="connsiteY27" fmla="*/ 577510 h 591779"/>
                  <a:gd name="connsiteX28" fmla="*/ 1044 w 553405"/>
                  <a:gd name="connsiteY28" fmla="*/ 553409 h 591779"/>
                  <a:gd name="connsiteX29" fmla="*/ 2609 w 553405"/>
                  <a:gd name="connsiteY29" fmla="*/ 519903 h 591779"/>
                  <a:gd name="connsiteX30" fmla="*/ 5217 w 553405"/>
                  <a:gd name="connsiteY30" fmla="*/ 485808 h 591779"/>
                  <a:gd name="connsiteX31" fmla="*/ 10434 w 553405"/>
                  <a:gd name="connsiteY31" fmla="*/ 418796 h 591779"/>
                  <a:gd name="connsiteX32" fmla="*/ 17216 w 553405"/>
                  <a:gd name="connsiteY32" fmla="*/ 346492 h 591779"/>
                  <a:gd name="connsiteX33" fmla="*/ 25041 w 553405"/>
                  <a:gd name="connsiteY33" fmla="*/ 274189 h 591779"/>
                  <a:gd name="connsiteX34" fmla="*/ 34432 w 553405"/>
                  <a:gd name="connsiteY34" fmla="*/ 196008 h 591779"/>
                  <a:gd name="connsiteX35" fmla="*/ 44344 w 553405"/>
                  <a:gd name="connsiteY35" fmla="*/ 116650 h 591779"/>
                  <a:gd name="connsiteX36" fmla="*/ 45909 w 553405"/>
                  <a:gd name="connsiteY36" fmla="*/ 108421 h 591779"/>
                  <a:gd name="connsiteX37" fmla="*/ 46430 w 553405"/>
                  <a:gd name="connsiteY37" fmla="*/ 104894 h 591779"/>
                  <a:gd name="connsiteX38" fmla="*/ 46430 w 553405"/>
                  <a:gd name="connsiteY38" fmla="*/ 100779 h 591779"/>
                  <a:gd name="connsiteX39" fmla="*/ 46952 w 553405"/>
                  <a:gd name="connsiteY39" fmla="*/ 95488 h 591779"/>
                  <a:gd name="connsiteX40" fmla="*/ 47995 w 553405"/>
                  <a:gd name="connsiteY40" fmla="*/ 91961 h 591779"/>
                  <a:gd name="connsiteX41" fmla="*/ 49561 w 553405"/>
                  <a:gd name="connsiteY41" fmla="*/ 89022 h 591779"/>
                  <a:gd name="connsiteX42" fmla="*/ 51126 w 553405"/>
                  <a:gd name="connsiteY42" fmla="*/ 86671 h 591779"/>
                  <a:gd name="connsiteX43" fmla="*/ 53212 w 553405"/>
                  <a:gd name="connsiteY43" fmla="*/ 84319 h 591779"/>
                  <a:gd name="connsiteX44" fmla="*/ 55299 w 553405"/>
                  <a:gd name="connsiteY44" fmla="*/ 82556 h 591779"/>
                  <a:gd name="connsiteX45" fmla="*/ 61038 w 553405"/>
                  <a:gd name="connsiteY45" fmla="*/ 79617 h 591779"/>
                  <a:gd name="connsiteX46" fmla="*/ 74601 w 553405"/>
                  <a:gd name="connsiteY46" fmla="*/ 73739 h 591779"/>
                  <a:gd name="connsiteX47" fmla="*/ 88165 w 553405"/>
                  <a:gd name="connsiteY47" fmla="*/ 69036 h 591779"/>
                  <a:gd name="connsiteX48" fmla="*/ 101208 w 553405"/>
                  <a:gd name="connsiteY48" fmla="*/ 64333 h 591779"/>
                  <a:gd name="connsiteX49" fmla="*/ 115293 w 553405"/>
                  <a:gd name="connsiteY49" fmla="*/ 60806 h 591779"/>
                  <a:gd name="connsiteX50" fmla="*/ 129379 w 553405"/>
                  <a:gd name="connsiteY50" fmla="*/ 57279 h 591779"/>
                  <a:gd name="connsiteX51" fmla="*/ 142943 w 553405"/>
                  <a:gd name="connsiteY51" fmla="*/ 53752 h 591779"/>
                  <a:gd name="connsiteX52" fmla="*/ 157028 w 553405"/>
                  <a:gd name="connsiteY52" fmla="*/ 50813 h 591779"/>
                  <a:gd name="connsiteX53" fmla="*/ 171114 w 553405"/>
                  <a:gd name="connsiteY53" fmla="*/ 48462 h 591779"/>
                  <a:gd name="connsiteX54" fmla="*/ 158201 w 553405"/>
                  <a:gd name="connsiteY54" fmla="*/ 3527 h 591779"/>
                  <a:gd name="connsiteX0" fmla="*/ 158201 w 553405"/>
                  <a:gd name="connsiteY0" fmla="*/ 3527 h 591779"/>
                  <a:gd name="connsiteX1" fmla="*/ 358422 w 553405"/>
                  <a:gd name="connsiteY1" fmla="*/ 0 h 591779"/>
                  <a:gd name="connsiteX2" fmla="*/ 354977 w 553405"/>
                  <a:gd name="connsiteY2" fmla="*/ 43759 h 591779"/>
                  <a:gd name="connsiteX3" fmla="*/ 366746 w 553405"/>
                  <a:gd name="connsiteY3" fmla="*/ 46110 h 591779"/>
                  <a:gd name="connsiteX4" fmla="*/ 388657 w 553405"/>
                  <a:gd name="connsiteY4" fmla="*/ 49050 h 591779"/>
                  <a:gd name="connsiteX5" fmla="*/ 411090 w 553405"/>
                  <a:gd name="connsiteY5" fmla="*/ 53752 h 591779"/>
                  <a:gd name="connsiteX6" fmla="*/ 432479 w 553405"/>
                  <a:gd name="connsiteY6" fmla="*/ 59043 h 591779"/>
                  <a:gd name="connsiteX7" fmla="*/ 453868 w 553405"/>
                  <a:gd name="connsiteY7" fmla="*/ 64921 h 591779"/>
                  <a:gd name="connsiteX8" fmla="*/ 474735 w 553405"/>
                  <a:gd name="connsiteY8" fmla="*/ 72563 h 591779"/>
                  <a:gd name="connsiteX9" fmla="*/ 495603 w 553405"/>
                  <a:gd name="connsiteY9" fmla="*/ 81380 h 591779"/>
                  <a:gd name="connsiteX10" fmla="*/ 499776 w 553405"/>
                  <a:gd name="connsiteY10" fmla="*/ 83732 h 591779"/>
                  <a:gd name="connsiteX11" fmla="*/ 502907 w 553405"/>
                  <a:gd name="connsiteY11" fmla="*/ 86671 h 591779"/>
                  <a:gd name="connsiteX12" fmla="*/ 503950 w 553405"/>
                  <a:gd name="connsiteY12" fmla="*/ 88434 h 591779"/>
                  <a:gd name="connsiteX13" fmla="*/ 504993 w 553405"/>
                  <a:gd name="connsiteY13" fmla="*/ 90198 h 591779"/>
                  <a:gd name="connsiteX14" fmla="*/ 505515 w 553405"/>
                  <a:gd name="connsiteY14" fmla="*/ 92549 h 591779"/>
                  <a:gd name="connsiteX15" fmla="*/ 506037 w 553405"/>
                  <a:gd name="connsiteY15" fmla="*/ 96076 h 591779"/>
                  <a:gd name="connsiteX16" fmla="*/ 520122 w 553405"/>
                  <a:gd name="connsiteY16" fmla="*/ 211291 h 591779"/>
                  <a:gd name="connsiteX17" fmla="*/ 526904 w 553405"/>
                  <a:gd name="connsiteY17" fmla="*/ 268899 h 591779"/>
                  <a:gd name="connsiteX18" fmla="*/ 534208 w 553405"/>
                  <a:gd name="connsiteY18" fmla="*/ 327094 h 591779"/>
                  <a:gd name="connsiteX19" fmla="*/ 540990 w 553405"/>
                  <a:gd name="connsiteY19" fmla="*/ 393519 h 591779"/>
                  <a:gd name="connsiteX20" fmla="*/ 544120 w 553405"/>
                  <a:gd name="connsiteY20" fmla="*/ 427613 h 591779"/>
                  <a:gd name="connsiteX21" fmla="*/ 546728 w 553405"/>
                  <a:gd name="connsiteY21" fmla="*/ 460532 h 591779"/>
                  <a:gd name="connsiteX22" fmla="*/ 548815 w 553405"/>
                  <a:gd name="connsiteY22" fmla="*/ 494626 h 591779"/>
                  <a:gd name="connsiteX23" fmla="*/ 550902 w 553405"/>
                  <a:gd name="connsiteY23" fmla="*/ 527545 h 591779"/>
                  <a:gd name="connsiteX24" fmla="*/ 552467 w 553405"/>
                  <a:gd name="connsiteY24" fmla="*/ 561639 h 591779"/>
                  <a:gd name="connsiteX25" fmla="*/ 553405 w 553405"/>
                  <a:gd name="connsiteY25" fmla="*/ 591779 h 591779"/>
                  <a:gd name="connsiteX26" fmla="*/ 0 w 553405"/>
                  <a:gd name="connsiteY26" fmla="*/ 591779 h 591779"/>
                  <a:gd name="connsiteX27" fmla="*/ 0 w 553405"/>
                  <a:gd name="connsiteY27" fmla="*/ 577510 h 591779"/>
                  <a:gd name="connsiteX28" fmla="*/ 1044 w 553405"/>
                  <a:gd name="connsiteY28" fmla="*/ 553409 h 591779"/>
                  <a:gd name="connsiteX29" fmla="*/ 2609 w 553405"/>
                  <a:gd name="connsiteY29" fmla="*/ 519903 h 591779"/>
                  <a:gd name="connsiteX30" fmla="*/ 5217 w 553405"/>
                  <a:gd name="connsiteY30" fmla="*/ 485808 h 591779"/>
                  <a:gd name="connsiteX31" fmla="*/ 10434 w 553405"/>
                  <a:gd name="connsiteY31" fmla="*/ 418796 h 591779"/>
                  <a:gd name="connsiteX32" fmla="*/ 17216 w 553405"/>
                  <a:gd name="connsiteY32" fmla="*/ 346492 h 591779"/>
                  <a:gd name="connsiteX33" fmla="*/ 25041 w 553405"/>
                  <a:gd name="connsiteY33" fmla="*/ 274189 h 591779"/>
                  <a:gd name="connsiteX34" fmla="*/ 34432 w 553405"/>
                  <a:gd name="connsiteY34" fmla="*/ 196008 h 591779"/>
                  <a:gd name="connsiteX35" fmla="*/ 44344 w 553405"/>
                  <a:gd name="connsiteY35" fmla="*/ 116650 h 591779"/>
                  <a:gd name="connsiteX36" fmla="*/ 45909 w 553405"/>
                  <a:gd name="connsiteY36" fmla="*/ 108421 h 591779"/>
                  <a:gd name="connsiteX37" fmla="*/ 46430 w 553405"/>
                  <a:gd name="connsiteY37" fmla="*/ 104894 h 591779"/>
                  <a:gd name="connsiteX38" fmla="*/ 46430 w 553405"/>
                  <a:gd name="connsiteY38" fmla="*/ 100779 h 591779"/>
                  <a:gd name="connsiteX39" fmla="*/ 46952 w 553405"/>
                  <a:gd name="connsiteY39" fmla="*/ 95488 h 591779"/>
                  <a:gd name="connsiteX40" fmla="*/ 47995 w 553405"/>
                  <a:gd name="connsiteY40" fmla="*/ 91961 h 591779"/>
                  <a:gd name="connsiteX41" fmla="*/ 49561 w 553405"/>
                  <a:gd name="connsiteY41" fmla="*/ 89022 h 591779"/>
                  <a:gd name="connsiteX42" fmla="*/ 51126 w 553405"/>
                  <a:gd name="connsiteY42" fmla="*/ 86671 h 591779"/>
                  <a:gd name="connsiteX43" fmla="*/ 53212 w 553405"/>
                  <a:gd name="connsiteY43" fmla="*/ 84319 h 591779"/>
                  <a:gd name="connsiteX44" fmla="*/ 55299 w 553405"/>
                  <a:gd name="connsiteY44" fmla="*/ 82556 h 591779"/>
                  <a:gd name="connsiteX45" fmla="*/ 61038 w 553405"/>
                  <a:gd name="connsiteY45" fmla="*/ 79617 h 591779"/>
                  <a:gd name="connsiteX46" fmla="*/ 74601 w 553405"/>
                  <a:gd name="connsiteY46" fmla="*/ 73739 h 591779"/>
                  <a:gd name="connsiteX47" fmla="*/ 88165 w 553405"/>
                  <a:gd name="connsiteY47" fmla="*/ 69036 h 591779"/>
                  <a:gd name="connsiteX48" fmla="*/ 101208 w 553405"/>
                  <a:gd name="connsiteY48" fmla="*/ 64333 h 591779"/>
                  <a:gd name="connsiteX49" fmla="*/ 115293 w 553405"/>
                  <a:gd name="connsiteY49" fmla="*/ 60806 h 591779"/>
                  <a:gd name="connsiteX50" fmla="*/ 129379 w 553405"/>
                  <a:gd name="connsiteY50" fmla="*/ 57279 h 591779"/>
                  <a:gd name="connsiteX51" fmla="*/ 142943 w 553405"/>
                  <a:gd name="connsiteY51" fmla="*/ 53752 h 591779"/>
                  <a:gd name="connsiteX52" fmla="*/ 157028 w 553405"/>
                  <a:gd name="connsiteY52" fmla="*/ 50813 h 591779"/>
                  <a:gd name="connsiteX53" fmla="*/ 158201 w 553405"/>
                  <a:gd name="connsiteY53" fmla="*/ 3527 h 591779"/>
                  <a:gd name="connsiteX0" fmla="*/ 158201 w 553405"/>
                  <a:gd name="connsiteY0" fmla="*/ 3527 h 591779"/>
                  <a:gd name="connsiteX1" fmla="*/ 358422 w 553405"/>
                  <a:gd name="connsiteY1" fmla="*/ 0 h 591779"/>
                  <a:gd name="connsiteX2" fmla="*/ 366746 w 553405"/>
                  <a:gd name="connsiteY2" fmla="*/ 46110 h 591779"/>
                  <a:gd name="connsiteX3" fmla="*/ 388657 w 553405"/>
                  <a:gd name="connsiteY3" fmla="*/ 49050 h 591779"/>
                  <a:gd name="connsiteX4" fmla="*/ 411090 w 553405"/>
                  <a:gd name="connsiteY4" fmla="*/ 53752 h 591779"/>
                  <a:gd name="connsiteX5" fmla="*/ 432479 w 553405"/>
                  <a:gd name="connsiteY5" fmla="*/ 59043 h 591779"/>
                  <a:gd name="connsiteX6" fmla="*/ 453868 w 553405"/>
                  <a:gd name="connsiteY6" fmla="*/ 64921 h 591779"/>
                  <a:gd name="connsiteX7" fmla="*/ 474735 w 553405"/>
                  <a:gd name="connsiteY7" fmla="*/ 72563 h 591779"/>
                  <a:gd name="connsiteX8" fmla="*/ 495603 w 553405"/>
                  <a:gd name="connsiteY8" fmla="*/ 81380 h 591779"/>
                  <a:gd name="connsiteX9" fmla="*/ 499776 w 553405"/>
                  <a:gd name="connsiteY9" fmla="*/ 83732 h 591779"/>
                  <a:gd name="connsiteX10" fmla="*/ 502907 w 553405"/>
                  <a:gd name="connsiteY10" fmla="*/ 86671 h 591779"/>
                  <a:gd name="connsiteX11" fmla="*/ 503950 w 553405"/>
                  <a:gd name="connsiteY11" fmla="*/ 88434 h 591779"/>
                  <a:gd name="connsiteX12" fmla="*/ 504993 w 553405"/>
                  <a:gd name="connsiteY12" fmla="*/ 90198 h 591779"/>
                  <a:gd name="connsiteX13" fmla="*/ 505515 w 553405"/>
                  <a:gd name="connsiteY13" fmla="*/ 92549 h 591779"/>
                  <a:gd name="connsiteX14" fmla="*/ 506037 w 553405"/>
                  <a:gd name="connsiteY14" fmla="*/ 96076 h 591779"/>
                  <a:gd name="connsiteX15" fmla="*/ 520122 w 553405"/>
                  <a:gd name="connsiteY15" fmla="*/ 211291 h 591779"/>
                  <a:gd name="connsiteX16" fmla="*/ 526904 w 553405"/>
                  <a:gd name="connsiteY16" fmla="*/ 268899 h 591779"/>
                  <a:gd name="connsiteX17" fmla="*/ 534208 w 553405"/>
                  <a:gd name="connsiteY17" fmla="*/ 327094 h 591779"/>
                  <a:gd name="connsiteX18" fmla="*/ 540990 w 553405"/>
                  <a:gd name="connsiteY18" fmla="*/ 393519 h 591779"/>
                  <a:gd name="connsiteX19" fmla="*/ 544120 w 553405"/>
                  <a:gd name="connsiteY19" fmla="*/ 427613 h 591779"/>
                  <a:gd name="connsiteX20" fmla="*/ 546728 w 553405"/>
                  <a:gd name="connsiteY20" fmla="*/ 460532 h 591779"/>
                  <a:gd name="connsiteX21" fmla="*/ 548815 w 553405"/>
                  <a:gd name="connsiteY21" fmla="*/ 494626 h 591779"/>
                  <a:gd name="connsiteX22" fmla="*/ 550902 w 553405"/>
                  <a:gd name="connsiteY22" fmla="*/ 527545 h 591779"/>
                  <a:gd name="connsiteX23" fmla="*/ 552467 w 553405"/>
                  <a:gd name="connsiteY23" fmla="*/ 561639 h 591779"/>
                  <a:gd name="connsiteX24" fmla="*/ 553405 w 553405"/>
                  <a:gd name="connsiteY24" fmla="*/ 591779 h 591779"/>
                  <a:gd name="connsiteX25" fmla="*/ 0 w 553405"/>
                  <a:gd name="connsiteY25" fmla="*/ 591779 h 591779"/>
                  <a:gd name="connsiteX26" fmla="*/ 0 w 553405"/>
                  <a:gd name="connsiteY26" fmla="*/ 577510 h 591779"/>
                  <a:gd name="connsiteX27" fmla="*/ 1044 w 553405"/>
                  <a:gd name="connsiteY27" fmla="*/ 553409 h 591779"/>
                  <a:gd name="connsiteX28" fmla="*/ 2609 w 553405"/>
                  <a:gd name="connsiteY28" fmla="*/ 519903 h 591779"/>
                  <a:gd name="connsiteX29" fmla="*/ 5217 w 553405"/>
                  <a:gd name="connsiteY29" fmla="*/ 485808 h 591779"/>
                  <a:gd name="connsiteX30" fmla="*/ 10434 w 553405"/>
                  <a:gd name="connsiteY30" fmla="*/ 418796 h 591779"/>
                  <a:gd name="connsiteX31" fmla="*/ 17216 w 553405"/>
                  <a:gd name="connsiteY31" fmla="*/ 346492 h 591779"/>
                  <a:gd name="connsiteX32" fmla="*/ 25041 w 553405"/>
                  <a:gd name="connsiteY32" fmla="*/ 274189 h 591779"/>
                  <a:gd name="connsiteX33" fmla="*/ 34432 w 553405"/>
                  <a:gd name="connsiteY33" fmla="*/ 196008 h 591779"/>
                  <a:gd name="connsiteX34" fmla="*/ 44344 w 553405"/>
                  <a:gd name="connsiteY34" fmla="*/ 116650 h 591779"/>
                  <a:gd name="connsiteX35" fmla="*/ 45909 w 553405"/>
                  <a:gd name="connsiteY35" fmla="*/ 108421 h 591779"/>
                  <a:gd name="connsiteX36" fmla="*/ 46430 w 553405"/>
                  <a:gd name="connsiteY36" fmla="*/ 104894 h 591779"/>
                  <a:gd name="connsiteX37" fmla="*/ 46430 w 553405"/>
                  <a:gd name="connsiteY37" fmla="*/ 100779 h 591779"/>
                  <a:gd name="connsiteX38" fmla="*/ 46952 w 553405"/>
                  <a:gd name="connsiteY38" fmla="*/ 95488 h 591779"/>
                  <a:gd name="connsiteX39" fmla="*/ 47995 w 553405"/>
                  <a:gd name="connsiteY39" fmla="*/ 91961 h 591779"/>
                  <a:gd name="connsiteX40" fmla="*/ 49561 w 553405"/>
                  <a:gd name="connsiteY40" fmla="*/ 89022 h 591779"/>
                  <a:gd name="connsiteX41" fmla="*/ 51126 w 553405"/>
                  <a:gd name="connsiteY41" fmla="*/ 86671 h 591779"/>
                  <a:gd name="connsiteX42" fmla="*/ 53212 w 553405"/>
                  <a:gd name="connsiteY42" fmla="*/ 84319 h 591779"/>
                  <a:gd name="connsiteX43" fmla="*/ 55299 w 553405"/>
                  <a:gd name="connsiteY43" fmla="*/ 82556 h 591779"/>
                  <a:gd name="connsiteX44" fmla="*/ 61038 w 553405"/>
                  <a:gd name="connsiteY44" fmla="*/ 79617 h 591779"/>
                  <a:gd name="connsiteX45" fmla="*/ 74601 w 553405"/>
                  <a:gd name="connsiteY45" fmla="*/ 73739 h 591779"/>
                  <a:gd name="connsiteX46" fmla="*/ 88165 w 553405"/>
                  <a:gd name="connsiteY46" fmla="*/ 69036 h 591779"/>
                  <a:gd name="connsiteX47" fmla="*/ 101208 w 553405"/>
                  <a:gd name="connsiteY47" fmla="*/ 64333 h 591779"/>
                  <a:gd name="connsiteX48" fmla="*/ 115293 w 553405"/>
                  <a:gd name="connsiteY48" fmla="*/ 60806 h 591779"/>
                  <a:gd name="connsiteX49" fmla="*/ 129379 w 553405"/>
                  <a:gd name="connsiteY49" fmla="*/ 57279 h 591779"/>
                  <a:gd name="connsiteX50" fmla="*/ 142943 w 553405"/>
                  <a:gd name="connsiteY50" fmla="*/ 53752 h 591779"/>
                  <a:gd name="connsiteX51" fmla="*/ 157028 w 553405"/>
                  <a:gd name="connsiteY51" fmla="*/ 50813 h 591779"/>
                  <a:gd name="connsiteX52" fmla="*/ 158201 w 553405"/>
                  <a:gd name="connsiteY52" fmla="*/ 3527 h 591779"/>
                  <a:gd name="connsiteX0" fmla="*/ 158201 w 553405"/>
                  <a:gd name="connsiteY0" fmla="*/ 2127 h 590379"/>
                  <a:gd name="connsiteX1" fmla="*/ 367296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495603 w 553405"/>
                  <a:gd name="connsiteY8" fmla="*/ 79980 h 590379"/>
                  <a:gd name="connsiteX9" fmla="*/ 499776 w 553405"/>
                  <a:gd name="connsiteY9" fmla="*/ 82332 h 590379"/>
                  <a:gd name="connsiteX10" fmla="*/ 502907 w 553405"/>
                  <a:gd name="connsiteY10" fmla="*/ 85271 h 590379"/>
                  <a:gd name="connsiteX11" fmla="*/ 503950 w 553405"/>
                  <a:gd name="connsiteY11" fmla="*/ 87034 h 590379"/>
                  <a:gd name="connsiteX12" fmla="*/ 504993 w 553405"/>
                  <a:gd name="connsiteY12" fmla="*/ 88798 h 590379"/>
                  <a:gd name="connsiteX13" fmla="*/ 505515 w 553405"/>
                  <a:gd name="connsiteY13" fmla="*/ 91149 h 590379"/>
                  <a:gd name="connsiteX14" fmla="*/ 506037 w 553405"/>
                  <a:gd name="connsiteY14" fmla="*/ 94676 h 590379"/>
                  <a:gd name="connsiteX15" fmla="*/ 520122 w 553405"/>
                  <a:gd name="connsiteY15" fmla="*/ 209891 h 590379"/>
                  <a:gd name="connsiteX16" fmla="*/ 526904 w 553405"/>
                  <a:gd name="connsiteY16" fmla="*/ 267499 h 590379"/>
                  <a:gd name="connsiteX17" fmla="*/ 534208 w 553405"/>
                  <a:gd name="connsiteY17" fmla="*/ 325694 h 590379"/>
                  <a:gd name="connsiteX18" fmla="*/ 540990 w 553405"/>
                  <a:gd name="connsiteY18" fmla="*/ 392119 h 590379"/>
                  <a:gd name="connsiteX19" fmla="*/ 544120 w 553405"/>
                  <a:gd name="connsiteY19" fmla="*/ 426213 h 590379"/>
                  <a:gd name="connsiteX20" fmla="*/ 546728 w 553405"/>
                  <a:gd name="connsiteY20" fmla="*/ 459132 h 590379"/>
                  <a:gd name="connsiteX21" fmla="*/ 548815 w 553405"/>
                  <a:gd name="connsiteY21" fmla="*/ 493226 h 590379"/>
                  <a:gd name="connsiteX22" fmla="*/ 550902 w 553405"/>
                  <a:gd name="connsiteY22" fmla="*/ 526145 h 590379"/>
                  <a:gd name="connsiteX23" fmla="*/ 552467 w 553405"/>
                  <a:gd name="connsiteY23" fmla="*/ 560239 h 590379"/>
                  <a:gd name="connsiteX24" fmla="*/ 553405 w 553405"/>
                  <a:gd name="connsiteY24" fmla="*/ 590379 h 590379"/>
                  <a:gd name="connsiteX25" fmla="*/ 0 w 553405"/>
                  <a:gd name="connsiteY25" fmla="*/ 590379 h 590379"/>
                  <a:gd name="connsiteX26" fmla="*/ 0 w 553405"/>
                  <a:gd name="connsiteY26" fmla="*/ 576110 h 590379"/>
                  <a:gd name="connsiteX27" fmla="*/ 1044 w 553405"/>
                  <a:gd name="connsiteY27" fmla="*/ 552009 h 590379"/>
                  <a:gd name="connsiteX28" fmla="*/ 2609 w 553405"/>
                  <a:gd name="connsiteY28" fmla="*/ 518503 h 590379"/>
                  <a:gd name="connsiteX29" fmla="*/ 5217 w 553405"/>
                  <a:gd name="connsiteY29" fmla="*/ 484408 h 590379"/>
                  <a:gd name="connsiteX30" fmla="*/ 10434 w 553405"/>
                  <a:gd name="connsiteY30" fmla="*/ 417396 h 590379"/>
                  <a:gd name="connsiteX31" fmla="*/ 17216 w 553405"/>
                  <a:gd name="connsiteY31" fmla="*/ 345092 h 590379"/>
                  <a:gd name="connsiteX32" fmla="*/ 25041 w 553405"/>
                  <a:gd name="connsiteY32" fmla="*/ 272789 h 590379"/>
                  <a:gd name="connsiteX33" fmla="*/ 34432 w 553405"/>
                  <a:gd name="connsiteY33" fmla="*/ 194608 h 590379"/>
                  <a:gd name="connsiteX34" fmla="*/ 44344 w 553405"/>
                  <a:gd name="connsiteY34" fmla="*/ 115250 h 590379"/>
                  <a:gd name="connsiteX35" fmla="*/ 45909 w 553405"/>
                  <a:gd name="connsiteY35" fmla="*/ 107021 h 590379"/>
                  <a:gd name="connsiteX36" fmla="*/ 46430 w 553405"/>
                  <a:gd name="connsiteY36" fmla="*/ 103494 h 590379"/>
                  <a:gd name="connsiteX37" fmla="*/ 46430 w 553405"/>
                  <a:gd name="connsiteY37" fmla="*/ 99379 h 590379"/>
                  <a:gd name="connsiteX38" fmla="*/ 46952 w 553405"/>
                  <a:gd name="connsiteY38" fmla="*/ 94088 h 590379"/>
                  <a:gd name="connsiteX39" fmla="*/ 47995 w 553405"/>
                  <a:gd name="connsiteY39" fmla="*/ 90561 h 590379"/>
                  <a:gd name="connsiteX40" fmla="*/ 49561 w 553405"/>
                  <a:gd name="connsiteY40" fmla="*/ 87622 h 590379"/>
                  <a:gd name="connsiteX41" fmla="*/ 51126 w 553405"/>
                  <a:gd name="connsiteY41" fmla="*/ 85271 h 590379"/>
                  <a:gd name="connsiteX42" fmla="*/ 53212 w 553405"/>
                  <a:gd name="connsiteY42" fmla="*/ 82919 h 590379"/>
                  <a:gd name="connsiteX43" fmla="*/ 55299 w 553405"/>
                  <a:gd name="connsiteY43" fmla="*/ 81156 h 590379"/>
                  <a:gd name="connsiteX44" fmla="*/ 61038 w 553405"/>
                  <a:gd name="connsiteY44" fmla="*/ 78217 h 590379"/>
                  <a:gd name="connsiteX45" fmla="*/ 74601 w 553405"/>
                  <a:gd name="connsiteY45" fmla="*/ 72339 h 590379"/>
                  <a:gd name="connsiteX46" fmla="*/ 88165 w 553405"/>
                  <a:gd name="connsiteY46" fmla="*/ 67636 h 590379"/>
                  <a:gd name="connsiteX47" fmla="*/ 101208 w 553405"/>
                  <a:gd name="connsiteY47" fmla="*/ 62933 h 590379"/>
                  <a:gd name="connsiteX48" fmla="*/ 115293 w 553405"/>
                  <a:gd name="connsiteY48" fmla="*/ 59406 h 590379"/>
                  <a:gd name="connsiteX49" fmla="*/ 129379 w 553405"/>
                  <a:gd name="connsiteY49" fmla="*/ 55879 h 590379"/>
                  <a:gd name="connsiteX50" fmla="*/ 142943 w 553405"/>
                  <a:gd name="connsiteY50" fmla="*/ 52352 h 590379"/>
                  <a:gd name="connsiteX51" fmla="*/ 157028 w 553405"/>
                  <a:gd name="connsiteY51" fmla="*/ 49413 h 590379"/>
                  <a:gd name="connsiteX52" fmla="*/ 158201 w 553405"/>
                  <a:gd name="connsiteY52" fmla="*/ 2127 h 590379"/>
                  <a:gd name="connsiteX0" fmla="*/ 146792 w 553405"/>
                  <a:gd name="connsiteY0" fmla="*/ 727 h 590379"/>
                  <a:gd name="connsiteX1" fmla="*/ 367296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495603 w 553405"/>
                  <a:gd name="connsiteY8" fmla="*/ 79980 h 590379"/>
                  <a:gd name="connsiteX9" fmla="*/ 499776 w 553405"/>
                  <a:gd name="connsiteY9" fmla="*/ 82332 h 590379"/>
                  <a:gd name="connsiteX10" fmla="*/ 502907 w 553405"/>
                  <a:gd name="connsiteY10" fmla="*/ 85271 h 590379"/>
                  <a:gd name="connsiteX11" fmla="*/ 503950 w 553405"/>
                  <a:gd name="connsiteY11" fmla="*/ 87034 h 590379"/>
                  <a:gd name="connsiteX12" fmla="*/ 504993 w 553405"/>
                  <a:gd name="connsiteY12" fmla="*/ 88798 h 590379"/>
                  <a:gd name="connsiteX13" fmla="*/ 505515 w 553405"/>
                  <a:gd name="connsiteY13" fmla="*/ 91149 h 590379"/>
                  <a:gd name="connsiteX14" fmla="*/ 506037 w 553405"/>
                  <a:gd name="connsiteY14" fmla="*/ 94676 h 590379"/>
                  <a:gd name="connsiteX15" fmla="*/ 520122 w 553405"/>
                  <a:gd name="connsiteY15" fmla="*/ 209891 h 590379"/>
                  <a:gd name="connsiteX16" fmla="*/ 526904 w 553405"/>
                  <a:gd name="connsiteY16" fmla="*/ 267499 h 590379"/>
                  <a:gd name="connsiteX17" fmla="*/ 534208 w 553405"/>
                  <a:gd name="connsiteY17" fmla="*/ 325694 h 590379"/>
                  <a:gd name="connsiteX18" fmla="*/ 540990 w 553405"/>
                  <a:gd name="connsiteY18" fmla="*/ 392119 h 590379"/>
                  <a:gd name="connsiteX19" fmla="*/ 544120 w 553405"/>
                  <a:gd name="connsiteY19" fmla="*/ 426213 h 590379"/>
                  <a:gd name="connsiteX20" fmla="*/ 546728 w 553405"/>
                  <a:gd name="connsiteY20" fmla="*/ 459132 h 590379"/>
                  <a:gd name="connsiteX21" fmla="*/ 548815 w 553405"/>
                  <a:gd name="connsiteY21" fmla="*/ 493226 h 590379"/>
                  <a:gd name="connsiteX22" fmla="*/ 550902 w 553405"/>
                  <a:gd name="connsiteY22" fmla="*/ 526145 h 590379"/>
                  <a:gd name="connsiteX23" fmla="*/ 552467 w 553405"/>
                  <a:gd name="connsiteY23" fmla="*/ 560239 h 590379"/>
                  <a:gd name="connsiteX24" fmla="*/ 553405 w 553405"/>
                  <a:gd name="connsiteY24" fmla="*/ 590379 h 590379"/>
                  <a:gd name="connsiteX25" fmla="*/ 0 w 553405"/>
                  <a:gd name="connsiteY25" fmla="*/ 590379 h 590379"/>
                  <a:gd name="connsiteX26" fmla="*/ 0 w 553405"/>
                  <a:gd name="connsiteY26" fmla="*/ 576110 h 590379"/>
                  <a:gd name="connsiteX27" fmla="*/ 1044 w 553405"/>
                  <a:gd name="connsiteY27" fmla="*/ 552009 h 590379"/>
                  <a:gd name="connsiteX28" fmla="*/ 2609 w 553405"/>
                  <a:gd name="connsiteY28" fmla="*/ 518503 h 590379"/>
                  <a:gd name="connsiteX29" fmla="*/ 5217 w 553405"/>
                  <a:gd name="connsiteY29" fmla="*/ 484408 h 590379"/>
                  <a:gd name="connsiteX30" fmla="*/ 10434 w 553405"/>
                  <a:gd name="connsiteY30" fmla="*/ 417396 h 590379"/>
                  <a:gd name="connsiteX31" fmla="*/ 17216 w 553405"/>
                  <a:gd name="connsiteY31" fmla="*/ 345092 h 590379"/>
                  <a:gd name="connsiteX32" fmla="*/ 25041 w 553405"/>
                  <a:gd name="connsiteY32" fmla="*/ 272789 h 590379"/>
                  <a:gd name="connsiteX33" fmla="*/ 34432 w 553405"/>
                  <a:gd name="connsiteY33" fmla="*/ 194608 h 590379"/>
                  <a:gd name="connsiteX34" fmla="*/ 44344 w 553405"/>
                  <a:gd name="connsiteY34" fmla="*/ 115250 h 590379"/>
                  <a:gd name="connsiteX35" fmla="*/ 45909 w 553405"/>
                  <a:gd name="connsiteY35" fmla="*/ 107021 h 590379"/>
                  <a:gd name="connsiteX36" fmla="*/ 46430 w 553405"/>
                  <a:gd name="connsiteY36" fmla="*/ 103494 h 590379"/>
                  <a:gd name="connsiteX37" fmla="*/ 46430 w 553405"/>
                  <a:gd name="connsiteY37" fmla="*/ 99379 h 590379"/>
                  <a:gd name="connsiteX38" fmla="*/ 46952 w 553405"/>
                  <a:gd name="connsiteY38" fmla="*/ 94088 h 590379"/>
                  <a:gd name="connsiteX39" fmla="*/ 47995 w 553405"/>
                  <a:gd name="connsiteY39" fmla="*/ 90561 h 590379"/>
                  <a:gd name="connsiteX40" fmla="*/ 49561 w 553405"/>
                  <a:gd name="connsiteY40" fmla="*/ 87622 h 590379"/>
                  <a:gd name="connsiteX41" fmla="*/ 51126 w 553405"/>
                  <a:gd name="connsiteY41" fmla="*/ 85271 h 590379"/>
                  <a:gd name="connsiteX42" fmla="*/ 53212 w 553405"/>
                  <a:gd name="connsiteY42" fmla="*/ 82919 h 590379"/>
                  <a:gd name="connsiteX43" fmla="*/ 55299 w 553405"/>
                  <a:gd name="connsiteY43" fmla="*/ 81156 h 590379"/>
                  <a:gd name="connsiteX44" fmla="*/ 61038 w 553405"/>
                  <a:gd name="connsiteY44" fmla="*/ 78217 h 590379"/>
                  <a:gd name="connsiteX45" fmla="*/ 74601 w 553405"/>
                  <a:gd name="connsiteY45" fmla="*/ 72339 h 590379"/>
                  <a:gd name="connsiteX46" fmla="*/ 88165 w 553405"/>
                  <a:gd name="connsiteY46" fmla="*/ 67636 h 590379"/>
                  <a:gd name="connsiteX47" fmla="*/ 101208 w 553405"/>
                  <a:gd name="connsiteY47" fmla="*/ 62933 h 590379"/>
                  <a:gd name="connsiteX48" fmla="*/ 115293 w 553405"/>
                  <a:gd name="connsiteY48" fmla="*/ 59406 h 590379"/>
                  <a:gd name="connsiteX49" fmla="*/ 129379 w 553405"/>
                  <a:gd name="connsiteY49" fmla="*/ 55879 h 590379"/>
                  <a:gd name="connsiteX50" fmla="*/ 142943 w 553405"/>
                  <a:gd name="connsiteY50" fmla="*/ 52352 h 590379"/>
                  <a:gd name="connsiteX51" fmla="*/ 157028 w 553405"/>
                  <a:gd name="connsiteY51" fmla="*/ 49413 h 590379"/>
                  <a:gd name="connsiteX52" fmla="*/ 146792 w 553405"/>
                  <a:gd name="connsiteY52"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495603 w 553405"/>
                  <a:gd name="connsiteY8" fmla="*/ 79980 h 590379"/>
                  <a:gd name="connsiteX9" fmla="*/ 499776 w 553405"/>
                  <a:gd name="connsiteY9" fmla="*/ 82332 h 590379"/>
                  <a:gd name="connsiteX10" fmla="*/ 502907 w 553405"/>
                  <a:gd name="connsiteY10" fmla="*/ 85271 h 590379"/>
                  <a:gd name="connsiteX11" fmla="*/ 503950 w 553405"/>
                  <a:gd name="connsiteY11" fmla="*/ 87034 h 590379"/>
                  <a:gd name="connsiteX12" fmla="*/ 504993 w 553405"/>
                  <a:gd name="connsiteY12" fmla="*/ 88798 h 590379"/>
                  <a:gd name="connsiteX13" fmla="*/ 505515 w 553405"/>
                  <a:gd name="connsiteY13" fmla="*/ 91149 h 590379"/>
                  <a:gd name="connsiteX14" fmla="*/ 506037 w 553405"/>
                  <a:gd name="connsiteY14" fmla="*/ 94676 h 590379"/>
                  <a:gd name="connsiteX15" fmla="*/ 520122 w 553405"/>
                  <a:gd name="connsiteY15" fmla="*/ 209891 h 590379"/>
                  <a:gd name="connsiteX16" fmla="*/ 526904 w 553405"/>
                  <a:gd name="connsiteY16" fmla="*/ 267499 h 590379"/>
                  <a:gd name="connsiteX17" fmla="*/ 534208 w 553405"/>
                  <a:gd name="connsiteY17" fmla="*/ 325694 h 590379"/>
                  <a:gd name="connsiteX18" fmla="*/ 540990 w 553405"/>
                  <a:gd name="connsiteY18" fmla="*/ 392119 h 590379"/>
                  <a:gd name="connsiteX19" fmla="*/ 544120 w 553405"/>
                  <a:gd name="connsiteY19" fmla="*/ 426213 h 590379"/>
                  <a:gd name="connsiteX20" fmla="*/ 546728 w 553405"/>
                  <a:gd name="connsiteY20" fmla="*/ 459132 h 590379"/>
                  <a:gd name="connsiteX21" fmla="*/ 548815 w 553405"/>
                  <a:gd name="connsiteY21" fmla="*/ 493226 h 590379"/>
                  <a:gd name="connsiteX22" fmla="*/ 550902 w 553405"/>
                  <a:gd name="connsiteY22" fmla="*/ 526145 h 590379"/>
                  <a:gd name="connsiteX23" fmla="*/ 552467 w 553405"/>
                  <a:gd name="connsiteY23" fmla="*/ 560239 h 590379"/>
                  <a:gd name="connsiteX24" fmla="*/ 553405 w 553405"/>
                  <a:gd name="connsiteY24" fmla="*/ 590379 h 590379"/>
                  <a:gd name="connsiteX25" fmla="*/ 0 w 553405"/>
                  <a:gd name="connsiteY25" fmla="*/ 590379 h 590379"/>
                  <a:gd name="connsiteX26" fmla="*/ 0 w 553405"/>
                  <a:gd name="connsiteY26" fmla="*/ 576110 h 590379"/>
                  <a:gd name="connsiteX27" fmla="*/ 1044 w 553405"/>
                  <a:gd name="connsiteY27" fmla="*/ 552009 h 590379"/>
                  <a:gd name="connsiteX28" fmla="*/ 2609 w 553405"/>
                  <a:gd name="connsiteY28" fmla="*/ 518503 h 590379"/>
                  <a:gd name="connsiteX29" fmla="*/ 5217 w 553405"/>
                  <a:gd name="connsiteY29" fmla="*/ 484408 h 590379"/>
                  <a:gd name="connsiteX30" fmla="*/ 10434 w 553405"/>
                  <a:gd name="connsiteY30" fmla="*/ 417396 h 590379"/>
                  <a:gd name="connsiteX31" fmla="*/ 17216 w 553405"/>
                  <a:gd name="connsiteY31" fmla="*/ 345092 h 590379"/>
                  <a:gd name="connsiteX32" fmla="*/ 25041 w 553405"/>
                  <a:gd name="connsiteY32" fmla="*/ 272789 h 590379"/>
                  <a:gd name="connsiteX33" fmla="*/ 34432 w 553405"/>
                  <a:gd name="connsiteY33" fmla="*/ 194608 h 590379"/>
                  <a:gd name="connsiteX34" fmla="*/ 44344 w 553405"/>
                  <a:gd name="connsiteY34" fmla="*/ 115250 h 590379"/>
                  <a:gd name="connsiteX35" fmla="*/ 45909 w 553405"/>
                  <a:gd name="connsiteY35" fmla="*/ 107021 h 590379"/>
                  <a:gd name="connsiteX36" fmla="*/ 46430 w 553405"/>
                  <a:gd name="connsiteY36" fmla="*/ 103494 h 590379"/>
                  <a:gd name="connsiteX37" fmla="*/ 46430 w 553405"/>
                  <a:gd name="connsiteY37" fmla="*/ 99379 h 590379"/>
                  <a:gd name="connsiteX38" fmla="*/ 46952 w 553405"/>
                  <a:gd name="connsiteY38" fmla="*/ 94088 h 590379"/>
                  <a:gd name="connsiteX39" fmla="*/ 47995 w 553405"/>
                  <a:gd name="connsiteY39" fmla="*/ 90561 h 590379"/>
                  <a:gd name="connsiteX40" fmla="*/ 49561 w 553405"/>
                  <a:gd name="connsiteY40" fmla="*/ 87622 h 590379"/>
                  <a:gd name="connsiteX41" fmla="*/ 51126 w 553405"/>
                  <a:gd name="connsiteY41" fmla="*/ 85271 h 590379"/>
                  <a:gd name="connsiteX42" fmla="*/ 53212 w 553405"/>
                  <a:gd name="connsiteY42" fmla="*/ 82919 h 590379"/>
                  <a:gd name="connsiteX43" fmla="*/ 55299 w 553405"/>
                  <a:gd name="connsiteY43" fmla="*/ 81156 h 590379"/>
                  <a:gd name="connsiteX44" fmla="*/ 61038 w 553405"/>
                  <a:gd name="connsiteY44" fmla="*/ 78217 h 590379"/>
                  <a:gd name="connsiteX45" fmla="*/ 74601 w 553405"/>
                  <a:gd name="connsiteY45" fmla="*/ 72339 h 590379"/>
                  <a:gd name="connsiteX46" fmla="*/ 88165 w 553405"/>
                  <a:gd name="connsiteY46" fmla="*/ 67636 h 590379"/>
                  <a:gd name="connsiteX47" fmla="*/ 101208 w 553405"/>
                  <a:gd name="connsiteY47" fmla="*/ 62933 h 590379"/>
                  <a:gd name="connsiteX48" fmla="*/ 115293 w 553405"/>
                  <a:gd name="connsiteY48" fmla="*/ 59406 h 590379"/>
                  <a:gd name="connsiteX49" fmla="*/ 129379 w 553405"/>
                  <a:gd name="connsiteY49" fmla="*/ 55879 h 590379"/>
                  <a:gd name="connsiteX50" fmla="*/ 142943 w 553405"/>
                  <a:gd name="connsiteY50" fmla="*/ 52352 h 590379"/>
                  <a:gd name="connsiteX51" fmla="*/ 157028 w 553405"/>
                  <a:gd name="connsiteY51" fmla="*/ 49413 h 590379"/>
                  <a:gd name="connsiteX52" fmla="*/ 146792 w 553405"/>
                  <a:gd name="connsiteY52"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495603 w 553405"/>
                  <a:gd name="connsiteY8" fmla="*/ 79980 h 590379"/>
                  <a:gd name="connsiteX9" fmla="*/ 499776 w 553405"/>
                  <a:gd name="connsiteY9" fmla="*/ 82332 h 590379"/>
                  <a:gd name="connsiteX10" fmla="*/ 502907 w 553405"/>
                  <a:gd name="connsiteY10" fmla="*/ 85271 h 590379"/>
                  <a:gd name="connsiteX11" fmla="*/ 503950 w 553405"/>
                  <a:gd name="connsiteY11" fmla="*/ 87034 h 590379"/>
                  <a:gd name="connsiteX12" fmla="*/ 505515 w 553405"/>
                  <a:gd name="connsiteY12" fmla="*/ 91149 h 590379"/>
                  <a:gd name="connsiteX13" fmla="*/ 506037 w 553405"/>
                  <a:gd name="connsiteY13" fmla="*/ 94676 h 590379"/>
                  <a:gd name="connsiteX14" fmla="*/ 520122 w 553405"/>
                  <a:gd name="connsiteY14" fmla="*/ 209891 h 590379"/>
                  <a:gd name="connsiteX15" fmla="*/ 526904 w 553405"/>
                  <a:gd name="connsiteY15" fmla="*/ 267499 h 590379"/>
                  <a:gd name="connsiteX16" fmla="*/ 534208 w 553405"/>
                  <a:gd name="connsiteY16" fmla="*/ 325694 h 590379"/>
                  <a:gd name="connsiteX17" fmla="*/ 540990 w 553405"/>
                  <a:gd name="connsiteY17" fmla="*/ 392119 h 590379"/>
                  <a:gd name="connsiteX18" fmla="*/ 544120 w 553405"/>
                  <a:gd name="connsiteY18" fmla="*/ 426213 h 590379"/>
                  <a:gd name="connsiteX19" fmla="*/ 546728 w 553405"/>
                  <a:gd name="connsiteY19" fmla="*/ 459132 h 590379"/>
                  <a:gd name="connsiteX20" fmla="*/ 548815 w 553405"/>
                  <a:gd name="connsiteY20" fmla="*/ 493226 h 590379"/>
                  <a:gd name="connsiteX21" fmla="*/ 550902 w 553405"/>
                  <a:gd name="connsiteY21" fmla="*/ 526145 h 590379"/>
                  <a:gd name="connsiteX22" fmla="*/ 552467 w 553405"/>
                  <a:gd name="connsiteY22" fmla="*/ 560239 h 590379"/>
                  <a:gd name="connsiteX23" fmla="*/ 553405 w 553405"/>
                  <a:gd name="connsiteY23" fmla="*/ 590379 h 590379"/>
                  <a:gd name="connsiteX24" fmla="*/ 0 w 553405"/>
                  <a:gd name="connsiteY24" fmla="*/ 590379 h 590379"/>
                  <a:gd name="connsiteX25" fmla="*/ 0 w 553405"/>
                  <a:gd name="connsiteY25" fmla="*/ 576110 h 590379"/>
                  <a:gd name="connsiteX26" fmla="*/ 1044 w 553405"/>
                  <a:gd name="connsiteY26" fmla="*/ 552009 h 590379"/>
                  <a:gd name="connsiteX27" fmla="*/ 2609 w 553405"/>
                  <a:gd name="connsiteY27" fmla="*/ 518503 h 590379"/>
                  <a:gd name="connsiteX28" fmla="*/ 5217 w 553405"/>
                  <a:gd name="connsiteY28" fmla="*/ 484408 h 590379"/>
                  <a:gd name="connsiteX29" fmla="*/ 10434 w 553405"/>
                  <a:gd name="connsiteY29" fmla="*/ 417396 h 590379"/>
                  <a:gd name="connsiteX30" fmla="*/ 17216 w 553405"/>
                  <a:gd name="connsiteY30" fmla="*/ 345092 h 590379"/>
                  <a:gd name="connsiteX31" fmla="*/ 25041 w 553405"/>
                  <a:gd name="connsiteY31" fmla="*/ 272789 h 590379"/>
                  <a:gd name="connsiteX32" fmla="*/ 34432 w 553405"/>
                  <a:gd name="connsiteY32" fmla="*/ 194608 h 590379"/>
                  <a:gd name="connsiteX33" fmla="*/ 44344 w 553405"/>
                  <a:gd name="connsiteY33" fmla="*/ 115250 h 590379"/>
                  <a:gd name="connsiteX34" fmla="*/ 45909 w 553405"/>
                  <a:gd name="connsiteY34" fmla="*/ 107021 h 590379"/>
                  <a:gd name="connsiteX35" fmla="*/ 46430 w 553405"/>
                  <a:gd name="connsiteY35" fmla="*/ 103494 h 590379"/>
                  <a:gd name="connsiteX36" fmla="*/ 46430 w 553405"/>
                  <a:gd name="connsiteY36" fmla="*/ 99379 h 590379"/>
                  <a:gd name="connsiteX37" fmla="*/ 46952 w 553405"/>
                  <a:gd name="connsiteY37" fmla="*/ 94088 h 590379"/>
                  <a:gd name="connsiteX38" fmla="*/ 47995 w 553405"/>
                  <a:gd name="connsiteY38" fmla="*/ 90561 h 590379"/>
                  <a:gd name="connsiteX39" fmla="*/ 49561 w 553405"/>
                  <a:gd name="connsiteY39" fmla="*/ 87622 h 590379"/>
                  <a:gd name="connsiteX40" fmla="*/ 51126 w 553405"/>
                  <a:gd name="connsiteY40" fmla="*/ 85271 h 590379"/>
                  <a:gd name="connsiteX41" fmla="*/ 53212 w 553405"/>
                  <a:gd name="connsiteY41" fmla="*/ 82919 h 590379"/>
                  <a:gd name="connsiteX42" fmla="*/ 55299 w 553405"/>
                  <a:gd name="connsiteY42" fmla="*/ 81156 h 590379"/>
                  <a:gd name="connsiteX43" fmla="*/ 61038 w 553405"/>
                  <a:gd name="connsiteY43" fmla="*/ 78217 h 590379"/>
                  <a:gd name="connsiteX44" fmla="*/ 74601 w 553405"/>
                  <a:gd name="connsiteY44" fmla="*/ 72339 h 590379"/>
                  <a:gd name="connsiteX45" fmla="*/ 88165 w 553405"/>
                  <a:gd name="connsiteY45" fmla="*/ 67636 h 590379"/>
                  <a:gd name="connsiteX46" fmla="*/ 101208 w 553405"/>
                  <a:gd name="connsiteY46" fmla="*/ 62933 h 590379"/>
                  <a:gd name="connsiteX47" fmla="*/ 115293 w 553405"/>
                  <a:gd name="connsiteY47" fmla="*/ 59406 h 590379"/>
                  <a:gd name="connsiteX48" fmla="*/ 129379 w 553405"/>
                  <a:gd name="connsiteY48" fmla="*/ 55879 h 590379"/>
                  <a:gd name="connsiteX49" fmla="*/ 142943 w 553405"/>
                  <a:gd name="connsiteY49" fmla="*/ 52352 h 590379"/>
                  <a:gd name="connsiteX50" fmla="*/ 157028 w 553405"/>
                  <a:gd name="connsiteY50" fmla="*/ 49413 h 590379"/>
                  <a:gd name="connsiteX51" fmla="*/ 146792 w 553405"/>
                  <a:gd name="connsiteY51"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495603 w 553405"/>
                  <a:gd name="connsiteY8" fmla="*/ 79980 h 590379"/>
                  <a:gd name="connsiteX9" fmla="*/ 499776 w 553405"/>
                  <a:gd name="connsiteY9" fmla="*/ 82332 h 590379"/>
                  <a:gd name="connsiteX10" fmla="*/ 502907 w 553405"/>
                  <a:gd name="connsiteY10" fmla="*/ 85271 h 590379"/>
                  <a:gd name="connsiteX11" fmla="*/ 503950 w 553405"/>
                  <a:gd name="connsiteY11" fmla="*/ 87034 h 590379"/>
                  <a:gd name="connsiteX12" fmla="*/ 506037 w 553405"/>
                  <a:gd name="connsiteY12" fmla="*/ 94676 h 590379"/>
                  <a:gd name="connsiteX13" fmla="*/ 520122 w 553405"/>
                  <a:gd name="connsiteY13" fmla="*/ 209891 h 590379"/>
                  <a:gd name="connsiteX14" fmla="*/ 526904 w 553405"/>
                  <a:gd name="connsiteY14" fmla="*/ 267499 h 590379"/>
                  <a:gd name="connsiteX15" fmla="*/ 534208 w 553405"/>
                  <a:gd name="connsiteY15" fmla="*/ 325694 h 590379"/>
                  <a:gd name="connsiteX16" fmla="*/ 540990 w 553405"/>
                  <a:gd name="connsiteY16" fmla="*/ 392119 h 590379"/>
                  <a:gd name="connsiteX17" fmla="*/ 544120 w 553405"/>
                  <a:gd name="connsiteY17" fmla="*/ 426213 h 590379"/>
                  <a:gd name="connsiteX18" fmla="*/ 546728 w 553405"/>
                  <a:gd name="connsiteY18" fmla="*/ 459132 h 590379"/>
                  <a:gd name="connsiteX19" fmla="*/ 548815 w 553405"/>
                  <a:gd name="connsiteY19" fmla="*/ 493226 h 590379"/>
                  <a:gd name="connsiteX20" fmla="*/ 550902 w 553405"/>
                  <a:gd name="connsiteY20" fmla="*/ 526145 h 590379"/>
                  <a:gd name="connsiteX21" fmla="*/ 552467 w 553405"/>
                  <a:gd name="connsiteY21" fmla="*/ 560239 h 590379"/>
                  <a:gd name="connsiteX22" fmla="*/ 553405 w 553405"/>
                  <a:gd name="connsiteY22" fmla="*/ 590379 h 590379"/>
                  <a:gd name="connsiteX23" fmla="*/ 0 w 553405"/>
                  <a:gd name="connsiteY23" fmla="*/ 590379 h 590379"/>
                  <a:gd name="connsiteX24" fmla="*/ 0 w 553405"/>
                  <a:gd name="connsiteY24" fmla="*/ 576110 h 590379"/>
                  <a:gd name="connsiteX25" fmla="*/ 1044 w 553405"/>
                  <a:gd name="connsiteY25" fmla="*/ 552009 h 590379"/>
                  <a:gd name="connsiteX26" fmla="*/ 2609 w 553405"/>
                  <a:gd name="connsiteY26" fmla="*/ 518503 h 590379"/>
                  <a:gd name="connsiteX27" fmla="*/ 5217 w 553405"/>
                  <a:gd name="connsiteY27" fmla="*/ 484408 h 590379"/>
                  <a:gd name="connsiteX28" fmla="*/ 10434 w 553405"/>
                  <a:gd name="connsiteY28" fmla="*/ 417396 h 590379"/>
                  <a:gd name="connsiteX29" fmla="*/ 17216 w 553405"/>
                  <a:gd name="connsiteY29" fmla="*/ 345092 h 590379"/>
                  <a:gd name="connsiteX30" fmla="*/ 25041 w 553405"/>
                  <a:gd name="connsiteY30" fmla="*/ 272789 h 590379"/>
                  <a:gd name="connsiteX31" fmla="*/ 34432 w 553405"/>
                  <a:gd name="connsiteY31" fmla="*/ 194608 h 590379"/>
                  <a:gd name="connsiteX32" fmla="*/ 44344 w 553405"/>
                  <a:gd name="connsiteY32" fmla="*/ 115250 h 590379"/>
                  <a:gd name="connsiteX33" fmla="*/ 45909 w 553405"/>
                  <a:gd name="connsiteY33" fmla="*/ 107021 h 590379"/>
                  <a:gd name="connsiteX34" fmla="*/ 46430 w 553405"/>
                  <a:gd name="connsiteY34" fmla="*/ 103494 h 590379"/>
                  <a:gd name="connsiteX35" fmla="*/ 46430 w 553405"/>
                  <a:gd name="connsiteY35" fmla="*/ 99379 h 590379"/>
                  <a:gd name="connsiteX36" fmla="*/ 46952 w 553405"/>
                  <a:gd name="connsiteY36" fmla="*/ 94088 h 590379"/>
                  <a:gd name="connsiteX37" fmla="*/ 47995 w 553405"/>
                  <a:gd name="connsiteY37" fmla="*/ 90561 h 590379"/>
                  <a:gd name="connsiteX38" fmla="*/ 49561 w 553405"/>
                  <a:gd name="connsiteY38" fmla="*/ 87622 h 590379"/>
                  <a:gd name="connsiteX39" fmla="*/ 51126 w 553405"/>
                  <a:gd name="connsiteY39" fmla="*/ 85271 h 590379"/>
                  <a:gd name="connsiteX40" fmla="*/ 53212 w 553405"/>
                  <a:gd name="connsiteY40" fmla="*/ 82919 h 590379"/>
                  <a:gd name="connsiteX41" fmla="*/ 55299 w 553405"/>
                  <a:gd name="connsiteY41" fmla="*/ 81156 h 590379"/>
                  <a:gd name="connsiteX42" fmla="*/ 61038 w 553405"/>
                  <a:gd name="connsiteY42" fmla="*/ 78217 h 590379"/>
                  <a:gd name="connsiteX43" fmla="*/ 74601 w 553405"/>
                  <a:gd name="connsiteY43" fmla="*/ 72339 h 590379"/>
                  <a:gd name="connsiteX44" fmla="*/ 88165 w 553405"/>
                  <a:gd name="connsiteY44" fmla="*/ 67636 h 590379"/>
                  <a:gd name="connsiteX45" fmla="*/ 101208 w 553405"/>
                  <a:gd name="connsiteY45" fmla="*/ 62933 h 590379"/>
                  <a:gd name="connsiteX46" fmla="*/ 115293 w 553405"/>
                  <a:gd name="connsiteY46" fmla="*/ 59406 h 590379"/>
                  <a:gd name="connsiteX47" fmla="*/ 129379 w 553405"/>
                  <a:gd name="connsiteY47" fmla="*/ 55879 h 590379"/>
                  <a:gd name="connsiteX48" fmla="*/ 142943 w 553405"/>
                  <a:gd name="connsiteY48" fmla="*/ 52352 h 590379"/>
                  <a:gd name="connsiteX49" fmla="*/ 157028 w 553405"/>
                  <a:gd name="connsiteY49" fmla="*/ 49413 h 590379"/>
                  <a:gd name="connsiteX50" fmla="*/ 146792 w 553405"/>
                  <a:gd name="connsiteY50"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495603 w 553405"/>
                  <a:gd name="connsiteY8" fmla="*/ 79980 h 590379"/>
                  <a:gd name="connsiteX9" fmla="*/ 499776 w 553405"/>
                  <a:gd name="connsiteY9" fmla="*/ 82332 h 590379"/>
                  <a:gd name="connsiteX10" fmla="*/ 502907 w 553405"/>
                  <a:gd name="connsiteY10" fmla="*/ 85271 h 590379"/>
                  <a:gd name="connsiteX11" fmla="*/ 506037 w 553405"/>
                  <a:gd name="connsiteY11" fmla="*/ 94676 h 590379"/>
                  <a:gd name="connsiteX12" fmla="*/ 520122 w 553405"/>
                  <a:gd name="connsiteY12" fmla="*/ 209891 h 590379"/>
                  <a:gd name="connsiteX13" fmla="*/ 526904 w 553405"/>
                  <a:gd name="connsiteY13" fmla="*/ 267499 h 590379"/>
                  <a:gd name="connsiteX14" fmla="*/ 534208 w 553405"/>
                  <a:gd name="connsiteY14" fmla="*/ 325694 h 590379"/>
                  <a:gd name="connsiteX15" fmla="*/ 540990 w 553405"/>
                  <a:gd name="connsiteY15" fmla="*/ 392119 h 590379"/>
                  <a:gd name="connsiteX16" fmla="*/ 544120 w 553405"/>
                  <a:gd name="connsiteY16" fmla="*/ 426213 h 590379"/>
                  <a:gd name="connsiteX17" fmla="*/ 546728 w 553405"/>
                  <a:gd name="connsiteY17" fmla="*/ 459132 h 590379"/>
                  <a:gd name="connsiteX18" fmla="*/ 548815 w 553405"/>
                  <a:gd name="connsiteY18" fmla="*/ 493226 h 590379"/>
                  <a:gd name="connsiteX19" fmla="*/ 550902 w 553405"/>
                  <a:gd name="connsiteY19" fmla="*/ 526145 h 590379"/>
                  <a:gd name="connsiteX20" fmla="*/ 552467 w 553405"/>
                  <a:gd name="connsiteY20" fmla="*/ 560239 h 590379"/>
                  <a:gd name="connsiteX21" fmla="*/ 553405 w 553405"/>
                  <a:gd name="connsiteY21" fmla="*/ 590379 h 590379"/>
                  <a:gd name="connsiteX22" fmla="*/ 0 w 553405"/>
                  <a:gd name="connsiteY22" fmla="*/ 590379 h 590379"/>
                  <a:gd name="connsiteX23" fmla="*/ 0 w 553405"/>
                  <a:gd name="connsiteY23" fmla="*/ 576110 h 590379"/>
                  <a:gd name="connsiteX24" fmla="*/ 1044 w 553405"/>
                  <a:gd name="connsiteY24" fmla="*/ 552009 h 590379"/>
                  <a:gd name="connsiteX25" fmla="*/ 2609 w 553405"/>
                  <a:gd name="connsiteY25" fmla="*/ 518503 h 590379"/>
                  <a:gd name="connsiteX26" fmla="*/ 5217 w 553405"/>
                  <a:gd name="connsiteY26" fmla="*/ 484408 h 590379"/>
                  <a:gd name="connsiteX27" fmla="*/ 10434 w 553405"/>
                  <a:gd name="connsiteY27" fmla="*/ 417396 h 590379"/>
                  <a:gd name="connsiteX28" fmla="*/ 17216 w 553405"/>
                  <a:gd name="connsiteY28" fmla="*/ 345092 h 590379"/>
                  <a:gd name="connsiteX29" fmla="*/ 25041 w 553405"/>
                  <a:gd name="connsiteY29" fmla="*/ 272789 h 590379"/>
                  <a:gd name="connsiteX30" fmla="*/ 34432 w 553405"/>
                  <a:gd name="connsiteY30" fmla="*/ 194608 h 590379"/>
                  <a:gd name="connsiteX31" fmla="*/ 44344 w 553405"/>
                  <a:gd name="connsiteY31" fmla="*/ 115250 h 590379"/>
                  <a:gd name="connsiteX32" fmla="*/ 45909 w 553405"/>
                  <a:gd name="connsiteY32" fmla="*/ 107021 h 590379"/>
                  <a:gd name="connsiteX33" fmla="*/ 46430 w 553405"/>
                  <a:gd name="connsiteY33" fmla="*/ 103494 h 590379"/>
                  <a:gd name="connsiteX34" fmla="*/ 46430 w 553405"/>
                  <a:gd name="connsiteY34" fmla="*/ 99379 h 590379"/>
                  <a:gd name="connsiteX35" fmla="*/ 46952 w 553405"/>
                  <a:gd name="connsiteY35" fmla="*/ 94088 h 590379"/>
                  <a:gd name="connsiteX36" fmla="*/ 47995 w 553405"/>
                  <a:gd name="connsiteY36" fmla="*/ 90561 h 590379"/>
                  <a:gd name="connsiteX37" fmla="*/ 49561 w 553405"/>
                  <a:gd name="connsiteY37" fmla="*/ 87622 h 590379"/>
                  <a:gd name="connsiteX38" fmla="*/ 51126 w 553405"/>
                  <a:gd name="connsiteY38" fmla="*/ 85271 h 590379"/>
                  <a:gd name="connsiteX39" fmla="*/ 53212 w 553405"/>
                  <a:gd name="connsiteY39" fmla="*/ 82919 h 590379"/>
                  <a:gd name="connsiteX40" fmla="*/ 55299 w 553405"/>
                  <a:gd name="connsiteY40" fmla="*/ 81156 h 590379"/>
                  <a:gd name="connsiteX41" fmla="*/ 61038 w 553405"/>
                  <a:gd name="connsiteY41" fmla="*/ 78217 h 590379"/>
                  <a:gd name="connsiteX42" fmla="*/ 74601 w 553405"/>
                  <a:gd name="connsiteY42" fmla="*/ 72339 h 590379"/>
                  <a:gd name="connsiteX43" fmla="*/ 88165 w 553405"/>
                  <a:gd name="connsiteY43" fmla="*/ 67636 h 590379"/>
                  <a:gd name="connsiteX44" fmla="*/ 101208 w 553405"/>
                  <a:gd name="connsiteY44" fmla="*/ 62933 h 590379"/>
                  <a:gd name="connsiteX45" fmla="*/ 115293 w 553405"/>
                  <a:gd name="connsiteY45" fmla="*/ 59406 h 590379"/>
                  <a:gd name="connsiteX46" fmla="*/ 129379 w 553405"/>
                  <a:gd name="connsiteY46" fmla="*/ 55879 h 590379"/>
                  <a:gd name="connsiteX47" fmla="*/ 142943 w 553405"/>
                  <a:gd name="connsiteY47" fmla="*/ 52352 h 590379"/>
                  <a:gd name="connsiteX48" fmla="*/ 157028 w 553405"/>
                  <a:gd name="connsiteY48" fmla="*/ 49413 h 590379"/>
                  <a:gd name="connsiteX49" fmla="*/ 146792 w 553405"/>
                  <a:gd name="connsiteY49"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495603 w 553405"/>
                  <a:gd name="connsiteY8" fmla="*/ 79980 h 590379"/>
                  <a:gd name="connsiteX9" fmla="*/ 499776 w 553405"/>
                  <a:gd name="connsiteY9" fmla="*/ 82332 h 590379"/>
                  <a:gd name="connsiteX10" fmla="*/ 506037 w 553405"/>
                  <a:gd name="connsiteY10" fmla="*/ 94676 h 590379"/>
                  <a:gd name="connsiteX11" fmla="*/ 520122 w 553405"/>
                  <a:gd name="connsiteY11" fmla="*/ 209891 h 590379"/>
                  <a:gd name="connsiteX12" fmla="*/ 526904 w 553405"/>
                  <a:gd name="connsiteY12" fmla="*/ 267499 h 590379"/>
                  <a:gd name="connsiteX13" fmla="*/ 534208 w 553405"/>
                  <a:gd name="connsiteY13" fmla="*/ 325694 h 590379"/>
                  <a:gd name="connsiteX14" fmla="*/ 540990 w 553405"/>
                  <a:gd name="connsiteY14" fmla="*/ 392119 h 590379"/>
                  <a:gd name="connsiteX15" fmla="*/ 544120 w 553405"/>
                  <a:gd name="connsiteY15" fmla="*/ 426213 h 590379"/>
                  <a:gd name="connsiteX16" fmla="*/ 546728 w 553405"/>
                  <a:gd name="connsiteY16" fmla="*/ 459132 h 590379"/>
                  <a:gd name="connsiteX17" fmla="*/ 548815 w 553405"/>
                  <a:gd name="connsiteY17" fmla="*/ 493226 h 590379"/>
                  <a:gd name="connsiteX18" fmla="*/ 550902 w 553405"/>
                  <a:gd name="connsiteY18" fmla="*/ 526145 h 590379"/>
                  <a:gd name="connsiteX19" fmla="*/ 552467 w 553405"/>
                  <a:gd name="connsiteY19" fmla="*/ 560239 h 590379"/>
                  <a:gd name="connsiteX20" fmla="*/ 553405 w 553405"/>
                  <a:gd name="connsiteY20" fmla="*/ 590379 h 590379"/>
                  <a:gd name="connsiteX21" fmla="*/ 0 w 553405"/>
                  <a:gd name="connsiteY21" fmla="*/ 590379 h 590379"/>
                  <a:gd name="connsiteX22" fmla="*/ 0 w 553405"/>
                  <a:gd name="connsiteY22" fmla="*/ 576110 h 590379"/>
                  <a:gd name="connsiteX23" fmla="*/ 1044 w 553405"/>
                  <a:gd name="connsiteY23" fmla="*/ 552009 h 590379"/>
                  <a:gd name="connsiteX24" fmla="*/ 2609 w 553405"/>
                  <a:gd name="connsiteY24" fmla="*/ 518503 h 590379"/>
                  <a:gd name="connsiteX25" fmla="*/ 5217 w 553405"/>
                  <a:gd name="connsiteY25" fmla="*/ 484408 h 590379"/>
                  <a:gd name="connsiteX26" fmla="*/ 10434 w 553405"/>
                  <a:gd name="connsiteY26" fmla="*/ 417396 h 590379"/>
                  <a:gd name="connsiteX27" fmla="*/ 17216 w 553405"/>
                  <a:gd name="connsiteY27" fmla="*/ 345092 h 590379"/>
                  <a:gd name="connsiteX28" fmla="*/ 25041 w 553405"/>
                  <a:gd name="connsiteY28" fmla="*/ 272789 h 590379"/>
                  <a:gd name="connsiteX29" fmla="*/ 34432 w 553405"/>
                  <a:gd name="connsiteY29" fmla="*/ 194608 h 590379"/>
                  <a:gd name="connsiteX30" fmla="*/ 44344 w 553405"/>
                  <a:gd name="connsiteY30" fmla="*/ 115250 h 590379"/>
                  <a:gd name="connsiteX31" fmla="*/ 45909 w 553405"/>
                  <a:gd name="connsiteY31" fmla="*/ 107021 h 590379"/>
                  <a:gd name="connsiteX32" fmla="*/ 46430 w 553405"/>
                  <a:gd name="connsiteY32" fmla="*/ 103494 h 590379"/>
                  <a:gd name="connsiteX33" fmla="*/ 46430 w 553405"/>
                  <a:gd name="connsiteY33" fmla="*/ 99379 h 590379"/>
                  <a:gd name="connsiteX34" fmla="*/ 46952 w 553405"/>
                  <a:gd name="connsiteY34" fmla="*/ 94088 h 590379"/>
                  <a:gd name="connsiteX35" fmla="*/ 47995 w 553405"/>
                  <a:gd name="connsiteY35" fmla="*/ 90561 h 590379"/>
                  <a:gd name="connsiteX36" fmla="*/ 49561 w 553405"/>
                  <a:gd name="connsiteY36" fmla="*/ 87622 h 590379"/>
                  <a:gd name="connsiteX37" fmla="*/ 51126 w 553405"/>
                  <a:gd name="connsiteY37" fmla="*/ 85271 h 590379"/>
                  <a:gd name="connsiteX38" fmla="*/ 53212 w 553405"/>
                  <a:gd name="connsiteY38" fmla="*/ 82919 h 590379"/>
                  <a:gd name="connsiteX39" fmla="*/ 55299 w 553405"/>
                  <a:gd name="connsiteY39" fmla="*/ 81156 h 590379"/>
                  <a:gd name="connsiteX40" fmla="*/ 61038 w 553405"/>
                  <a:gd name="connsiteY40" fmla="*/ 78217 h 590379"/>
                  <a:gd name="connsiteX41" fmla="*/ 74601 w 553405"/>
                  <a:gd name="connsiteY41" fmla="*/ 72339 h 590379"/>
                  <a:gd name="connsiteX42" fmla="*/ 88165 w 553405"/>
                  <a:gd name="connsiteY42" fmla="*/ 67636 h 590379"/>
                  <a:gd name="connsiteX43" fmla="*/ 101208 w 553405"/>
                  <a:gd name="connsiteY43" fmla="*/ 62933 h 590379"/>
                  <a:gd name="connsiteX44" fmla="*/ 115293 w 553405"/>
                  <a:gd name="connsiteY44" fmla="*/ 59406 h 590379"/>
                  <a:gd name="connsiteX45" fmla="*/ 129379 w 553405"/>
                  <a:gd name="connsiteY45" fmla="*/ 55879 h 590379"/>
                  <a:gd name="connsiteX46" fmla="*/ 142943 w 553405"/>
                  <a:gd name="connsiteY46" fmla="*/ 52352 h 590379"/>
                  <a:gd name="connsiteX47" fmla="*/ 157028 w 553405"/>
                  <a:gd name="connsiteY47" fmla="*/ 49413 h 590379"/>
                  <a:gd name="connsiteX48" fmla="*/ 146792 w 553405"/>
                  <a:gd name="connsiteY48"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495603 w 553405"/>
                  <a:gd name="connsiteY8" fmla="*/ 79980 h 590379"/>
                  <a:gd name="connsiteX9" fmla="*/ 506037 w 553405"/>
                  <a:gd name="connsiteY9" fmla="*/ 94676 h 590379"/>
                  <a:gd name="connsiteX10" fmla="*/ 520122 w 553405"/>
                  <a:gd name="connsiteY10" fmla="*/ 209891 h 590379"/>
                  <a:gd name="connsiteX11" fmla="*/ 526904 w 553405"/>
                  <a:gd name="connsiteY11" fmla="*/ 267499 h 590379"/>
                  <a:gd name="connsiteX12" fmla="*/ 534208 w 553405"/>
                  <a:gd name="connsiteY12" fmla="*/ 325694 h 590379"/>
                  <a:gd name="connsiteX13" fmla="*/ 540990 w 553405"/>
                  <a:gd name="connsiteY13" fmla="*/ 392119 h 590379"/>
                  <a:gd name="connsiteX14" fmla="*/ 544120 w 553405"/>
                  <a:gd name="connsiteY14" fmla="*/ 426213 h 590379"/>
                  <a:gd name="connsiteX15" fmla="*/ 546728 w 553405"/>
                  <a:gd name="connsiteY15" fmla="*/ 459132 h 590379"/>
                  <a:gd name="connsiteX16" fmla="*/ 548815 w 553405"/>
                  <a:gd name="connsiteY16" fmla="*/ 493226 h 590379"/>
                  <a:gd name="connsiteX17" fmla="*/ 550902 w 553405"/>
                  <a:gd name="connsiteY17" fmla="*/ 526145 h 590379"/>
                  <a:gd name="connsiteX18" fmla="*/ 552467 w 553405"/>
                  <a:gd name="connsiteY18" fmla="*/ 560239 h 590379"/>
                  <a:gd name="connsiteX19" fmla="*/ 553405 w 553405"/>
                  <a:gd name="connsiteY19" fmla="*/ 590379 h 590379"/>
                  <a:gd name="connsiteX20" fmla="*/ 0 w 553405"/>
                  <a:gd name="connsiteY20" fmla="*/ 590379 h 590379"/>
                  <a:gd name="connsiteX21" fmla="*/ 0 w 553405"/>
                  <a:gd name="connsiteY21" fmla="*/ 576110 h 590379"/>
                  <a:gd name="connsiteX22" fmla="*/ 1044 w 553405"/>
                  <a:gd name="connsiteY22" fmla="*/ 552009 h 590379"/>
                  <a:gd name="connsiteX23" fmla="*/ 2609 w 553405"/>
                  <a:gd name="connsiteY23" fmla="*/ 518503 h 590379"/>
                  <a:gd name="connsiteX24" fmla="*/ 5217 w 553405"/>
                  <a:gd name="connsiteY24" fmla="*/ 484408 h 590379"/>
                  <a:gd name="connsiteX25" fmla="*/ 10434 w 553405"/>
                  <a:gd name="connsiteY25" fmla="*/ 417396 h 590379"/>
                  <a:gd name="connsiteX26" fmla="*/ 17216 w 553405"/>
                  <a:gd name="connsiteY26" fmla="*/ 345092 h 590379"/>
                  <a:gd name="connsiteX27" fmla="*/ 25041 w 553405"/>
                  <a:gd name="connsiteY27" fmla="*/ 272789 h 590379"/>
                  <a:gd name="connsiteX28" fmla="*/ 34432 w 553405"/>
                  <a:gd name="connsiteY28" fmla="*/ 194608 h 590379"/>
                  <a:gd name="connsiteX29" fmla="*/ 44344 w 553405"/>
                  <a:gd name="connsiteY29" fmla="*/ 115250 h 590379"/>
                  <a:gd name="connsiteX30" fmla="*/ 45909 w 553405"/>
                  <a:gd name="connsiteY30" fmla="*/ 107021 h 590379"/>
                  <a:gd name="connsiteX31" fmla="*/ 46430 w 553405"/>
                  <a:gd name="connsiteY31" fmla="*/ 103494 h 590379"/>
                  <a:gd name="connsiteX32" fmla="*/ 46430 w 553405"/>
                  <a:gd name="connsiteY32" fmla="*/ 99379 h 590379"/>
                  <a:gd name="connsiteX33" fmla="*/ 46952 w 553405"/>
                  <a:gd name="connsiteY33" fmla="*/ 94088 h 590379"/>
                  <a:gd name="connsiteX34" fmla="*/ 47995 w 553405"/>
                  <a:gd name="connsiteY34" fmla="*/ 90561 h 590379"/>
                  <a:gd name="connsiteX35" fmla="*/ 49561 w 553405"/>
                  <a:gd name="connsiteY35" fmla="*/ 87622 h 590379"/>
                  <a:gd name="connsiteX36" fmla="*/ 51126 w 553405"/>
                  <a:gd name="connsiteY36" fmla="*/ 85271 h 590379"/>
                  <a:gd name="connsiteX37" fmla="*/ 53212 w 553405"/>
                  <a:gd name="connsiteY37" fmla="*/ 82919 h 590379"/>
                  <a:gd name="connsiteX38" fmla="*/ 55299 w 553405"/>
                  <a:gd name="connsiteY38" fmla="*/ 81156 h 590379"/>
                  <a:gd name="connsiteX39" fmla="*/ 61038 w 553405"/>
                  <a:gd name="connsiteY39" fmla="*/ 78217 h 590379"/>
                  <a:gd name="connsiteX40" fmla="*/ 74601 w 553405"/>
                  <a:gd name="connsiteY40" fmla="*/ 72339 h 590379"/>
                  <a:gd name="connsiteX41" fmla="*/ 88165 w 553405"/>
                  <a:gd name="connsiteY41" fmla="*/ 67636 h 590379"/>
                  <a:gd name="connsiteX42" fmla="*/ 101208 w 553405"/>
                  <a:gd name="connsiteY42" fmla="*/ 62933 h 590379"/>
                  <a:gd name="connsiteX43" fmla="*/ 115293 w 553405"/>
                  <a:gd name="connsiteY43" fmla="*/ 59406 h 590379"/>
                  <a:gd name="connsiteX44" fmla="*/ 129379 w 553405"/>
                  <a:gd name="connsiteY44" fmla="*/ 55879 h 590379"/>
                  <a:gd name="connsiteX45" fmla="*/ 142943 w 553405"/>
                  <a:gd name="connsiteY45" fmla="*/ 52352 h 590379"/>
                  <a:gd name="connsiteX46" fmla="*/ 157028 w 553405"/>
                  <a:gd name="connsiteY46" fmla="*/ 49413 h 590379"/>
                  <a:gd name="connsiteX47" fmla="*/ 146792 w 553405"/>
                  <a:gd name="connsiteY47"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506037 w 553405"/>
                  <a:gd name="connsiteY8" fmla="*/ 94676 h 590379"/>
                  <a:gd name="connsiteX9" fmla="*/ 520122 w 553405"/>
                  <a:gd name="connsiteY9" fmla="*/ 209891 h 590379"/>
                  <a:gd name="connsiteX10" fmla="*/ 526904 w 553405"/>
                  <a:gd name="connsiteY10" fmla="*/ 267499 h 590379"/>
                  <a:gd name="connsiteX11" fmla="*/ 534208 w 553405"/>
                  <a:gd name="connsiteY11" fmla="*/ 325694 h 590379"/>
                  <a:gd name="connsiteX12" fmla="*/ 540990 w 553405"/>
                  <a:gd name="connsiteY12" fmla="*/ 392119 h 590379"/>
                  <a:gd name="connsiteX13" fmla="*/ 544120 w 553405"/>
                  <a:gd name="connsiteY13" fmla="*/ 426213 h 590379"/>
                  <a:gd name="connsiteX14" fmla="*/ 546728 w 553405"/>
                  <a:gd name="connsiteY14" fmla="*/ 459132 h 590379"/>
                  <a:gd name="connsiteX15" fmla="*/ 548815 w 553405"/>
                  <a:gd name="connsiteY15" fmla="*/ 493226 h 590379"/>
                  <a:gd name="connsiteX16" fmla="*/ 550902 w 553405"/>
                  <a:gd name="connsiteY16" fmla="*/ 526145 h 590379"/>
                  <a:gd name="connsiteX17" fmla="*/ 552467 w 553405"/>
                  <a:gd name="connsiteY17" fmla="*/ 560239 h 590379"/>
                  <a:gd name="connsiteX18" fmla="*/ 553405 w 553405"/>
                  <a:gd name="connsiteY18" fmla="*/ 590379 h 590379"/>
                  <a:gd name="connsiteX19" fmla="*/ 0 w 553405"/>
                  <a:gd name="connsiteY19" fmla="*/ 590379 h 590379"/>
                  <a:gd name="connsiteX20" fmla="*/ 0 w 553405"/>
                  <a:gd name="connsiteY20" fmla="*/ 576110 h 590379"/>
                  <a:gd name="connsiteX21" fmla="*/ 1044 w 553405"/>
                  <a:gd name="connsiteY21" fmla="*/ 552009 h 590379"/>
                  <a:gd name="connsiteX22" fmla="*/ 2609 w 553405"/>
                  <a:gd name="connsiteY22" fmla="*/ 518503 h 590379"/>
                  <a:gd name="connsiteX23" fmla="*/ 5217 w 553405"/>
                  <a:gd name="connsiteY23" fmla="*/ 484408 h 590379"/>
                  <a:gd name="connsiteX24" fmla="*/ 10434 w 553405"/>
                  <a:gd name="connsiteY24" fmla="*/ 417396 h 590379"/>
                  <a:gd name="connsiteX25" fmla="*/ 17216 w 553405"/>
                  <a:gd name="connsiteY25" fmla="*/ 345092 h 590379"/>
                  <a:gd name="connsiteX26" fmla="*/ 25041 w 553405"/>
                  <a:gd name="connsiteY26" fmla="*/ 272789 h 590379"/>
                  <a:gd name="connsiteX27" fmla="*/ 34432 w 553405"/>
                  <a:gd name="connsiteY27" fmla="*/ 194608 h 590379"/>
                  <a:gd name="connsiteX28" fmla="*/ 44344 w 553405"/>
                  <a:gd name="connsiteY28" fmla="*/ 115250 h 590379"/>
                  <a:gd name="connsiteX29" fmla="*/ 45909 w 553405"/>
                  <a:gd name="connsiteY29" fmla="*/ 107021 h 590379"/>
                  <a:gd name="connsiteX30" fmla="*/ 46430 w 553405"/>
                  <a:gd name="connsiteY30" fmla="*/ 103494 h 590379"/>
                  <a:gd name="connsiteX31" fmla="*/ 46430 w 553405"/>
                  <a:gd name="connsiteY31" fmla="*/ 99379 h 590379"/>
                  <a:gd name="connsiteX32" fmla="*/ 46952 w 553405"/>
                  <a:gd name="connsiteY32" fmla="*/ 94088 h 590379"/>
                  <a:gd name="connsiteX33" fmla="*/ 47995 w 553405"/>
                  <a:gd name="connsiteY33" fmla="*/ 90561 h 590379"/>
                  <a:gd name="connsiteX34" fmla="*/ 49561 w 553405"/>
                  <a:gd name="connsiteY34" fmla="*/ 87622 h 590379"/>
                  <a:gd name="connsiteX35" fmla="*/ 51126 w 553405"/>
                  <a:gd name="connsiteY35" fmla="*/ 85271 h 590379"/>
                  <a:gd name="connsiteX36" fmla="*/ 53212 w 553405"/>
                  <a:gd name="connsiteY36" fmla="*/ 82919 h 590379"/>
                  <a:gd name="connsiteX37" fmla="*/ 55299 w 553405"/>
                  <a:gd name="connsiteY37" fmla="*/ 81156 h 590379"/>
                  <a:gd name="connsiteX38" fmla="*/ 61038 w 553405"/>
                  <a:gd name="connsiteY38" fmla="*/ 78217 h 590379"/>
                  <a:gd name="connsiteX39" fmla="*/ 74601 w 553405"/>
                  <a:gd name="connsiteY39" fmla="*/ 72339 h 590379"/>
                  <a:gd name="connsiteX40" fmla="*/ 88165 w 553405"/>
                  <a:gd name="connsiteY40" fmla="*/ 67636 h 590379"/>
                  <a:gd name="connsiteX41" fmla="*/ 101208 w 553405"/>
                  <a:gd name="connsiteY41" fmla="*/ 62933 h 590379"/>
                  <a:gd name="connsiteX42" fmla="*/ 115293 w 553405"/>
                  <a:gd name="connsiteY42" fmla="*/ 59406 h 590379"/>
                  <a:gd name="connsiteX43" fmla="*/ 129379 w 553405"/>
                  <a:gd name="connsiteY43" fmla="*/ 55879 h 590379"/>
                  <a:gd name="connsiteX44" fmla="*/ 142943 w 553405"/>
                  <a:gd name="connsiteY44" fmla="*/ 52352 h 590379"/>
                  <a:gd name="connsiteX45" fmla="*/ 157028 w 553405"/>
                  <a:gd name="connsiteY45" fmla="*/ 49413 h 590379"/>
                  <a:gd name="connsiteX46" fmla="*/ 146792 w 553405"/>
                  <a:gd name="connsiteY46"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520122 w 553405"/>
                  <a:gd name="connsiteY8" fmla="*/ 209891 h 590379"/>
                  <a:gd name="connsiteX9" fmla="*/ 526904 w 553405"/>
                  <a:gd name="connsiteY9" fmla="*/ 267499 h 590379"/>
                  <a:gd name="connsiteX10" fmla="*/ 534208 w 553405"/>
                  <a:gd name="connsiteY10" fmla="*/ 325694 h 590379"/>
                  <a:gd name="connsiteX11" fmla="*/ 540990 w 553405"/>
                  <a:gd name="connsiteY11" fmla="*/ 392119 h 590379"/>
                  <a:gd name="connsiteX12" fmla="*/ 544120 w 553405"/>
                  <a:gd name="connsiteY12" fmla="*/ 426213 h 590379"/>
                  <a:gd name="connsiteX13" fmla="*/ 546728 w 553405"/>
                  <a:gd name="connsiteY13" fmla="*/ 459132 h 590379"/>
                  <a:gd name="connsiteX14" fmla="*/ 548815 w 553405"/>
                  <a:gd name="connsiteY14" fmla="*/ 493226 h 590379"/>
                  <a:gd name="connsiteX15" fmla="*/ 550902 w 553405"/>
                  <a:gd name="connsiteY15" fmla="*/ 526145 h 590379"/>
                  <a:gd name="connsiteX16" fmla="*/ 552467 w 553405"/>
                  <a:gd name="connsiteY16" fmla="*/ 560239 h 590379"/>
                  <a:gd name="connsiteX17" fmla="*/ 553405 w 553405"/>
                  <a:gd name="connsiteY17" fmla="*/ 590379 h 590379"/>
                  <a:gd name="connsiteX18" fmla="*/ 0 w 553405"/>
                  <a:gd name="connsiteY18" fmla="*/ 590379 h 590379"/>
                  <a:gd name="connsiteX19" fmla="*/ 0 w 553405"/>
                  <a:gd name="connsiteY19" fmla="*/ 576110 h 590379"/>
                  <a:gd name="connsiteX20" fmla="*/ 1044 w 553405"/>
                  <a:gd name="connsiteY20" fmla="*/ 552009 h 590379"/>
                  <a:gd name="connsiteX21" fmla="*/ 2609 w 553405"/>
                  <a:gd name="connsiteY21" fmla="*/ 518503 h 590379"/>
                  <a:gd name="connsiteX22" fmla="*/ 5217 w 553405"/>
                  <a:gd name="connsiteY22" fmla="*/ 484408 h 590379"/>
                  <a:gd name="connsiteX23" fmla="*/ 10434 w 553405"/>
                  <a:gd name="connsiteY23" fmla="*/ 417396 h 590379"/>
                  <a:gd name="connsiteX24" fmla="*/ 17216 w 553405"/>
                  <a:gd name="connsiteY24" fmla="*/ 345092 h 590379"/>
                  <a:gd name="connsiteX25" fmla="*/ 25041 w 553405"/>
                  <a:gd name="connsiteY25" fmla="*/ 272789 h 590379"/>
                  <a:gd name="connsiteX26" fmla="*/ 34432 w 553405"/>
                  <a:gd name="connsiteY26" fmla="*/ 194608 h 590379"/>
                  <a:gd name="connsiteX27" fmla="*/ 44344 w 553405"/>
                  <a:gd name="connsiteY27" fmla="*/ 115250 h 590379"/>
                  <a:gd name="connsiteX28" fmla="*/ 45909 w 553405"/>
                  <a:gd name="connsiteY28" fmla="*/ 107021 h 590379"/>
                  <a:gd name="connsiteX29" fmla="*/ 46430 w 553405"/>
                  <a:gd name="connsiteY29" fmla="*/ 103494 h 590379"/>
                  <a:gd name="connsiteX30" fmla="*/ 46430 w 553405"/>
                  <a:gd name="connsiteY30" fmla="*/ 99379 h 590379"/>
                  <a:gd name="connsiteX31" fmla="*/ 46952 w 553405"/>
                  <a:gd name="connsiteY31" fmla="*/ 94088 h 590379"/>
                  <a:gd name="connsiteX32" fmla="*/ 47995 w 553405"/>
                  <a:gd name="connsiteY32" fmla="*/ 90561 h 590379"/>
                  <a:gd name="connsiteX33" fmla="*/ 49561 w 553405"/>
                  <a:gd name="connsiteY33" fmla="*/ 87622 h 590379"/>
                  <a:gd name="connsiteX34" fmla="*/ 51126 w 553405"/>
                  <a:gd name="connsiteY34" fmla="*/ 85271 h 590379"/>
                  <a:gd name="connsiteX35" fmla="*/ 53212 w 553405"/>
                  <a:gd name="connsiteY35" fmla="*/ 82919 h 590379"/>
                  <a:gd name="connsiteX36" fmla="*/ 55299 w 553405"/>
                  <a:gd name="connsiteY36" fmla="*/ 81156 h 590379"/>
                  <a:gd name="connsiteX37" fmla="*/ 61038 w 553405"/>
                  <a:gd name="connsiteY37" fmla="*/ 78217 h 590379"/>
                  <a:gd name="connsiteX38" fmla="*/ 74601 w 553405"/>
                  <a:gd name="connsiteY38" fmla="*/ 72339 h 590379"/>
                  <a:gd name="connsiteX39" fmla="*/ 88165 w 553405"/>
                  <a:gd name="connsiteY39" fmla="*/ 67636 h 590379"/>
                  <a:gd name="connsiteX40" fmla="*/ 101208 w 553405"/>
                  <a:gd name="connsiteY40" fmla="*/ 62933 h 590379"/>
                  <a:gd name="connsiteX41" fmla="*/ 115293 w 553405"/>
                  <a:gd name="connsiteY41" fmla="*/ 59406 h 590379"/>
                  <a:gd name="connsiteX42" fmla="*/ 129379 w 553405"/>
                  <a:gd name="connsiteY42" fmla="*/ 55879 h 590379"/>
                  <a:gd name="connsiteX43" fmla="*/ 142943 w 553405"/>
                  <a:gd name="connsiteY43" fmla="*/ 52352 h 590379"/>
                  <a:gd name="connsiteX44" fmla="*/ 157028 w 553405"/>
                  <a:gd name="connsiteY44" fmla="*/ 49413 h 590379"/>
                  <a:gd name="connsiteX45" fmla="*/ 146792 w 553405"/>
                  <a:gd name="connsiteY45"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520122 w 553405"/>
                  <a:gd name="connsiteY8" fmla="*/ 209891 h 590379"/>
                  <a:gd name="connsiteX9" fmla="*/ 526904 w 553405"/>
                  <a:gd name="connsiteY9" fmla="*/ 267499 h 590379"/>
                  <a:gd name="connsiteX10" fmla="*/ 534208 w 553405"/>
                  <a:gd name="connsiteY10" fmla="*/ 325694 h 590379"/>
                  <a:gd name="connsiteX11" fmla="*/ 540990 w 553405"/>
                  <a:gd name="connsiteY11" fmla="*/ 392119 h 590379"/>
                  <a:gd name="connsiteX12" fmla="*/ 544120 w 553405"/>
                  <a:gd name="connsiteY12" fmla="*/ 426213 h 590379"/>
                  <a:gd name="connsiteX13" fmla="*/ 546728 w 553405"/>
                  <a:gd name="connsiteY13" fmla="*/ 459132 h 590379"/>
                  <a:gd name="connsiteX14" fmla="*/ 548815 w 553405"/>
                  <a:gd name="connsiteY14" fmla="*/ 493226 h 590379"/>
                  <a:gd name="connsiteX15" fmla="*/ 550902 w 553405"/>
                  <a:gd name="connsiteY15" fmla="*/ 526145 h 590379"/>
                  <a:gd name="connsiteX16" fmla="*/ 552467 w 553405"/>
                  <a:gd name="connsiteY16" fmla="*/ 560239 h 590379"/>
                  <a:gd name="connsiteX17" fmla="*/ 553405 w 553405"/>
                  <a:gd name="connsiteY17" fmla="*/ 590379 h 590379"/>
                  <a:gd name="connsiteX18" fmla="*/ 0 w 553405"/>
                  <a:gd name="connsiteY18" fmla="*/ 590379 h 590379"/>
                  <a:gd name="connsiteX19" fmla="*/ 0 w 553405"/>
                  <a:gd name="connsiteY19" fmla="*/ 576110 h 590379"/>
                  <a:gd name="connsiteX20" fmla="*/ 1044 w 553405"/>
                  <a:gd name="connsiteY20" fmla="*/ 552009 h 590379"/>
                  <a:gd name="connsiteX21" fmla="*/ 2609 w 553405"/>
                  <a:gd name="connsiteY21" fmla="*/ 518503 h 590379"/>
                  <a:gd name="connsiteX22" fmla="*/ 5217 w 553405"/>
                  <a:gd name="connsiteY22" fmla="*/ 484408 h 590379"/>
                  <a:gd name="connsiteX23" fmla="*/ 10434 w 553405"/>
                  <a:gd name="connsiteY23" fmla="*/ 417396 h 590379"/>
                  <a:gd name="connsiteX24" fmla="*/ 17216 w 553405"/>
                  <a:gd name="connsiteY24" fmla="*/ 345092 h 590379"/>
                  <a:gd name="connsiteX25" fmla="*/ 25041 w 553405"/>
                  <a:gd name="connsiteY25" fmla="*/ 272789 h 590379"/>
                  <a:gd name="connsiteX26" fmla="*/ 34432 w 553405"/>
                  <a:gd name="connsiteY26" fmla="*/ 194608 h 590379"/>
                  <a:gd name="connsiteX27" fmla="*/ 44344 w 553405"/>
                  <a:gd name="connsiteY27" fmla="*/ 115250 h 590379"/>
                  <a:gd name="connsiteX28" fmla="*/ 45909 w 553405"/>
                  <a:gd name="connsiteY28" fmla="*/ 107021 h 590379"/>
                  <a:gd name="connsiteX29" fmla="*/ 46430 w 553405"/>
                  <a:gd name="connsiteY29" fmla="*/ 103494 h 590379"/>
                  <a:gd name="connsiteX30" fmla="*/ 46430 w 553405"/>
                  <a:gd name="connsiteY30" fmla="*/ 99379 h 590379"/>
                  <a:gd name="connsiteX31" fmla="*/ 46952 w 553405"/>
                  <a:gd name="connsiteY31" fmla="*/ 94088 h 590379"/>
                  <a:gd name="connsiteX32" fmla="*/ 47995 w 553405"/>
                  <a:gd name="connsiteY32" fmla="*/ 90561 h 590379"/>
                  <a:gd name="connsiteX33" fmla="*/ 49561 w 553405"/>
                  <a:gd name="connsiteY33" fmla="*/ 87622 h 590379"/>
                  <a:gd name="connsiteX34" fmla="*/ 51126 w 553405"/>
                  <a:gd name="connsiteY34" fmla="*/ 85271 h 590379"/>
                  <a:gd name="connsiteX35" fmla="*/ 53212 w 553405"/>
                  <a:gd name="connsiteY35" fmla="*/ 82919 h 590379"/>
                  <a:gd name="connsiteX36" fmla="*/ 55299 w 553405"/>
                  <a:gd name="connsiteY36" fmla="*/ 81156 h 590379"/>
                  <a:gd name="connsiteX37" fmla="*/ 74601 w 553405"/>
                  <a:gd name="connsiteY37" fmla="*/ 72339 h 590379"/>
                  <a:gd name="connsiteX38" fmla="*/ 88165 w 553405"/>
                  <a:gd name="connsiteY38" fmla="*/ 67636 h 590379"/>
                  <a:gd name="connsiteX39" fmla="*/ 101208 w 553405"/>
                  <a:gd name="connsiteY39" fmla="*/ 62933 h 590379"/>
                  <a:gd name="connsiteX40" fmla="*/ 115293 w 553405"/>
                  <a:gd name="connsiteY40" fmla="*/ 59406 h 590379"/>
                  <a:gd name="connsiteX41" fmla="*/ 129379 w 553405"/>
                  <a:gd name="connsiteY41" fmla="*/ 55879 h 590379"/>
                  <a:gd name="connsiteX42" fmla="*/ 142943 w 553405"/>
                  <a:gd name="connsiteY42" fmla="*/ 52352 h 590379"/>
                  <a:gd name="connsiteX43" fmla="*/ 157028 w 553405"/>
                  <a:gd name="connsiteY43" fmla="*/ 49413 h 590379"/>
                  <a:gd name="connsiteX44" fmla="*/ 146792 w 553405"/>
                  <a:gd name="connsiteY44"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520122 w 553405"/>
                  <a:gd name="connsiteY8" fmla="*/ 209891 h 590379"/>
                  <a:gd name="connsiteX9" fmla="*/ 526904 w 553405"/>
                  <a:gd name="connsiteY9" fmla="*/ 267499 h 590379"/>
                  <a:gd name="connsiteX10" fmla="*/ 534208 w 553405"/>
                  <a:gd name="connsiteY10" fmla="*/ 325694 h 590379"/>
                  <a:gd name="connsiteX11" fmla="*/ 540990 w 553405"/>
                  <a:gd name="connsiteY11" fmla="*/ 392119 h 590379"/>
                  <a:gd name="connsiteX12" fmla="*/ 544120 w 553405"/>
                  <a:gd name="connsiteY12" fmla="*/ 426213 h 590379"/>
                  <a:gd name="connsiteX13" fmla="*/ 546728 w 553405"/>
                  <a:gd name="connsiteY13" fmla="*/ 459132 h 590379"/>
                  <a:gd name="connsiteX14" fmla="*/ 548815 w 553405"/>
                  <a:gd name="connsiteY14" fmla="*/ 493226 h 590379"/>
                  <a:gd name="connsiteX15" fmla="*/ 550902 w 553405"/>
                  <a:gd name="connsiteY15" fmla="*/ 526145 h 590379"/>
                  <a:gd name="connsiteX16" fmla="*/ 552467 w 553405"/>
                  <a:gd name="connsiteY16" fmla="*/ 560239 h 590379"/>
                  <a:gd name="connsiteX17" fmla="*/ 553405 w 553405"/>
                  <a:gd name="connsiteY17" fmla="*/ 590379 h 590379"/>
                  <a:gd name="connsiteX18" fmla="*/ 0 w 553405"/>
                  <a:gd name="connsiteY18" fmla="*/ 590379 h 590379"/>
                  <a:gd name="connsiteX19" fmla="*/ 0 w 553405"/>
                  <a:gd name="connsiteY19" fmla="*/ 576110 h 590379"/>
                  <a:gd name="connsiteX20" fmla="*/ 1044 w 553405"/>
                  <a:gd name="connsiteY20" fmla="*/ 552009 h 590379"/>
                  <a:gd name="connsiteX21" fmla="*/ 2609 w 553405"/>
                  <a:gd name="connsiteY21" fmla="*/ 518503 h 590379"/>
                  <a:gd name="connsiteX22" fmla="*/ 5217 w 553405"/>
                  <a:gd name="connsiteY22" fmla="*/ 484408 h 590379"/>
                  <a:gd name="connsiteX23" fmla="*/ 10434 w 553405"/>
                  <a:gd name="connsiteY23" fmla="*/ 417396 h 590379"/>
                  <a:gd name="connsiteX24" fmla="*/ 17216 w 553405"/>
                  <a:gd name="connsiteY24" fmla="*/ 345092 h 590379"/>
                  <a:gd name="connsiteX25" fmla="*/ 25041 w 553405"/>
                  <a:gd name="connsiteY25" fmla="*/ 272789 h 590379"/>
                  <a:gd name="connsiteX26" fmla="*/ 34432 w 553405"/>
                  <a:gd name="connsiteY26" fmla="*/ 194608 h 590379"/>
                  <a:gd name="connsiteX27" fmla="*/ 44344 w 553405"/>
                  <a:gd name="connsiteY27" fmla="*/ 115250 h 590379"/>
                  <a:gd name="connsiteX28" fmla="*/ 45909 w 553405"/>
                  <a:gd name="connsiteY28" fmla="*/ 107021 h 590379"/>
                  <a:gd name="connsiteX29" fmla="*/ 46430 w 553405"/>
                  <a:gd name="connsiteY29" fmla="*/ 103494 h 590379"/>
                  <a:gd name="connsiteX30" fmla="*/ 46430 w 553405"/>
                  <a:gd name="connsiteY30" fmla="*/ 99379 h 590379"/>
                  <a:gd name="connsiteX31" fmla="*/ 46952 w 553405"/>
                  <a:gd name="connsiteY31" fmla="*/ 94088 h 590379"/>
                  <a:gd name="connsiteX32" fmla="*/ 47995 w 553405"/>
                  <a:gd name="connsiteY32" fmla="*/ 90561 h 590379"/>
                  <a:gd name="connsiteX33" fmla="*/ 49561 w 553405"/>
                  <a:gd name="connsiteY33" fmla="*/ 87622 h 590379"/>
                  <a:gd name="connsiteX34" fmla="*/ 53212 w 553405"/>
                  <a:gd name="connsiteY34" fmla="*/ 82919 h 590379"/>
                  <a:gd name="connsiteX35" fmla="*/ 55299 w 553405"/>
                  <a:gd name="connsiteY35" fmla="*/ 81156 h 590379"/>
                  <a:gd name="connsiteX36" fmla="*/ 74601 w 553405"/>
                  <a:gd name="connsiteY36" fmla="*/ 72339 h 590379"/>
                  <a:gd name="connsiteX37" fmla="*/ 88165 w 553405"/>
                  <a:gd name="connsiteY37" fmla="*/ 67636 h 590379"/>
                  <a:gd name="connsiteX38" fmla="*/ 101208 w 553405"/>
                  <a:gd name="connsiteY38" fmla="*/ 62933 h 590379"/>
                  <a:gd name="connsiteX39" fmla="*/ 115293 w 553405"/>
                  <a:gd name="connsiteY39" fmla="*/ 59406 h 590379"/>
                  <a:gd name="connsiteX40" fmla="*/ 129379 w 553405"/>
                  <a:gd name="connsiteY40" fmla="*/ 55879 h 590379"/>
                  <a:gd name="connsiteX41" fmla="*/ 142943 w 553405"/>
                  <a:gd name="connsiteY41" fmla="*/ 52352 h 590379"/>
                  <a:gd name="connsiteX42" fmla="*/ 157028 w 553405"/>
                  <a:gd name="connsiteY42" fmla="*/ 49413 h 590379"/>
                  <a:gd name="connsiteX43" fmla="*/ 146792 w 553405"/>
                  <a:gd name="connsiteY43"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520122 w 553405"/>
                  <a:gd name="connsiteY8" fmla="*/ 209891 h 590379"/>
                  <a:gd name="connsiteX9" fmla="*/ 526904 w 553405"/>
                  <a:gd name="connsiteY9" fmla="*/ 267499 h 590379"/>
                  <a:gd name="connsiteX10" fmla="*/ 534208 w 553405"/>
                  <a:gd name="connsiteY10" fmla="*/ 325694 h 590379"/>
                  <a:gd name="connsiteX11" fmla="*/ 540990 w 553405"/>
                  <a:gd name="connsiteY11" fmla="*/ 392119 h 590379"/>
                  <a:gd name="connsiteX12" fmla="*/ 544120 w 553405"/>
                  <a:gd name="connsiteY12" fmla="*/ 426213 h 590379"/>
                  <a:gd name="connsiteX13" fmla="*/ 546728 w 553405"/>
                  <a:gd name="connsiteY13" fmla="*/ 459132 h 590379"/>
                  <a:gd name="connsiteX14" fmla="*/ 548815 w 553405"/>
                  <a:gd name="connsiteY14" fmla="*/ 493226 h 590379"/>
                  <a:gd name="connsiteX15" fmla="*/ 550902 w 553405"/>
                  <a:gd name="connsiteY15" fmla="*/ 526145 h 590379"/>
                  <a:gd name="connsiteX16" fmla="*/ 552467 w 553405"/>
                  <a:gd name="connsiteY16" fmla="*/ 560239 h 590379"/>
                  <a:gd name="connsiteX17" fmla="*/ 553405 w 553405"/>
                  <a:gd name="connsiteY17" fmla="*/ 590379 h 590379"/>
                  <a:gd name="connsiteX18" fmla="*/ 0 w 553405"/>
                  <a:gd name="connsiteY18" fmla="*/ 590379 h 590379"/>
                  <a:gd name="connsiteX19" fmla="*/ 0 w 553405"/>
                  <a:gd name="connsiteY19" fmla="*/ 576110 h 590379"/>
                  <a:gd name="connsiteX20" fmla="*/ 1044 w 553405"/>
                  <a:gd name="connsiteY20" fmla="*/ 552009 h 590379"/>
                  <a:gd name="connsiteX21" fmla="*/ 2609 w 553405"/>
                  <a:gd name="connsiteY21" fmla="*/ 518503 h 590379"/>
                  <a:gd name="connsiteX22" fmla="*/ 5217 w 553405"/>
                  <a:gd name="connsiteY22" fmla="*/ 484408 h 590379"/>
                  <a:gd name="connsiteX23" fmla="*/ 10434 w 553405"/>
                  <a:gd name="connsiteY23" fmla="*/ 417396 h 590379"/>
                  <a:gd name="connsiteX24" fmla="*/ 17216 w 553405"/>
                  <a:gd name="connsiteY24" fmla="*/ 345092 h 590379"/>
                  <a:gd name="connsiteX25" fmla="*/ 25041 w 553405"/>
                  <a:gd name="connsiteY25" fmla="*/ 272789 h 590379"/>
                  <a:gd name="connsiteX26" fmla="*/ 34432 w 553405"/>
                  <a:gd name="connsiteY26" fmla="*/ 194608 h 590379"/>
                  <a:gd name="connsiteX27" fmla="*/ 44344 w 553405"/>
                  <a:gd name="connsiteY27" fmla="*/ 115250 h 590379"/>
                  <a:gd name="connsiteX28" fmla="*/ 45909 w 553405"/>
                  <a:gd name="connsiteY28" fmla="*/ 107021 h 590379"/>
                  <a:gd name="connsiteX29" fmla="*/ 46430 w 553405"/>
                  <a:gd name="connsiteY29" fmla="*/ 103494 h 590379"/>
                  <a:gd name="connsiteX30" fmla="*/ 46430 w 553405"/>
                  <a:gd name="connsiteY30" fmla="*/ 99379 h 590379"/>
                  <a:gd name="connsiteX31" fmla="*/ 46952 w 553405"/>
                  <a:gd name="connsiteY31" fmla="*/ 94088 h 590379"/>
                  <a:gd name="connsiteX32" fmla="*/ 47995 w 553405"/>
                  <a:gd name="connsiteY32" fmla="*/ 90561 h 590379"/>
                  <a:gd name="connsiteX33" fmla="*/ 53212 w 553405"/>
                  <a:gd name="connsiteY33" fmla="*/ 82919 h 590379"/>
                  <a:gd name="connsiteX34" fmla="*/ 55299 w 553405"/>
                  <a:gd name="connsiteY34" fmla="*/ 81156 h 590379"/>
                  <a:gd name="connsiteX35" fmla="*/ 74601 w 553405"/>
                  <a:gd name="connsiteY35" fmla="*/ 72339 h 590379"/>
                  <a:gd name="connsiteX36" fmla="*/ 88165 w 553405"/>
                  <a:gd name="connsiteY36" fmla="*/ 67636 h 590379"/>
                  <a:gd name="connsiteX37" fmla="*/ 101208 w 553405"/>
                  <a:gd name="connsiteY37" fmla="*/ 62933 h 590379"/>
                  <a:gd name="connsiteX38" fmla="*/ 115293 w 553405"/>
                  <a:gd name="connsiteY38" fmla="*/ 59406 h 590379"/>
                  <a:gd name="connsiteX39" fmla="*/ 129379 w 553405"/>
                  <a:gd name="connsiteY39" fmla="*/ 55879 h 590379"/>
                  <a:gd name="connsiteX40" fmla="*/ 142943 w 553405"/>
                  <a:gd name="connsiteY40" fmla="*/ 52352 h 590379"/>
                  <a:gd name="connsiteX41" fmla="*/ 157028 w 553405"/>
                  <a:gd name="connsiteY41" fmla="*/ 49413 h 590379"/>
                  <a:gd name="connsiteX42" fmla="*/ 146792 w 553405"/>
                  <a:gd name="connsiteY42"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520122 w 553405"/>
                  <a:gd name="connsiteY8" fmla="*/ 209891 h 590379"/>
                  <a:gd name="connsiteX9" fmla="*/ 526904 w 553405"/>
                  <a:gd name="connsiteY9" fmla="*/ 267499 h 590379"/>
                  <a:gd name="connsiteX10" fmla="*/ 534208 w 553405"/>
                  <a:gd name="connsiteY10" fmla="*/ 325694 h 590379"/>
                  <a:gd name="connsiteX11" fmla="*/ 540990 w 553405"/>
                  <a:gd name="connsiteY11" fmla="*/ 392119 h 590379"/>
                  <a:gd name="connsiteX12" fmla="*/ 544120 w 553405"/>
                  <a:gd name="connsiteY12" fmla="*/ 426213 h 590379"/>
                  <a:gd name="connsiteX13" fmla="*/ 546728 w 553405"/>
                  <a:gd name="connsiteY13" fmla="*/ 459132 h 590379"/>
                  <a:gd name="connsiteX14" fmla="*/ 548815 w 553405"/>
                  <a:gd name="connsiteY14" fmla="*/ 493226 h 590379"/>
                  <a:gd name="connsiteX15" fmla="*/ 550902 w 553405"/>
                  <a:gd name="connsiteY15" fmla="*/ 526145 h 590379"/>
                  <a:gd name="connsiteX16" fmla="*/ 552467 w 553405"/>
                  <a:gd name="connsiteY16" fmla="*/ 560239 h 590379"/>
                  <a:gd name="connsiteX17" fmla="*/ 553405 w 553405"/>
                  <a:gd name="connsiteY17" fmla="*/ 590379 h 590379"/>
                  <a:gd name="connsiteX18" fmla="*/ 0 w 553405"/>
                  <a:gd name="connsiteY18" fmla="*/ 590379 h 590379"/>
                  <a:gd name="connsiteX19" fmla="*/ 0 w 553405"/>
                  <a:gd name="connsiteY19" fmla="*/ 576110 h 590379"/>
                  <a:gd name="connsiteX20" fmla="*/ 1044 w 553405"/>
                  <a:gd name="connsiteY20" fmla="*/ 552009 h 590379"/>
                  <a:gd name="connsiteX21" fmla="*/ 2609 w 553405"/>
                  <a:gd name="connsiteY21" fmla="*/ 518503 h 590379"/>
                  <a:gd name="connsiteX22" fmla="*/ 5217 w 553405"/>
                  <a:gd name="connsiteY22" fmla="*/ 484408 h 590379"/>
                  <a:gd name="connsiteX23" fmla="*/ 10434 w 553405"/>
                  <a:gd name="connsiteY23" fmla="*/ 417396 h 590379"/>
                  <a:gd name="connsiteX24" fmla="*/ 17216 w 553405"/>
                  <a:gd name="connsiteY24" fmla="*/ 345092 h 590379"/>
                  <a:gd name="connsiteX25" fmla="*/ 25041 w 553405"/>
                  <a:gd name="connsiteY25" fmla="*/ 272789 h 590379"/>
                  <a:gd name="connsiteX26" fmla="*/ 34432 w 553405"/>
                  <a:gd name="connsiteY26" fmla="*/ 194608 h 590379"/>
                  <a:gd name="connsiteX27" fmla="*/ 44344 w 553405"/>
                  <a:gd name="connsiteY27" fmla="*/ 115250 h 590379"/>
                  <a:gd name="connsiteX28" fmla="*/ 45909 w 553405"/>
                  <a:gd name="connsiteY28" fmla="*/ 107021 h 590379"/>
                  <a:gd name="connsiteX29" fmla="*/ 46430 w 553405"/>
                  <a:gd name="connsiteY29" fmla="*/ 103494 h 590379"/>
                  <a:gd name="connsiteX30" fmla="*/ 46952 w 553405"/>
                  <a:gd name="connsiteY30" fmla="*/ 94088 h 590379"/>
                  <a:gd name="connsiteX31" fmla="*/ 47995 w 553405"/>
                  <a:gd name="connsiteY31" fmla="*/ 90561 h 590379"/>
                  <a:gd name="connsiteX32" fmla="*/ 53212 w 553405"/>
                  <a:gd name="connsiteY32" fmla="*/ 82919 h 590379"/>
                  <a:gd name="connsiteX33" fmla="*/ 55299 w 553405"/>
                  <a:gd name="connsiteY33" fmla="*/ 81156 h 590379"/>
                  <a:gd name="connsiteX34" fmla="*/ 74601 w 553405"/>
                  <a:gd name="connsiteY34" fmla="*/ 72339 h 590379"/>
                  <a:gd name="connsiteX35" fmla="*/ 88165 w 553405"/>
                  <a:gd name="connsiteY35" fmla="*/ 67636 h 590379"/>
                  <a:gd name="connsiteX36" fmla="*/ 101208 w 553405"/>
                  <a:gd name="connsiteY36" fmla="*/ 62933 h 590379"/>
                  <a:gd name="connsiteX37" fmla="*/ 115293 w 553405"/>
                  <a:gd name="connsiteY37" fmla="*/ 59406 h 590379"/>
                  <a:gd name="connsiteX38" fmla="*/ 129379 w 553405"/>
                  <a:gd name="connsiteY38" fmla="*/ 55879 h 590379"/>
                  <a:gd name="connsiteX39" fmla="*/ 142943 w 553405"/>
                  <a:gd name="connsiteY39" fmla="*/ 52352 h 590379"/>
                  <a:gd name="connsiteX40" fmla="*/ 157028 w 553405"/>
                  <a:gd name="connsiteY40" fmla="*/ 49413 h 590379"/>
                  <a:gd name="connsiteX41" fmla="*/ 146792 w 553405"/>
                  <a:gd name="connsiteY41" fmla="*/ 727 h 590379"/>
                  <a:gd name="connsiteX0" fmla="*/ 146792 w 553405"/>
                  <a:gd name="connsiteY0" fmla="*/ 727 h 590379"/>
                  <a:gd name="connsiteX1" fmla="*/ 376170 w 553405"/>
                  <a:gd name="connsiteY1" fmla="*/ 0 h 590379"/>
                  <a:gd name="connsiteX2" fmla="*/ 366746 w 553405"/>
                  <a:gd name="connsiteY2" fmla="*/ 44710 h 590379"/>
                  <a:gd name="connsiteX3" fmla="*/ 388657 w 553405"/>
                  <a:gd name="connsiteY3" fmla="*/ 47650 h 590379"/>
                  <a:gd name="connsiteX4" fmla="*/ 411090 w 553405"/>
                  <a:gd name="connsiteY4" fmla="*/ 52352 h 590379"/>
                  <a:gd name="connsiteX5" fmla="*/ 432479 w 553405"/>
                  <a:gd name="connsiteY5" fmla="*/ 57643 h 590379"/>
                  <a:gd name="connsiteX6" fmla="*/ 453868 w 553405"/>
                  <a:gd name="connsiteY6" fmla="*/ 63521 h 590379"/>
                  <a:gd name="connsiteX7" fmla="*/ 474735 w 553405"/>
                  <a:gd name="connsiteY7" fmla="*/ 71163 h 590379"/>
                  <a:gd name="connsiteX8" fmla="*/ 520122 w 553405"/>
                  <a:gd name="connsiteY8" fmla="*/ 209891 h 590379"/>
                  <a:gd name="connsiteX9" fmla="*/ 526904 w 553405"/>
                  <a:gd name="connsiteY9" fmla="*/ 267499 h 590379"/>
                  <a:gd name="connsiteX10" fmla="*/ 534208 w 553405"/>
                  <a:gd name="connsiteY10" fmla="*/ 325694 h 590379"/>
                  <a:gd name="connsiteX11" fmla="*/ 540990 w 553405"/>
                  <a:gd name="connsiteY11" fmla="*/ 392119 h 590379"/>
                  <a:gd name="connsiteX12" fmla="*/ 544120 w 553405"/>
                  <a:gd name="connsiteY12" fmla="*/ 426213 h 590379"/>
                  <a:gd name="connsiteX13" fmla="*/ 546728 w 553405"/>
                  <a:gd name="connsiteY13" fmla="*/ 459132 h 590379"/>
                  <a:gd name="connsiteX14" fmla="*/ 548815 w 553405"/>
                  <a:gd name="connsiteY14" fmla="*/ 493226 h 590379"/>
                  <a:gd name="connsiteX15" fmla="*/ 550902 w 553405"/>
                  <a:gd name="connsiteY15" fmla="*/ 526145 h 590379"/>
                  <a:gd name="connsiteX16" fmla="*/ 552467 w 553405"/>
                  <a:gd name="connsiteY16" fmla="*/ 560239 h 590379"/>
                  <a:gd name="connsiteX17" fmla="*/ 553405 w 553405"/>
                  <a:gd name="connsiteY17" fmla="*/ 590379 h 590379"/>
                  <a:gd name="connsiteX18" fmla="*/ 0 w 553405"/>
                  <a:gd name="connsiteY18" fmla="*/ 590379 h 590379"/>
                  <a:gd name="connsiteX19" fmla="*/ 0 w 553405"/>
                  <a:gd name="connsiteY19" fmla="*/ 576110 h 590379"/>
                  <a:gd name="connsiteX20" fmla="*/ 1044 w 553405"/>
                  <a:gd name="connsiteY20" fmla="*/ 552009 h 590379"/>
                  <a:gd name="connsiteX21" fmla="*/ 2609 w 553405"/>
                  <a:gd name="connsiteY21" fmla="*/ 518503 h 590379"/>
                  <a:gd name="connsiteX22" fmla="*/ 5217 w 553405"/>
                  <a:gd name="connsiteY22" fmla="*/ 484408 h 590379"/>
                  <a:gd name="connsiteX23" fmla="*/ 10434 w 553405"/>
                  <a:gd name="connsiteY23" fmla="*/ 417396 h 590379"/>
                  <a:gd name="connsiteX24" fmla="*/ 17216 w 553405"/>
                  <a:gd name="connsiteY24" fmla="*/ 345092 h 590379"/>
                  <a:gd name="connsiteX25" fmla="*/ 25041 w 553405"/>
                  <a:gd name="connsiteY25" fmla="*/ 272789 h 590379"/>
                  <a:gd name="connsiteX26" fmla="*/ 34432 w 553405"/>
                  <a:gd name="connsiteY26" fmla="*/ 194608 h 590379"/>
                  <a:gd name="connsiteX27" fmla="*/ 44344 w 553405"/>
                  <a:gd name="connsiteY27" fmla="*/ 115250 h 590379"/>
                  <a:gd name="connsiteX28" fmla="*/ 45909 w 553405"/>
                  <a:gd name="connsiteY28" fmla="*/ 107021 h 590379"/>
                  <a:gd name="connsiteX29" fmla="*/ 46952 w 553405"/>
                  <a:gd name="connsiteY29" fmla="*/ 94088 h 590379"/>
                  <a:gd name="connsiteX30" fmla="*/ 47995 w 553405"/>
                  <a:gd name="connsiteY30" fmla="*/ 90561 h 590379"/>
                  <a:gd name="connsiteX31" fmla="*/ 53212 w 553405"/>
                  <a:gd name="connsiteY31" fmla="*/ 82919 h 590379"/>
                  <a:gd name="connsiteX32" fmla="*/ 55299 w 553405"/>
                  <a:gd name="connsiteY32" fmla="*/ 81156 h 590379"/>
                  <a:gd name="connsiteX33" fmla="*/ 74601 w 553405"/>
                  <a:gd name="connsiteY33" fmla="*/ 72339 h 590379"/>
                  <a:gd name="connsiteX34" fmla="*/ 88165 w 553405"/>
                  <a:gd name="connsiteY34" fmla="*/ 67636 h 590379"/>
                  <a:gd name="connsiteX35" fmla="*/ 101208 w 553405"/>
                  <a:gd name="connsiteY35" fmla="*/ 62933 h 590379"/>
                  <a:gd name="connsiteX36" fmla="*/ 115293 w 553405"/>
                  <a:gd name="connsiteY36" fmla="*/ 59406 h 590379"/>
                  <a:gd name="connsiteX37" fmla="*/ 129379 w 553405"/>
                  <a:gd name="connsiteY37" fmla="*/ 55879 h 590379"/>
                  <a:gd name="connsiteX38" fmla="*/ 142943 w 553405"/>
                  <a:gd name="connsiteY38" fmla="*/ 52352 h 590379"/>
                  <a:gd name="connsiteX39" fmla="*/ 157028 w 553405"/>
                  <a:gd name="connsiteY39" fmla="*/ 49413 h 590379"/>
                  <a:gd name="connsiteX40" fmla="*/ 146792 w 553405"/>
                  <a:gd name="connsiteY40" fmla="*/ 727 h 59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53405" h="590379">
                    <a:moveTo>
                      <a:pt x="146792" y="727"/>
                    </a:moveTo>
                    <a:lnTo>
                      <a:pt x="376170" y="0"/>
                    </a:lnTo>
                    <a:cubicBezTo>
                      <a:pt x="375987" y="14903"/>
                      <a:pt x="366929" y="29807"/>
                      <a:pt x="366746" y="44710"/>
                    </a:cubicBezTo>
                    <a:lnTo>
                      <a:pt x="388657" y="47650"/>
                    </a:lnTo>
                    <a:lnTo>
                      <a:pt x="411090" y="52352"/>
                    </a:lnTo>
                    <a:lnTo>
                      <a:pt x="432479" y="57643"/>
                    </a:lnTo>
                    <a:lnTo>
                      <a:pt x="453868" y="63521"/>
                    </a:lnTo>
                    <a:lnTo>
                      <a:pt x="474735" y="71163"/>
                    </a:lnTo>
                    <a:lnTo>
                      <a:pt x="520122" y="209891"/>
                    </a:lnTo>
                    <a:lnTo>
                      <a:pt x="526904" y="267499"/>
                    </a:lnTo>
                    <a:lnTo>
                      <a:pt x="534208" y="325694"/>
                    </a:lnTo>
                    <a:lnTo>
                      <a:pt x="540990" y="392119"/>
                    </a:lnTo>
                    <a:lnTo>
                      <a:pt x="544120" y="426213"/>
                    </a:lnTo>
                    <a:lnTo>
                      <a:pt x="546728" y="459132"/>
                    </a:lnTo>
                    <a:lnTo>
                      <a:pt x="548815" y="493226"/>
                    </a:lnTo>
                    <a:lnTo>
                      <a:pt x="550902" y="526145"/>
                    </a:lnTo>
                    <a:cubicBezTo>
                      <a:pt x="551424" y="537510"/>
                      <a:pt x="551945" y="548874"/>
                      <a:pt x="552467" y="560239"/>
                    </a:cubicBezTo>
                    <a:cubicBezTo>
                      <a:pt x="552780" y="570286"/>
                      <a:pt x="553092" y="580332"/>
                      <a:pt x="553405" y="590379"/>
                    </a:cubicBezTo>
                    <a:lnTo>
                      <a:pt x="0" y="590379"/>
                    </a:lnTo>
                    <a:lnTo>
                      <a:pt x="0" y="576110"/>
                    </a:lnTo>
                    <a:lnTo>
                      <a:pt x="1044" y="552009"/>
                    </a:lnTo>
                    <a:cubicBezTo>
                      <a:pt x="1566" y="540840"/>
                      <a:pt x="2087" y="529672"/>
                      <a:pt x="2609" y="518503"/>
                    </a:cubicBezTo>
                    <a:lnTo>
                      <a:pt x="5217" y="484408"/>
                    </a:lnTo>
                    <a:lnTo>
                      <a:pt x="10434" y="417396"/>
                    </a:lnTo>
                    <a:lnTo>
                      <a:pt x="17216" y="345092"/>
                    </a:lnTo>
                    <a:lnTo>
                      <a:pt x="25041" y="272789"/>
                    </a:lnTo>
                    <a:lnTo>
                      <a:pt x="34432" y="194608"/>
                    </a:lnTo>
                    <a:lnTo>
                      <a:pt x="44344" y="115250"/>
                    </a:lnTo>
                    <a:lnTo>
                      <a:pt x="45909" y="107021"/>
                    </a:lnTo>
                    <a:cubicBezTo>
                      <a:pt x="46344" y="103494"/>
                      <a:pt x="46604" y="96831"/>
                      <a:pt x="46952" y="94088"/>
                    </a:cubicBezTo>
                    <a:lnTo>
                      <a:pt x="47995" y="90561"/>
                    </a:lnTo>
                    <a:lnTo>
                      <a:pt x="53212" y="82919"/>
                    </a:lnTo>
                    <a:lnTo>
                      <a:pt x="55299" y="81156"/>
                    </a:lnTo>
                    <a:lnTo>
                      <a:pt x="74601" y="72339"/>
                    </a:lnTo>
                    <a:lnTo>
                      <a:pt x="88165" y="67636"/>
                    </a:lnTo>
                    <a:lnTo>
                      <a:pt x="101208" y="62933"/>
                    </a:lnTo>
                    <a:lnTo>
                      <a:pt x="115293" y="59406"/>
                    </a:lnTo>
                    <a:lnTo>
                      <a:pt x="129379" y="55879"/>
                    </a:lnTo>
                    <a:lnTo>
                      <a:pt x="142943" y="52352"/>
                    </a:lnTo>
                    <a:lnTo>
                      <a:pt x="157028" y="49413"/>
                    </a:lnTo>
                    <a:lnTo>
                      <a:pt x="146792" y="727"/>
                    </a:lnTo>
                    <a:close/>
                  </a:path>
                </a:pathLst>
              </a:custGeom>
              <a:solidFill>
                <a:schemeClr val="bg1">
                  <a:lumMod val="75000"/>
                </a:schemeClr>
              </a:solidFill>
              <a:ln w="12700">
                <a:noFill/>
                <a:round/>
                <a:headEnd/>
                <a:tailEnd/>
              </a:ln>
            </p:spPr>
            <p:txBody>
              <a:bodyPr vert="horz" wrap="square" lIns="91417" tIns="45707" rIns="91417" bIns="45707"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50">
                  <a:defRPr/>
                </a:pPr>
                <a:endParaRPr lang="en-US" sz="1799" kern="0">
                  <a:solidFill>
                    <a:srgbClr val="505050"/>
                  </a:solidFill>
                  <a:latin typeface="Segoe UI"/>
                </a:endParaRPr>
              </a:p>
            </p:txBody>
          </p:sp>
        </p:grpSp>
        <p:sp>
          <p:nvSpPr>
            <p:cNvPr id="2481" name="Freeform: Shape 2480">
              <a:extLst>
                <a:ext uri="{FF2B5EF4-FFF2-40B4-BE49-F238E27FC236}">
                  <a16:creationId xmlns:a16="http://schemas.microsoft.com/office/drawing/2014/main" id="{35070072-9CA1-4092-8EAF-B6E177EAF6A8}"/>
                </a:ext>
              </a:extLst>
            </p:cNvPr>
            <p:cNvSpPr/>
            <p:nvPr/>
          </p:nvSpPr>
          <p:spPr bwMode="auto">
            <a:xfrm>
              <a:off x="-4596129" y="2640980"/>
              <a:ext cx="343549" cy="181703"/>
            </a:xfrm>
            <a:custGeom>
              <a:avLst/>
              <a:gdLst>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85825 w 1566862"/>
                <a:gd name="connsiteY5" fmla="*/ 214312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85825 w 1566862"/>
                <a:gd name="connsiteY5" fmla="*/ 214312 h 723900"/>
                <a:gd name="connsiteX6" fmla="*/ 66675 w 1566862"/>
                <a:gd name="connsiteY6" fmla="*/ 704850 h 723900"/>
                <a:gd name="connsiteX7" fmla="*/ 0 w 1566862"/>
                <a:gd name="connsiteY7"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85825 w 1566862"/>
                <a:gd name="connsiteY5" fmla="*/ 214312 h 723900"/>
                <a:gd name="connsiteX6" fmla="*/ 66675 w 1566862"/>
                <a:gd name="connsiteY6" fmla="*/ 704850 h 723900"/>
                <a:gd name="connsiteX7" fmla="*/ 0 w 1566862"/>
                <a:gd name="connsiteY7"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6667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04850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19138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00187 w 1566862"/>
                <a:gd name="connsiteY4" fmla="*/ 723900 h 723900"/>
                <a:gd name="connsiteX5" fmla="*/ 85725 w 1566862"/>
                <a:gd name="connsiteY5" fmla="*/ 719138 h 723900"/>
                <a:gd name="connsiteX6" fmla="*/ 0 w 1566862"/>
                <a:gd name="connsiteY6" fmla="*/ 709612 h 723900"/>
                <a:gd name="connsiteX0" fmla="*/ 0 w 1566862"/>
                <a:gd name="connsiteY0" fmla="*/ 709612 h 723900"/>
                <a:gd name="connsiteX1" fmla="*/ 0 w 1566862"/>
                <a:gd name="connsiteY1" fmla="*/ 0 h 723900"/>
                <a:gd name="connsiteX2" fmla="*/ 1381125 w 1566862"/>
                <a:gd name="connsiteY2" fmla="*/ 0 h 723900"/>
                <a:gd name="connsiteX3" fmla="*/ 1566862 w 1566862"/>
                <a:gd name="connsiteY3" fmla="*/ 723900 h 723900"/>
                <a:gd name="connsiteX4" fmla="*/ 1514475 w 1566862"/>
                <a:gd name="connsiteY4" fmla="*/ 723900 h 723900"/>
                <a:gd name="connsiteX5" fmla="*/ 85725 w 1566862"/>
                <a:gd name="connsiteY5" fmla="*/ 719138 h 723900"/>
                <a:gd name="connsiteX6" fmla="*/ 0 w 1566862"/>
                <a:gd name="connsiteY6" fmla="*/ 709612 h 723900"/>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85725 w 1566862"/>
                <a:gd name="connsiteY5" fmla="*/ 719138 h 733425"/>
                <a:gd name="connsiteX6" fmla="*/ 0 w 1566862"/>
                <a:gd name="connsiteY6" fmla="*/ 709612 h 733425"/>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85725 w 1566862"/>
                <a:gd name="connsiteY5" fmla="*/ 719138 h 733425"/>
                <a:gd name="connsiteX6" fmla="*/ 0 w 1566862"/>
                <a:gd name="connsiteY6" fmla="*/ 709612 h 733425"/>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71438 w 1566862"/>
                <a:gd name="connsiteY5" fmla="*/ 714376 h 733425"/>
                <a:gd name="connsiteX6" fmla="*/ 0 w 1566862"/>
                <a:gd name="connsiteY6" fmla="*/ 709612 h 733425"/>
                <a:gd name="connsiteX0" fmla="*/ 0 w 1566862"/>
                <a:gd name="connsiteY0" fmla="*/ 709612 h 733425"/>
                <a:gd name="connsiteX1" fmla="*/ 0 w 1566862"/>
                <a:gd name="connsiteY1" fmla="*/ 0 h 733425"/>
                <a:gd name="connsiteX2" fmla="*/ 1381125 w 1566862"/>
                <a:gd name="connsiteY2" fmla="*/ 0 h 733425"/>
                <a:gd name="connsiteX3" fmla="*/ 1566862 w 1566862"/>
                <a:gd name="connsiteY3" fmla="*/ 723900 h 733425"/>
                <a:gd name="connsiteX4" fmla="*/ 1528762 w 1566862"/>
                <a:gd name="connsiteY4" fmla="*/ 733425 h 733425"/>
                <a:gd name="connsiteX5" fmla="*/ 71438 w 1566862"/>
                <a:gd name="connsiteY5" fmla="*/ 714376 h 733425"/>
                <a:gd name="connsiteX6" fmla="*/ 0 w 1566862"/>
                <a:gd name="connsiteY6" fmla="*/ 709612 h 733425"/>
                <a:gd name="connsiteX0" fmla="*/ 0 w 1566862"/>
                <a:gd name="connsiteY0" fmla="*/ 709612 h 728662"/>
                <a:gd name="connsiteX1" fmla="*/ 0 w 1566862"/>
                <a:gd name="connsiteY1" fmla="*/ 0 h 728662"/>
                <a:gd name="connsiteX2" fmla="*/ 1381125 w 1566862"/>
                <a:gd name="connsiteY2" fmla="*/ 0 h 728662"/>
                <a:gd name="connsiteX3" fmla="*/ 1566862 w 1566862"/>
                <a:gd name="connsiteY3" fmla="*/ 723900 h 728662"/>
                <a:gd name="connsiteX4" fmla="*/ 1509712 w 1566862"/>
                <a:gd name="connsiteY4" fmla="*/ 728662 h 728662"/>
                <a:gd name="connsiteX5" fmla="*/ 71438 w 1566862"/>
                <a:gd name="connsiteY5" fmla="*/ 714376 h 728662"/>
                <a:gd name="connsiteX6" fmla="*/ 0 w 1566862"/>
                <a:gd name="connsiteY6" fmla="*/ 709612 h 728662"/>
                <a:gd name="connsiteX0" fmla="*/ 0 w 1566862"/>
                <a:gd name="connsiteY0" fmla="*/ 709612 h 728662"/>
                <a:gd name="connsiteX1" fmla="*/ 0 w 1566862"/>
                <a:gd name="connsiteY1" fmla="*/ 0 h 728662"/>
                <a:gd name="connsiteX2" fmla="*/ 1381125 w 1566862"/>
                <a:gd name="connsiteY2" fmla="*/ 0 h 728662"/>
                <a:gd name="connsiteX3" fmla="*/ 1566862 w 1566862"/>
                <a:gd name="connsiteY3" fmla="*/ 723900 h 728662"/>
                <a:gd name="connsiteX4" fmla="*/ 1509712 w 1566862"/>
                <a:gd name="connsiteY4" fmla="*/ 728662 h 728662"/>
                <a:gd name="connsiteX5" fmla="*/ 71438 w 1566862"/>
                <a:gd name="connsiteY5" fmla="*/ 714376 h 728662"/>
                <a:gd name="connsiteX6" fmla="*/ 0 w 1566862"/>
                <a:gd name="connsiteY6" fmla="*/ 709612 h 728662"/>
                <a:gd name="connsiteX0" fmla="*/ 0 w 1566862"/>
                <a:gd name="connsiteY0" fmla="*/ 709612 h 728662"/>
                <a:gd name="connsiteX1" fmla="*/ 0 w 1566862"/>
                <a:gd name="connsiteY1" fmla="*/ 0 h 728662"/>
                <a:gd name="connsiteX2" fmla="*/ 1381125 w 1566862"/>
                <a:gd name="connsiteY2" fmla="*/ 0 h 728662"/>
                <a:gd name="connsiteX3" fmla="*/ 1566862 w 1566862"/>
                <a:gd name="connsiteY3" fmla="*/ 723900 h 728662"/>
                <a:gd name="connsiteX4" fmla="*/ 1509712 w 1566862"/>
                <a:gd name="connsiteY4" fmla="*/ 728662 h 728662"/>
                <a:gd name="connsiteX5" fmla="*/ 80963 w 1566862"/>
                <a:gd name="connsiteY5" fmla="*/ 719139 h 728662"/>
                <a:gd name="connsiteX6" fmla="*/ 0 w 1566862"/>
                <a:gd name="connsiteY6" fmla="*/ 709612 h 728662"/>
                <a:gd name="connsiteX0" fmla="*/ 0 w 1566862"/>
                <a:gd name="connsiteY0" fmla="*/ 709612 h 728662"/>
                <a:gd name="connsiteX1" fmla="*/ 1381125 w 1566862"/>
                <a:gd name="connsiteY1" fmla="*/ 0 h 728662"/>
                <a:gd name="connsiteX2" fmla="*/ 1566862 w 1566862"/>
                <a:gd name="connsiteY2" fmla="*/ 723900 h 728662"/>
                <a:gd name="connsiteX3" fmla="*/ 1509712 w 1566862"/>
                <a:gd name="connsiteY3" fmla="*/ 728662 h 728662"/>
                <a:gd name="connsiteX4" fmla="*/ 80963 w 1566862"/>
                <a:gd name="connsiteY4" fmla="*/ 719139 h 728662"/>
                <a:gd name="connsiteX5" fmla="*/ 0 w 1566862"/>
                <a:gd name="connsiteY5" fmla="*/ 709612 h 728662"/>
                <a:gd name="connsiteX0" fmla="*/ 0 w 1566862"/>
                <a:gd name="connsiteY0" fmla="*/ 496857 h 515907"/>
                <a:gd name="connsiteX1" fmla="*/ 1566862 w 1566862"/>
                <a:gd name="connsiteY1" fmla="*/ 511145 h 515907"/>
                <a:gd name="connsiteX2" fmla="*/ 1509712 w 1566862"/>
                <a:gd name="connsiteY2" fmla="*/ 515907 h 515907"/>
                <a:gd name="connsiteX3" fmla="*/ 80963 w 1566862"/>
                <a:gd name="connsiteY3" fmla="*/ 506384 h 515907"/>
                <a:gd name="connsiteX4" fmla="*/ 0 w 1566862"/>
                <a:gd name="connsiteY4" fmla="*/ 496857 h 515907"/>
                <a:gd name="connsiteX0" fmla="*/ 0 w 1566862"/>
                <a:gd name="connsiteY0" fmla="*/ 496857 h 515907"/>
                <a:gd name="connsiteX1" fmla="*/ 1566862 w 1566862"/>
                <a:gd name="connsiteY1" fmla="*/ 511145 h 515907"/>
                <a:gd name="connsiteX2" fmla="*/ 1509712 w 1566862"/>
                <a:gd name="connsiteY2" fmla="*/ 515907 h 515907"/>
                <a:gd name="connsiteX3" fmla="*/ 80963 w 1566862"/>
                <a:gd name="connsiteY3" fmla="*/ 506384 h 515907"/>
                <a:gd name="connsiteX4" fmla="*/ 0 w 1566862"/>
                <a:gd name="connsiteY4" fmla="*/ 496857 h 515907"/>
                <a:gd name="connsiteX0" fmla="*/ 0 w 1566862"/>
                <a:gd name="connsiteY0" fmla="*/ 675569 h 694619"/>
                <a:gd name="connsiteX1" fmla="*/ 1566862 w 1566862"/>
                <a:gd name="connsiteY1" fmla="*/ 689857 h 694619"/>
                <a:gd name="connsiteX2" fmla="*/ 1509712 w 1566862"/>
                <a:gd name="connsiteY2" fmla="*/ 694619 h 694619"/>
                <a:gd name="connsiteX3" fmla="*/ 80963 w 1566862"/>
                <a:gd name="connsiteY3" fmla="*/ 685096 h 694619"/>
                <a:gd name="connsiteX4" fmla="*/ 0 w 1566862"/>
                <a:gd name="connsiteY4" fmla="*/ 675569 h 694619"/>
                <a:gd name="connsiteX0" fmla="*/ 0 w 1566862"/>
                <a:gd name="connsiteY0" fmla="*/ 693022 h 712072"/>
                <a:gd name="connsiteX1" fmla="*/ 1566862 w 1566862"/>
                <a:gd name="connsiteY1" fmla="*/ 707310 h 712072"/>
                <a:gd name="connsiteX2" fmla="*/ 1509712 w 1566862"/>
                <a:gd name="connsiteY2" fmla="*/ 712072 h 712072"/>
                <a:gd name="connsiteX3" fmla="*/ 80963 w 1566862"/>
                <a:gd name="connsiteY3" fmla="*/ 702549 h 712072"/>
                <a:gd name="connsiteX4" fmla="*/ 0 w 1566862"/>
                <a:gd name="connsiteY4" fmla="*/ 693022 h 712072"/>
                <a:gd name="connsiteX0" fmla="*/ 0 w 1566862"/>
                <a:gd name="connsiteY0" fmla="*/ 738687 h 757737"/>
                <a:gd name="connsiteX1" fmla="*/ 1566862 w 1566862"/>
                <a:gd name="connsiteY1" fmla="*/ 752975 h 757737"/>
                <a:gd name="connsiteX2" fmla="*/ 1509712 w 1566862"/>
                <a:gd name="connsiteY2" fmla="*/ 757737 h 757737"/>
                <a:gd name="connsiteX3" fmla="*/ 80963 w 1566862"/>
                <a:gd name="connsiteY3" fmla="*/ 748214 h 757737"/>
                <a:gd name="connsiteX4" fmla="*/ 0 w 1566862"/>
                <a:gd name="connsiteY4" fmla="*/ 738687 h 757737"/>
                <a:gd name="connsiteX0" fmla="*/ 0 w 1566862"/>
                <a:gd name="connsiteY0" fmla="*/ 740577 h 759627"/>
                <a:gd name="connsiteX1" fmla="*/ 1566862 w 1566862"/>
                <a:gd name="connsiteY1" fmla="*/ 754865 h 759627"/>
                <a:gd name="connsiteX2" fmla="*/ 1509712 w 1566862"/>
                <a:gd name="connsiteY2" fmla="*/ 759627 h 759627"/>
                <a:gd name="connsiteX3" fmla="*/ 80963 w 1566862"/>
                <a:gd name="connsiteY3" fmla="*/ 750104 h 759627"/>
                <a:gd name="connsiteX4" fmla="*/ 0 w 1566862"/>
                <a:gd name="connsiteY4" fmla="*/ 740577 h 759627"/>
                <a:gd name="connsiteX0" fmla="*/ 0 w 1566862"/>
                <a:gd name="connsiteY0" fmla="*/ 740577 h 759627"/>
                <a:gd name="connsiteX1" fmla="*/ 1566862 w 1566862"/>
                <a:gd name="connsiteY1" fmla="*/ 754865 h 759627"/>
                <a:gd name="connsiteX2" fmla="*/ 1509712 w 1566862"/>
                <a:gd name="connsiteY2" fmla="*/ 759627 h 759627"/>
                <a:gd name="connsiteX3" fmla="*/ 80963 w 1566862"/>
                <a:gd name="connsiteY3" fmla="*/ 750104 h 759627"/>
                <a:gd name="connsiteX4" fmla="*/ 0 w 1566862"/>
                <a:gd name="connsiteY4" fmla="*/ 740577 h 759627"/>
                <a:gd name="connsiteX0" fmla="*/ 0 w 1566862"/>
                <a:gd name="connsiteY0" fmla="*/ 740577 h 759627"/>
                <a:gd name="connsiteX1" fmla="*/ 1566862 w 1566862"/>
                <a:gd name="connsiteY1" fmla="*/ 754865 h 759627"/>
                <a:gd name="connsiteX2" fmla="*/ 1509712 w 1566862"/>
                <a:gd name="connsiteY2" fmla="*/ 759627 h 759627"/>
                <a:gd name="connsiteX3" fmla="*/ 80963 w 1566862"/>
                <a:gd name="connsiteY3" fmla="*/ 750104 h 759627"/>
                <a:gd name="connsiteX4" fmla="*/ 0 w 1566862"/>
                <a:gd name="connsiteY4" fmla="*/ 740577 h 759627"/>
                <a:gd name="connsiteX0" fmla="*/ 0 w 1566862"/>
                <a:gd name="connsiteY0" fmla="*/ 740577 h 759627"/>
                <a:gd name="connsiteX1" fmla="*/ 1566862 w 1566862"/>
                <a:gd name="connsiteY1" fmla="*/ 754865 h 759627"/>
                <a:gd name="connsiteX2" fmla="*/ 1509712 w 1566862"/>
                <a:gd name="connsiteY2" fmla="*/ 759627 h 759627"/>
                <a:gd name="connsiteX3" fmla="*/ 80963 w 1566862"/>
                <a:gd name="connsiteY3" fmla="*/ 750104 h 759627"/>
                <a:gd name="connsiteX4" fmla="*/ 0 w 1566862"/>
                <a:gd name="connsiteY4" fmla="*/ 740577 h 759627"/>
                <a:gd name="connsiteX0" fmla="*/ 0 w 1566862"/>
                <a:gd name="connsiteY0" fmla="*/ 740577 h 759627"/>
                <a:gd name="connsiteX1" fmla="*/ 1566862 w 1566862"/>
                <a:gd name="connsiteY1" fmla="*/ 754865 h 759627"/>
                <a:gd name="connsiteX2" fmla="*/ 1509712 w 1566862"/>
                <a:gd name="connsiteY2" fmla="*/ 759627 h 759627"/>
                <a:gd name="connsiteX3" fmla="*/ 80963 w 1566862"/>
                <a:gd name="connsiteY3" fmla="*/ 750104 h 759627"/>
                <a:gd name="connsiteX4" fmla="*/ 0 w 1566862"/>
                <a:gd name="connsiteY4" fmla="*/ 740577 h 759627"/>
                <a:gd name="connsiteX0" fmla="*/ 0 w 1566862"/>
                <a:gd name="connsiteY0" fmla="*/ 681946 h 700996"/>
                <a:gd name="connsiteX1" fmla="*/ 1566862 w 1566862"/>
                <a:gd name="connsiteY1" fmla="*/ 696234 h 700996"/>
                <a:gd name="connsiteX2" fmla="*/ 1509712 w 1566862"/>
                <a:gd name="connsiteY2" fmla="*/ 700996 h 700996"/>
                <a:gd name="connsiteX3" fmla="*/ 80963 w 1566862"/>
                <a:gd name="connsiteY3" fmla="*/ 691473 h 700996"/>
                <a:gd name="connsiteX4" fmla="*/ 0 w 1566862"/>
                <a:gd name="connsiteY4" fmla="*/ 681946 h 700996"/>
                <a:gd name="connsiteX0" fmla="*/ 0 w 1566894"/>
                <a:gd name="connsiteY0" fmla="*/ 653426 h 672476"/>
                <a:gd name="connsiteX1" fmla="*/ 1566862 w 1566894"/>
                <a:gd name="connsiteY1" fmla="*/ 667714 h 672476"/>
                <a:gd name="connsiteX2" fmla="*/ 1509712 w 1566894"/>
                <a:gd name="connsiteY2" fmla="*/ 672476 h 672476"/>
                <a:gd name="connsiteX3" fmla="*/ 80963 w 1566894"/>
                <a:gd name="connsiteY3" fmla="*/ 662953 h 672476"/>
                <a:gd name="connsiteX4" fmla="*/ 0 w 1566894"/>
                <a:gd name="connsiteY4" fmla="*/ 653426 h 672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94" h="672476">
                  <a:moveTo>
                    <a:pt x="0" y="653426"/>
                  </a:moveTo>
                  <a:cubicBezTo>
                    <a:pt x="93608" y="-301655"/>
                    <a:pt x="1574780" y="-134035"/>
                    <a:pt x="1566862" y="667714"/>
                  </a:cubicBezTo>
                  <a:lnTo>
                    <a:pt x="1509712" y="672476"/>
                  </a:lnTo>
                  <a:cubicBezTo>
                    <a:pt x="1456725" y="8900"/>
                    <a:pt x="235475" y="-176729"/>
                    <a:pt x="80963" y="662953"/>
                  </a:cubicBezTo>
                  <a:lnTo>
                    <a:pt x="0" y="653426"/>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82" name="Rectangle: Top Corners Rounded 8">
              <a:extLst>
                <a:ext uri="{FF2B5EF4-FFF2-40B4-BE49-F238E27FC236}">
                  <a16:creationId xmlns:a16="http://schemas.microsoft.com/office/drawing/2014/main" id="{DD7B0954-4492-42B1-B0EC-1668CE31C78A}"/>
                </a:ext>
              </a:extLst>
            </p:cNvPr>
            <p:cNvSpPr/>
            <p:nvPr/>
          </p:nvSpPr>
          <p:spPr bwMode="auto">
            <a:xfrm rot="5400000" flipH="1">
              <a:off x="-4332743" y="2814163"/>
              <a:ext cx="165883" cy="55691"/>
            </a:xfrm>
            <a:custGeom>
              <a:avLst/>
              <a:gdLst>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373380"/>
                <a:gd name="connsiteX1" fmla="*/ 495300 w 609600"/>
                <a:gd name="connsiteY1" fmla="*/ 0 h 373380"/>
                <a:gd name="connsiteX2" fmla="*/ 609600 w 609600"/>
                <a:gd name="connsiteY2" fmla="*/ 114300 h 373380"/>
                <a:gd name="connsiteX3" fmla="*/ 609600 w 609600"/>
                <a:gd name="connsiteY3" fmla="*/ 228600 h 373380"/>
                <a:gd name="connsiteX4" fmla="*/ 236220 w 609600"/>
                <a:gd name="connsiteY4" fmla="*/ 373380 h 373380"/>
                <a:gd name="connsiteX5" fmla="*/ 0 w 609600"/>
                <a:gd name="connsiteY5" fmla="*/ 228600 h 373380"/>
                <a:gd name="connsiteX6" fmla="*/ 0 w 609600"/>
                <a:gd name="connsiteY6" fmla="*/ 228600 h 373380"/>
                <a:gd name="connsiteX7" fmla="*/ 0 w 609600"/>
                <a:gd name="connsiteY7" fmla="*/ 114300 h 373380"/>
                <a:gd name="connsiteX8" fmla="*/ 114300 w 609600"/>
                <a:gd name="connsiteY8" fmla="*/ 0 h 373380"/>
                <a:gd name="connsiteX0" fmla="*/ 114300 w 655901"/>
                <a:gd name="connsiteY0" fmla="*/ 0 h 514033"/>
                <a:gd name="connsiteX1" fmla="*/ 495300 w 655901"/>
                <a:gd name="connsiteY1" fmla="*/ 0 h 514033"/>
                <a:gd name="connsiteX2" fmla="*/ 609600 w 655901"/>
                <a:gd name="connsiteY2" fmla="*/ 114300 h 514033"/>
                <a:gd name="connsiteX3" fmla="*/ 609600 w 655901"/>
                <a:gd name="connsiteY3" fmla="*/ 228600 h 514033"/>
                <a:gd name="connsiteX4" fmla="*/ 236220 w 655901"/>
                <a:gd name="connsiteY4" fmla="*/ 373380 h 514033"/>
                <a:gd name="connsiteX5" fmla="*/ 0 w 655901"/>
                <a:gd name="connsiteY5" fmla="*/ 228600 h 514033"/>
                <a:gd name="connsiteX6" fmla="*/ 0 w 655901"/>
                <a:gd name="connsiteY6" fmla="*/ 228600 h 514033"/>
                <a:gd name="connsiteX7" fmla="*/ 0 w 655901"/>
                <a:gd name="connsiteY7" fmla="*/ 114300 h 514033"/>
                <a:gd name="connsiteX8" fmla="*/ 114300 w 655901"/>
                <a:gd name="connsiteY8" fmla="*/ 0 h 514033"/>
                <a:gd name="connsiteX0" fmla="*/ 114300 w 609600"/>
                <a:gd name="connsiteY0" fmla="*/ 0 h 237066"/>
                <a:gd name="connsiteX1" fmla="*/ 495300 w 609600"/>
                <a:gd name="connsiteY1" fmla="*/ 0 h 237066"/>
                <a:gd name="connsiteX2" fmla="*/ 609600 w 609600"/>
                <a:gd name="connsiteY2" fmla="*/ 114300 h 237066"/>
                <a:gd name="connsiteX3" fmla="*/ 609600 w 609600"/>
                <a:gd name="connsiteY3" fmla="*/ 228600 h 237066"/>
                <a:gd name="connsiteX4" fmla="*/ 0 w 609600"/>
                <a:gd name="connsiteY4" fmla="*/ 228600 h 237066"/>
                <a:gd name="connsiteX5" fmla="*/ 0 w 609600"/>
                <a:gd name="connsiteY5" fmla="*/ 228600 h 237066"/>
                <a:gd name="connsiteX6" fmla="*/ 0 w 609600"/>
                <a:gd name="connsiteY6" fmla="*/ 114300 h 237066"/>
                <a:gd name="connsiteX7" fmla="*/ 114300 w 609600"/>
                <a:gd name="connsiteY7" fmla="*/ 0 h 237066"/>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0 w 609600"/>
                <a:gd name="connsiteY4" fmla="*/ 228600 h 228600"/>
                <a:gd name="connsiteX5" fmla="*/ 0 w 609600"/>
                <a:gd name="connsiteY5" fmla="*/ 228600 h 228600"/>
                <a:gd name="connsiteX6" fmla="*/ 0 w 609600"/>
                <a:gd name="connsiteY6" fmla="*/ 114300 h 228600"/>
                <a:gd name="connsiteX7" fmla="*/ 114300 w 609600"/>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09609"/>
                <a:gd name="connsiteY0" fmla="*/ 0 h 301628"/>
                <a:gd name="connsiteX1" fmla="*/ 495300 w 609609"/>
                <a:gd name="connsiteY1" fmla="*/ 0 h 301628"/>
                <a:gd name="connsiteX2" fmla="*/ 609600 w 609609"/>
                <a:gd name="connsiteY2" fmla="*/ 114300 h 301628"/>
                <a:gd name="connsiteX3" fmla="*/ 561181 w 609609"/>
                <a:gd name="connsiteY3" fmla="*/ 301628 h 301628"/>
                <a:gd name="connsiteX4" fmla="*/ 0 w 609609"/>
                <a:gd name="connsiteY4" fmla="*/ 228600 h 301628"/>
                <a:gd name="connsiteX5" fmla="*/ 0 w 609609"/>
                <a:gd name="connsiteY5" fmla="*/ 228600 h 301628"/>
                <a:gd name="connsiteX6" fmla="*/ 0 w 609609"/>
                <a:gd name="connsiteY6" fmla="*/ 114300 h 301628"/>
                <a:gd name="connsiteX7" fmla="*/ 114300 w 609609"/>
                <a:gd name="connsiteY7" fmla="*/ 0 h 301628"/>
                <a:gd name="connsiteX0" fmla="*/ 114301 w 609610"/>
                <a:gd name="connsiteY0" fmla="*/ 0 h 301628"/>
                <a:gd name="connsiteX1" fmla="*/ 495301 w 609610"/>
                <a:gd name="connsiteY1" fmla="*/ 0 h 301628"/>
                <a:gd name="connsiteX2" fmla="*/ 609601 w 609610"/>
                <a:gd name="connsiteY2" fmla="*/ 114300 h 301628"/>
                <a:gd name="connsiteX3" fmla="*/ 561182 w 609610"/>
                <a:gd name="connsiteY3" fmla="*/ 301628 h 301628"/>
                <a:gd name="connsiteX4" fmla="*/ 1 w 609610"/>
                <a:gd name="connsiteY4" fmla="*/ 228600 h 301628"/>
                <a:gd name="connsiteX5" fmla="*/ 0 w 609610"/>
                <a:gd name="connsiteY5" fmla="*/ 244478 h 301628"/>
                <a:gd name="connsiteX6" fmla="*/ 1 w 609610"/>
                <a:gd name="connsiteY6" fmla="*/ 114300 h 301628"/>
                <a:gd name="connsiteX7" fmla="*/ 114301 w 609610"/>
                <a:gd name="connsiteY7"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28600 h 301628"/>
                <a:gd name="connsiteX5" fmla="*/ 46134 w 655743"/>
                <a:gd name="connsiteY5" fmla="*/ 114300 h 301628"/>
                <a:gd name="connsiteX6" fmla="*/ 160434 w 655743"/>
                <a:gd name="connsiteY6"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50828 h 301628"/>
                <a:gd name="connsiteX5" fmla="*/ 46134 w 655743"/>
                <a:gd name="connsiteY5" fmla="*/ 114300 h 301628"/>
                <a:gd name="connsiteX6" fmla="*/ 160434 w 655743"/>
                <a:gd name="connsiteY6" fmla="*/ 0 h 301628"/>
                <a:gd name="connsiteX0" fmla="*/ 123100 w 618409"/>
                <a:gd name="connsiteY0" fmla="*/ 0 h 301628"/>
                <a:gd name="connsiteX1" fmla="*/ 504100 w 618409"/>
                <a:gd name="connsiteY1" fmla="*/ 0 h 301628"/>
                <a:gd name="connsiteX2" fmla="*/ 618400 w 618409"/>
                <a:gd name="connsiteY2" fmla="*/ 114300 h 301628"/>
                <a:gd name="connsiteX3" fmla="*/ 569981 w 618409"/>
                <a:gd name="connsiteY3" fmla="*/ 301628 h 301628"/>
                <a:gd name="connsiteX4" fmla="*/ 8800 w 618409"/>
                <a:gd name="connsiteY4" fmla="*/ 250828 h 301628"/>
                <a:gd name="connsiteX5" fmla="*/ 8800 w 618409"/>
                <a:gd name="connsiteY5" fmla="*/ 114300 h 301628"/>
                <a:gd name="connsiteX6" fmla="*/ 123100 w 618409"/>
                <a:gd name="connsiteY6" fmla="*/ 0 h 301628"/>
                <a:gd name="connsiteX0" fmla="*/ 130370 w 625679"/>
                <a:gd name="connsiteY0" fmla="*/ 0 h 301628"/>
                <a:gd name="connsiteX1" fmla="*/ 511370 w 625679"/>
                <a:gd name="connsiteY1" fmla="*/ 0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625679"/>
                <a:gd name="connsiteY0" fmla="*/ 0 h 301628"/>
                <a:gd name="connsiteX1" fmla="*/ 520895 w 625679"/>
                <a:gd name="connsiteY1" fmla="*/ 120653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597116"/>
                <a:gd name="connsiteY0" fmla="*/ 0 h 301628"/>
                <a:gd name="connsiteX1" fmla="*/ 520895 w 597116"/>
                <a:gd name="connsiteY1" fmla="*/ 120653 h 301628"/>
                <a:gd name="connsiteX2" fmla="*/ 597095 w 597116"/>
                <a:gd name="connsiteY2" fmla="*/ 215903 h 301628"/>
                <a:gd name="connsiteX3" fmla="*/ 577251 w 597116"/>
                <a:gd name="connsiteY3" fmla="*/ 301628 h 301628"/>
                <a:gd name="connsiteX4" fmla="*/ 16070 w 597116"/>
                <a:gd name="connsiteY4" fmla="*/ 250828 h 301628"/>
                <a:gd name="connsiteX5" fmla="*/ 16070 w 597116"/>
                <a:gd name="connsiteY5" fmla="*/ 114300 h 301628"/>
                <a:gd name="connsiteX6" fmla="*/ 130370 w 597116"/>
                <a:gd name="connsiteY6" fmla="*/ 0 h 301628"/>
                <a:gd name="connsiteX0" fmla="*/ 133545 w 597116"/>
                <a:gd name="connsiteY0" fmla="*/ 0 h 254003"/>
                <a:gd name="connsiteX1" fmla="*/ 520895 w 597116"/>
                <a:gd name="connsiteY1" fmla="*/ 73028 h 254003"/>
                <a:gd name="connsiteX2" fmla="*/ 597095 w 597116"/>
                <a:gd name="connsiteY2" fmla="*/ 168278 h 254003"/>
                <a:gd name="connsiteX3" fmla="*/ 577251 w 597116"/>
                <a:gd name="connsiteY3" fmla="*/ 254003 h 254003"/>
                <a:gd name="connsiteX4" fmla="*/ 16070 w 597116"/>
                <a:gd name="connsiteY4" fmla="*/ 203203 h 254003"/>
                <a:gd name="connsiteX5" fmla="*/ 16070 w 597116"/>
                <a:gd name="connsiteY5" fmla="*/ 66675 h 254003"/>
                <a:gd name="connsiteX6" fmla="*/ 133545 w 59711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13929"/>
                <a:gd name="connsiteY0" fmla="*/ 0 h 254003"/>
                <a:gd name="connsiteX1" fmla="*/ 537675 w 613929"/>
                <a:gd name="connsiteY1" fmla="*/ 73028 h 254003"/>
                <a:gd name="connsiteX2" fmla="*/ 613875 w 613929"/>
                <a:gd name="connsiteY2" fmla="*/ 168278 h 254003"/>
                <a:gd name="connsiteX3" fmla="*/ 594031 w 613929"/>
                <a:gd name="connsiteY3" fmla="*/ 254003 h 254003"/>
                <a:gd name="connsiteX4" fmla="*/ 32850 w 613929"/>
                <a:gd name="connsiteY4" fmla="*/ 203203 h 254003"/>
                <a:gd name="connsiteX5" fmla="*/ 7449 w 613929"/>
                <a:gd name="connsiteY5" fmla="*/ 104778 h 254003"/>
                <a:gd name="connsiteX6" fmla="*/ 150325 w 613929"/>
                <a:gd name="connsiteY6" fmla="*/ 0 h 25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929" h="254003">
                  <a:moveTo>
                    <a:pt x="150325" y="0"/>
                  </a:moveTo>
                  <a:lnTo>
                    <a:pt x="537675" y="73028"/>
                  </a:lnTo>
                  <a:cubicBezTo>
                    <a:pt x="600801" y="73028"/>
                    <a:pt x="613875" y="105152"/>
                    <a:pt x="613875" y="168278"/>
                  </a:cubicBezTo>
                  <a:cubicBezTo>
                    <a:pt x="614669" y="190503"/>
                    <a:pt x="606731" y="199240"/>
                    <a:pt x="594031" y="254003"/>
                  </a:cubicBezTo>
                  <a:cubicBezTo>
                    <a:pt x="216682" y="138757"/>
                    <a:pt x="109050" y="187334"/>
                    <a:pt x="32850" y="203203"/>
                  </a:cubicBezTo>
                  <a:cubicBezTo>
                    <a:pt x="9169" y="181513"/>
                    <a:pt x="-11601" y="142878"/>
                    <a:pt x="7449" y="104778"/>
                  </a:cubicBezTo>
                  <a:cubicBezTo>
                    <a:pt x="7449" y="41652"/>
                    <a:pt x="87199" y="0"/>
                    <a:pt x="15032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83" name="Rectangle: Top Corners Rounded 8">
              <a:extLst>
                <a:ext uri="{FF2B5EF4-FFF2-40B4-BE49-F238E27FC236}">
                  <a16:creationId xmlns:a16="http://schemas.microsoft.com/office/drawing/2014/main" id="{5461FB8B-B0F2-479A-A6F2-3223A68778E1}"/>
                </a:ext>
              </a:extLst>
            </p:cNvPr>
            <p:cNvSpPr/>
            <p:nvPr/>
          </p:nvSpPr>
          <p:spPr bwMode="auto">
            <a:xfrm rot="16200000">
              <a:off x="-4678896" y="2814163"/>
              <a:ext cx="165883" cy="55691"/>
            </a:xfrm>
            <a:custGeom>
              <a:avLst/>
              <a:gdLst>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609600 w 609600"/>
                <a:gd name="connsiteY4" fmla="*/ 228600 h 228600"/>
                <a:gd name="connsiteX5" fmla="*/ 0 w 609600"/>
                <a:gd name="connsiteY5" fmla="*/ 228600 h 228600"/>
                <a:gd name="connsiteX6" fmla="*/ 0 w 609600"/>
                <a:gd name="connsiteY6" fmla="*/ 228600 h 228600"/>
                <a:gd name="connsiteX7" fmla="*/ 0 w 609600"/>
                <a:gd name="connsiteY7" fmla="*/ 114300 h 228600"/>
                <a:gd name="connsiteX8" fmla="*/ 114300 w 609600"/>
                <a:gd name="connsiteY8" fmla="*/ 0 h 228600"/>
                <a:gd name="connsiteX0" fmla="*/ 114300 w 609600"/>
                <a:gd name="connsiteY0" fmla="*/ 0 h 373380"/>
                <a:gd name="connsiteX1" fmla="*/ 495300 w 609600"/>
                <a:gd name="connsiteY1" fmla="*/ 0 h 373380"/>
                <a:gd name="connsiteX2" fmla="*/ 609600 w 609600"/>
                <a:gd name="connsiteY2" fmla="*/ 114300 h 373380"/>
                <a:gd name="connsiteX3" fmla="*/ 609600 w 609600"/>
                <a:gd name="connsiteY3" fmla="*/ 228600 h 373380"/>
                <a:gd name="connsiteX4" fmla="*/ 236220 w 609600"/>
                <a:gd name="connsiteY4" fmla="*/ 373380 h 373380"/>
                <a:gd name="connsiteX5" fmla="*/ 0 w 609600"/>
                <a:gd name="connsiteY5" fmla="*/ 228600 h 373380"/>
                <a:gd name="connsiteX6" fmla="*/ 0 w 609600"/>
                <a:gd name="connsiteY6" fmla="*/ 228600 h 373380"/>
                <a:gd name="connsiteX7" fmla="*/ 0 w 609600"/>
                <a:gd name="connsiteY7" fmla="*/ 114300 h 373380"/>
                <a:gd name="connsiteX8" fmla="*/ 114300 w 609600"/>
                <a:gd name="connsiteY8" fmla="*/ 0 h 373380"/>
                <a:gd name="connsiteX0" fmla="*/ 114300 w 655901"/>
                <a:gd name="connsiteY0" fmla="*/ 0 h 514033"/>
                <a:gd name="connsiteX1" fmla="*/ 495300 w 655901"/>
                <a:gd name="connsiteY1" fmla="*/ 0 h 514033"/>
                <a:gd name="connsiteX2" fmla="*/ 609600 w 655901"/>
                <a:gd name="connsiteY2" fmla="*/ 114300 h 514033"/>
                <a:gd name="connsiteX3" fmla="*/ 609600 w 655901"/>
                <a:gd name="connsiteY3" fmla="*/ 228600 h 514033"/>
                <a:gd name="connsiteX4" fmla="*/ 236220 w 655901"/>
                <a:gd name="connsiteY4" fmla="*/ 373380 h 514033"/>
                <a:gd name="connsiteX5" fmla="*/ 0 w 655901"/>
                <a:gd name="connsiteY5" fmla="*/ 228600 h 514033"/>
                <a:gd name="connsiteX6" fmla="*/ 0 w 655901"/>
                <a:gd name="connsiteY6" fmla="*/ 228600 h 514033"/>
                <a:gd name="connsiteX7" fmla="*/ 0 w 655901"/>
                <a:gd name="connsiteY7" fmla="*/ 114300 h 514033"/>
                <a:gd name="connsiteX8" fmla="*/ 114300 w 655901"/>
                <a:gd name="connsiteY8" fmla="*/ 0 h 514033"/>
                <a:gd name="connsiteX0" fmla="*/ 114300 w 609600"/>
                <a:gd name="connsiteY0" fmla="*/ 0 h 237066"/>
                <a:gd name="connsiteX1" fmla="*/ 495300 w 609600"/>
                <a:gd name="connsiteY1" fmla="*/ 0 h 237066"/>
                <a:gd name="connsiteX2" fmla="*/ 609600 w 609600"/>
                <a:gd name="connsiteY2" fmla="*/ 114300 h 237066"/>
                <a:gd name="connsiteX3" fmla="*/ 609600 w 609600"/>
                <a:gd name="connsiteY3" fmla="*/ 228600 h 237066"/>
                <a:gd name="connsiteX4" fmla="*/ 0 w 609600"/>
                <a:gd name="connsiteY4" fmla="*/ 228600 h 237066"/>
                <a:gd name="connsiteX5" fmla="*/ 0 w 609600"/>
                <a:gd name="connsiteY5" fmla="*/ 228600 h 237066"/>
                <a:gd name="connsiteX6" fmla="*/ 0 w 609600"/>
                <a:gd name="connsiteY6" fmla="*/ 114300 h 237066"/>
                <a:gd name="connsiteX7" fmla="*/ 114300 w 609600"/>
                <a:gd name="connsiteY7" fmla="*/ 0 h 237066"/>
                <a:gd name="connsiteX0" fmla="*/ 114300 w 609600"/>
                <a:gd name="connsiteY0" fmla="*/ 0 h 228600"/>
                <a:gd name="connsiteX1" fmla="*/ 495300 w 609600"/>
                <a:gd name="connsiteY1" fmla="*/ 0 h 228600"/>
                <a:gd name="connsiteX2" fmla="*/ 609600 w 609600"/>
                <a:gd name="connsiteY2" fmla="*/ 114300 h 228600"/>
                <a:gd name="connsiteX3" fmla="*/ 609600 w 609600"/>
                <a:gd name="connsiteY3" fmla="*/ 228600 h 228600"/>
                <a:gd name="connsiteX4" fmla="*/ 0 w 609600"/>
                <a:gd name="connsiteY4" fmla="*/ 228600 h 228600"/>
                <a:gd name="connsiteX5" fmla="*/ 0 w 609600"/>
                <a:gd name="connsiteY5" fmla="*/ 228600 h 228600"/>
                <a:gd name="connsiteX6" fmla="*/ 0 w 609600"/>
                <a:gd name="connsiteY6" fmla="*/ 114300 h 228600"/>
                <a:gd name="connsiteX7" fmla="*/ 114300 w 609600"/>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11981"/>
                <a:gd name="connsiteY0" fmla="*/ 0 h 228600"/>
                <a:gd name="connsiteX1" fmla="*/ 495300 w 611981"/>
                <a:gd name="connsiteY1" fmla="*/ 0 h 228600"/>
                <a:gd name="connsiteX2" fmla="*/ 609600 w 611981"/>
                <a:gd name="connsiteY2" fmla="*/ 114300 h 228600"/>
                <a:gd name="connsiteX3" fmla="*/ 611981 w 611981"/>
                <a:gd name="connsiteY3" fmla="*/ 180975 h 228600"/>
                <a:gd name="connsiteX4" fmla="*/ 0 w 611981"/>
                <a:gd name="connsiteY4" fmla="*/ 228600 h 228600"/>
                <a:gd name="connsiteX5" fmla="*/ 0 w 611981"/>
                <a:gd name="connsiteY5" fmla="*/ 228600 h 228600"/>
                <a:gd name="connsiteX6" fmla="*/ 0 w 611981"/>
                <a:gd name="connsiteY6" fmla="*/ 114300 h 228600"/>
                <a:gd name="connsiteX7" fmla="*/ 114300 w 611981"/>
                <a:gd name="connsiteY7" fmla="*/ 0 h 228600"/>
                <a:gd name="connsiteX0" fmla="*/ 114300 w 609609"/>
                <a:gd name="connsiteY0" fmla="*/ 0 h 301628"/>
                <a:gd name="connsiteX1" fmla="*/ 495300 w 609609"/>
                <a:gd name="connsiteY1" fmla="*/ 0 h 301628"/>
                <a:gd name="connsiteX2" fmla="*/ 609600 w 609609"/>
                <a:gd name="connsiteY2" fmla="*/ 114300 h 301628"/>
                <a:gd name="connsiteX3" fmla="*/ 561181 w 609609"/>
                <a:gd name="connsiteY3" fmla="*/ 301628 h 301628"/>
                <a:gd name="connsiteX4" fmla="*/ 0 w 609609"/>
                <a:gd name="connsiteY4" fmla="*/ 228600 h 301628"/>
                <a:gd name="connsiteX5" fmla="*/ 0 w 609609"/>
                <a:gd name="connsiteY5" fmla="*/ 228600 h 301628"/>
                <a:gd name="connsiteX6" fmla="*/ 0 w 609609"/>
                <a:gd name="connsiteY6" fmla="*/ 114300 h 301628"/>
                <a:gd name="connsiteX7" fmla="*/ 114300 w 609609"/>
                <a:gd name="connsiteY7" fmla="*/ 0 h 301628"/>
                <a:gd name="connsiteX0" fmla="*/ 114301 w 609610"/>
                <a:gd name="connsiteY0" fmla="*/ 0 h 301628"/>
                <a:gd name="connsiteX1" fmla="*/ 495301 w 609610"/>
                <a:gd name="connsiteY1" fmla="*/ 0 h 301628"/>
                <a:gd name="connsiteX2" fmla="*/ 609601 w 609610"/>
                <a:gd name="connsiteY2" fmla="*/ 114300 h 301628"/>
                <a:gd name="connsiteX3" fmla="*/ 561182 w 609610"/>
                <a:gd name="connsiteY3" fmla="*/ 301628 h 301628"/>
                <a:gd name="connsiteX4" fmla="*/ 1 w 609610"/>
                <a:gd name="connsiteY4" fmla="*/ 228600 h 301628"/>
                <a:gd name="connsiteX5" fmla="*/ 0 w 609610"/>
                <a:gd name="connsiteY5" fmla="*/ 244478 h 301628"/>
                <a:gd name="connsiteX6" fmla="*/ 1 w 609610"/>
                <a:gd name="connsiteY6" fmla="*/ 114300 h 301628"/>
                <a:gd name="connsiteX7" fmla="*/ 114301 w 609610"/>
                <a:gd name="connsiteY7"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28600 h 301628"/>
                <a:gd name="connsiteX5" fmla="*/ 46134 w 655743"/>
                <a:gd name="connsiteY5" fmla="*/ 114300 h 301628"/>
                <a:gd name="connsiteX6" fmla="*/ 160434 w 655743"/>
                <a:gd name="connsiteY6" fmla="*/ 0 h 301628"/>
                <a:gd name="connsiteX0" fmla="*/ 160434 w 655743"/>
                <a:gd name="connsiteY0" fmla="*/ 0 h 301628"/>
                <a:gd name="connsiteX1" fmla="*/ 541434 w 655743"/>
                <a:gd name="connsiteY1" fmla="*/ 0 h 301628"/>
                <a:gd name="connsiteX2" fmla="*/ 655734 w 655743"/>
                <a:gd name="connsiteY2" fmla="*/ 114300 h 301628"/>
                <a:gd name="connsiteX3" fmla="*/ 607315 w 655743"/>
                <a:gd name="connsiteY3" fmla="*/ 301628 h 301628"/>
                <a:gd name="connsiteX4" fmla="*/ 46134 w 655743"/>
                <a:gd name="connsiteY4" fmla="*/ 250828 h 301628"/>
                <a:gd name="connsiteX5" fmla="*/ 46134 w 655743"/>
                <a:gd name="connsiteY5" fmla="*/ 114300 h 301628"/>
                <a:gd name="connsiteX6" fmla="*/ 160434 w 655743"/>
                <a:gd name="connsiteY6" fmla="*/ 0 h 301628"/>
                <a:gd name="connsiteX0" fmla="*/ 123100 w 618409"/>
                <a:gd name="connsiteY0" fmla="*/ 0 h 301628"/>
                <a:gd name="connsiteX1" fmla="*/ 504100 w 618409"/>
                <a:gd name="connsiteY1" fmla="*/ 0 h 301628"/>
                <a:gd name="connsiteX2" fmla="*/ 618400 w 618409"/>
                <a:gd name="connsiteY2" fmla="*/ 114300 h 301628"/>
                <a:gd name="connsiteX3" fmla="*/ 569981 w 618409"/>
                <a:gd name="connsiteY3" fmla="*/ 301628 h 301628"/>
                <a:gd name="connsiteX4" fmla="*/ 8800 w 618409"/>
                <a:gd name="connsiteY4" fmla="*/ 250828 h 301628"/>
                <a:gd name="connsiteX5" fmla="*/ 8800 w 618409"/>
                <a:gd name="connsiteY5" fmla="*/ 114300 h 301628"/>
                <a:gd name="connsiteX6" fmla="*/ 123100 w 618409"/>
                <a:gd name="connsiteY6" fmla="*/ 0 h 301628"/>
                <a:gd name="connsiteX0" fmla="*/ 130370 w 625679"/>
                <a:gd name="connsiteY0" fmla="*/ 0 h 301628"/>
                <a:gd name="connsiteX1" fmla="*/ 511370 w 625679"/>
                <a:gd name="connsiteY1" fmla="*/ 0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625679"/>
                <a:gd name="connsiteY0" fmla="*/ 0 h 301628"/>
                <a:gd name="connsiteX1" fmla="*/ 520895 w 625679"/>
                <a:gd name="connsiteY1" fmla="*/ 120653 h 301628"/>
                <a:gd name="connsiteX2" fmla="*/ 625670 w 625679"/>
                <a:gd name="connsiteY2" fmla="*/ 114300 h 301628"/>
                <a:gd name="connsiteX3" fmla="*/ 577251 w 625679"/>
                <a:gd name="connsiteY3" fmla="*/ 301628 h 301628"/>
                <a:gd name="connsiteX4" fmla="*/ 16070 w 625679"/>
                <a:gd name="connsiteY4" fmla="*/ 250828 h 301628"/>
                <a:gd name="connsiteX5" fmla="*/ 16070 w 625679"/>
                <a:gd name="connsiteY5" fmla="*/ 114300 h 301628"/>
                <a:gd name="connsiteX6" fmla="*/ 130370 w 625679"/>
                <a:gd name="connsiteY6" fmla="*/ 0 h 301628"/>
                <a:gd name="connsiteX0" fmla="*/ 130370 w 597116"/>
                <a:gd name="connsiteY0" fmla="*/ 0 h 301628"/>
                <a:gd name="connsiteX1" fmla="*/ 520895 w 597116"/>
                <a:gd name="connsiteY1" fmla="*/ 120653 h 301628"/>
                <a:gd name="connsiteX2" fmla="*/ 597095 w 597116"/>
                <a:gd name="connsiteY2" fmla="*/ 215903 h 301628"/>
                <a:gd name="connsiteX3" fmla="*/ 577251 w 597116"/>
                <a:gd name="connsiteY3" fmla="*/ 301628 h 301628"/>
                <a:gd name="connsiteX4" fmla="*/ 16070 w 597116"/>
                <a:gd name="connsiteY4" fmla="*/ 250828 h 301628"/>
                <a:gd name="connsiteX5" fmla="*/ 16070 w 597116"/>
                <a:gd name="connsiteY5" fmla="*/ 114300 h 301628"/>
                <a:gd name="connsiteX6" fmla="*/ 130370 w 597116"/>
                <a:gd name="connsiteY6" fmla="*/ 0 h 301628"/>
                <a:gd name="connsiteX0" fmla="*/ 133545 w 597116"/>
                <a:gd name="connsiteY0" fmla="*/ 0 h 254003"/>
                <a:gd name="connsiteX1" fmla="*/ 520895 w 597116"/>
                <a:gd name="connsiteY1" fmla="*/ 73028 h 254003"/>
                <a:gd name="connsiteX2" fmla="*/ 597095 w 597116"/>
                <a:gd name="connsiteY2" fmla="*/ 168278 h 254003"/>
                <a:gd name="connsiteX3" fmla="*/ 577251 w 597116"/>
                <a:gd name="connsiteY3" fmla="*/ 254003 h 254003"/>
                <a:gd name="connsiteX4" fmla="*/ 16070 w 597116"/>
                <a:gd name="connsiteY4" fmla="*/ 203203 h 254003"/>
                <a:gd name="connsiteX5" fmla="*/ 16070 w 597116"/>
                <a:gd name="connsiteY5" fmla="*/ 66675 h 254003"/>
                <a:gd name="connsiteX6" fmla="*/ 133545 w 59711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13896"/>
                <a:gd name="connsiteY0" fmla="*/ 0 h 254003"/>
                <a:gd name="connsiteX1" fmla="*/ 537675 w 613896"/>
                <a:gd name="connsiteY1" fmla="*/ 73028 h 254003"/>
                <a:gd name="connsiteX2" fmla="*/ 613875 w 613896"/>
                <a:gd name="connsiteY2" fmla="*/ 168278 h 254003"/>
                <a:gd name="connsiteX3" fmla="*/ 594031 w 613896"/>
                <a:gd name="connsiteY3" fmla="*/ 254003 h 254003"/>
                <a:gd name="connsiteX4" fmla="*/ 32850 w 613896"/>
                <a:gd name="connsiteY4" fmla="*/ 203203 h 254003"/>
                <a:gd name="connsiteX5" fmla="*/ 7449 w 613896"/>
                <a:gd name="connsiteY5" fmla="*/ 104778 h 254003"/>
                <a:gd name="connsiteX6" fmla="*/ 150325 w 613896"/>
                <a:gd name="connsiteY6" fmla="*/ 0 h 254003"/>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57378"/>
                <a:gd name="connsiteY0" fmla="*/ 0 h 254855"/>
                <a:gd name="connsiteX1" fmla="*/ 537675 w 657378"/>
                <a:gd name="connsiteY1" fmla="*/ 73028 h 254855"/>
                <a:gd name="connsiteX2" fmla="*/ 613875 w 657378"/>
                <a:gd name="connsiteY2" fmla="*/ 168278 h 254855"/>
                <a:gd name="connsiteX3" fmla="*/ 594031 w 657378"/>
                <a:gd name="connsiteY3" fmla="*/ 254003 h 254855"/>
                <a:gd name="connsiteX4" fmla="*/ 32850 w 657378"/>
                <a:gd name="connsiteY4" fmla="*/ 203203 h 254855"/>
                <a:gd name="connsiteX5" fmla="*/ 7449 w 657378"/>
                <a:gd name="connsiteY5" fmla="*/ 104778 h 254855"/>
                <a:gd name="connsiteX6" fmla="*/ 150325 w 657378"/>
                <a:gd name="connsiteY6" fmla="*/ 0 h 254855"/>
                <a:gd name="connsiteX0" fmla="*/ 150325 w 613929"/>
                <a:gd name="connsiteY0" fmla="*/ 0 h 254003"/>
                <a:gd name="connsiteX1" fmla="*/ 537675 w 613929"/>
                <a:gd name="connsiteY1" fmla="*/ 73028 h 254003"/>
                <a:gd name="connsiteX2" fmla="*/ 613875 w 613929"/>
                <a:gd name="connsiteY2" fmla="*/ 168278 h 254003"/>
                <a:gd name="connsiteX3" fmla="*/ 594031 w 613929"/>
                <a:gd name="connsiteY3" fmla="*/ 254003 h 254003"/>
                <a:gd name="connsiteX4" fmla="*/ 32850 w 613929"/>
                <a:gd name="connsiteY4" fmla="*/ 203203 h 254003"/>
                <a:gd name="connsiteX5" fmla="*/ 7449 w 613929"/>
                <a:gd name="connsiteY5" fmla="*/ 104778 h 254003"/>
                <a:gd name="connsiteX6" fmla="*/ 150325 w 613929"/>
                <a:gd name="connsiteY6" fmla="*/ 0 h 25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929" h="254003">
                  <a:moveTo>
                    <a:pt x="150325" y="0"/>
                  </a:moveTo>
                  <a:lnTo>
                    <a:pt x="537675" y="73028"/>
                  </a:lnTo>
                  <a:cubicBezTo>
                    <a:pt x="600801" y="73028"/>
                    <a:pt x="613875" y="105152"/>
                    <a:pt x="613875" y="168278"/>
                  </a:cubicBezTo>
                  <a:cubicBezTo>
                    <a:pt x="614669" y="190503"/>
                    <a:pt x="606731" y="199240"/>
                    <a:pt x="594031" y="254003"/>
                  </a:cubicBezTo>
                  <a:cubicBezTo>
                    <a:pt x="216682" y="138757"/>
                    <a:pt x="109050" y="187334"/>
                    <a:pt x="32850" y="203203"/>
                  </a:cubicBezTo>
                  <a:cubicBezTo>
                    <a:pt x="9169" y="181513"/>
                    <a:pt x="-11601" y="142878"/>
                    <a:pt x="7449" y="104778"/>
                  </a:cubicBezTo>
                  <a:cubicBezTo>
                    <a:pt x="7449" y="41652"/>
                    <a:pt x="87199" y="0"/>
                    <a:pt x="15032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59" name="Rectangle: Top Corners Rounded 38">
              <a:extLst>
                <a:ext uri="{FF2B5EF4-FFF2-40B4-BE49-F238E27FC236}">
                  <a16:creationId xmlns:a16="http://schemas.microsoft.com/office/drawing/2014/main" id="{03CA51EF-8A56-40A5-AA92-080772E47A77}"/>
                </a:ext>
              </a:extLst>
            </p:cNvPr>
            <p:cNvSpPr/>
            <p:nvPr/>
          </p:nvSpPr>
          <p:spPr bwMode="auto">
            <a:xfrm>
              <a:off x="-4762680" y="3171639"/>
              <a:ext cx="742154" cy="588695"/>
            </a:xfrm>
            <a:custGeom>
              <a:avLst/>
              <a:gdLst>
                <a:gd name="connsiteX0" fmla="*/ 152403 w 914400"/>
                <a:gd name="connsiteY0" fmla="*/ 0 h 914400"/>
                <a:gd name="connsiteX1" fmla="*/ 761997 w 914400"/>
                <a:gd name="connsiteY1" fmla="*/ 0 h 914400"/>
                <a:gd name="connsiteX2" fmla="*/ 914400 w 914400"/>
                <a:gd name="connsiteY2" fmla="*/ 152403 h 914400"/>
                <a:gd name="connsiteX3" fmla="*/ 914400 w 914400"/>
                <a:gd name="connsiteY3" fmla="*/ 914400 h 914400"/>
                <a:gd name="connsiteX4" fmla="*/ 914400 w 914400"/>
                <a:gd name="connsiteY4" fmla="*/ 914400 h 914400"/>
                <a:gd name="connsiteX5" fmla="*/ 0 w 914400"/>
                <a:gd name="connsiteY5" fmla="*/ 914400 h 914400"/>
                <a:gd name="connsiteX6" fmla="*/ 0 w 914400"/>
                <a:gd name="connsiteY6" fmla="*/ 914400 h 914400"/>
                <a:gd name="connsiteX7" fmla="*/ 0 w 914400"/>
                <a:gd name="connsiteY7" fmla="*/ 152403 h 914400"/>
                <a:gd name="connsiteX8" fmla="*/ 152403 w 914400"/>
                <a:gd name="connsiteY8" fmla="*/ 0 h 914400"/>
                <a:gd name="connsiteX0" fmla="*/ 152403 w 1104900"/>
                <a:gd name="connsiteY0" fmla="*/ 0 h 914400"/>
                <a:gd name="connsiteX1" fmla="*/ 761997 w 1104900"/>
                <a:gd name="connsiteY1" fmla="*/ 0 h 914400"/>
                <a:gd name="connsiteX2" fmla="*/ 914400 w 1104900"/>
                <a:gd name="connsiteY2" fmla="*/ 152403 h 914400"/>
                <a:gd name="connsiteX3" fmla="*/ 914400 w 1104900"/>
                <a:gd name="connsiteY3" fmla="*/ 914400 h 914400"/>
                <a:gd name="connsiteX4" fmla="*/ 1104900 w 1104900"/>
                <a:gd name="connsiteY4" fmla="*/ 914400 h 914400"/>
                <a:gd name="connsiteX5" fmla="*/ 0 w 1104900"/>
                <a:gd name="connsiteY5" fmla="*/ 914400 h 914400"/>
                <a:gd name="connsiteX6" fmla="*/ 0 w 1104900"/>
                <a:gd name="connsiteY6" fmla="*/ 914400 h 914400"/>
                <a:gd name="connsiteX7" fmla="*/ 0 w 1104900"/>
                <a:gd name="connsiteY7" fmla="*/ 152403 h 914400"/>
                <a:gd name="connsiteX8" fmla="*/ 152403 w 1104900"/>
                <a:gd name="connsiteY8" fmla="*/ 0 h 914400"/>
                <a:gd name="connsiteX0" fmla="*/ 152403 w 914400"/>
                <a:gd name="connsiteY0" fmla="*/ 0 h 914400"/>
                <a:gd name="connsiteX1" fmla="*/ 761997 w 914400"/>
                <a:gd name="connsiteY1" fmla="*/ 0 h 914400"/>
                <a:gd name="connsiteX2" fmla="*/ 914400 w 914400"/>
                <a:gd name="connsiteY2" fmla="*/ 152403 h 914400"/>
                <a:gd name="connsiteX3" fmla="*/ 914400 w 914400"/>
                <a:gd name="connsiteY3" fmla="*/ 914400 h 914400"/>
                <a:gd name="connsiteX4" fmla="*/ 0 w 914400"/>
                <a:gd name="connsiteY4" fmla="*/ 914400 h 914400"/>
                <a:gd name="connsiteX5" fmla="*/ 0 w 914400"/>
                <a:gd name="connsiteY5" fmla="*/ 914400 h 914400"/>
                <a:gd name="connsiteX6" fmla="*/ 0 w 914400"/>
                <a:gd name="connsiteY6" fmla="*/ 152403 h 914400"/>
                <a:gd name="connsiteX7" fmla="*/ 152403 w 914400"/>
                <a:gd name="connsiteY7" fmla="*/ 0 h 914400"/>
                <a:gd name="connsiteX0" fmla="*/ 152403 w 1054100"/>
                <a:gd name="connsiteY0" fmla="*/ 0 h 914400"/>
                <a:gd name="connsiteX1" fmla="*/ 761997 w 1054100"/>
                <a:gd name="connsiteY1" fmla="*/ 0 h 914400"/>
                <a:gd name="connsiteX2" fmla="*/ 914400 w 1054100"/>
                <a:gd name="connsiteY2" fmla="*/ 152403 h 914400"/>
                <a:gd name="connsiteX3" fmla="*/ 1054100 w 1054100"/>
                <a:gd name="connsiteY3" fmla="*/ 914400 h 914400"/>
                <a:gd name="connsiteX4" fmla="*/ 0 w 1054100"/>
                <a:gd name="connsiteY4" fmla="*/ 914400 h 914400"/>
                <a:gd name="connsiteX5" fmla="*/ 0 w 1054100"/>
                <a:gd name="connsiteY5" fmla="*/ 914400 h 914400"/>
                <a:gd name="connsiteX6" fmla="*/ 0 w 1054100"/>
                <a:gd name="connsiteY6" fmla="*/ 152403 h 914400"/>
                <a:gd name="connsiteX7" fmla="*/ 152403 w 1054100"/>
                <a:gd name="connsiteY7" fmla="*/ 0 h 914400"/>
                <a:gd name="connsiteX0" fmla="*/ 292103 w 1193800"/>
                <a:gd name="connsiteY0" fmla="*/ 0 h 914400"/>
                <a:gd name="connsiteX1" fmla="*/ 901697 w 1193800"/>
                <a:gd name="connsiteY1" fmla="*/ 0 h 914400"/>
                <a:gd name="connsiteX2" fmla="*/ 1054100 w 1193800"/>
                <a:gd name="connsiteY2" fmla="*/ 152403 h 914400"/>
                <a:gd name="connsiteX3" fmla="*/ 1193800 w 1193800"/>
                <a:gd name="connsiteY3" fmla="*/ 914400 h 914400"/>
                <a:gd name="connsiteX4" fmla="*/ 139700 w 1193800"/>
                <a:gd name="connsiteY4" fmla="*/ 914400 h 914400"/>
                <a:gd name="connsiteX5" fmla="*/ 0 w 1193800"/>
                <a:gd name="connsiteY5" fmla="*/ 914400 h 914400"/>
                <a:gd name="connsiteX6" fmla="*/ 139700 w 1193800"/>
                <a:gd name="connsiteY6" fmla="*/ 152403 h 914400"/>
                <a:gd name="connsiteX7" fmla="*/ 292103 w 1193800"/>
                <a:gd name="connsiteY7" fmla="*/ 0 h 914400"/>
                <a:gd name="connsiteX0" fmla="*/ 292103 w 1219200"/>
                <a:gd name="connsiteY0" fmla="*/ 0 h 914400"/>
                <a:gd name="connsiteX1" fmla="*/ 901697 w 1219200"/>
                <a:gd name="connsiteY1" fmla="*/ 0 h 914400"/>
                <a:gd name="connsiteX2" fmla="*/ 1054100 w 1219200"/>
                <a:gd name="connsiteY2" fmla="*/ 152403 h 914400"/>
                <a:gd name="connsiteX3" fmla="*/ 1219200 w 1219200"/>
                <a:gd name="connsiteY3" fmla="*/ 914400 h 914400"/>
                <a:gd name="connsiteX4" fmla="*/ 139700 w 1219200"/>
                <a:gd name="connsiteY4" fmla="*/ 914400 h 914400"/>
                <a:gd name="connsiteX5" fmla="*/ 0 w 1219200"/>
                <a:gd name="connsiteY5" fmla="*/ 914400 h 914400"/>
                <a:gd name="connsiteX6" fmla="*/ 139700 w 1219200"/>
                <a:gd name="connsiteY6" fmla="*/ 152403 h 914400"/>
                <a:gd name="connsiteX7" fmla="*/ 292103 w 1219200"/>
                <a:gd name="connsiteY7" fmla="*/ 0 h 914400"/>
                <a:gd name="connsiteX0" fmla="*/ 292103 w 1209675"/>
                <a:gd name="connsiteY0" fmla="*/ 0 h 914400"/>
                <a:gd name="connsiteX1" fmla="*/ 901697 w 1209675"/>
                <a:gd name="connsiteY1" fmla="*/ 0 h 914400"/>
                <a:gd name="connsiteX2" fmla="*/ 1054100 w 1209675"/>
                <a:gd name="connsiteY2" fmla="*/ 152403 h 914400"/>
                <a:gd name="connsiteX3" fmla="*/ 1209675 w 1209675"/>
                <a:gd name="connsiteY3" fmla="*/ 895350 h 914400"/>
                <a:gd name="connsiteX4" fmla="*/ 139700 w 1209675"/>
                <a:gd name="connsiteY4" fmla="*/ 914400 h 914400"/>
                <a:gd name="connsiteX5" fmla="*/ 0 w 1209675"/>
                <a:gd name="connsiteY5" fmla="*/ 914400 h 914400"/>
                <a:gd name="connsiteX6" fmla="*/ 139700 w 1209675"/>
                <a:gd name="connsiteY6" fmla="*/ 152403 h 914400"/>
                <a:gd name="connsiteX7" fmla="*/ 292103 w 1209675"/>
                <a:gd name="connsiteY7" fmla="*/ 0 h 914400"/>
                <a:gd name="connsiteX0" fmla="*/ 292103 w 1209675"/>
                <a:gd name="connsiteY0" fmla="*/ 0 h 914400"/>
                <a:gd name="connsiteX1" fmla="*/ 901697 w 1209675"/>
                <a:gd name="connsiteY1" fmla="*/ 0 h 914400"/>
                <a:gd name="connsiteX2" fmla="*/ 1054100 w 1209675"/>
                <a:gd name="connsiteY2" fmla="*/ 152403 h 914400"/>
                <a:gd name="connsiteX3" fmla="*/ 1209675 w 1209675"/>
                <a:gd name="connsiteY3" fmla="*/ 911225 h 914400"/>
                <a:gd name="connsiteX4" fmla="*/ 139700 w 1209675"/>
                <a:gd name="connsiteY4" fmla="*/ 914400 h 914400"/>
                <a:gd name="connsiteX5" fmla="*/ 0 w 1209675"/>
                <a:gd name="connsiteY5" fmla="*/ 914400 h 914400"/>
                <a:gd name="connsiteX6" fmla="*/ 139700 w 1209675"/>
                <a:gd name="connsiteY6" fmla="*/ 152403 h 914400"/>
                <a:gd name="connsiteX7" fmla="*/ 292103 w 1209675"/>
                <a:gd name="connsiteY7" fmla="*/ 0 h 914400"/>
                <a:gd name="connsiteX0" fmla="*/ 139700 w 1209675"/>
                <a:gd name="connsiteY0" fmla="*/ 152403 h 914400"/>
                <a:gd name="connsiteX1" fmla="*/ 901697 w 1209675"/>
                <a:gd name="connsiteY1" fmla="*/ 0 h 914400"/>
                <a:gd name="connsiteX2" fmla="*/ 1054100 w 1209675"/>
                <a:gd name="connsiteY2" fmla="*/ 152403 h 914400"/>
                <a:gd name="connsiteX3" fmla="*/ 1209675 w 1209675"/>
                <a:gd name="connsiteY3" fmla="*/ 911225 h 914400"/>
                <a:gd name="connsiteX4" fmla="*/ 139700 w 1209675"/>
                <a:gd name="connsiteY4" fmla="*/ 914400 h 914400"/>
                <a:gd name="connsiteX5" fmla="*/ 0 w 1209675"/>
                <a:gd name="connsiteY5" fmla="*/ 914400 h 914400"/>
                <a:gd name="connsiteX6" fmla="*/ 139700 w 1209675"/>
                <a:gd name="connsiteY6" fmla="*/ 152403 h 914400"/>
                <a:gd name="connsiteX0" fmla="*/ 139700 w 1209675"/>
                <a:gd name="connsiteY0" fmla="*/ 173522 h 935519"/>
                <a:gd name="connsiteX1" fmla="*/ 901697 w 1209675"/>
                <a:gd name="connsiteY1" fmla="*/ 21119 h 935519"/>
                <a:gd name="connsiteX2" fmla="*/ 1054100 w 1209675"/>
                <a:gd name="connsiteY2" fmla="*/ 173522 h 935519"/>
                <a:gd name="connsiteX3" fmla="*/ 1209675 w 1209675"/>
                <a:gd name="connsiteY3" fmla="*/ 932344 h 935519"/>
                <a:gd name="connsiteX4" fmla="*/ 139700 w 1209675"/>
                <a:gd name="connsiteY4" fmla="*/ 935519 h 935519"/>
                <a:gd name="connsiteX5" fmla="*/ 0 w 1209675"/>
                <a:gd name="connsiteY5" fmla="*/ 935519 h 935519"/>
                <a:gd name="connsiteX6" fmla="*/ 139700 w 1209675"/>
                <a:gd name="connsiteY6" fmla="*/ 173522 h 935519"/>
                <a:gd name="connsiteX0" fmla="*/ 139700 w 1209675"/>
                <a:gd name="connsiteY0" fmla="*/ 95051 h 857048"/>
                <a:gd name="connsiteX1" fmla="*/ 1054100 w 1209675"/>
                <a:gd name="connsiteY1" fmla="*/ 95051 h 857048"/>
                <a:gd name="connsiteX2" fmla="*/ 1209675 w 1209675"/>
                <a:gd name="connsiteY2" fmla="*/ 853873 h 857048"/>
                <a:gd name="connsiteX3" fmla="*/ 139700 w 1209675"/>
                <a:gd name="connsiteY3" fmla="*/ 857048 h 857048"/>
                <a:gd name="connsiteX4" fmla="*/ 0 w 1209675"/>
                <a:gd name="connsiteY4" fmla="*/ 857048 h 857048"/>
                <a:gd name="connsiteX5" fmla="*/ 139700 w 1209675"/>
                <a:gd name="connsiteY5" fmla="*/ 95051 h 857048"/>
                <a:gd name="connsiteX0" fmla="*/ 139700 w 1209675"/>
                <a:gd name="connsiteY0" fmla="*/ 143742 h 905739"/>
                <a:gd name="connsiteX1" fmla="*/ 1054100 w 1209675"/>
                <a:gd name="connsiteY1" fmla="*/ 143742 h 905739"/>
                <a:gd name="connsiteX2" fmla="*/ 1209675 w 1209675"/>
                <a:gd name="connsiteY2" fmla="*/ 902564 h 905739"/>
                <a:gd name="connsiteX3" fmla="*/ 139700 w 1209675"/>
                <a:gd name="connsiteY3" fmla="*/ 905739 h 905739"/>
                <a:gd name="connsiteX4" fmla="*/ 0 w 1209675"/>
                <a:gd name="connsiteY4" fmla="*/ 905739 h 905739"/>
                <a:gd name="connsiteX5" fmla="*/ 139700 w 1209675"/>
                <a:gd name="connsiteY5" fmla="*/ 143742 h 905739"/>
                <a:gd name="connsiteX0" fmla="*/ 139700 w 1209675"/>
                <a:gd name="connsiteY0" fmla="*/ 216336 h 978333"/>
                <a:gd name="connsiteX1" fmla="*/ 1054100 w 1209675"/>
                <a:gd name="connsiteY1" fmla="*/ 216336 h 978333"/>
                <a:gd name="connsiteX2" fmla="*/ 1209675 w 1209675"/>
                <a:gd name="connsiteY2" fmla="*/ 975158 h 978333"/>
                <a:gd name="connsiteX3" fmla="*/ 139700 w 1209675"/>
                <a:gd name="connsiteY3" fmla="*/ 978333 h 978333"/>
                <a:gd name="connsiteX4" fmla="*/ 0 w 1209675"/>
                <a:gd name="connsiteY4" fmla="*/ 978333 h 978333"/>
                <a:gd name="connsiteX5" fmla="*/ 139700 w 1209675"/>
                <a:gd name="connsiteY5" fmla="*/ 216336 h 978333"/>
                <a:gd name="connsiteX0" fmla="*/ 139700 w 1209675"/>
                <a:gd name="connsiteY0" fmla="*/ 249852 h 1011849"/>
                <a:gd name="connsiteX1" fmla="*/ 1054100 w 1209675"/>
                <a:gd name="connsiteY1" fmla="*/ 249852 h 1011849"/>
                <a:gd name="connsiteX2" fmla="*/ 1209675 w 1209675"/>
                <a:gd name="connsiteY2" fmla="*/ 1008674 h 1011849"/>
                <a:gd name="connsiteX3" fmla="*/ 139700 w 1209675"/>
                <a:gd name="connsiteY3" fmla="*/ 1011849 h 1011849"/>
                <a:gd name="connsiteX4" fmla="*/ 0 w 1209675"/>
                <a:gd name="connsiteY4" fmla="*/ 1011849 h 1011849"/>
                <a:gd name="connsiteX5" fmla="*/ 139700 w 1209675"/>
                <a:gd name="connsiteY5" fmla="*/ 249852 h 101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5" h="1011849">
                  <a:moveTo>
                    <a:pt x="139700" y="249852"/>
                  </a:moveTo>
                  <a:cubicBezTo>
                    <a:pt x="305858" y="-77172"/>
                    <a:pt x="891646" y="-89343"/>
                    <a:pt x="1054100" y="249852"/>
                  </a:cubicBezTo>
                  <a:lnTo>
                    <a:pt x="1209675" y="1008674"/>
                  </a:lnTo>
                  <a:lnTo>
                    <a:pt x="139700" y="1011849"/>
                  </a:lnTo>
                  <a:lnTo>
                    <a:pt x="0" y="1011849"/>
                  </a:lnTo>
                  <a:lnTo>
                    <a:pt x="139700" y="249852"/>
                  </a:lnTo>
                  <a:close/>
                </a:path>
              </a:pathLst>
            </a:custGeom>
            <a:solidFill>
              <a:schemeClr val="bg1">
                <a:lumMod val="95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34" tIns="146267" rIns="182834" bIns="14626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702" name="Rectangle 2701">
            <a:extLst>
              <a:ext uri="{FF2B5EF4-FFF2-40B4-BE49-F238E27FC236}">
                <a16:creationId xmlns:a16="http://schemas.microsoft.com/office/drawing/2014/main" id="{40B4E432-0BCD-4297-AE2D-C63DA1CC8F9B}"/>
              </a:ext>
            </a:extLst>
          </p:cNvPr>
          <p:cNvSpPr/>
          <p:nvPr/>
        </p:nvSpPr>
        <p:spPr bwMode="auto">
          <a:xfrm>
            <a:off x="2525218" y="1871066"/>
            <a:ext cx="264034" cy="2316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03" name="Rectangle 2702">
            <a:extLst>
              <a:ext uri="{FF2B5EF4-FFF2-40B4-BE49-F238E27FC236}">
                <a16:creationId xmlns:a16="http://schemas.microsoft.com/office/drawing/2014/main" id="{873BD940-7CD7-4ADD-A360-C16C2A61A1C8}"/>
              </a:ext>
            </a:extLst>
          </p:cNvPr>
          <p:cNvSpPr/>
          <p:nvPr/>
        </p:nvSpPr>
        <p:spPr bwMode="auto">
          <a:xfrm>
            <a:off x="2755052" y="1832851"/>
            <a:ext cx="264034" cy="2316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704" name="Group 2703">
            <a:extLst>
              <a:ext uri="{FF2B5EF4-FFF2-40B4-BE49-F238E27FC236}">
                <a16:creationId xmlns:a16="http://schemas.microsoft.com/office/drawing/2014/main" id="{ABD949F1-ECDA-4A85-9CC5-3EE22BF5F834}"/>
              </a:ext>
            </a:extLst>
          </p:cNvPr>
          <p:cNvGrpSpPr/>
          <p:nvPr/>
        </p:nvGrpSpPr>
        <p:grpSpPr>
          <a:xfrm>
            <a:off x="448851" y="5669810"/>
            <a:ext cx="3614175" cy="823179"/>
            <a:chOff x="151834" y="5024943"/>
            <a:chExt cx="2313570" cy="1674455"/>
          </a:xfrm>
        </p:grpSpPr>
        <p:sp>
          <p:nvSpPr>
            <p:cNvPr id="2705" name="Rectangle 2704">
              <a:extLst>
                <a:ext uri="{FF2B5EF4-FFF2-40B4-BE49-F238E27FC236}">
                  <a16:creationId xmlns:a16="http://schemas.microsoft.com/office/drawing/2014/main" id="{27AF5B15-DB43-4F15-A994-11B3824EAAB8}"/>
                </a:ext>
              </a:extLst>
            </p:cNvPr>
            <p:cNvSpPr/>
            <p:nvPr/>
          </p:nvSpPr>
          <p:spPr bwMode="auto">
            <a:xfrm>
              <a:off x="151834" y="5024943"/>
              <a:ext cx="2313570" cy="1674455"/>
            </a:xfrm>
            <a:prstGeom prst="rect">
              <a:avLst/>
            </a:prstGeom>
            <a:solidFill>
              <a:schemeClr val="bg1"/>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4464" tIns="89642" rIns="134429" bIns="89642" numCol="1" spcCol="0" rtlCol="0" fromWordArt="0" anchor="t" anchorCtr="0" forceAA="0" compatLnSpc="1">
              <a:prstTxWarp prst="textNoShape">
                <a:avLst/>
              </a:prstTxWarp>
              <a:noAutofit/>
            </a:bodyPr>
            <a:lstStyle/>
            <a:p>
              <a:pPr defTabSz="914027" fontAlgn="base">
                <a:spcBef>
                  <a:spcPct val="0"/>
                </a:spcBef>
                <a:spcAft>
                  <a:spcPct val="0"/>
                </a:spcAft>
                <a:defRPr/>
              </a:pPr>
              <a:r>
                <a:rPr lang="en-US" sz="1372" dirty="0">
                  <a:ea typeface="Segoe UI" pitchFamily="34" charset="0"/>
                  <a:cs typeface="Segoe UI" pitchFamily="34" charset="0"/>
                </a:rPr>
                <a:t>Aggregate data from machines across your manufacturing sites to enable a holistic view of key performance indicators</a:t>
              </a:r>
            </a:p>
          </p:txBody>
        </p:sp>
        <p:sp>
          <p:nvSpPr>
            <p:cNvPr id="2706" name="Rectangle 2705">
              <a:extLst>
                <a:ext uri="{FF2B5EF4-FFF2-40B4-BE49-F238E27FC236}">
                  <a16:creationId xmlns:a16="http://schemas.microsoft.com/office/drawing/2014/main" id="{5B6B81A8-BAC8-444F-B378-7586644B4EC2}"/>
                </a:ext>
              </a:extLst>
            </p:cNvPr>
            <p:cNvSpPr/>
            <p:nvPr/>
          </p:nvSpPr>
          <p:spPr bwMode="auto">
            <a:xfrm>
              <a:off x="151834" y="6653678"/>
              <a:ext cx="2313570" cy="45720"/>
            </a:xfrm>
            <a:prstGeom prst="rect">
              <a:avLst/>
            </a:prstGeom>
            <a:solidFill>
              <a:schemeClr val="tx2"/>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4464" tIns="89642" rIns="134429" bIns="89642" numCol="1" spcCol="0" rtlCol="0" fromWordArt="0" anchor="t" anchorCtr="0" forceAA="0" compatLnSpc="1">
              <a:prstTxWarp prst="textNoShape">
                <a:avLst/>
              </a:prstTxWarp>
              <a:noAutofit/>
            </a:bodyPr>
            <a:lstStyle/>
            <a:p>
              <a:pPr defTabSz="913852" fontAlgn="base">
                <a:spcBef>
                  <a:spcPct val="0"/>
                </a:spcBef>
                <a:spcAft>
                  <a:spcPts val="588"/>
                </a:spcAft>
                <a:defRPr/>
              </a:pPr>
              <a:endParaRPr lang="en-US" sz="1372" kern="0" dirty="0"/>
            </a:p>
          </p:txBody>
        </p:sp>
      </p:grpSp>
      <p:grpSp>
        <p:nvGrpSpPr>
          <p:cNvPr id="2707" name="Group 2706">
            <a:extLst>
              <a:ext uri="{FF2B5EF4-FFF2-40B4-BE49-F238E27FC236}">
                <a16:creationId xmlns:a16="http://schemas.microsoft.com/office/drawing/2014/main" id="{5013A2EC-D697-4A20-8800-5F24739F8861}"/>
              </a:ext>
            </a:extLst>
          </p:cNvPr>
          <p:cNvGrpSpPr/>
          <p:nvPr/>
        </p:nvGrpSpPr>
        <p:grpSpPr>
          <a:xfrm>
            <a:off x="4288914" y="5669810"/>
            <a:ext cx="3614175" cy="823179"/>
            <a:chOff x="151834" y="5024943"/>
            <a:chExt cx="2313570" cy="1674455"/>
          </a:xfrm>
        </p:grpSpPr>
        <p:sp>
          <p:nvSpPr>
            <p:cNvPr id="2708" name="Rectangle 2707">
              <a:extLst>
                <a:ext uri="{FF2B5EF4-FFF2-40B4-BE49-F238E27FC236}">
                  <a16:creationId xmlns:a16="http://schemas.microsoft.com/office/drawing/2014/main" id="{6BCE94E8-DCC9-4279-9515-4D551109B729}"/>
                </a:ext>
              </a:extLst>
            </p:cNvPr>
            <p:cNvSpPr/>
            <p:nvPr/>
          </p:nvSpPr>
          <p:spPr bwMode="auto">
            <a:xfrm>
              <a:off x="151834" y="5024943"/>
              <a:ext cx="2313570" cy="1674455"/>
            </a:xfrm>
            <a:prstGeom prst="rect">
              <a:avLst/>
            </a:prstGeom>
            <a:solidFill>
              <a:schemeClr val="bg1"/>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4464" tIns="89642" rIns="134429" bIns="89642" numCol="1" spcCol="0" rtlCol="0" fromWordArt="0" anchor="t" anchorCtr="0" forceAA="0" compatLnSpc="1">
              <a:prstTxWarp prst="textNoShape">
                <a:avLst/>
              </a:prstTxWarp>
              <a:noAutofit/>
            </a:bodyPr>
            <a:lstStyle/>
            <a:p>
              <a:pPr defTabSz="913852" fontAlgn="base">
                <a:spcBef>
                  <a:spcPct val="0"/>
                </a:spcBef>
                <a:spcAft>
                  <a:spcPts val="350"/>
                </a:spcAft>
                <a:defRPr/>
              </a:pPr>
              <a:r>
                <a:rPr lang="en-US" sz="1372" dirty="0">
                  <a:ea typeface="Segoe UI" pitchFamily="34" charset="0"/>
                  <a:cs typeface="Segoe UI" pitchFamily="34" charset="0"/>
                </a:rPr>
                <a:t>Drill into your data to compare the performance of equivalent machines at multiple sites</a:t>
              </a:r>
            </a:p>
          </p:txBody>
        </p:sp>
        <p:sp>
          <p:nvSpPr>
            <p:cNvPr id="2709" name="Rectangle 2708">
              <a:extLst>
                <a:ext uri="{FF2B5EF4-FFF2-40B4-BE49-F238E27FC236}">
                  <a16:creationId xmlns:a16="http://schemas.microsoft.com/office/drawing/2014/main" id="{6C8406F6-C863-4B22-BF3E-8528E870454D}"/>
                </a:ext>
              </a:extLst>
            </p:cNvPr>
            <p:cNvSpPr/>
            <p:nvPr/>
          </p:nvSpPr>
          <p:spPr bwMode="auto">
            <a:xfrm>
              <a:off x="151834" y="6653677"/>
              <a:ext cx="2313570" cy="45720"/>
            </a:xfrm>
            <a:prstGeom prst="rect">
              <a:avLst/>
            </a:prstGeom>
            <a:solidFill>
              <a:schemeClr val="tx2"/>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4464" tIns="89642" rIns="134429" bIns="89642" numCol="1" spcCol="0" rtlCol="0" fromWordArt="0" anchor="t" anchorCtr="0" forceAA="0" compatLnSpc="1">
              <a:prstTxWarp prst="textNoShape">
                <a:avLst/>
              </a:prstTxWarp>
              <a:noAutofit/>
            </a:bodyPr>
            <a:lstStyle/>
            <a:p>
              <a:pPr defTabSz="913852" fontAlgn="base">
                <a:spcBef>
                  <a:spcPct val="0"/>
                </a:spcBef>
                <a:spcAft>
                  <a:spcPts val="588"/>
                </a:spcAft>
                <a:defRPr/>
              </a:pPr>
              <a:endParaRPr lang="en-US" sz="1372" kern="0" dirty="0"/>
            </a:p>
          </p:txBody>
        </p:sp>
      </p:grpSp>
      <p:grpSp>
        <p:nvGrpSpPr>
          <p:cNvPr id="2710" name="Group 2709">
            <a:extLst>
              <a:ext uri="{FF2B5EF4-FFF2-40B4-BE49-F238E27FC236}">
                <a16:creationId xmlns:a16="http://schemas.microsoft.com/office/drawing/2014/main" id="{81D6A9AE-2AA5-4768-90B5-779B8E3D1511}"/>
              </a:ext>
            </a:extLst>
          </p:cNvPr>
          <p:cNvGrpSpPr/>
          <p:nvPr/>
        </p:nvGrpSpPr>
        <p:grpSpPr>
          <a:xfrm>
            <a:off x="8128976" y="5669810"/>
            <a:ext cx="3614175" cy="823179"/>
            <a:chOff x="151834" y="5024943"/>
            <a:chExt cx="2313570" cy="1674455"/>
          </a:xfrm>
        </p:grpSpPr>
        <p:sp>
          <p:nvSpPr>
            <p:cNvPr id="2711" name="Rectangle 2710">
              <a:extLst>
                <a:ext uri="{FF2B5EF4-FFF2-40B4-BE49-F238E27FC236}">
                  <a16:creationId xmlns:a16="http://schemas.microsoft.com/office/drawing/2014/main" id="{B266A1DE-5F0F-45D5-B4A5-288CDF2B8EFC}"/>
                </a:ext>
              </a:extLst>
            </p:cNvPr>
            <p:cNvSpPr/>
            <p:nvPr/>
          </p:nvSpPr>
          <p:spPr bwMode="auto">
            <a:xfrm>
              <a:off x="151834" y="5024943"/>
              <a:ext cx="2313570" cy="1674455"/>
            </a:xfrm>
            <a:prstGeom prst="rect">
              <a:avLst/>
            </a:prstGeom>
            <a:solidFill>
              <a:schemeClr val="bg1"/>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4464" tIns="89642" rIns="134429" bIns="89642" numCol="1" spcCol="0" rtlCol="0" fromWordArt="0" anchor="t" anchorCtr="0" forceAA="0" compatLnSpc="1">
              <a:prstTxWarp prst="textNoShape">
                <a:avLst/>
              </a:prstTxWarp>
              <a:noAutofit/>
            </a:bodyPr>
            <a:lstStyle/>
            <a:p>
              <a:pPr defTabSz="913852" fontAlgn="base">
                <a:spcBef>
                  <a:spcPct val="0"/>
                </a:spcBef>
                <a:spcAft>
                  <a:spcPts val="350"/>
                </a:spcAft>
                <a:defRPr/>
              </a:pPr>
              <a:r>
                <a:rPr lang="en-US" sz="1372" dirty="0">
                  <a:cs typeface="Segoe UI" pitchFamily="34" charset="0"/>
                </a:rPr>
                <a:t>Gain insight into the factors that contribute to variations in performance</a:t>
              </a:r>
            </a:p>
          </p:txBody>
        </p:sp>
        <p:sp>
          <p:nvSpPr>
            <p:cNvPr id="2712" name="Rectangle 2711">
              <a:extLst>
                <a:ext uri="{FF2B5EF4-FFF2-40B4-BE49-F238E27FC236}">
                  <a16:creationId xmlns:a16="http://schemas.microsoft.com/office/drawing/2014/main" id="{CA050002-6007-48CF-AED5-30B951554098}"/>
                </a:ext>
              </a:extLst>
            </p:cNvPr>
            <p:cNvSpPr/>
            <p:nvPr/>
          </p:nvSpPr>
          <p:spPr bwMode="auto">
            <a:xfrm>
              <a:off x="151834" y="6653677"/>
              <a:ext cx="2313570" cy="45720"/>
            </a:xfrm>
            <a:prstGeom prst="rect">
              <a:avLst/>
            </a:prstGeom>
            <a:solidFill>
              <a:schemeClr val="tx2"/>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4464" tIns="89642" rIns="134429" bIns="89642" numCol="1" spcCol="0" rtlCol="0" fromWordArt="0" anchor="t" anchorCtr="0" forceAA="0" compatLnSpc="1">
              <a:prstTxWarp prst="textNoShape">
                <a:avLst/>
              </a:prstTxWarp>
              <a:noAutofit/>
            </a:bodyPr>
            <a:lstStyle/>
            <a:p>
              <a:pPr defTabSz="913852" fontAlgn="base">
                <a:spcBef>
                  <a:spcPct val="0"/>
                </a:spcBef>
                <a:spcAft>
                  <a:spcPts val="588"/>
                </a:spcAft>
                <a:defRPr/>
              </a:pPr>
              <a:endParaRPr lang="en-US" sz="1372" kern="0" dirty="0"/>
            </a:p>
          </p:txBody>
        </p:sp>
      </p:grpSp>
      <p:grpSp>
        <p:nvGrpSpPr>
          <p:cNvPr id="2713" name="Group 2712">
            <a:extLst>
              <a:ext uri="{FF2B5EF4-FFF2-40B4-BE49-F238E27FC236}">
                <a16:creationId xmlns:a16="http://schemas.microsoft.com/office/drawing/2014/main" id="{159F6ADE-97CA-4A8A-B34C-DEEDB6762094}"/>
              </a:ext>
            </a:extLst>
          </p:cNvPr>
          <p:cNvGrpSpPr/>
          <p:nvPr/>
        </p:nvGrpSpPr>
        <p:grpSpPr>
          <a:xfrm>
            <a:off x="10971831" y="2553998"/>
            <a:ext cx="244485" cy="206399"/>
            <a:chOff x="1685846" y="3775275"/>
            <a:chExt cx="262859" cy="221911"/>
          </a:xfrm>
        </p:grpSpPr>
        <p:sp>
          <p:nvSpPr>
            <p:cNvPr id="2714" name="Rectangle 2713">
              <a:extLst>
                <a:ext uri="{FF2B5EF4-FFF2-40B4-BE49-F238E27FC236}">
                  <a16:creationId xmlns:a16="http://schemas.microsoft.com/office/drawing/2014/main" id="{A25354A9-895D-4F5B-8224-8DBE1D1CD47F}"/>
                </a:ext>
              </a:extLst>
            </p:cNvPr>
            <p:cNvSpPr/>
            <p:nvPr/>
          </p:nvSpPr>
          <p:spPr bwMode="auto">
            <a:xfrm>
              <a:off x="1790242" y="3808659"/>
              <a:ext cx="58580" cy="1674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15" name="Rectangle 25">
              <a:extLst>
                <a:ext uri="{FF2B5EF4-FFF2-40B4-BE49-F238E27FC236}">
                  <a16:creationId xmlns:a16="http://schemas.microsoft.com/office/drawing/2014/main" id="{FC2103AB-344D-4A68-A076-C3B283EDC0D2}"/>
                </a:ext>
              </a:extLst>
            </p:cNvPr>
            <p:cNvSpPr>
              <a:spLocks noChangeAspect="1"/>
            </p:cNvSpPr>
            <p:nvPr/>
          </p:nvSpPr>
          <p:spPr bwMode="auto">
            <a:xfrm flipH="1">
              <a:off x="1685846" y="3775275"/>
              <a:ext cx="262859" cy="221911"/>
            </a:xfrm>
            <a:custGeom>
              <a:avLst/>
              <a:gdLst/>
              <a:ahLst/>
              <a:cxnLst/>
              <a:rect l="l" t="t" r="r" b="b"/>
              <a:pathLst>
                <a:path w="3669806" h="3098137">
                  <a:moveTo>
                    <a:pt x="1643468" y="2207172"/>
                  </a:moveTo>
                  <a:lnTo>
                    <a:pt x="1643468" y="2574663"/>
                  </a:lnTo>
                  <a:lnTo>
                    <a:pt x="2010959" y="2574663"/>
                  </a:lnTo>
                  <a:lnTo>
                    <a:pt x="2010959" y="2207172"/>
                  </a:lnTo>
                  <a:close/>
                  <a:moveTo>
                    <a:pt x="1607127" y="789112"/>
                  </a:moveTo>
                  <a:lnTo>
                    <a:pt x="1607127" y="1252490"/>
                  </a:lnTo>
                  <a:lnTo>
                    <a:pt x="1730694" y="1938290"/>
                  </a:lnTo>
                  <a:lnTo>
                    <a:pt x="1922224" y="1938290"/>
                  </a:lnTo>
                  <a:lnTo>
                    <a:pt x="2033435" y="1252490"/>
                  </a:lnTo>
                  <a:lnTo>
                    <a:pt x="2033435" y="789112"/>
                  </a:lnTo>
                  <a:close/>
                  <a:moveTo>
                    <a:pt x="1822750" y="259"/>
                  </a:moveTo>
                  <a:cubicBezTo>
                    <a:pt x="1909477" y="-3796"/>
                    <a:pt x="2009779" y="39067"/>
                    <a:pt x="2110950" y="175764"/>
                  </a:cubicBezTo>
                  <a:lnTo>
                    <a:pt x="3612296" y="2603867"/>
                  </a:lnTo>
                  <a:cubicBezTo>
                    <a:pt x="3735864" y="2861299"/>
                    <a:pt x="3667902" y="3081661"/>
                    <a:pt x="3334269" y="3098137"/>
                  </a:cubicBezTo>
                  <a:lnTo>
                    <a:pt x="288328" y="3098137"/>
                  </a:lnTo>
                  <a:cubicBezTo>
                    <a:pt x="-92672" y="3011640"/>
                    <a:pt x="-16472" y="2758325"/>
                    <a:pt x="72085" y="2597688"/>
                  </a:cubicBezTo>
                  <a:lnTo>
                    <a:pt x="1561074" y="194299"/>
                  </a:lnTo>
                  <a:cubicBezTo>
                    <a:pt x="1571371" y="144100"/>
                    <a:pt x="1678206" y="7017"/>
                    <a:pt x="1822750" y="259"/>
                  </a:cubicBezTo>
                  <a:close/>
                </a:path>
              </a:pathLst>
            </a:custGeom>
            <a:solidFill>
              <a:srgbClr val="FDE1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4" tIns="45701" rIns="45701" bIns="91404" numCol="1" spcCol="0" rtlCol="0" fromWordArt="0" anchor="b" anchorCtr="0" forceAA="0" compatLnSpc="1">
              <a:prstTxWarp prst="textNoShape">
                <a:avLst/>
              </a:prstTxWarp>
              <a:noAutofit/>
            </a:bodyPr>
            <a:lstStyle/>
            <a:p>
              <a:pPr algn="ctr" defTabSz="913673"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2716" name="Group 2715">
            <a:extLst>
              <a:ext uri="{FF2B5EF4-FFF2-40B4-BE49-F238E27FC236}">
                <a16:creationId xmlns:a16="http://schemas.microsoft.com/office/drawing/2014/main" id="{64EA3960-A7BC-4BC3-A333-75FA7FE4A9FC}"/>
              </a:ext>
            </a:extLst>
          </p:cNvPr>
          <p:cNvGrpSpPr/>
          <p:nvPr/>
        </p:nvGrpSpPr>
        <p:grpSpPr>
          <a:xfrm flipH="1">
            <a:off x="929627" y="1747456"/>
            <a:ext cx="906225" cy="718594"/>
            <a:chOff x="7280587" y="-560438"/>
            <a:chExt cx="6170209" cy="5282380"/>
          </a:xfrm>
        </p:grpSpPr>
        <p:sp>
          <p:nvSpPr>
            <p:cNvPr id="2717" name="Freeform: Shape 2014">
              <a:extLst>
                <a:ext uri="{FF2B5EF4-FFF2-40B4-BE49-F238E27FC236}">
                  <a16:creationId xmlns:a16="http://schemas.microsoft.com/office/drawing/2014/main" id="{AF2DBD2B-A1EC-4432-A700-5A33CEA872A5}"/>
                </a:ext>
              </a:extLst>
            </p:cNvPr>
            <p:cNvSpPr/>
            <p:nvPr/>
          </p:nvSpPr>
          <p:spPr bwMode="auto">
            <a:xfrm>
              <a:off x="13096754" y="2800177"/>
              <a:ext cx="354042" cy="1917210"/>
            </a:xfrm>
            <a:custGeom>
              <a:avLst/>
              <a:gdLst>
                <a:gd name="connsiteX0" fmla="*/ 43543 w 464458"/>
                <a:gd name="connsiteY0" fmla="*/ 1393371 h 1393371"/>
                <a:gd name="connsiteX1" fmla="*/ 464458 w 464458"/>
                <a:gd name="connsiteY1" fmla="*/ 972456 h 1393371"/>
                <a:gd name="connsiteX2" fmla="*/ 464458 w 464458"/>
                <a:gd name="connsiteY2" fmla="*/ 0 h 1393371"/>
                <a:gd name="connsiteX3" fmla="*/ 0 w 464458"/>
                <a:gd name="connsiteY3" fmla="*/ 0 h 1393371"/>
                <a:gd name="connsiteX4" fmla="*/ 0 w 464458"/>
                <a:gd name="connsiteY4" fmla="*/ 1320800 h 1393371"/>
                <a:gd name="connsiteX5" fmla="*/ 72572 w 464458"/>
                <a:gd name="connsiteY5" fmla="*/ 1320800 h 1393371"/>
                <a:gd name="connsiteX6" fmla="*/ 43543 w 464458"/>
                <a:gd name="connsiteY6" fmla="*/ 1393371 h 1393371"/>
                <a:gd name="connsiteX0" fmla="*/ 72572 w 464458"/>
                <a:gd name="connsiteY0" fmla="*/ 1320800 h 1320800"/>
                <a:gd name="connsiteX1" fmla="*/ 464458 w 464458"/>
                <a:gd name="connsiteY1" fmla="*/ 972456 h 1320800"/>
                <a:gd name="connsiteX2" fmla="*/ 464458 w 464458"/>
                <a:gd name="connsiteY2" fmla="*/ 0 h 1320800"/>
                <a:gd name="connsiteX3" fmla="*/ 0 w 464458"/>
                <a:gd name="connsiteY3" fmla="*/ 0 h 1320800"/>
                <a:gd name="connsiteX4" fmla="*/ 0 w 464458"/>
                <a:gd name="connsiteY4" fmla="*/ 1320800 h 1320800"/>
                <a:gd name="connsiteX5" fmla="*/ 72572 w 464458"/>
                <a:gd name="connsiteY5" fmla="*/ 1320800 h 1320800"/>
                <a:gd name="connsiteX0" fmla="*/ 0 w 464458"/>
                <a:gd name="connsiteY0" fmla="*/ 1320800 h 1320800"/>
                <a:gd name="connsiteX1" fmla="*/ 464458 w 464458"/>
                <a:gd name="connsiteY1" fmla="*/ 972456 h 1320800"/>
                <a:gd name="connsiteX2" fmla="*/ 464458 w 464458"/>
                <a:gd name="connsiteY2" fmla="*/ 0 h 1320800"/>
                <a:gd name="connsiteX3" fmla="*/ 0 w 464458"/>
                <a:gd name="connsiteY3" fmla="*/ 0 h 1320800"/>
                <a:gd name="connsiteX4" fmla="*/ 0 w 464458"/>
                <a:gd name="connsiteY4" fmla="*/ 1320800 h 1320800"/>
                <a:gd name="connsiteX0" fmla="*/ 31750 w 464458"/>
                <a:gd name="connsiteY0" fmla="*/ 1339850 h 1339850"/>
                <a:gd name="connsiteX1" fmla="*/ 464458 w 464458"/>
                <a:gd name="connsiteY1" fmla="*/ 972456 h 1339850"/>
                <a:gd name="connsiteX2" fmla="*/ 464458 w 464458"/>
                <a:gd name="connsiteY2" fmla="*/ 0 h 1339850"/>
                <a:gd name="connsiteX3" fmla="*/ 0 w 464458"/>
                <a:gd name="connsiteY3" fmla="*/ 0 h 1339850"/>
                <a:gd name="connsiteX4" fmla="*/ 31750 w 464458"/>
                <a:gd name="connsiteY4" fmla="*/ 1339850 h 1339850"/>
                <a:gd name="connsiteX0" fmla="*/ 0 w 464641"/>
                <a:gd name="connsiteY0" fmla="*/ 1336676 h 1336676"/>
                <a:gd name="connsiteX1" fmla="*/ 464641 w 464641"/>
                <a:gd name="connsiteY1" fmla="*/ 972456 h 1336676"/>
                <a:gd name="connsiteX2" fmla="*/ 464641 w 464641"/>
                <a:gd name="connsiteY2" fmla="*/ 0 h 1336676"/>
                <a:gd name="connsiteX3" fmla="*/ 183 w 464641"/>
                <a:gd name="connsiteY3" fmla="*/ 0 h 1336676"/>
                <a:gd name="connsiteX4" fmla="*/ 0 w 464641"/>
                <a:gd name="connsiteY4" fmla="*/ 1336676 h 133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41" h="1336676">
                  <a:moveTo>
                    <a:pt x="0" y="1336676"/>
                  </a:moveTo>
                  <a:lnTo>
                    <a:pt x="464641" y="972456"/>
                  </a:lnTo>
                  <a:lnTo>
                    <a:pt x="464641" y="0"/>
                  </a:lnTo>
                  <a:lnTo>
                    <a:pt x="183" y="0"/>
                  </a:lnTo>
                  <a:lnTo>
                    <a:pt x="0" y="1336676"/>
                  </a:lnTo>
                  <a:close/>
                </a:path>
              </a:pathLst>
            </a:cu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18" name="Freeform: Shape 2015">
              <a:extLst>
                <a:ext uri="{FF2B5EF4-FFF2-40B4-BE49-F238E27FC236}">
                  <a16:creationId xmlns:a16="http://schemas.microsoft.com/office/drawing/2014/main" id="{A1F1036E-F419-4319-982A-5FFF9E8A6135}"/>
                </a:ext>
              </a:extLst>
            </p:cNvPr>
            <p:cNvSpPr/>
            <p:nvPr/>
          </p:nvSpPr>
          <p:spPr bwMode="auto">
            <a:xfrm>
              <a:off x="12890771" y="2484887"/>
              <a:ext cx="491729" cy="610108"/>
            </a:xfrm>
            <a:custGeom>
              <a:avLst/>
              <a:gdLst>
                <a:gd name="connsiteX0" fmla="*/ 31750 w 342900"/>
                <a:gd name="connsiteY0" fmla="*/ 0 h 425450"/>
                <a:gd name="connsiteX1" fmla="*/ 342900 w 342900"/>
                <a:gd name="connsiteY1" fmla="*/ 419100 h 425450"/>
                <a:gd name="connsiteX2" fmla="*/ 0 w 342900"/>
                <a:gd name="connsiteY2" fmla="*/ 425450 h 425450"/>
                <a:gd name="connsiteX3" fmla="*/ 31750 w 342900"/>
                <a:gd name="connsiteY3" fmla="*/ 0 h 425450"/>
              </a:gdLst>
              <a:ahLst/>
              <a:cxnLst>
                <a:cxn ang="0">
                  <a:pos x="connsiteX0" y="connsiteY0"/>
                </a:cxn>
                <a:cxn ang="0">
                  <a:pos x="connsiteX1" y="connsiteY1"/>
                </a:cxn>
                <a:cxn ang="0">
                  <a:pos x="connsiteX2" y="connsiteY2"/>
                </a:cxn>
                <a:cxn ang="0">
                  <a:pos x="connsiteX3" y="connsiteY3"/>
                </a:cxn>
              </a:cxnLst>
              <a:rect l="l" t="t" r="r" b="b"/>
              <a:pathLst>
                <a:path w="342900" h="425450">
                  <a:moveTo>
                    <a:pt x="31750" y="0"/>
                  </a:moveTo>
                  <a:lnTo>
                    <a:pt x="342900" y="419100"/>
                  </a:lnTo>
                  <a:lnTo>
                    <a:pt x="0" y="425450"/>
                  </a:lnTo>
                  <a:lnTo>
                    <a:pt x="31750" y="0"/>
                  </a:lnTo>
                  <a:close/>
                </a:path>
              </a:pathLst>
            </a:cu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19" name="Freeform: Shape 2016">
              <a:extLst>
                <a:ext uri="{FF2B5EF4-FFF2-40B4-BE49-F238E27FC236}">
                  <a16:creationId xmlns:a16="http://schemas.microsoft.com/office/drawing/2014/main" id="{A90BCD6A-1593-4EA4-9A13-DE9727105F8A}"/>
                </a:ext>
              </a:extLst>
            </p:cNvPr>
            <p:cNvSpPr/>
            <p:nvPr/>
          </p:nvSpPr>
          <p:spPr bwMode="auto">
            <a:xfrm>
              <a:off x="12428185" y="-556404"/>
              <a:ext cx="1022611" cy="3277961"/>
            </a:xfrm>
            <a:custGeom>
              <a:avLst/>
              <a:gdLst>
                <a:gd name="connsiteX0" fmla="*/ 504825 w 657225"/>
                <a:gd name="connsiteY0" fmla="*/ 0 h 2009775"/>
                <a:gd name="connsiteX1" fmla="*/ 657225 w 657225"/>
                <a:gd name="connsiteY1" fmla="*/ 1257300 h 2009775"/>
                <a:gd name="connsiteX2" fmla="*/ 466725 w 657225"/>
                <a:gd name="connsiteY2" fmla="*/ 1219200 h 2009775"/>
                <a:gd name="connsiteX3" fmla="*/ 304800 w 657225"/>
                <a:gd name="connsiteY3" fmla="*/ 1543050 h 2009775"/>
                <a:gd name="connsiteX4" fmla="*/ 409575 w 657225"/>
                <a:gd name="connsiteY4" fmla="*/ 2009775 h 2009775"/>
                <a:gd name="connsiteX5" fmla="*/ 0 w 657225"/>
                <a:gd name="connsiteY5" fmla="*/ 1133475 h 2009775"/>
                <a:gd name="connsiteX6" fmla="*/ 361950 w 657225"/>
                <a:gd name="connsiteY6" fmla="*/ 38100 h 2009775"/>
                <a:gd name="connsiteX7" fmla="*/ 504825 w 657225"/>
                <a:gd name="connsiteY7" fmla="*/ 0 h 2009775"/>
                <a:gd name="connsiteX0" fmla="*/ 504825 w 657225"/>
                <a:gd name="connsiteY0" fmla="*/ 0 h 2009775"/>
                <a:gd name="connsiteX1" fmla="*/ 657225 w 657225"/>
                <a:gd name="connsiteY1" fmla="*/ 1257300 h 2009775"/>
                <a:gd name="connsiteX2" fmla="*/ 466725 w 657225"/>
                <a:gd name="connsiteY2" fmla="*/ 1219200 h 2009775"/>
                <a:gd name="connsiteX3" fmla="*/ 304800 w 657225"/>
                <a:gd name="connsiteY3" fmla="*/ 1543050 h 2009775"/>
                <a:gd name="connsiteX4" fmla="*/ 409575 w 657225"/>
                <a:gd name="connsiteY4" fmla="*/ 2009775 h 2009775"/>
                <a:gd name="connsiteX5" fmla="*/ 0 w 657225"/>
                <a:gd name="connsiteY5" fmla="*/ 1133475 h 2009775"/>
                <a:gd name="connsiteX6" fmla="*/ 361950 w 657225"/>
                <a:gd name="connsiteY6" fmla="*/ 38100 h 2009775"/>
                <a:gd name="connsiteX7" fmla="*/ 504825 w 657225"/>
                <a:gd name="connsiteY7" fmla="*/ 0 h 2009775"/>
                <a:gd name="connsiteX0" fmla="*/ 504825 w 672856"/>
                <a:gd name="connsiteY0" fmla="*/ 0 h 2009775"/>
                <a:gd name="connsiteX1" fmla="*/ 657225 w 672856"/>
                <a:gd name="connsiteY1" fmla="*/ 1257300 h 2009775"/>
                <a:gd name="connsiteX2" fmla="*/ 466725 w 672856"/>
                <a:gd name="connsiteY2" fmla="*/ 1219200 h 2009775"/>
                <a:gd name="connsiteX3" fmla="*/ 304800 w 672856"/>
                <a:gd name="connsiteY3" fmla="*/ 1543050 h 2009775"/>
                <a:gd name="connsiteX4" fmla="*/ 409575 w 672856"/>
                <a:gd name="connsiteY4" fmla="*/ 2009775 h 2009775"/>
                <a:gd name="connsiteX5" fmla="*/ 0 w 672856"/>
                <a:gd name="connsiteY5" fmla="*/ 1133475 h 2009775"/>
                <a:gd name="connsiteX6" fmla="*/ 361950 w 672856"/>
                <a:gd name="connsiteY6" fmla="*/ 38100 h 2009775"/>
                <a:gd name="connsiteX7" fmla="*/ 504825 w 672856"/>
                <a:gd name="connsiteY7" fmla="*/ 0 h 2009775"/>
                <a:gd name="connsiteX0" fmla="*/ 504825 w 676766"/>
                <a:gd name="connsiteY0" fmla="*/ 0 h 2009775"/>
                <a:gd name="connsiteX1" fmla="*/ 661987 w 676766"/>
                <a:gd name="connsiteY1" fmla="*/ 1233488 h 2009775"/>
                <a:gd name="connsiteX2" fmla="*/ 466725 w 676766"/>
                <a:gd name="connsiteY2" fmla="*/ 1219200 h 2009775"/>
                <a:gd name="connsiteX3" fmla="*/ 304800 w 676766"/>
                <a:gd name="connsiteY3" fmla="*/ 1543050 h 2009775"/>
                <a:gd name="connsiteX4" fmla="*/ 409575 w 676766"/>
                <a:gd name="connsiteY4" fmla="*/ 2009775 h 2009775"/>
                <a:gd name="connsiteX5" fmla="*/ 0 w 676766"/>
                <a:gd name="connsiteY5" fmla="*/ 1133475 h 2009775"/>
                <a:gd name="connsiteX6" fmla="*/ 361950 w 676766"/>
                <a:gd name="connsiteY6" fmla="*/ 38100 h 2009775"/>
                <a:gd name="connsiteX7" fmla="*/ 504825 w 676766"/>
                <a:gd name="connsiteY7" fmla="*/ 0 h 2009775"/>
                <a:gd name="connsiteX0" fmla="*/ 504825 w 691228"/>
                <a:gd name="connsiteY0" fmla="*/ 0 h 2009775"/>
                <a:gd name="connsiteX1" fmla="*/ 661987 w 691228"/>
                <a:gd name="connsiteY1" fmla="*/ 1233488 h 2009775"/>
                <a:gd name="connsiteX2" fmla="*/ 466725 w 691228"/>
                <a:gd name="connsiteY2" fmla="*/ 1219200 h 2009775"/>
                <a:gd name="connsiteX3" fmla="*/ 304800 w 691228"/>
                <a:gd name="connsiteY3" fmla="*/ 1543050 h 2009775"/>
                <a:gd name="connsiteX4" fmla="*/ 409575 w 691228"/>
                <a:gd name="connsiteY4" fmla="*/ 2009775 h 2009775"/>
                <a:gd name="connsiteX5" fmla="*/ 0 w 691228"/>
                <a:gd name="connsiteY5" fmla="*/ 1133475 h 2009775"/>
                <a:gd name="connsiteX6" fmla="*/ 361950 w 691228"/>
                <a:gd name="connsiteY6" fmla="*/ 38100 h 2009775"/>
                <a:gd name="connsiteX7" fmla="*/ 504825 w 691228"/>
                <a:gd name="connsiteY7" fmla="*/ 0 h 2009775"/>
                <a:gd name="connsiteX0" fmla="*/ 495300 w 689439"/>
                <a:gd name="connsiteY0" fmla="*/ 0 h 2019300"/>
                <a:gd name="connsiteX1" fmla="*/ 661987 w 689439"/>
                <a:gd name="connsiteY1" fmla="*/ 1243013 h 2019300"/>
                <a:gd name="connsiteX2" fmla="*/ 466725 w 689439"/>
                <a:gd name="connsiteY2" fmla="*/ 1228725 h 2019300"/>
                <a:gd name="connsiteX3" fmla="*/ 304800 w 689439"/>
                <a:gd name="connsiteY3" fmla="*/ 1552575 h 2019300"/>
                <a:gd name="connsiteX4" fmla="*/ 409575 w 689439"/>
                <a:gd name="connsiteY4" fmla="*/ 2019300 h 2019300"/>
                <a:gd name="connsiteX5" fmla="*/ 0 w 689439"/>
                <a:gd name="connsiteY5" fmla="*/ 1143000 h 2019300"/>
                <a:gd name="connsiteX6" fmla="*/ 361950 w 689439"/>
                <a:gd name="connsiteY6" fmla="*/ 47625 h 2019300"/>
                <a:gd name="connsiteX7" fmla="*/ 495300 w 689439"/>
                <a:gd name="connsiteY7" fmla="*/ 0 h 2019300"/>
                <a:gd name="connsiteX0" fmla="*/ 495300 w 689439"/>
                <a:gd name="connsiteY0" fmla="*/ 0 h 2019300"/>
                <a:gd name="connsiteX1" fmla="*/ 661987 w 689439"/>
                <a:gd name="connsiteY1" fmla="*/ 1243013 h 2019300"/>
                <a:gd name="connsiteX2" fmla="*/ 466725 w 689439"/>
                <a:gd name="connsiteY2" fmla="*/ 1228725 h 2019300"/>
                <a:gd name="connsiteX3" fmla="*/ 285750 w 689439"/>
                <a:gd name="connsiteY3" fmla="*/ 1628775 h 2019300"/>
                <a:gd name="connsiteX4" fmla="*/ 409575 w 689439"/>
                <a:gd name="connsiteY4" fmla="*/ 2019300 h 2019300"/>
                <a:gd name="connsiteX5" fmla="*/ 0 w 689439"/>
                <a:gd name="connsiteY5" fmla="*/ 1143000 h 2019300"/>
                <a:gd name="connsiteX6" fmla="*/ 361950 w 689439"/>
                <a:gd name="connsiteY6" fmla="*/ 47625 h 2019300"/>
                <a:gd name="connsiteX7" fmla="*/ 495300 w 689439"/>
                <a:gd name="connsiteY7" fmla="*/ 0 h 2019300"/>
                <a:gd name="connsiteX0" fmla="*/ 495300 w 689439"/>
                <a:gd name="connsiteY0" fmla="*/ 0 h 2019300"/>
                <a:gd name="connsiteX1" fmla="*/ 661987 w 689439"/>
                <a:gd name="connsiteY1" fmla="*/ 1243013 h 2019300"/>
                <a:gd name="connsiteX2" fmla="*/ 419100 w 689439"/>
                <a:gd name="connsiteY2" fmla="*/ 1247775 h 2019300"/>
                <a:gd name="connsiteX3" fmla="*/ 285750 w 689439"/>
                <a:gd name="connsiteY3" fmla="*/ 1628775 h 2019300"/>
                <a:gd name="connsiteX4" fmla="*/ 409575 w 689439"/>
                <a:gd name="connsiteY4" fmla="*/ 2019300 h 2019300"/>
                <a:gd name="connsiteX5" fmla="*/ 0 w 689439"/>
                <a:gd name="connsiteY5" fmla="*/ 1143000 h 2019300"/>
                <a:gd name="connsiteX6" fmla="*/ 361950 w 689439"/>
                <a:gd name="connsiteY6" fmla="*/ 47625 h 2019300"/>
                <a:gd name="connsiteX7" fmla="*/ 495300 w 689439"/>
                <a:gd name="connsiteY7" fmla="*/ 0 h 2019300"/>
                <a:gd name="connsiteX0" fmla="*/ 495300 w 693371"/>
                <a:gd name="connsiteY0" fmla="*/ 0 h 2019300"/>
                <a:gd name="connsiteX1" fmla="*/ 666750 w 693371"/>
                <a:gd name="connsiteY1" fmla="*/ 1238251 h 2019300"/>
                <a:gd name="connsiteX2" fmla="*/ 419100 w 693371"/>
                <a:gd name="connsiteY2" fmla="*/ 1247775 h 2019300"/>
                <a:gd name="connsiteX3" fmla="*/ 285750 w 693371"/>
                <a:gd name="connsiteY3" fmla="*/ 1628775 h 2019300"/>
                <a:gd name="connsiteX4" fmla="*/ 409575 w 693371"/>
                <a:gd name="connsiteY4" fmla="*/ 2019300 h 2019300"/>
                <a:gd name="connsiteX5" fmla="*/ 0 w 693371"/>
                <a:gd name="connsiteY5" fmla="*/ 1143000 h 2019300"/>
                <a:gd name="connsiteX6" fmla="*/ 361950 w 693371"/>
                <a:gd name="connsiteY6" fmla="*/ 47625 h 2019300"/>
                <a:gd name="connsiteX7" fmla="*/ 495300 w 693371"/>
                <a:gd name="connsiteY7" fmla="*/ 0 h 2019300"/>
                <a:gd name="connsiteX0" fmla="*/ 495300 w 693371"/>
                <a:gd name="connsiteY0" fmla="*/ 0 h 2019300"/>
                <a:gd name="connsiteX1" fmla="*/ 666750 w 693371"/>
                <a:gd name="connsiteY1" fmla="*/ 1238251 h 2019300"/>
                <a:gd name="connsiteX2" fmla="*/ 414337 w 693371"/>
                <a:gd name="connsiteY2" fmla="*/ 1238250 h 2019300"/>
                <a:gd name="connsiteX3" fmla="*/ 285750 w 693371"/>
                <a:gd name="connsiteY3" fmla="*/ 1628775 h 2019300"/>
                <a:gd name="connsiteX4" fmla="*/ 409575 w 693371"/>
                <a:gd name="connsiteY4" fmla="*/ 2019300 h 2019300"/>
                <a:gd name="connsiteX5" fmla="*/ 0 w 693371"/>
                <a:gd name="connsiteY5" fmla="*/ 1143000 h 2019300"/>
                <a:gd name="connsiteX6" fmla="*/ 361950 w 693371"/>
                <a:gd name="connsiteY6" fmla="*/ 47625 h 2019300"/>
                <a:gd name="connsiteX7" fmla="*/ 495300 w 693371"/>
                <a:gd name="connsiteY7" fmla="*/ 0 h 2019300"/>
                <a:gd name="connsiteX0" fmla="*/ 495300 w 693371"/>
                <a:gd name="connsiteY0" fmla="*/ 0 h 2019300"/>
                <a:gd name="connsiteX1" fmla="*/ 666750 w 693371"/>
                <a:gd name="connsiteY1" fmla="*/ 1238251 h 2019300"/>
                <a:gd name="connsiteX2" fmla="*/ 414337 w 693371"/>
                <a:gd name="connsiteY2" fmla="*/ 1238250 h 2019300"/>
                <a:gd name="connsiteX3" fmla="*/ 300037 w 693371"/>
                <a:gd name="connsiteY3" fmla="*/ 1652588 h 2019300"/>
                <a:gd name="connsiteX4" fmla="*/ 409575 w 693371"/>
                <a:gd name="connsiteY4" fmla="*/ 2019300 h 2019300"/>
                <a:gd name="connsiteX5" fmla="*/ 0 w 693371"/>
                <a:gd name="connsiteY5" fmla="*/ 1143000 h 2019300"/>
                <a:gd name="connsiteX6" fmla="*/ 361950 w 693371"/>
                <a:gd name="connsiteY6" fmla="*/ 47625 h 2019300"/>
                <a:gd name="connsiteX7" fmla="*/ 495300 w 693371"/>
                <a:gd name="connsiteY7" fmla="*/ 0 h 2019300"/>
                <a:gd name="connsiteX0" fmla="*/ 495300 w 693371"/>
                <a:gd name="connsiteY0" fmla="*/ 0 h 2028825"/>
                <a:gd name="connsiteX1" fmla="*/ 666750 w 693371"/>
                <a:gd name="connsiteY1" fmla="*/ 1238251 h 2028825"/>
                <a:gd name="connsiteX2" fmla="*/ 414337 w 693371"/>
                <a:gd name="connsiteY2" fmla="*/ 1238250 h 2028825"/>
                <a:gd name="connsiteX3" fmla="*/ 300037 w 693371"/>
                <a:gd name="connsiteY3" fmla="*/ 1652588 h 2028825"/>
                <a:gd name="connsiteX4" fmla="*/ 414337 w 693371"/>
                <a:gd name="connsiteY4" fmla="*/ 2028825 h 2028825"/>
                <a:gd name="connsiteX5" fmla="*/ 0 w 693371"/>
                <a:gd name="connsiteY5" fmla="*/ 1143000 h 2028825"/>
                <a:gd name="connsiteX6" fmla="*/ 361950 w 693371"/>
                <a:gd name="connsiteY6" fmla="*/ 47625 h 2028825"/>
                <a:gd name="connsiteX7" fmla="*/ 495300 w 693371"/>
                <a:gd name="connsiteY7" fmla="*/ 0 h 2028825"/>
                <a:gd name="connsiteX0" fmla="*/ 495300 w 693371"/>
                <a:gd name="connsiteY0" fmla="*/ 0 h 2028937"/>
                <a:gd name="connsiteX1" fmla="*/ 666750 w 693371"/>
                <a:gd name="connsiteY1" fmla="*/ 1238251 h 2028937"/>
                <a:gd name="connsiteX2" fmla="*/ 414337 w 693371"/>
                <a:gd name="connsiteY2" fmla="*/ 1238250 h 2028937"/>
                <a:gd name="connsiteX3" fmla="*/ 300037 w 693371"/>
                <a:gd name="connsiteY3" fmla="*/ 1652588 h 2028937"/>
                <a:gd name="connsiteX4" fmla="*/ 414337 w 693371"/>
                <a:gd name="connsiteY4" fmla="*/ 2028825 h 2028937"/>
                <a:gd name="connsiteX5" fmla="*/ 0 w 693371"/>
                <a:gd name="connsiteY5" fmla="*/ 1143000 h 2028937"/>
                <a:gd name="connsiteX6" fmla="*/ 361950 w 693371"/>
                <a:gd name="connsiteY6" fmla="*/ 47625 h 2028937"/>
                <a:gd name="connsiteX7" fmla="*/ 495300 w 693371"/>
                <a:gd name="connsiteY7" fmla="*/ 0 h 2028937"/>
                <a:gd name="connsiteX0" fmla="*/ 495300 w 714754"/>
                <a:gd name="connsiteY0" fmla="*/ 0 h 2028937"/>
                <a:gd name="connsiteX1" fmla="*/ 666750 w 714754"/>
                <a:gd name="connsiteY1" fmla="*/ 1238251 h 2028937"/>
                <a:gd name="connsiteX2" fmla="*/ 414337 w 714754"/>
                <a:gd name="connsiteY2" fmla="*/ 1238250 h 2028937"/>
                <a:gd name="connsiteX3" fmla="*/ 300037 w 714754"/>
                <a:gd name="connsiteY3" fmla="*/ 1652588 h 2028937"/>
                <a:gd name="connsiteX4" fmla="*/ 414337 w 714754"/>
                <a:gd name="connsiteY4" fmla="*/ 2028825 h 2028937"/>
                <a:gd name="connsiteX5" fmla="*/ 0 w 714754"/>
                <a:gd name="connsiteY5" fmla="*/ 1143000 h 2028937"/>
                <a:gd name="connsiteX6" fmla="*/ 361950 w 714754"/>
                <a:gd name="connsiteY6" fmla="*/ 47625 h 2028937"/>
                <a:gd name="connsiteX7" fmla="*/ 495300 w 714754"/>
                <a:gd name="connsiteY7" fmla="*/ 0 h 2028937"/>
                <a:gd name="connsiteX0" fmla="*/ 480060 w 709891"/>
                <a:gd name="connsiteY0" fmla="*/ 0 h 2051797"/>
                <a:gd name="connsiteX1" fmla="*/ 666750 w 709891"/>
                <a:gd name="connsiteY1" fmla="*/ 1261111 h 2051797"/>
                <a:gd name="connsiteX2" fmla="*/ 414337 w 709891"/>
                <a:gd name="connsiteY2" fmla="*/ 1261110 h 2051797"/>
                <a:gd name="connsiteX3" fmla="*/ 300037 w 709891"/>
                <a:gd name="connsiteY3" fmla="*/ 1675448 h 2051797"/>
                <a:gd name="connsiteX4" fmla="*/ 414337 w 709891"/>
                <a:gd name="connsiteY4" fmla="*/ 2051685 h 2051797"/>
                <a:gd name="connsiteX5" fmla="*/ 0 w 709891"/>
                <a:gd name="connsiteY5" fmla="*/ 1165860 h 2051797"/>
                <a:gd name="connsiteX6" fmla="*/ 361950 w 709891"/>
                <a:gd name="connsiteY6" fmla="*/ 70485 h 2051797"/>
                <a:gd name="connsiteX7" fmla="*/ 480060 w 709891"/>
                <a:gd name="connsiteY7" fmla="*/ 0 h 2051797"/>
                <a:gd name="connsiteX0" fmla="*/ 480060 w 709891"/>
                <a:gd name="connsiteY0" fmla="*/ 0 h 2197941"/>
                <a:gd name="connsiteX1" fmla="*/ 666750 w 709891"/>
                <a:gd name="connsiteY1" fmla="*/ 1261111 h 2197941"/>
                <a:gd name="connsiteX2" fmla="*/ 414337 w 709891"/>
                <a:gd name="connsiteY2" fmla="*/ 1261110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414337 w 709891"/>
                <a:gd name="connsiteY2" fmla="*/ 1261110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414337 w 709891"/>
                <a:gd name="connsiteY2" fmla="*/ 1246685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47687 w 709891"/>
                <a:gd name="connsiteY2" fmla="*/ 1256302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429577 w 709891"/>
                <a:gd name="connsiteY3" fmla="*/ 2197851 h 2197941"/>
                <a:gd name="connsiteX4" fmla="*/ 0 w 709891"/>
                <a:gd name="connsiteY4" fmla="*/ 1165860 h 2197941"/>
                <a:gd name="connsiteX5" fmla="*/ 361950 w 709891"/>
                <a:gd name="connsiteY5" fmla="*/ 70485 h 2197941"/>
                <a:gd name="connsiteX6" fmla="*/ 480060 w 709891"/>
                <a:gd name="connsiteY6"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280988 w 709891"/>
                <a:gd name="connsiteY3" fmla="*/ 1806473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280988 w 709891"/>
                <a:gd name="connsiteY3" fmla="*/ 1806473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280988 w 709891"/>
                <a:gd name="connsiteY3" fmla="*/ 1806473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366713 w 709891"/>
                <a:gd name="connsiteY3" fmla="*/ 1878594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28971"/>
                <a:gd name="connsiteY0" fmla="*/ 0 h 2197941"/>
                <a:gd name="connsiteX1" fmla="*/ 692944 w 728971"/>
                <a:gd name="connsiteY1" fmla="*/ 1246686 h 2197941"/>
                <a:gd name="connsiteX2" fmla="*/ 550068 w 728971"/>
                <a:gd name="connsiteY2" fmla="*/ 1249089 h 2197941"/>
                <a:gd name="connsiteX3" fmla="*/ 366713 w 728971"/>
                <a:gd name="connsiteY3" fmla="*/ 1878594 h 2197941"/>
                <a:gd name="connsiteX4" fmla="*/ 429577 w 728971"/>
                <a:gd name="connsiteY4" fmla="*/ 2197851 h 2197941"/>
                <a:gd name="connsiteX5" fmla="*/ 0 w 728971"/>
                <a:gd name="connsiteY5" fmla="*/ 1165860 h 2197941"/>
                <a:gd name="connsiteX6" fmla="*/ 361950 w 728971"/>
                <a:gd name="connsiteY6" fmla="*/ 70485 h 2197941"/>
                <a:gd name="connsiteX7" fmla="*/ 480060 w 728971"/>
                <a:gd name="connsiteY7" fmla="*/ 0 h 2197941"/>
                <a:gd name="connsiteX0" fmla="*/ 480060 w 719458"/>
                <a:gd name="connsiteY0" fmla="*/ 0 h 2197941"/>
                <a:gd name="connsiteX1" fmla="*/ 692944 w 719458"/>
                <a:gd name="connsiteY1" fmla="*/ 1246686 h 2197941"/>
                <a:gd name="connsiteX2" fmla="*/ 550068 w 719458"/>
                <a:gd name="connsiteY2" fmla="*/ 1249089 h 2197941"/>
                <a:gd name="connsiteX3" fmla="*/ 366713 w 719458"/>
                <a:gd name="connsiteY3" fmla="*/ 1878594 h 2197941"/>
                <a:gd name="connsiteX4" fmla="*/ 429577 w 719458"/>
                <a:gd name="connsiteY4" fmla="*/ 2197851 h 2197941"/>
                <a:gd name="connsiteX5" fmla="*/ 0 w 719458"/>
                <a:gd name="connsiteY5" fmla="*/ 1165860 h 2197941"/>
                <a:gd name="connsiteX6" fmla="*/ 361950 w 719458"/>
                <a:gd name="connsiteY6" fmla="*/ 70485 h 2197941"/>
                <a:gd name="connsiteX7" fmla="*/ 480060 w 719458"/>
                <a:gd name="connsiteY7" fmla="*/ 0 h 2197941"/>
                <a:gd name="connsiteX0" fmla="*/ 480060 w 715868"/>
                <a:gd name="connsiteY0" fmla="*/ 0 h 2197941"/>
                <a:gd name="connsiteX1" fmla="*/ 688182 w 715868"/>
                <a:gd name="connsiteY1" fmla="*/ 1246686 h 2197941"/>
                <a:gd name="connsiteX2" fmla="*/ 550068 w 715868"/>
                <a:gd name="connsiteY2" fmla="*/ 1249089 h 2197941"/>
                <a:gd name="connsiteX3" fmla="*/ 366713 w 715868"/>
                <a:gd name="connsiteY3" fmla="*/ 1878594 h 2197941"/>
                <a:gd name="connsiteX4" fmla="*/ 429577 w 715868"/>
                <a:gd name="connsiteY4" fmla="*/ 2197851 h 2197941"/>
                <a:gd name="connsiteX5" fmla="*/ 0 w 715868"/>
                <a:gd name="connsiteY5" fmla="*/ 1165860 h 2197941"/>
                <a:gd name="connsiteX6" fmla="*/ 361950 w 715868"/>
                <a:gd name="connsiteY6" fmla="*/ 70485 h 2197941"/>
                <a:gd name="connsiteX7" fmla="*/ 480060 w 715868"/>
                <a:gd name="connsiteY7" fmla="*/ 0 h 2197941"/>
                <a:gd name="connsiteX0" fmla="*/ 480060 w 715868"/>
                <a:gd name="connsiteY0" fmla="*/ 0 h 2368611"/>
                <a:gd name="connsiteX1" fmla="*/ 688182 w 715868"/>
                <a:gd name="connsiteY1" fmla="*/ 1246686 h 2368611"/>
                <a:gd name="connsiteX2" fmla="*/ 550068 w 715868"/>
                <a:gd name="connsiteY2" fmla="*/ 1249089 h 2368611"/>
                <a:gd name="connsiteX3" fmla="*/ 366713 w 715868"/>
                <a:gd name="connsiteY3" fmla="*/ 1878594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68611"/>
                <a:gd name="connsiteX1" fmla="*/ 688182 w 715868"/>
                <a:gd name="connsiteY1" fmla="*/ 1246686 h 2368611"/>
                <a:gd name="connsiteX2" fmla="*/ 550068 w 715868"/>
                <a:gd name="connsiteY2" fmla="*/ 1249089 h 2368611"/>
                <a:gd name="connsiteX3" fmla="*/ 433388 w 715868"/>
                <a:gd name="connsiteY3" fmla="*/ 1905039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68611"/>
                <a:gd name="connsiteX1" fmla="*/ 688182 w 715868"/>
                <a:gd name="connsiteY1" fmla="*/ 1246686 h 2368611"/>
                <a:gd name="connsiteX2" fmla="*/ 626268 w 715868"/>
                <a:gd name="connsiteY2" fmla="*/ 1256301 h 2368611"/>
                <a:gd name="connsiteX3" fmla="*/ 433388 w 715868"/>
                <a:gd name="connsiteY3" fmla="*/ 1905039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68611"/>
                <a:gd name="connsiteX1" fmla="*/ 688182 w 715868"/>
                <a:gd name="connsiteY1" fmla="*/ 1246686 h 2368611"/>
                <a:gd name="connsiteX2" fmla="*/ 626268 w 715868"/>
                <a:gd name="connsiteY2" fmla="*/ 1256301 h 2368611"/>
                <a:gd name="connsiteX3" fmla="*/ 369888 w 715868"/>
                <a:gd name="connsiteY3" fmla="*/ 2074925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04510"/>
                <a:gd name="connsiteX1" fmla="*/ 688182 w 715868"/>
                <a:gd name="connsiteY1" fmla="*/ 1246686 h 2304510"/>
                <a:gd name="connsiteX2" fmla="*/ 626268 w 715868"/>
                <a:gd name="connsiteY2" fmla="*/ 1256301 h 2304510"/>
                <a:gd name="connsiteX3" fmla="*/ 369888 w 715868"/>
                <a:gd name="connsiteY3" fmla="*/ 2074925 h 2304510"/>
                <a:gd name="connsiteX4" fmla="*/ 454183 w 715868"/>
                <a:gd name="connsiteY4" fmla="*/ 2304431 h 2304510"/>
                <a:gd name="connsiteX5" fmla="*/ 0 w 715868"/>
                <a:gd name="connsiteY5" fmla="*/ 1165860 h 2304510"/>
                <a:gd name="connsiteX6" fmla="*/ 361950 w 715868"/>
                <a:gd name="connsiteY6" fmla="*/ 70485 h 2304510"/>
                <a:gd name="connsiteX7" fmla="*/ 480060 w 715868"/>
                <a:gd name="connsiteY7" fmla="*/ 0 h 2304510"/>
                <a:gd name="connsiteX0" fmla="*/ 480060 w 715868"/>
                <a:gd name="connsiteY0" fmla="*/ 0 h 2304510"/>
                <a:gd name="connsiteX1" fmla="*/ 688182 w 715868"/>
                <a:gd name="connsiteY1" fmla="*/ 1246686 h 2304510"/>
                <a:gd name="connsiteX2" fmla="*/ 626268 w 715868"/>
                <a:gd name="connsiteY2" fmla="*/ 1256301 h 2304510"/>
                <a:gd name="connsiteX3" fmla="*/ 369888 w 715868"/>
                <a:gd name="connsiteY3" fmla="*/ 2074925 h 2304510"/>
                <a:gd name="connsiteX4" fmla="*/ 454183 w 715868"/>
                <a:gd name="connsiteY4" fmla="*/ 2304431 h 2304510"/>
                <a:gd name="connsiteX5" fmla="*/ 0 w 715868"/>
                <a:gd name="connsiteY5" fmla="*/ 1165860 h 2304510"/>
                <a:gd name="connsiteX6" fmla="*/ 361950 w 715868"/>
                <a:gd name="connsiteY6" fmla="*/ 70485 h 2304510"/>
                <a:gd name="connsiteX7" fmla="*/ 480060 w 715868"/>
                <a:gd name="connsiteY7" fmla="*/ 0 h 2304510"/>
                <a:gd name="connsiteX0" fmla="*/ 480060 w 702325"/>
                <a:gd name="connsiteY0" fmla="*/ 0 h 2304510"/>
                <a:gd name="connsiteX1" fmla="*/ 688182 w 702325"/>
                <a:gd name="connsiteY1" fmla="*/ 1246686 h 2304510"/>
                <a:gd name="connsiteX2" fmla="*/ 626268 w 702325"/>
                <a:gd name="connsiteY2" fmla="*/ 1256301 h 2304510"/>
                <a:gd name="connsiteX3" fmla="*/ 369888 w 702325"/>
                <a:gd name="connsiteY3" fmla="*/ 2074925 h 2304510"/>
                <a:gd name="connsiteX4" fmla="*/ 454183 w 702325"/>
                <a:gd name="connsiteY4" fmla="*/ 2304431 h 2304510"/>
                <a:gd name="connsiteX5" fmla="*/ 0 w 702325"/>
                <a:gd name="connsiteY5" fmla="*/ 1165860 h 2304510"/>
                <a:gd name="connsiteX6" fmla="*/ 361950 w 702325"/>
                <a:gd name="connsiteY6" fmla="*/ 70485 h 2304510"/>
                <a:gd name="connsiteX7" fmla="*/ 480060 w 702325"/>
                <a:gd name="connsiteY7" fmla="*/ 0 h 2304510"/>
                <a:gd name="connsiteX0" fmla="*/ 480060 w 714166"/>
                <a:gd name="connsiteY0" fmla="*/ 0 h 2304510"/>
                <a:gd name="connsiteX1" fmla="*/ 703422 w 714166"/>
                <a:gd name="connsiteY1" fmla="*/ 1238993 h 2304510"/>
                <a:gd name="connsiteX2" fmla="*/ 626268 w 714166"/>
                <a:gd name="connsiteY2" fmla="*/ 1256301 h 2304510"/>
                <a:gd name="connsiteX3" fmla="*/ 369888 w 714166"/>
                <a:gd name="connsiteY3" fmla="*/ 2074925 h 2304510"/>
                <a:gd name="connsiteX4" fmla="*/ 454183 w 714166"/>
                <a:gd name="connsiteY4" fmla="*/ 2304431 h 2304510"/>
                <a:gd name="connsiteX5" fmla="*/ 0 w 714166"/>
                <a:gd name="connsiteY5" fmla="*/ 1165860 h 2304510"/>
                <a:gd name="connsiteX6" fmla="*/ 361950 w 714166"/>
                <a:gd name="connsiteY6" fmla="*/ 70485 h 2304510"/>
                <a:gd name="connsiteX7" fmla="*/ 480060 w 714166"/>
                <a:gd name="connsiteY7" fmla="*/ 0 h 2304510"/>
                <a:gd name="connsiteX0" fmla="*/ 480060 w 704269"/>
                <a:gd name="connsiteY0" fmla="*/ 0 h 2304510"/>
                <a:gd name="connsiteX1" fmla="*/ 703422 w 704269"/>
                <a:gd name="connsiteY1" fmla="*/ 1238993 h 2304510"/>
                <a:gd name="connsiteX2" fmla="*/ 626268 w 704269"/>
                <a:gd name="connsiteY2" fmla="*/ 1256301 h 2304510"/>
                <a:gd name="connsiteX3" fmla="*/ 369888 w 704269"/>
                <a:gd name="connsiteY3" fmla="*/ 2074925 h 2304510"/>
                <a:gd name="connsiteX4" fmla="*/ 454183 w 704269"/>
                <a:gd name="connsiteY4" fmla="*/ 2304431 h 2304510"/>
                <a:gd name="connsiteX5" fmla="*/ 0 w 704269"/>
                <a:gd name="connsiteY5" fmla="*/ 1165860 h 2304510"/>
                <a:gd name="connsiteX6" fmla="*/ 361950 w 704269"/>
                <a:gd name="connsiteY6" fmla="*/ 70485 h 2304510"/>
                <a:gd name="connsiteX7" fmla="*/ 480060 w 704269"/>
                <a:gd name="connsiteY7" fmla="*/ 0 h 2304510"/>
                <a:gd name="connsiteX0" fmla="*/ 502285 w 709242"/>
                <a:gd name="connsiteY0" fmla="*/ 0 h 2307715"/>
                <a:gd name="connsiteX1" fmla="*/ 703422 w 709242"/>
                <a:gd name="connsiteY1" fmla="*/ 1242198 h 2307715"/>
                <a:gd name="connsiteX2" fmla="*/ 626268 w 709242"/>
                <a:gd name="connsiteY2" fmla="*/ 1259506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58225 h 2307715"/>
                <a:gd name="connsiteX2" fmla="*/ 626268 w 709242"/>
                <a:gd name="connsiteY2" fmla="*/ 1259506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58225 h 2307715"/>
                <a:gd name="connsiteX2" fmla="*/ 629443 w 709242"/>
                <a:gd name="connsiteY2" fmla="*/ 1253095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45404 h 2307715"/>
                <a:gd name="connsiteX2" fmla="*/ 629443 w 709242"/>
                <a:gd name="connsiteY2" fmla="*/ 1253095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51815 h 2307715"/>
                <a:gd name="connsiteX2" fmla="*/ 629443 w 709242"/>
                <a:gd name="connsiteY2" fmla="*/ 1253095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16328"/>
                <a:gd name="connsiteY0" fmla="*/ 0 h 2307715"/>
                <a:gd name="connsiteX1" fmla="*/ 712947 w 716328"/>
                <a:gd name="connsiteY1" fmla="*/ 1255020 h 2307715"/>
                <a:gd name="connsiteX2" fmla="*/ 629443 w 716328"/>
                <a:gd name="connsiteY2" fmla="*/ 1253095 h 2307715"/>
                <a:gd name="connsiteX3" fmla="*/ 369888 w 716328"/>
                <a:gd name="connsiteY3" fmla="*/ 2078130 h 2307715"/>
                <a:gd name="connsiteX4" fmla="*/ 454183 w 716328"/>
                <a:gd name="connsiteY4" fmla="*/ 2307636 h 2307715"/>
                <a:gd name="connsiteX5" fmla="*/ 0 w 716328"/>
                <a:gd name="connsiteY5" fmla="*/ 1169065 h 2307715"/>
                <a:gd name="connsiteX6" fmla="*/ 361950 w 716328"/>
                <a:gd name="connsiteY6" fmla="*/ 73690 h 2307715"/>
                <a:gd name="connsiteX7" fmla="*/ 502285 w 716328"/>
                <a:gd name="connsiteY7" fmla="*/ 0 h 2307715"/>
                <a:gd name="connsiteX0" fmla="*/ 502285 w 713542"/>
                <a:gd name="connsiteY0" fmla="*/ 0 h 2307715"/>
                <a:gd name="connsiteX1" fmla="*/ 712947 w 713542"/>
                <a:gd name="connsiteY1" fmla="*/ 1255020 h 2307715"/>
                <a:gd name="connsiteX2" fmla="*/ 629443 w 713542"/>
                <a:gd name="connsiteY2" fmla="*/ 1253095 h 2307715"/>
                <a:gd name="connsiteX3" fmla="*/ 369888 w 713542"/>
                <a:gd name="connsiteY3" fmla="*/ 2078130 h 2307715"/>
                <a:gd name="connsiteX4" fmla="*/ 454183 w 713542"/>
                <a:gd name="connsiteY4" fmla="*/ 2307636 h 2307715"/>
                <a:gd name="connsiteX5" fmla="*/ 0 w 713542"/>
                <a:gd name="connsiteY5" fmla="*/ 1169065 h 2307715"/>
                <a:gd name="connsiteX6" fmla="*/ 361950 w 713542"/>
                <a:gd name="connsiteY6" fmla="*/ 73690 h 2307715"/>
                <a:gd name="connsiteX7" fmla="*/ 502285 w 713542"/>
                <a:gd name="connsiteY7" fmla="*/ 0 h 2307715"/>
                <a:gd name="connsiteX0" fmla="*/ 502285 w 713103"/>
                <a:gd name="connsiteY0" fmla="*/ 0 h 2307715"/>
                <a:gd name="connsiteX1" fmla="*/ 712947 w 713103"/>
                <a:gd name="connsiteY1" fmla="*/ 1255020 h 2307715"/>
                <a:gd name="connsiteX2" fmla="*/ 629443 w 713103"/>
                <a:gd name="connsiteY2" fmla="*/ 1253095 h 2307715"/>
                <a:gd name="connsiteX3" fmla="*/ 369888 w 713103"/>
                <a:gd name="connsiteY3" fmla="*/ 2078130 h 2307715"/>
                <a:gd name="connsiteX4" fmla="*/ 454183 w 713103"/>
                <a:gd name="connsiteY4" fmla="*/ 2307636 h 2307715"/>
                <a:gd name="connsiteX5" fmla="*/ 0 w 713103"/>
                <a:gd name="connsiteY5" fmla="*/ 1169065 h 2307715"/>
                <a:gd name="connsiteX6" fmla="*/ 361950 w 713103"/>
                <a:gd name="connsiteY6" fmla="*/ 73690 h 2307715"/>
                <a:gd name="connsiteX7" fmla="*/ 502285 w 713103"/>
                <a:gd name="connsiteY7" fmla="*/ 0 h 230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3103" h="2307715">
                  <a:moveTo>
                    <a:pt x="502285" y="0"/>
                  </a:moveTo>
                  <a:cubicBezTo>
                    <a:pt x="756920" y="73417"/>
                    <a:pt x="706439" y="673630"/>
                    <a:pt x="712947" y="1255020"/>
                  </a:cubicBezTo>
                  <a:lnTo>
                    <a:pt x="629443" y="1253095"/>
                  </a:lnTo>
                  <a:lnTo>
                    <a:pt x="369888" y="2078130"/>
                  </a:lnTo>
                  <a:lnTo>
                    <a:pt x="454183" y="2307636"/>
                  </a:lnTo>
                  <a:cubicBezTo>
                    <a:pt x="130334" y="2317161"/>
                    <a:pt x="138112" y="1464340"/>
                    <a:pt x="0" y="1169065"/>
                  </a:cubicBezTo>
                  <a:lnTo>
                    <a:pt x="361950" y="73690"/>
                  </a:lnTo>
                  <a:lnTo>
                    <a:pt x="502285" y="0"/>
                  </a:lnTo>
                  <a:close/>
                </a:path>
              </a:pathLst>
            </a:cu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0" name="Freeform: Shape 2017">
              <a:extLst>
                <a:ext uri="{FF2B5EF4-FFF2-40B4-BE49-F238E27FC236}">
                  <a16:creationId xmlns:a16="http://schemas.microsoft.com/office/drawing/2014/main" id="{E3BC3CAF-114C-4AF4-A1F7-506411725A75}"/>
                </a:ext>
              </a:extLst>
            </p:cNvPr>
            <p:cNvSpPr/>
            <p:nvPr/>
          </p:nvSpPr>
          <p:spPr bwMode="auto">
            <a:xfrm>
              <a:off x="12950646" y="157624"/>
              <a:ext cx="382456" cy="2242375"/>
            </a:xfrm>
            <a:custGeom>
              <a:avLst/>
              <a:gdLst>
                <a:gd name="connsiteX0" fmla="*/ 278606 w 278606"/>
                <a:gd name="connsiteY0" fmla="*/ 540544 h 973931"/>
                <a:gd name="connsiteX1" fmla="*/ 278606 w 278606"/>
                <a:gd name="connsiteY1" fmla="*/ 0 h 973931"/>
                <a:gd name="connsiteX2" fmla="*/ 0 w 278606"/>
                <a:gd name="connsiteY2" fmla="*/ 278606 h 973931"/>
                <a:gd name="connsiteX3" fmla="*/ 0 w 278606"/>
                <a:gd name="connsiteY3" fmla="*/ 973931 h 973931"/>
                <a:gd name="connsiteX4" fmla="*/ 278606 w 278606"/>
                <a:gd name="connsiteY4" fmla="*/ 540544 h 973931"/>
                <a:gd name="connsiteX0" fmla="*/ 278606 w 278606"/>
                <a:gd name="connsiteY0" fmla="*/ 540544 h 957262"/>
                <a:gd name="connsiteX1" fmla="*/ 278606 w 278606"/>
                <a:gd name="connsiteY1" fmla="*/ 0 h 957262"/>
                <a:gd name="connsiteX2" fmla="*/ 0 w 278606"/>
                <a:gd name="connsiteY2" fmla="*/ 278606 h 957262"/>
                <a:gd name="connsiteX3" fmla="*/ 21431 w 278606"/>
                <a:gd name="connsiteY3" fmla="*/ 957262 h 957262"/>
                <a:gd name="connsiteX4" fmla="*/ 278606 w 278606"/>
                <a:gd name="connsiteY4" fmla="*/ 540544 h 957262"/>
                <a:gd name="connsiteX0" fmla="*/ 278606 w 278606"/>
                <a:gd name="connsiteY0" fmla="*/ 540544 h 1085849"/>
                <a:gd name="connsiteX1" fmla="*/ 278606 w 278606"/>
                <a:gd name="connsiteY1" fmla="*/ 0 h 1085849"/>
                <a:gd name="connsiteX2" fmla="*/ 0 w 278606"/>
                <a:gd name="connsiteY2" fmla="*/ 278606 h 1085849"/>
                <a:gd name="connsiteX3" fmla="*/ 11906 w 278606"/>
                <a:gd name="connsiteY3" fmla="*/ 1085849 h 1085849"/>
                <a:gd name="connsiteX4" fmla="*/ 278606 w 278606"/>
                <a:gd name="connsiteY4" fmla="*/ 540544 h 1085849"/>
                <a:gd name="connsiteX0" fmla="*/ 297656 w 319704"/>
                <a:gd name="connsiteY0" fmla="*/ 545330 h 1090635"/>
                <a:gd name="connsiteX1" fmla="*/ 297656 w 319704"/>
                <a:gd name="connsiteY1" fmla="*/ 4786 h 1090635"/>
                <a:gd name="connsiteX2" fmla="*/ 0 w 319704"/>
                <a:gd name="connsiteY2" fmla="*/ 297679 h 1090635"/>
                <a:gd name="connsiteX3" fmla="*/ 30956 w 319704"/>
                <a:gd name="connsiteY3" fmla="*/ 1090635 h 1090635"/>
                <a:gd name="connsiteX4" fmla="*/ 297656 w 319704"/>
                <a:gd name="connsiteY4" fmla="*/ 545330 h 1090635"/>
                <a:gd name="connsiteX0" fmla="*/ 297656 w 297656"/>
                <a:gd name="connsiteY0" fmla="*/ 545330 h 1090635"/>
                <a:gd name="connsiteX1" fmla="*/ 297656 w 297656"/>
                <a:gd name="connsiteY1" fmla="*/ 4786 h 1090635"/>
                <a:gd name="connsiteX2" fmla="*/ 0 w 297656"/>
                <a:gd name="connsiteY2" fmla="*/ 297679 h 1090635"/>
                <a:gd name="connsiteX3" fmla="*/ 30956 w 297656"/>
                <a:gd name="connsiteY3" fmla="*/ 1090635 h 1090635"/>
                <a:gd name="connsiteX4" fmla="*/ 297656 w 297656"/>
                <a:gd name="connsiteY4" fmla="*/ 545330 h 1090635"/>
                <a:gd name="connsiteX0" fmla="*/ 297656 w 297656"/>
                <a:gd name="connsiteY0" fmla="*/ 540544 h 1085849"/>
                <a:gd name="connsiteX1" fmla="*/ 297656 w 297656"/>
                <a:gd name="connsiteY1" fmla="*/ 0 h 1085849"/>
                <a:gd name="connsiteX2" fmla="*/ 0 w 297656"/>
                <a:gd name="connsiteY2" fmla="*/ 292893 h 1085849"/>
                <a:gd name="connsiteX3" fmla="*/ 30956 w 297656"/>
                <a:gd name="connsiteY3" fmla="*/ 1085849 h 1085849"/>
                <a:gd name="connsiteX4" fmla="*/ 297656 w 297656"/>
                <a:gd name="connsiteY4" fmla="*/ 540544 h 1085849"/>
                <a:gd name="connsiteX0" fmla="*/ 297656 w 297656"/>
                <a:gd name="connsiteY0" fmla="*/ 540544 h 1081087"/>
                <a:gd name="connsiteX1" fmla="*/ 297656 w 297656"/>
                <a:gd name="connsiteY1" fmla="*/ 0 h 1081087"/>
                <a:gd name="connsiteX2" fmla="*/ 0 w 297656"/>
                <a:gd name="connsiteY2" fmla="*/ 292893 h 1081087"/>
                <a:gd name="connsiteX3" fmla="*/ 16668 w 297656"/>
                <a:gd name="connsiteY3" fmla="*/ 1081087 h 1081087"/>
                <a:gd name="connsiteX4" fmla="*/ 297656 w 297656"/>
                <a:gd name="connsiteY4" fmla="*/ 540544 h 1081087"/>
                <a:gd name="connsiteX0" fmla="*/ 297656 w 297656"/>
                <a:gd name="connsiteY0" fmla="*/ 540544 h 1162050"/>
                <a:gd name="connsiteX1" fmla="*/ 297656 w 297656"/>
                <a:gd name="connsiteY1" fmla="*/ 0 h 1162050"/>
                <a:gd name="connsiteX2" fmla="*/ 0 w 297656"/>
                <a:gd name="connsiteY2" fmla="*/ 292893 h 1162050"/>
                <a:gd name="connsiteX3" fmla="*/ 107156 w 297656"/>
                <a:gd name="connsiteY3" fmla="*/ 1162050 h 1162050"/>
                <a:gd name="connsiteX4" fmla="*/ 297656 w 297656"/>
                <a:gd name="connsiteY4" fmla="*/ 540544 h 1162050"/>
                <a:gd name="connsiteX0" fmla="*/ 240506 w 240506"/>
                <a:gd name="connsiteY0" fmla="*/ 540544 h 1162050"/>
                <a:gd name="connsiteX1" fmla="*/ 240506 w 240506"/>
                <a:gd name="connsiteY1" fmla="*/ 0 h 1162050"/>
                <a:gd name="connsiteX2" fmla="*/ 0 w 240506"/>
                <a:gd name="connsiteY2" fmla="*/ 242887 h 1162050"/>
                <a:gd name="connsiteX3" fmla="*/ 50006 w 240506"/>
                <a:gd name="connsiteY3" fmla="*/ 1162050 h 1162050"/>
                <a:gd name="connsiteX4" fmla="*/ 240506 w 240506"/>
                <a:gd name="connsiteY4" fmla="*/ 540544 h 1162050"/>
                <a:gd name="connsiteX0" fmla="*/ 195262 w 195262"/>
                <a:gd name="connsiteY0" fmla="*/ 540544 h 1162050"/>
                <a:gd name="connsiteX1" fmla="*/ 195262 w 195262"/>
                <a:gd name="connsiteY1" fmla="*/ 0 h 1162050"/>
                <a:gd name="connsiteX2" fmla="*/ 0 w 195262"/>
                <a:gd name="connsiteY2" fmla="*/ 197643 h 1162050"/>
                <a:gd name="connsiteX3" fmla="*/ 4762 w 195262"/>
                <a:gd name="connsiteY3" fmla="*/ 1162050 h 1162050"/>
                <a:gd name="connsiteX4" fmla="*/ 195262 w 195262"/>
                <a:gd name="connsiteY4" fmla="*/ 540544 h 1162050"/>
                <a:gd name="connsiteX0" fmla="*/ 209549 w 209549"/>
                <a:gd name="connsiteY0" fmla="*/ 540544 h 1162050"/>
                <a:gd name="connsiteX1" fmla="*/ 209549 w 209549"/>
                <a:gd name="connsiteY1" fmla="*/ 0 h 1162050"/>
                <a:gd name="connsiteX2" fmla="*/ 0 w 209549"/>
                <a:gd name="connsiteY2" fmla="*/ 197643 h 1162050"/>
                <a:gd name="connsiteX3" fmla="*/ 19049 w 209549"/>
                <a:gd name="connsiteY3" fmla="*/ 1162050 h 1162050"/>
                <a:gd name="connsiteX4" fmla="*/ 209549 w 209549"/>
                <a:gd name="connsiteY4" fmla="*/ 540544 h 1162050"/>
                <a:gd name="connsiteX0" fmla="*/ 209549 w 209549"/>
                <a:gd name="connsiteY0" fmla="*/ 540544 h 1419225"/>
                <a:gd name="connsiteX1" fmla="*/ 209549 w 209549"/>
                <a:gd name="connsiteY1" fmla="*/ 0 h 1419225"/>
                <a:gd name="connsiteX2" fmla="*/ 0 w 209549"/>
                <a:gd name="connsiteY2" fmla="*/ 197643 h 1419225"/>
                <a:gd name="connsiteX3" fmla="*/ 14287 w 209549"/>
                <a:gd name="connsiteY3" fmla="*/ 1419225 h 1419225"/>
                <a:gd name="connsiteX4" fmla="*/ 209549 w 209549"/>
                <a:gd name="connsiteY4" fmla="*/ 540544 h 1419225"/>
                <a:gd name="connsiteX0" fmla="*/ 252412 w 252412"/>
                <a:gd name="connsiteY0" fmla="*/ 540544 h 1419225"/>
                <a:gd name="connsiteX1" fmla="*/ 252412 w 252412"/>
                <a:gd name="connsiteY1" fmla="*/ 0 h 1419225"/>
                <a:gd name="connsiteX2" fmla="*/ 0 w 252412"/>
                <a:gd name="connsiteY2" fmla="*/ 683418 h 1419225"/>
                <a:gd name="connsiteX3" fmla="*/ 57150 w 252412"/>
                <a:gd name="connsiteY3" fmla="*/ 1419225 h 1419225"/>
                <a:gd name="connsiteX4" fmla="*/ 252412 w 252412"/>
                <a:gd name="connsiteY4" fmla="*/ 540544 h 1419225"/>
                <a:gd name="connsiteX0" fmla="*/ 252412 w 252412"/>
                <a:gd name="connsiteY0" fmla="*/ 540544 h 1419225"/>
                <a:gd name="connsiteX1" fmla="*/ 252412 w 252412"/>
                <a:gd name="connsiteY1" fmla="*/ 0 h 1419225"/>
                <a:gd name="connsiteX2" fmla="*/ 0 w 252412"/>
                <a:gd name="connsiteY2" fmla="*/ 683418 h 1419225"/>
                <a:gd name="connsiteX3" fmla="*/ 57150 w 252412"/>
                <a:gd name="connsiteY3" fmla="*/ 1419225 h 1419225"/>
                <a:gd name="connsiteX4" fmla="*/ 252412 w 252412"/>
                <a:gd name="connsiteY4" fmla="*/ 540544 h 1419225"/>
                <a:gd name="connsiteX0" fmla="*/ 252412 w 252412"/>
                <a:gd name="connsiteY0" fmla="*/ 540544 h 1419225"/>
                <a:gd name="connsiteX1" fmla="*/ 252412 w 252412"/>
                <a:gd name="connsiteY1" fmla="*/ 0 h 1419225"/>
                <a:gd name="connsiteX2" fmla="*/ 0 w 252412"/>
                <a:gd name="connsiteY2" fmla="*/ 683418 h 1419225"/>
                <a:gd name="connsiteX3" fmla="*/ 57150 w 252412"/>
                <a:gd name="connsiteY3" fmla="*/ 1419225 h 1419225"/>
                <a:gd name="connsiteX4" fmla="*/ 252412 w 252412"/>
                <a:gd name="connsiteY4" fmla="*/ 540544 h 1419225"/>
                <a:gd name="connsiteX0" fmla="*/ 295275 w 295275"/>
                <a:gd name="connsiteY0" fmla="*/ 540544 h 1419225"/>
                <a:gd name="connsiteX1" fmla="*/ 295275 w 295275"/>
                <a:gd name="connsiteY1" fmla="*/ 0 h 1419225"/>
                <a:gd name="connsiteX2" fmla="*/ 0 w 295275"/>
                <a:gd name="connsiteY2" fmla="*/ 431005 h 1419225"/>
                <a:gd name="connsiteX3" fmla="*/ 100013 w 295275"/>
                <a:gd name="connsiteY3" fmla="*/ 1419225 h 1419225"/>
                <a:gd name="connsiteX4" fmla="*/ 295275 w 295275"/>
                <a:gd name="connsiteY4" fmla="*/ 540544 h 1419225"/>
                <a:gd name="connsiteX0" fmla="*/ 295275 w 295275"/>
                <a:gd name="connsiteY0" fmla="*/ 754856 h 1633537"/>
                <a:gd name="connsiteX1" fmla="*/ 290512 w 295275"/>
                <a:gd name="connsiteY1" fmla="*/ 0 h 1633537"/>
                <a:gd name="connsiteX2" fmla="*/ 0 w 295275"/>
                <a:gd name="connsiteY2" fmla="*/ 645317 h 1633537"/>
                <a:gd name="connsiteX3" fmla="*/ 100013 w 295275"/>
                <a:gd name="connsiteY3" fmla="*/ 1633537 h 1633537"/>
                <a:gd name="connsiteX4" fmla="*/ 295275 w 295275"/>
                <a:gd name="connsiteY4" fmla="*/ 754856 h 1633537"/>
                <a:gd name="connsiteX0" fmla="*/ 242887 w 242887"/>
                <a:gd name="connsiteY0" fmla="*/ 754856 h 1633537"/>
                <a:gd name="connsiteX1" fmla="*/ 238124 w 242887"/>
                <a:gd name="connsiteY1" fmla="*/ 0 h 1633537"/>
                <a:gd name="connsiteX2" fmla="*/ 0 w 242887"/>
                <a:gd name="connsiteY2" fmla="*/ 631030 h 1633537"/>
                <a:gd name="connsiteX3" fmla="*/ 47625 w 242887"/>
                <a:gd name="connsiteY3" fmla="*/ 1633537 h 1633537"/>
                <a:gd name="connsiteX4" fmla="*/ 242887 w 242887"/>
                <a:gd name="connsiteY4" fmla="*/ 754856 h 1633537"/>
                <a:gd name="connsiteX0" fmla="*/ 266700 w 266700"/>
                <a:gd name="connsiteY0" fmla="*/ 754856 h 1633537"/>
                <a:gd name="connsiteX1" fmla="*/ 261937 w 266700"/>
                <a:gd name="connsiteY1" fmla="*/ 0 h 1633537"/>
                <a:gd name="connsiteX2" fmla="*/ 0 w 266700"/>
                <a:gd name="connsiteY2" fmla="*/ 635793 h 1633537"/>
                <a:gd name="connsiteX3" fmla="*/ 71438 w 266700"/>
                <a:gd name="connsiteY3" fmla="*/ 1633537 h 1633537"/>
                <a:gd name="connsiteX4" fmla="*/ 266700 w 266700"/>
                <a:gd name="connsiteY4" fmla="*/ 754856 h 1633537"/>
                <a:gd name="connsiteX0" fmla="*/ 266700 w 266700"/>
                <a:gd name="connsiteY0" fmla="*/ 745331 h 1624012"/>
                <a:gd name="connsiteX1" fmla="*/ 238125 w 266700"/>
                <a:gd name="connsiteY1" fmla="*/ 0 h 1624012"/>
                <a:gd name="connsiteX2" fmla="*/ 0 w 266700"/>
                <a:gd name="connsiteY2" fmla="*/ 626268 h 1624012"/>
                <a:gd name="connsiteX3" fmla="*/ 71438 w 266700"/>
                <a:gd name="connsiteY3" fmla="*/ 1624012 h 1624012"/>
                <a:gd name="connsiteX4" fmla="*/ 266700 w 266700"/>
                <a:gd name="connsiteY4" fmla="*/ 745331 h 1624012"/>
                <a:gd name="connsiteX0" fmla="*/ 266700 w 266700"/>
                <a:gd name="connsiteY0" fmla="*/ 735806 h 1614487"/>
                <a:gd name="connsiteX1" fmla="*/ 242887 w 266700"/>
                <a:gd name="connsiteY1" fmla="*/ 0 h 1614487"/>
                <a:gd name="connsiteX2" fmla="*/ 0 w 266700"/>
                <a:gd name="connsiteY2" fmla="*/ 616743 h 1614487"/>
                <a:gd name="connsiteX3" fmla="*/ 71438 w 266700"/>
                <a:gd name="connsiteY3" fmla="*/ 1614487 h 1614487"/>
                <a:gd name="connsiteX4" fmla="*/ 266700 w 266700"/>
                <a:gd name="connsiteY4" fmla="*/ 735806 h 1614487"/>
                <a:gd name="connsiteX0" fmla="*/ 266700 w 266700"/>
                <a:gd name="connsiteY0" fmla="*/ 726281 h 1604962"/>
                <a:gd name="connsiteX1" fmla="*/ 257175 w 266700"/>
                <a:gd name="connsiteY1" fmla="*/ 0 h 1604962"/>
                <a:gd name="connsiteX2" fmla="*/ 0 w 266700"/>
                <a:gd name="connsiteY2" fmla="*/ 607218 h 1604962"/>
                <a:gd name="connsiteX3" fmla="*/ 71438 w 266700"/>
                <a:gd name="connsiteY3" fmla="*/ 1604962 h 1604962"/>
                <a:gd name="connsiteX4" fmla="*/ 266700 w 266700"/>
                <a:gd name="connsiteY4" fmla="*/ 726281 h 1604962"/>
                <a:gd name="connsiteX0" fmla="*/ 266700 w 266700"/>
                <a:gd name="connsiteY0" fmla="*/ 726281 h 1573212"/>
                <a:gd name="connsiteX1" fmla="*/ 257175 w 266700"/>
                <a:gd name="connsiteY1" fmla="*/ 0 h 1573212"/>
                <a:gd name="connsiteX2" fmla="*/ 0 w 266700"/>
                <a:gd name="connsiteY2" fmla="*/ 607218 h 1573212"/>
                <a:gd name="connsiteX3" fmla="*/ 61913 w 266700"/>
                <a:gd name="connsiteY3" fmla="*/ 1573212 h 1573212"/>
                <a:gd name="connsiteX4" fmla="*/ 266700 w 266700"/>
                <a:gd name="connsiteY4" fmla="*/ 726281 h 1573212"/>
                <a:gd name="connsiteX0" fmla="*/ 266700 w 266700"/>
                <a:gd name="connsiteY0" fmla="*/ 726281 h 1554162"/>
                <a:gd name="connsiteX1" fmla="*/ 257175 w 266700"/>
                <a:gd name="connsiteY1" fmla="*/ 0 h 1554162"/>
                <a:gd name="connsiteX2" fmla="*/ 0 w 266700"/>
                <a:gd name="connsiteY2" fmla="*/ 607218 h 1554162"/>
                <a:gd name="connsiteX3" fmla="*/ 49213 w 266700"/>
                <a:gd name="connsiteY3" fmla="*/ 1554162 h 1554162"/>
                <a:gd name="connsiteX4" fmla="*/ 266700 w 266700"/>
                <a:gd name="connsiteY4" fmla="*/ 726281 h 1554162"/>
                <a:gd name="connsiteX0" fmla="*/ 266700 w 266700"/>
                <a:gd name="connsiteY0" fmla="*/ 726281 h 1554162"/>
                <a:gd name="connsiteX1" fmla="*/ 257175 w 266700"/>
                <a:gd name="connsiteY1" fmla="*/ 0 h 1554162"/>
                <a:gd name="connsiteX2" fmla="*/ 0 w 266700"/>
                <a:gd name="connsiteY2" fmla="*/ 607218 h 1554162"/>
                <a:gd name="connsiteX3" fmla="*/ 52388 w 266700"/>
                <a:gd name="connsiteY3" fmla="*/ 1554162 h 1554162"/>
                <a:gd name="connsiteX4" fmla="*/ 266700 w 266700"/>
                <a:gd name="connsiteY4" fmla="*/ 726281 h 1554162"/>
                <a:gd name="connsiteX0" fmla="*/ 266700 w 266700"/>
                <a:gd name="connsiteY0" fmla="*/ 726281 h 1550987"/>
                <a:gd name="connsiteX1" fmla="*/ 257175 w 266700"/>
                <a:gd name="connsiteY1" fmla="*/ 0 h 1550987"/>
                <a:gd name="connsiteX2" fmla="*/ 0 w 266700"/>
                <a:gd name="connsiteY2" fmla="*/ 607218 h 1550987"/>
                <a:gd name="connsiteX3" fmla="*/ 4286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365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492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492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1746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20638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20638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23813 w 266700"/>
                <a:gd name="connsiteY3" fmla="*/ 1550987 h 1550987"/>
                <a:gd name="connsiteX4" fmla="*/ 266700 w 266700"/>
                <a:gd name="connsiteY4" fmla="*/ 726281 h 1550987"/>
                <a:gd name="connsiteX0" fmla="*/ 266700 w 266700"/>
                <a:gd name="connsiteY0" fmla="*/ 726281 h 1547812"/>
                <a:gd name="connsiteX1" fmla="*/ 257175 w 266700"/>
                <a:gd name="connsiteY1" fmla="*/ 0 h 1547812"/>
                <a:gd name="connsiteX2" fmla="*/ 0 w 266700"/>
                <a:gd name="connsiteY2" fmla="*/ 607218 h 1547812"/>
                <a:gd name="connsiteX3" fmla="*/ 17463 w 266700"/>
                <a:gd name="connsiteY3" fmla="*/ 1547812 h 1547812"/>
                <a:gd name="connsiteX4" fmla="*/ 266700 w 266700"/>
                <a:gd name="connsiteY4" fmla="*/ 726281 h 1547812"/>
                <a:gd name="connsiteX0" fmla="*/ 266700 w 266700"/>
                <a:gd name="connsiteY0" fmla="*/ 726281 h 1547812"/>
                <a:gd name="connsiteX1" fmla="*/ 257175 w 266700"/>
                <a:gd name="connsiteY1" fmla="*/ 0 h 1547812"/>
                <a:gd name="connsiteX2" fmla="*/ 0 w 266700"/>
                <a:gd name="connsiteY2" fmla="*/ 607218 h 1547812"/>
                <a:gd name="connsiteX3" fmla="*/ 7938 w 266700"/>
                <a:gd name="connsiteY3" fmla="*/ 1547812 h 1547812"/>
                <a:gd name="connsiteX4" fmla="*/ 266700 w 266700"/>
                <a:gd name="connsiteY4" fmla="*/ 726281 h 1547812"/>
                <a:gd name="connsiteX0" fmla="*/ 266700 w 266700"/>
                <a:gd name="connsiteY0" fmla="*/ 726281 h 1547812"/>
                <a:gd name="connsiteX1" fmla="*/ 257175 w 266700"/>
                <a:gd name="connsiteY1" fmla="*/ 0 h 1547812"/>
                <a:gd name="connsiteX2" fmla="*/ 0 w 266700"/>
                <a:gd name="connsiteY2" fmla="*/ 607218 h 1547812"/>
                <a:gd name="connsiteX3" fmla="*/ 17463 w 266700"/>
                <a:gd name="connsiteY3" fmla="*/ 1547812 h 1547812"/>
                <a:gd name="connsiteX4" fmla="*/ 266700 w 266700"/>
                <a:gd name="connsiteY4" fmla="*/ 726281 h 1547812"/>
                <a:gd name="connsiteX0" fmla="*/ 266700 w 266700"/>
                <a:gd name="connsiteY0" fmla="*/ 726281 h 1550987"/>
                <a:gd name="connsiteX1" fmla="*/ 257175 w 266700"/>
                <a:gd name="connsiteY1" fmla="*/ 0 h 1550987"/>
                <a:gd name="connsiteX2" fmla="*/ 0 w 266700"/>
                <a:gd name="connsiteY2" fmla="*/ 607218 h 1550987"/>
                <a:gd name="connsiteX3" fmla="*/ 238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14288 w 266700"/>
                <a:gd name="connsiteY3" fmla="*/ 1550987 h 1550987"/>
                <a:gd name="connsiteX4" fmla="*/ 266700 w 266700"/>
                <a:gd name="connsiteY4" fmla="*/ 726281 h 1550987"/>
                <a:gd name="connsiteX0" fmla="*/ 266700 w 266700"/>
                <a:gd name="connsiteY0" fmla="*/ 726281 h 1547812"/>
                <a:gd name="connsiteX1" fmla="*/ 257175 w 266700"/>
                <a:gd name="connsiteY1" fmla="*/ 0 h 1547812"/>
                <a:gd name="connsiteX2" fmla="*/ 0 w 266700"/>
                <a:gd name="connsiteY2" fmla="*/ 607218 h 1547812"/>
                <a:gd name="connsiteX3" fmla="*/ 4763 w 266700"/>
                <a:gd name="connsiteY3" fmla="*/ 1547812 h 1547812"/>
                <a:gd name="connsiteX4" fmla="*/ 266700 w 266700"/>
                <a:gd name="connsiteY4" fmla="*/ 726281 h 1547812"/>
                <a:gd name="connsiteX0" fmla="*/ 266700 w 266700"/>
                <a:gd name="connsiteY0" fmla="*/ 726281 h 1547812"/>
                <a:gd name="connsiteX1" fmla="*/ 257175 w 266700"/>
                <a:gd name="connsiteY1" fmla="*/ 0 h 1547812"/>
                <a:gd name="connsiteX2" fmla="*/ 0 w 266700"/>
                <a:gd name="connsiteY2" fmla="*/ 607218 h 1547812"/>
                <a:gd name="connsiteX3" fmla="*/ 4763 w 266700"/>
                <a:gd name="connsiteY3" fmla="*/ 1547812 h 1547812"/>
                <a:gd name="connsiteX4" fmla="*/ 266700 w 266700"/>
                <a:gd name="connsiteY4" fmla="*/ 726281 h 1547812"/>
                <a:gd name="connsiteX0" fmla="*/ 266700 w 266700"/>
                <a:gd name="connsiteY0" fmla="*/ 742156 h 1563687"/>
                <a:gd name="connsiteX1" fmla="*/ 263525 w 266700"/>
                <a:gd name="connsiteY1" fmla="*/ 0 h 1563687"/>
                <a:gd name="connsiteX2" fmla="*/ 0 w 266700"/>
                <a:gd name="connsiteY2" fmla="*/ 623093 h 1563687"/>
                <a:gd name="connsiteX3" fmla="*/ 4763 w 266700"/>
                <a:gd name="connsiteY3" fmla="*/ 1563687 h 1563687"/>
                <a:gd name="connsiteX4" fmla="*/ 266700 w 266700"/>
                <a:gd name="connsiteY4" fmla="*/ 742156 h 1563687"/>
                <a:gd name="connsiteX0" fmla="*/ 266700 w 266700"/>
                <a:gd name="connsiteY0" fmla="*/ 742156 h 1563687"/>
                <a:gd name="connsiteX1" fmla="*/ 263525 w 266700"/>
                <a:gd name="connsiteY1" fmla="*/ 0 h 1563687"/>
                <a:gd name="connsiteX2" fmla="*/ 0 w 266700"/>
                <a:gd name="connsiteY2" fmla="*/ 623093 h 1563687"/>
                <a:gd name="connsiteX3" fmla="*/ 1588 w 266700"/>
                <a:gd name="connsiteY3" fmla="*/ 1563687 h 1563687"/>
                <a:gd name="connsiteX4" fmla="*/ 266700 w 266700"/>
                <a:gd name="connsiteY4" fmla="*/ 742156 h 1563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563687">
                  <a:moveTo>
                    <a:pt x="266700" y="742156"/>
                  </a:moveTo>
                  <a:cubicBezTo>
                    <a:pt x="265112" y="490537"/>
                    <a:pt x="265113" y="251619"/>
                    <a:pt x="263525" y="0"/>
                  </a:cubicBezTo>
                  <a:lnTo>
                    <a:pt x="0" y="623093"/>
                  </a:lnTo>
                  <a:cubicBezTo>
                    <a:pt x="1588" y="936624"/>
                    <a:pt x="0" y="1250156"/>
                    <a:pt x="1588" y="1563687"/>
                  </a:cubicBezTo>
                  <a:lnTo>
                    <a:pt x="266700" y="742156"/>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1" name="Rectangle 189">
              <a:extLst>
                <a:ext uri="{FF2B5EF4-FFF2-40B4-BE49-F238E27FC236}">
                  <a16:creationId xmlns:a16="http://schemas.microsoft.com/office/drawing/2014/main" id="{FEEC8A72-7B57-4D0C-B3A2-FFAB6E7E6951}"/>
                </a:ext>
              </a:extLst>
            </p:cNvPr>
            <p:cNvSpPr/>
            <p:nvPr/>
          </p:nvSpPr>
          <p:spPr bwMode="auto">
            <a:xfrm>
              <a:off x="7280587" y="-560438"/>
              <a:ext cx="5816170" cy="3401010"/>
            </a:xfrm>
            <a:custGeom>
              <a:avLst/>
              <a:gdLst>
                <a:gd name="connsiteX0" fmla="*/ 0 w 3813801"/>
                <a:gd name="connsiteY0" fmla="*/ 0 h 2360498"/>
                <a:gd name="connsiteX1" fmla="*/ 3813801 w 3813801"/>
                <a:gd name="connsiteY1" fmla="*/ 0 h 2360498"/>
                <a:gd name="connsiteX2" fmla="*/ 3813801 w 3813801"/>
                <a:gd name="connsiteY2" fmla="*/ 2360498 h 2360498"/>
                <a:gd name="connsiteX3" fmla="*/ 0 w 3813801"/>
                <a:gd name="connsiteY3" fmla="*/ 2360498 h 2360498"/>
                <a:gd name="connsiteX4" fmla="*/ 0 w 3813801"/>
                <a:gd name="connsiteY4" fmla="*/ 0 h 2360498"/>
                <a:gd name="connsiteX0" fmla="*/ 208844 w 4022645"/>
                <a:gd name="connsiteY0" fmla="*/ 0 h 2360498"/>
                <a:gd name="connsiteX1" fmla="*/ 4022645 w 4022645"/>
                <a:gd name="connsiteY1" fmla="*/ 0 h 2360498"/>
                <a:gd name="connsiteX2" fmla="*/ 4022645 w 4022645"/>
                <a:gd name="connsiteY2" fmla="*/ 2360498 h 2360498"/>
                <a:gd name="connsiteX3" fmla="*/ 208844 w 4022645"/>
                <a:gd name="connsiteY3" fmla="*/ 2360498 h 2360498"/>
                <a:gd name="connsiteX4" fmla="*/ 208844 w 4022645"/>
                <a:gd name="connsiteY4" fmla="*/ 0 h 2360498"/>
                <a:gd name="connsiteX0" fmla="*/ 297990 w 4111791"/>
                <a:gd name="connsiteY0" fmla="*/ 0 h 2360498"/>
                <a:gd name="connsiteX1" fmla="*/ 4111791 w 4111791"/>
                <a:gd name="connsiteY1" fmla="*/ 0 h 2360498"/>
                <a:gd name="connsiteX2" fmla="*/ 4111791 w 4111791"/>
                <a:gd name="connsiteY2" fmla="*/ 2360498 h 2360498"/>
                <a:gd name="connsiteX3" fmla="*/ 297990 w 4111791"/>
                <a:gd name="connsiteY3" fmla="*/ 2360498 h 2360498"/>
                <a:gd name="connsiteX4" fmla="*/ 297990 w 4111791"/>
                <a:gd name="connsiteY4" fmla="*/ 0 h 2360498"/>
                <a:gd name="connsiteX0" fmla="*/ 297990 w 4111791"/>
                <a:gd name="connsiteY0" fmla="*/ 0 h 2360498"/>
                <a:gd name="connsiteX1" fmla="*/ 4111791 w 4111791"/>
                <a:gd name="connsiteY1" fmla="*/ 0 h 2360498"/>
                <a:gd name="connsiteX2" fmla="*/ 4111791 w 4111791"/>
                <a:gd name="connsiteY2" fmla="*/ 2360498 h 2360498"/>
                <a:gd name="connsiteX3" fmla="*/ 297990 w 4111791"/>
                <a:gd name="connsiteY3" fmla="*/ 2360498 h 2360498"/>
                <a:gd name="connsiteX4" fmla="*/ 297990 w 4111791"/>
                <a:gd name="connsiteY4" fmla="*/ 0 h 2360498"/>
                <a:gd name="connsiteX0" fmla="*/ 297990 w 4111791"/>
                <a:gd name="connsiteY0" fmla="*/ 0 h 2360498"/>
                <a:gd name="connsiteX1" fmla="*/ 4111791 w 4111791"/>
                <a:gd name="connsiteY1" fmla="*/ 0 h 2360498"/>
                <a:gd name="connsiteX2" fmla="*/ 4111791 w 4111791"/>
                <a:gd name="connsiteY2" fmla="*/ 2360498 h 2360498"/>
                <a:gd name="connsiteX3" fmla="*/ 297990 w 4111791"/>
                <a:gd name="connsiteY3" fmla="*/ 2360498 h 2360498"/>
                <a:gd name="connsiteX4" fmla="*/ 297990 w 4111791"/>
                <a:gd name="connsiteY4" fmla="*/ 0 h 2360498"/>
                <a:gd name="connsiteX0" fmla="*/ 297990 w 4111791"/>
                <a:gd name="connsiteY0" fmla="*/ 0 h 2360498"/>
                <a:gd name="connsiteX1" fmla="*/ 4111791 w 4111791"/>
                <a:gd name="connsiteY1" fmla="*/ 0 h 2360498"/>
                <a:gd name="connsiteX2" fmla="*/ 4111791 w 4111791"/>
                <a:gd name="connsiteY2" fmla="*/ 2360498 h 2360498"/>
                <a:gd name="connsiteX3" fmla="*/ 297990 w 4111791"/>
                <a:gd name="connsiteY3" fmla="*/ 2360498 h 2360498"/>
                <a:gd name="connsiteX4" fmla="*/ 297990 w 4111791"/>
                <a:gd name="connsiteY4" fmla="*/ 0 h 2360498"/>
                <a:gd name="connsiteX0" fmla="*/ 297990 w 4111791"/>
                <a:gd name="connsiteY0" fmla="*/ 0 h 2360498"/>
                <a:gd name="connsiteX1" fmla="*/ 4111791 w 4111791"/>
                <a:gd name="connsiteY1" fmla="*/ 0 h 2360498"/>
                <a:gd name="connsiteX2" fmla="*/ 4111791 w 4111791"/>
                <a:gd name="connsiteY2" fmla="*/ 2360498 h 2360498"/>
                <a:gd name="connsiteX3" fmla="*/ 297990 w 4111791"/>
                <a:gd name="connsiteY3" fmla="*/ 2360498 h 2360498"/>
                <a:gd name="connsiteX4" fmla="*/ 297990 w 4111791"/>
                <a:gd name="connsiteY4" fmla="*/ 0 h 2360498"/>
                <a:gd name="connsiteX0" fmla="*/ 297990 w 4111791"/>
                <a:gd name="connsiteY0" fmla="*/ 0 h 2360498"/>
                <a:gd name="connsiteX1" fmla="*/ 4111791 w 4111791"/>
                <a:gd name="connsiteY1" fmla="*/ 0 h 2360498"/>
                <a:gd name="connsiteX2" fmla="*/ 4111791 w 4111791"/>
                <a:gd name="connsiteY2" fmla="*/ 2360498 h 2360498"/>
                <a:gd name="connsiteX3" fmla="*/ 297990 w 4111791"/>
                <a:gd name="connsiteY3" fmla="*/ 2360498 h 2360498"/>
                <a:gd name="connsiteX4" fmla="*/ 297990 w 4111791"/>
                <a:gd name="connsiteY4" fmla="*/ 0 h 2360498"/>
                <a:gd name="connsiteX0" fmla="*/ 394419 w 4055820"/>
                <a:gd name="connsiteY0" fmla="*/ 0 h 2360498"/>
                <a:gd name="connsiteX1" fmla="*/ 4055820 w 4055820"/>
                <a:gd name="connsiteY1" fmla="*/ 0 h 2360498"/>
                <a:gd name="connsiteX2" fmla="*/ 4055820 w 4055820"/>
                <a:gd name="connsiteY2" fmla="*/ 2360498 h 2360498"/>
                <a:gd name="connsiteX3" fmla="*/ 242019 w 4055820"/>
                <a:gd name="connsiteY3" fmla="*/ 2360498 h 2360498"/>
                <a:gd name="connsiteX4" fmla="*/ 394419 w 4055820"/>
                <a:gd name="connsiteY4" fmla="*/ 0 h 236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5820" h="2360498">
                  <a:moveTo>
                    <a:pt x="394419" y="0"/>
                  </a:moveTo>
                  <a:lnTo>
                    <a:pt x="4055820" y="0"/>
                  </a:lnTo>
                  <a:cubicBezTo>
                    <a:pt x="3535628" y="792750"/>
                    <a:pt x="3677360" y="1829982"/>
                    <a:pt x="4055820" y="2360498"/>
                  </a:cubicBezTo>
                  <a:lnTo>
                    <a:pt x="242019" y="2360498"/>
                  </a:lnTo>
                  <a:cubicBezTo>
                    <a:pt x="-227881" y="1091065"/>
                    <a:pt x="76919" y="672533"/>
                    <a:pt x="394419" y="0"/>
                  </a:cubicBezTo>
                  <a:close/>
                </a:path>
              </a:pathLst>
            </a:cu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99" name="Rectangle 2798">
              <a:extLst>
                <a:ext uri="{FF2B5EF4-FFF2-40B4-BE49-F238E27FC236}">
                  <a16:creationId xmlns:a16="http://schemas.microsoft.com/office/drawing/2014/main" id="{6B52A2D5-C8D9-4DA3-B844-5DD4D7E6E0A1}"/>
                </a:ext>
              </a:extLst>
            </p:cNvPr>
            <p:cNvSpPr/>
            <p:nvPr/>
          </p:nvSpPr>
          <p:spPr bwMode="auto">
            <a:xfrm>
              <a:off x="7627650" y="2840572"/>
              <a:ext cx="5469103" cy="188137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64" name="Rectangle 2963">
              <a:extLst>
                <a:ext uri="{FF2B5EF4-FFF2-40B4-BE49-F238E27FC236}">
                  <a16:creationId xmlns:a16="http://schemas.microsoft.com/office/drawing/2014/main" id="{E3C0B53C-93D3-4230-A4D4-1199E7D53667}"/>
                </a:ext>
              </a:extLst>
            </p:cNvPr>
            <p:cNvSpPr/>
            <p:nvPr/>
          </p:nvSpPr>
          <p:spPr bwMode="auto">
            <a:xfrm>
              <a:off x="8905827" y="2840572"/>
              <a:ext cx="65562" cy="1881370"/>
            </a:xfrm>
            <a:prstGeom prst="rect">
              <a:avLst/>
            </a:prstGeom>
            <a:solidFill>
              <a:schemeClr val="bg1">
                <a:lumMod val="65000"/>
              </a:schemeClr>
            </a:solidFill>
            <a:ln>
              <a:noFill/>
            </a:ln>
          </p:spPr>
          <p:txBody>
            <a:bodyPr vert="horz" wrap="square" lIns="119476" tIns="59738" rIns="119476" bIns="59738" numCol="1" anchor="t" anchorCtr="0" compatLnSpc="1">
              <a:prstTxWarp prst="textNoShape">
                <a:avLst/>
              </a:prstTxWarp>
            </a:bodyPr>
            <a:lstStyle/>
            <a:p>
              <a:pPr defTabSz="1194653">
                <a:defRPr/>
              </a:pPr>
              <a:endParaRPr lang="en-US" sz="2352" kern="0" dirty="0">
                <a:solidFill>
                  <a:srgbClr val="505050"/>
                </a:solidFill>
                <a:latin typeface="Arial"/>
              </a:endParaRPr>
            </a:p>
          </p:txBody>
        </p:sp>
        <p:sp>
          <p:nvSpPr>
            <p:cNvPr id="2966" name="Rectangle 2965">
              <a:extLst>
                <a:ext uri="{FF2B5EF4-FFF2-40B4-BE49-F238E27FC236}">
                  <a16:creationId xmlns:a16="http://schemas.microsoft.com/office/drawing/2014/main" id="{3EA11B00-5D3A-442B-8CFC-F040E43040D1}"/>
                </a:ext>
              </a:extLst>
            </p:cNvPr>
            <p:cNvSpPr/>
            <p:nvPr/>
          </p:nvSpPr>
          <p:spPr bwMode="auto">
            <a:xfrm>
              <a:off x="10329421" y="2840572"/>
              <a:ext cx="65562" cy="1881370"/>
            </a:xfrm>
            <a:prstGeom prst="rect">
              <a:avLst/>
            </a:prstGeom>
            <a:solidFill>
              <a:schemeClr val="bg1">
                <a:lumMod val="65000"/>
              </a:schemeClr>
            </a:solidFill>
            <a:ln>
              <a:noFill/>
            </a:ln>
          </p:spPr>
          <p:txBody>
            <a:bodyPr vert="horz" wrap="square" lIns="119476" tIns="59738" rIns="119476" bIns="59738" numCol="1" anchor="t" anchorCtr="0" compatLnSpc="1">
              <a:prstTxWarp prst="textNoShape">
                <a:avLst/>
              </a:prstTxWarp>
            </a:bodyPr>
            <a:lstStyle/>
            <a:p>
              <a:pPr defTabSz="1194653">
                <a:defRPr/>
              </a:pPr>
              <a:endParaRPr lang="en-US" sz="2352" kern="0" dirty="0">
                <a:solidFill>
                  <a:srgbClr val="505050"/>
                </a:solidFill>
                <a:latin typeface="Arial"/>
              </a:endParaRPr>
            </a:p>
          </p:txBody>
        </p:sp>
        <p:sp>
          <p:nvSpPr>
            <p:cNvPr id="2969" name="Rectangle 2968">
              <a:extLst>
                <a:ext uri="{FF2B5EF4-FFF2-40B4-BE49-F238E27FC236}">
                  <a16:creationId xmlns:a16="http://schemas.microsoft.com/office/drawing/2014/main" id="{0FA91A88-DDDD-4BA9-92A1-4B966731739E}"/>
                </a:ext>
              </a:extLst>
            </p:cNvPr>
            <p:cNvSpPr/>
            <p:nvPr/>
          </p:nvSpPr>
          <p:spPr bwMode="auto">
            <a:xfrm>
              <a:off x="11753013" y="2840572"/>
              <a:ext cx="65562" cy="1881370"/>
            </a:xfrm>
            <a:prstGeom prst="rect">
              <a:avLst/>
            </a:prstGeom>
            <a:solidFill>
              <a:schemeClr val="bg1">
                <a:lumMod val="65000"/>
              </a:schemeClr>
            </a:solidFill>
            <a:ln>
              <a:noFill/>
            </a:ln>
          </p:spPr>
          <p:txBody>
            <a:bodyPr vert="horz" wrap="square" lIns="119476" tIns="59738" rIns="119476" bIns="59738" numCol="1" anchor="t" anchorCtr="0" compatLnSpc="1">
              <a:prstTxWarp prst="textNoShape">
                <a:avLst/>
              </a:prstTxWarp>
            </a:bodyPr>
            <a:lstStyle/>
            <a:p>
              <a:pPr defTabSz="1194653">
                <a:defRPr/>
              </a:pPr>
              <a:endParaRPr lang="en-US" sz="2352" kern="0" dirty="0">
                <a:solidFill>
                  <a:srgbClr val="505050"/>
                </a:solidFill>
                <a:latin typeface="Arial"/>
              </a:endParaRPr>
            </a:p>
          </p:txBody>
        </p:sp>
        <p:sp>
          <p:nvSpPr>
            <p:cNvPr id="2984" name="Trapezoid 231">
              <a:extLst>
                <a:ext uri="{FF2B5EF4-FFF2-40B4-BE49-F238E27FC236}">
                  <a16:creationId xmlns:a16="http://schemas.microsoft.com/office/drawing/2014/main" id="{C5DF3C44-28CA-408C-B547-9DA3216AE265}"/>
                </a:ext>
              </a:extLst>
            </p:cNvPr>
            <p:cNvSpPr/>
            <p:nvPr/>
          </p:nvSpPr>
          <p:spPr bwMode="auto">
            <a:xfrm>
              <a:off x="7578001" y="2141779"/>
              <a:ext cx="4939587" cy="347172"/>
            </a:xfrm>
            <a:custGeom>
              <a:avLst/>
              <a:gdLst>
                <a:gd name="connsiteX0" fmla="*/ 0 w 3190875"/>
                <a:gd name="connsiteY0" fmla="*/ 254795 h 254795"/>
                <a:gd name="connsiteX1" fmla="*/ 63699 w 3190875"/>
                <a:gd name="connsiteY1" fmla="*/ 0 h 254795"/>
                <a:gd name="connsiteX2" fmla="*/ 3127176 w 3190875"/>
                <a:gd name="connsiteY2" fmla="*/ 0 h 254795"/>
                <a:gd name="connsiteX3" fmla="*/ 3190875 w 3190875"/>
                <a:gd name="connsiteY3" fmla="*/ 254795 h 254795"/>
                <a:gd name="connsiteX4" fmla="*/ 0 w 3190875"/>
                <a:gd name="connsiteY4" fmla="*/ 254795 h 254795"/>
                <a:gd name="connsiteX0" fmla="*/ 152201 w 3343076"/>
                <a:gd name="connsiteY0" fmla="*/ 254795 h 254795"/>
                <a:gd name="connsiteX1" fmla="*/ 0 w 3343076"/>
                <a:gd name="connsiteY1" fmla="*/ 6350 h 254795"/>
                <a:gd name="connsiteX2" fmla="*/ 3279377 w 3343076"/>
                <a:gd name="connsiteY2" fmla="*/ 0 h 254795"/>
                <a:gd name="connsiteX3" fmla="*/ 3343076 w 3343076"/>
                <a:gd name="connsiteY3" fmla="*/ 254795 h 254795"/>
                <a:gd name="connsiteX4" fmla="*/ 152201 w 3343076"/>
                <a:gd name="connsiteY4" fmla="*/ 254795 h 254795"/>
                <a:gd name="connsiteX0" fmla="*/ 152201 w 3514526"/>
                <a:gd name="connsiteY0" fmla="*/ 254795 h 254795"/>
                <a:gd name="connsiteX1" fmla="*/ 0 w 3514526"/>
                <a:gd name="connsiteY1" fmla="*/ 6350 h 254795"/>
                <a:gd name="connsiteX2" fmla="*/ 3279377 w 3514526"/>
                <a:gd name="connsiteY2" fmla="*/ 0 h 254795"/>
                <a:gd name="connsiteX3" fmla="*/ 3514526 w 3514526"/>
                <a:gd name="connsiteY3" fmla="*/ 248445 h 254795"/>
                <a:gd name="connsiteX4" fmla="*/ 152201 w 3514526"/>
                <a:gd name="connsiteY4" fmla="*/ 254795 h 254795"/>
                <a:gd name="connsiteX0" fmla="*/ 98861 w 3514526"/>
                <a:gd name="connsiteY0" fmla="*/ 247175 h 248445"/>
                <a:gd name="connsiteX1" fmla="*/ 0 w 3514526"/>
                <a:gd name="connsiteY1" fmla="*/ 6350 h 248445"/>
                <a:gd name="connsiteX2" fmla="*/ 3279377 w 3514526"/>
                <a:gd name="connsiteY2" fmla="*/ 0 h 248445"/>
                <a:gd name="connsiteX3" fmla="*/ 3514526 w 3514526"/>
                <a:gd name="connsiteY3" fmla="*/ 248445 h 248445"/>
                <a:gd name="connsiteX4" fmla="*/ 98861 w 3514526"/>
                <a:gd name="connsiteY4" fmla="*/ 247175 h 248445"/>
                <a:gd name="connsiteX0" fmla="*/ 0 w 3415665"/>
                <a:gd name="connsiteY0" fmla="*/ 247175 h 248445"/>
                <a:gd name="connsiteX1" fmla="*/ 327859 w 3415665"/>
                <a:gd name="connsiteY1" fmla="*/ 13970 h 248445"/>
                <a:gd name="connsiteX2" fmla="*/ 3180516 w 3415665"/>
                <a:gd name="connsiteY2" fmla="*/ 0 h 248445"/>
                <a:gd name="connsiteX3" fmla="*/ 3415665 w 3415665"/>
                <a:gd name="connsiteY3" fmla="*/ 248445 h 248445"/>
                <a:gd name="connsiteX4" fmla="*/ 0 w 3415665"/>
                <a:gd name="connsiteY4" fmla="*/ 247175 h 248445"/>
                <a:gd name="connsiteX0" fmla="*/ 0 w 3415665"/>
                <a:gd name="connsiteY0" fmla="*/ 254795 h 256065"/>
                <a:gd name="connsiteX1" fmla="*/ 327859 w 3415665"/>
                <a:gd name="connsiteY1" fmla="*/ 21590 h 256065"/>
                <a:gd name="connsiteX2" fmla="*/ 3310056 w 3415665"/>
                <a:gd name="connsiteY2" fmla="*/ 0 h 256065"/>
                <a:gd name="connsiteX3" fmla="*/ 3415665 w 3415665"/>
                <a:gd name="connsiteY3" fmla="*/ 256065 h 256065"/>
                <a:gd name="connsiteX4" fmla="*/ 0 w 3415665"/>
                <a:gd name="connsiteY4" fmla="*/ 254795 h 256065"/>
                <a:gd name="connsiteX0" fmla="*/ 0 w 3310056"/>
                <a:gd name="connsiteY0" fmla="*/ 254795 h 256065"/>
                <a:gd name="connsiteX1" fmla="*/ 327859 w 3310056"/>
                <a:gd name="connsiteY1" fmla="*/ 21590 h 256065"/>
                <a:gd name="connsiteX2" fmla="*/ 3310056 w 3310056"/>
                <a:gd name="connsiteY2" fmla="*/ 0 h 256065"/>
                <a:gd name="connsiteX3" fmla="*/ 3080385 w 3310056"/>
                <a:gd name="connsiteY3" fmla="*/ 256065 h 256065"/>
                <a:gd name="connsiteX4" fmla="*/ 0 w 3310056"/>
                <a:gd name="connsiteY4" fmla="*/ 254795 h 256065"/>
                <a:gd name="connsiteX0" fmla="*/ 0 w 3325296"/>
                <a:gd name="connsiteY0" fmla="*/ 239555 h 240825"/>
                <a:gd name="connsiteX1" fmla="*/ 327859 w 3325296"/>
                <a:gd name="connsiteY1" fmla="*/ 6350 h 240825"/>
                <a:gd name="connsiteX2" fmla="*/ 3325296 w 3325296"/>
                <a:gd name="connsiteY2" fmla="*/ 0 h 240825"/>
                <a:gd name="connsiteX3" fmla="*/ 3080385 w 3325296"/>
                <a:gd name="connsiteY3" fmla="*/ 240825 h 240825"/>
                <a:gd name="connsiteX4" fmla="*/ 0 w 3325296"/>
                <a:gd name="connsiteY4" fmla="*/ 239555 h 240825"/>
                <a:gd name="connsiteX0" fmla="*/ 0 w 3325296"/>
                <a:gd name="connsiteY0" fmla="*/ 239555 h 240825"/>
                <a:gd name="connsiteX1" fmla="*/ 327859 w 3325296"/>
                <a:gd name="connsiteY1" fmla="*/ 6350 h 240825"/>
                <a:gd name="connsiteX2" fmla="*/ 3325296 w 3325296"/>
                <a:gd name="connsiteY2" fmla="*/ 0 h 240825"/>
                <a:gd name="connsiteX3" fmla="*/ 3301365 w 3325296"/>
                <a:gd name="connsiteY3" fmla="*/ 240825 h 240825"/>
                <a:gd name="connsiteX4" fmla="*/ 0 w 3325296"/>
                <a:gd name="connsiteY4" fmla="*/ 239555 h 240825"/>
                <a:gd name="connsiteX0" fmla="*/ 0 w 3301365"/>
                <a:gd name="connsiteY0" fmla="*/ 239555 h 240825"/>
                <a:gd name="connsiteX1" fmla="*/ 327859 w 3301365"/>
                <a:gd name="connsiteY1" fmla="*/ 6350 h 240825"/>
                <a:gd name="connsiteX2" fmla="*/ 3241476 w 3301365"/>
                <a:gd name="connsiteY2" fmla="*/ 0 h 240825"/>
                <a:gd name="connsiteX3" fmla="*/ 3301365 w 3301365"/>
                <a:gd name="connsiteY3" fmla="*/ 240825 h 240825"/>
                <a:gd name="connsiteX4" fmla="*/ 0 w 3301365"/>
                <a:gd name="connsiteY4" fmla="*/ 239555 h 240825"/>
                <a:gd name="connsiteX0" fmla="*/ 0 w 3301365"/>
                <a:gd name="connsiteY0" fmla="*/ 240825 h 242095"/>
                <a:gd name="connsiteX1" fmla="*/ 181794 w 3301365"/>
                <a:gd name="connsiteY1" fmla="*/ 0 h 242095"/>
                <a:gd name="connsiteX2" fmla="*/ 3241476 w 3301365"/>
                <a:gd name="connsiteY2" fmla="*/ 1270 h 242095"/>
                <a:gd name="connsiteX3" fmla="*/ 3301365 w 3301365"/>
                <a:gd name="connsiteY3" fmla="*/ 242095 h 242095"/>
                <a:gd name="connsiteX4" fmla="*/ 0 w 3301365"/>
                <a:gd name="connsiteY4" fmla="*/ 240825 h 242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1365" h="242095">
                  <a:moveTo>
                    <a:pt x="0" y="240825"/>
                  </a:moveTo>
                  <a:lnTo>
                    <a:pt x="181794" y="0"/>
                  </a:lnTo>
                  <a:lnTo>
                    <a:pt x="3241476" y="1270"/>
                  </a:lnTo>
                  <a:lnTo>
                    <a:pt x="3301365" y="242095"/>
                  </a:lnTo>
                  <a:lnTo>
                    <a:pt x="0" y="240825"/>
                  </a:lnTo>
                  <a:close/>
                </a:path>
              </a:pathLst>
            </a:custGeom>
            <a:solidFill>
              <a:schemeClr val="bg1">
                <a:lumMod val="50000"/>
              </a:schemeClr>
            </a:solidFill>
            <a:ln>
              <a:noFill/>
            </a:ln>
          </p:spPr>
          <p:txBody>
            <a:bodyPr vert="horz" wrap="square" lIns="119476" tIns="59738" rIns="119476" bIns="59738" numCol="1" anchor="t" anchorCtr="0" compatLnSpc="1">
              <a:prstTxWarp prst="textNoShape">
                <a:avLst/>
              </a:prstTxWarp>
            </a:bodyPr>
            <a:lstStyle/>
            <a:p>
              <a:pPr defTabSz="1194653">
                <a:defRPr/>
              </a:pPr>
              <a:endParaRPr lang="en-US" sz="2352" kern="0" dirty="0">
                <a:solidFill>
                  <a:srgbClr val="505050"/>
                </a:solidFill>
                <a:latin typeface="Arial"/>
              </a:endParaRPr>
            </a:p>
          </p:txBody>
        </p:sp>
        <p:sp>
          <p:nvSpPr>
            <p:cNvPr id="2985" name="Freeform: Shape 2024">
              <a:extLst>
                <a:ext uri="{FF2B5EF4-FFF2-40B4-BE49-F238E27FC236}">
                  <a16:creationId xmlns:a16="http://schemas.microsoft.com/office/drawing/2014/main" id="{FFA7896E-B5FC-4380-AD6A-0439DEEABBF3}"/>
                </a:ext>
              </a:extLst>
            </p:cNvPr>
            <p:cNvSpPr/>
            <p:nvPr/>
          </p:nvSpPr>
          <p:spPr bwMode="auto">
            <a:xfrm>
              <a:off x="7387769" y="51084"/>
              <a:ext cx="460832" cy="2436528"/>
            </a:xfrm>
            <a:custGeom>
              <a:avLst/>
              <a:gdLst>
                <a:gd name="connsiteX0" fmla="*/ 257175 w 257175"/>
                <a:gd name="connsiteY0" fmla="*/ 2362201 h 2719388"/>
                <a:gd name="connsiteX1" fmla="*/ 257175 w 257175"/>
                <a:gd name="connsiteY1" fmla="*/ 0 h 2719388"/>
                <a:gd name="connsiteX2" fmla="*/ 0 w 257175"/>
                <a:gd name="connsiteY2" fmla="*/ 2719388 h 2719388"/>
                <a:gd name="connsiteX3" fmla="*/ 257175 w 257175"/>
                <a:gd name="connsiteY3" fmla="*/ 2362201 h 2719388"/>
                <a:gd name="connsiteX0" fmla="*/ 302450 w 302450"/>
                <a:gd name="connsiteY0" fmla="*/ 2362201 h 2719388"/>
                <a:gd name="connsiteX1" fmla="*/ 302450 w 302450"/>
                <a:gd name="connsiteY1" fmla="*/ 0 h 2719388"/>
                <a:gd name="connsiteX2" fmla="*/ 45275 w 302450"/>
                <a:gd name="connsiteY2" fmla="*/ 2719388 h 2719388"/>
                <a:gd name="connsiteX3" fmla="*/ 302450 w 302450"/>
                <a:gd name="connsiteY3" fmla="*/ 2362201 h 2719388"/>
                <a:gd name="connsiteX0" fmla="*/ 300467 w 300467"/>
                <a:gd name="connsiteY0" fmla="*/ 2362201 h 2733676"/>
                <a:gd name="connsiteX1" fmla="*/ 300467 w 300467"/>
                <a:gd name="connsiteY1" fmla="*/ 0 h 2733676"/>
                <a:gd name="connsiteX2" fmla="*/ 48054 w 300467"/>
                <a:gd name="connsiteY2" fmla="*/ 2733676 h 2733676"/>
                <a:gd name="connsiteX3" fmla="*/ 300467 w 300467"/>
                <a:gd name="connsiteY3" fmla="*/ 2362201 h 2733676"/>
                <a:gd name="connsiteX0" fmla="*/ 454094 w 454094"/>
                <a:gd name="connsiteY0" fmla="*/ 2362201 h 2733676"/>
                <a:gd name="connsiteX1" fmla="*/ 454094 w 454094"/>
                <a:gd name="connsiteY1" fmla="*/ 0 h 2733676"/>
                <a:gd name="connsiteX2" fmla="*/ 201681 w 454094"/>
                <a:gd name="connsiteY2" fmla="*/ 2733676 h 2733676"/>
                <a:gd name="connsiteX3" fmla="*/ 454094 w 454094"/>
                <a:gd name="connsiteY3" fmla="*/ 2362201 h 2733676"/>
                <a:gd name="connsiteX0" fmla="*/ 458857 w 458857"/>
                <a:gd name="connsiteY0" fmla="*/ 2362201 h 2733676"/>
                <a:gd name="connsiteX1" fmla="*/ 454094 w 458857"/>
                <a:gd name="connsiteY1" fmla="*/ 0 h 2733676"/>
                <a:gd name="connsiteX2" fmla="*/ 201681 w 458857"/>
                <a:gd name="connsiteY2" fmla="*/ 2733676 h 2733676"/>
                <a:gd name="connsiteX3" fmla="*/ 458857 w 458857"/>
                <a:gd name="connsiteY3" fmla="*/ 2362201 h 2733676"/>
                <a:gd name="connsiteX0" fmla="*/ 458857 w 458857"/>
                <a:gd name="connsiteY0" fmla="*/ 2330554 h 2733676"/>
                <a:gd name="connsiteX1" fmla="*/ 454094 w 458857"/>
                <a:gd name="connsiteY1" fmla="*/ 0 h 2733676"/>
                <a:gd name="connsiteX2" fmla="*/ 201681 w 458857"/>
                <a:gd name="connsiteY2" fmla="*/ 2733676 h 2733676"/>
                <a:gd name="connsiteX3" fmla="*/ 458857 w 458857"/>
                <a:gd name="connsiteY3" fmla="*/ 2330554 h 2733676"/>
                <a:gd name="connsiteX0" fmla="*/ 466809 w 466809"/>
                <a:gd name="connsiteY0" fmla="*/ 2330554 h 2716026"/>
                <a:gd name="connsiteX1" fmla="*/ 462046 w 466809"/>
                <a:gd name="connsiteY1" fmla="*/ 0 h 2716026"/>
                <a:gd name="connsiteX2" fmla="*/ 196933 w 466809"/>
                <a:gd name="connsiteY2" fmla="*/ 2716026 h 2716026"/>
                <a:gd name="connsiteX3" fmla="*/ 466809 w 466809"/>
                <a:gd name="connsiteY3" fmla="*/ 2330554 h 2716026"/>
                <a:gd name="connsiteX0" fmla="*/ 454935 w 454935"/>
                <a:gd name="connsiteY0" fmla="*/ 2330554 h 2716026"/>
                <a:gd name="connsiteX1" fmla="*/ 450172 w 454935"/>
                <a:gd name="connsiteY1" fmla="*/ 0 h 2716026"/>
                <a:gd name="connsiteX2" fmla="*/ 204109 w 454935"/>
                <a:gd name="connsiteY2" fmla="*/ 2716026 h 2716026"/>
                <a:gd name="connsiteX3" fmla="*/ 454935 w 454935"/>
                <a:gd name="connsiteY3" fmla="*/ 2330554 h 2716026"/>
                <a:gd name="connsiteX0" fmla="*/ 460832 w 460832"/>
                <a:gd name="connsiteY0" fmla="*/ 2330554 h 2708966"/>
                <a:gd name="connsiteX1" fmla="*/ 456069 w 460832"/>
                <a:gd name="connsiteY1" fmla="*/ 0 h 2708966"/>
                <a:gd name="connsiteX2" fmla="*/ 200481 w 460832"/>
                <a:gd name="connsiteY2" fmla="*/ 2708966 h 2708966"/>
                <a:gd name="connsiteX3" fmla="*/ 460832 w 460832"/>
                <a:gd name="connsiteY3" fmla="*/ 2330554 h 2708966"/>
              </a:gdLst>
              <a:ahLst/>
              <a:cxnLst>
                <a:cxn ang="0">
                  <a:pos x="connsiteX0" y="connsiteY0"/>
                </a:cxn>
                <a:cxn ang="0">
                  <a:pos x="connsiteX1" y="connsiteY1"/>
                </a:cxn>
                <a:cxn ang="0">
                  <a:pos x="connsiteX2" y="connsiteY2"/>
                </a:cxn>
                <a:cxn ang="0">
                  <a:pos x="connsiteX3" y="connsiteY3"/>
                </a:cxn>
              </a:cxnLst>
              <a:rect l="l" t="t" r="r" b="b"/>
              <a:pathLst>
                <a:path w="460832" h="2708966">
                  <a:moveTo>
                    <a:pt x="460832" y="2330554"/>
                  </a:moveTo>
                  <a:cubicBezTo>
                    <a:pt x="459244" y="1543154"/>
                    <a:pt x="457657" y="787400"/>
                    <a:pt x="456069" y="0"/>
                  </a:cubicBezTo>
                  <a:cubicBezTo>
                    <a:pt x="-86856" y="835026"/>
                    <a:pt x="-109082" y="1492940"/>
                    <a:pt x="200481" y="2708966"/>
                  </a:cubicBezTo>
                  <a:lnTo>
                    <a:pt x="460832" y="2330554"/>
                  </a:lnTo>
                  <a:close/>
                </a:path>
              </a:pathLst>
            </a:cu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86" name="Trapezoid 2985">
              <a:extLst>
                <a:ext uri="{FF2B5EF4-FFF2-40B4-BE49-F238E27FC236}">
                  <a16:creationId xmlns:a16="http://schemas.microsoft.com/office/drawing/2014/main" id="{8A367B3F-3E31-49F7-BAEE-C471999C790F}"/>
                </a:ext>
              </a:extLst>
            </p:cNvPr>
            <p:cNvSpPr/>
            <p:nvPr/>
          </p:nvSpPr>
          <p:spPr bwMode="auto">
            <a:xfrm>
              <a:off x="9910242" y="2207248"/>
              <a:ext cx="1841743" cy="216230"/>
            </a:xfrm>
            <a:prstGeom prst="trapezoid">
              <a:avLst>
                <a:gd name="adj" fmla="val 55009"/>
              </a:avLst>
            </a:prstGeom>
            <a:solidFill>
              <a:srgbClr val="D9D9D9"/>
            </a:solidFill>
            <a:ln>
              <a:noFill/>
              <a:headEnd type="none" w="med" len="med"/>
              <a:tailEnd type="none" w="med" len="med"/>
            </a:ln>
            <a:effectLst/>
            <a:scene3d>
              <a:camera prst="perspective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87" name="Rectangle 245">
              <a:extLst>
                <a:ext uri="{FF2B5EF4-FFF2-40B4-BE49-F238E27FC236}">
                  <a16:creationId xmlns:a16="http://schemas.microsoft.com/office/drawing/2014/main" id="{F51CA18E-7BBF-480E-BE66-47FAD410B229}"/>
                </a:ext>
              </a:extLst>
            </p:cNvPr>
            <p:cNvSpPr/>
            <p:nvPr/>
          </p:nvSpPr>
          <p:spPr bwMode="auto">
            <a:xfrm>
              <a:off x="7725554" y="51085"/>
              <a:ext cx="4706404" cy="2085045"/>
            </a:xfrm>
            <a:custGeom>
              <a:avLst/>
              <a:gdLst>
                <a:gd name="connsiteX0" fmla="*/ 0 w 4577033"/>
                <a:gd name="connsiteY0" fmla="*/ 0 h 2065995"/>
                <a:gd name="connsiteX1" fmla="*/ 4577033 w 4577033"/>
                <a:gd name="connsiteY1" fmla="*/ 0 h 2065995"/>
                <a:gd name="connsiteX2" fmla="*/ 4577033 w 4577033"/>
                <a:gd name="connsiteY2" fmla="*/ 2065995 h 2065995"/>
                <a:gd name="connsiteX3" fmla="*/ 0 w 4577033"/>
                <a:gd name="connsiteY3" fmla="*/ 2065995 h 2065995"/>
                <a:gd name="connsiteX4" fmla="*/ 0 w 4577033"/>
                <a:gd name="connsiteY4" fmla="*/ 0 h 2065995"/>
                <a:gd name="connsiteX0" fmla="*/ 182033 w 4759066"/>
                <a:gd name="connsiteY0" fmla="*/ 0 h 2065995"/>
                <a:gd name="connsiteX1" fmla="*/ 4759066 w 4759066"/>
                <a:gd name="connsiteY1" fmla="*/ 0 h 2065995"/>
                <a:gd name="connsiteX2" fmla="*/ 4759066 w 4759066"/>
                <a:gd name="connsiteY2" fmla="*/ 2065995 h 2065995"/>
                <a:gd name="connsiteX3" fmla="*/ 182033 w 4759066"/>
                <a:gd name="connsiteY3" fmla="*/ 2065995 h 2065995"/>
                <a:gd name="connsiteX4" fmla="*/ 182033 w 4759066"/>
                <a:gd name="connsiteY4" fmla="*/ 0 h 2065995"/>
                <a:gd name="connsiteX0" fmla="*/ 226382 w 4803415"/>
                <a:gd name="connsiteY0" fmla="*/ 0 h 2065995"/>
                <a:gd name="connsiteX1" fmla="*/ 4803415 w 4803415"/>
                <a:gd name="connsiteY1" fmla="*/ 0 h 2065995"/>
                <a:gd name="connsiteX2" fmla="*/ 4803415 w 4803415"/>
                <a:gd name="connsiteY2" fmla="*/ 2065995 h 2065995"/>
                <a:gd name="connsiteX3" fmla="*/ 226382 w 4803415"/>
                <a:gd name="connsiteY3" fmla="*/ 2065995 h 2065995"/>
                <a:gd name="connsiteX4" fmla="*/ 226382 w 4803415"/>
                <a:gd name="connsiteY4" fmla="*/ 0 h 2065995"/>
                <a:gd name="connsiteX0" fmla="*/ 297936 w 4770194"/>
                <a:gd name="connsiteY0" fmla="*/ 0 h 2065995"/>
                <a:gd name="connsiteX1" fmla="*/ 4770194 w 4770194"/>
                <a:gd name="connsiteY1" fmla="*/ 0 h 2065995"/>
                <a:gd name="connsiteX2" fmla="*/ 4770194 w 4770194"/>
                <a:gd name="connsiteY2" fmla="*/ 2065995 h 2065995"/>
                <a:gd name="connsiteX3" fmla="*/ 193161 w 4770194"/>
                <a:gd name="connsiteY3" fmla="*/ 2065995 h 2065995"/>
                <a:gd name="connsiteX4" fmla="*/ 297936 w 4770194"/>
                <a:gd name="connsiteY4" fmla="*/ 0 h 2065995"/>
                <a:gd name="connsiteX0" fmla="*/ 297936 w 4770194"/>
                <a:gd name="connsiteY0" fmla="*/ 0 h 2065995"/>
                <a:gd name="connsiteX1" fmla="*/ 4770194 w 4770194"/>
                <a:gd name="connsiteY1" fmla="*/ 0 h 2065995"/>
                <a:gd name="connsiteX2" fmla="*/ 4770194 w 4770194"/>
                <a:gd name="connsiteY2" fmla="*/ 2065995 h 2065995"/>
                <a:gd name="connsiteX3" fmla="*/ 193161 w 4770194"/>
                <a:gd name="connsiteY3" fmla="*/ 2065995 h 2065995"/>
                <a:gd name="connsiteX4" fmla="*/ 297936 w 4770194"/>
                <a:gd name="connsiteY4" fmla="*/ 0 h 2065995"/>
                <a:gd name="connsiteX0" fmla="*/ 297936 w 4770194"/>
                <a:gd name="connsiteY0" fmla="*/ 0 h 2065995"/>
                <a:gd name="connsiteX1" fmla="*/ 4770194 w 4770194"/>
                <a:gd name="connsiteY1" fmla="*/ 0 h 2065995"/>
                <a:gd name="connsiteX2" fmla="*/ 4770194 w 4770194"/>
                <a:gd name="connsiteY2" fmla="*/ 2065995 h 2065995"/>
                <a:gd name="connsiteX3" fmla="*/ 193161 w 4770194"/>
                <a:gd name="connsiteY3" fmla="*/ 2065995 h 2065995"/>
                <a:gd name="connsiteX4" fmla="*/ 297936 w 4770194"/>
                <a:gd name="connsiteY4" fmla="*/ 0 h 2065995"/>
                <a:gd name="connsiteX0" fmla="*/ 297936 w 4770194"/>
                <a:gd name="connsiteY0" fmla="*/ 0 h 2065995"/>
                <a:gd name="connsiteX1" fmla="*/ 4770194 w 4770194"/>
                <a:gd name="connsiteY1" fmla="*/ 0 h 2065995"/>
                <a:gd name="connsiteX2" fmla="*/ 4770194 w 4770194"/>
                <a:gd name="connsiteY2" fmla="*/ 2065995 h 2065995"/>
                <a:gd name="connsiteX3" fmla="*/ 193161 w 4770194"/>
                <a:gd name="connsiteY3" fmla="*/ 2065995 h 2065995"/>
                <a:gd name="connsiteX4" fmla="*/ 297936 w 4770194"/>
                <a:gd name="connsiteY4" fmla="*/ 0 h 2065995"/>
                <a:gd name="connsiteX0" fmla="*/ 539440 w 5011698"/>
                <a:gd name="connsiteY0" fmla="*/ 0 h 2516953"/>
                <a:gd name="connsiteX1" fmla="*/ 5011698 w 5011698"/>
                <a:gd name="connsiteY1" fmla="*/ 0 h 2516953"/>
                <a:gd name="connsiteX2" fmla="*/ 5011698 w 5011698"/>
                <a:gd name="connsiteY2" fmla="*/ 2065995 h 2516953"/>
                <a:gd name="connsiteX3" fmla="*/ 434665 w 5011698"/>
                <a:gd name="connsiteY3" fmla="*/ 2065995 h 2516953"/>
                <a:gd name="connsiteX4" fmla="*/ 171165 w 5011698"/>
                <a:gd name="connsiteY4" fmla="*/ 2425415 h 2516953"/>
                <a:gd name="connsiteX5" fmla="*/ 539440 w 5011698"/>
                <a:gd name="connsiteY5" fmla="*/ 0 h 2516953"/>
                <a:gd name="connsiteX0" fmla="*/ 486588 w 4958846"/>
                <a:gd name="connsiteY0" fmla="*/ 0 h 2425415"/>
                <a:gd name="connsiteX1" fmla="*/ 4958846 w 4958846"/>
                <a:gd name="connsiteY1" fmla="*/ 0 h 2425415"/>
                <a:gd name="connsiteX2" fmla="*/ 4958846 w 4958846"/>
                <a:gd name="connsiteY2" fmla="*/ 2065995 h 2425415"/>
                <a:gd name="connsiteX3" fmla="*/ 381813 w 4958846"/>
                <a:gd name="connsiteY3" fmla="*/ 2065995 h 2425415"/>
                <a:gd name="connsiteX4" fmla="*/ 118313 w 4958846"/>
                <a:gd name="connsiteY4" fmla="*/ 2425415 h 2425415"/>
                <a:gd name="connsiteX5" fmla="*/ 486588 w 4958846"/>
                <a:gd name="connsiteY5" fmla="*/ 0 h 2425415"/>
                <a:gd name="connsiteX0" fmla="*/ 468594 w 4940852"/>
                <a:gd name="connsiteY0" fmla="*/ 0 h 2425415"/>
                <a:gd name="connsiteX1" fmla="*/ 4940852 w 4940852"/>
                <a:gd name="connsiteY1" fmla="*/ 0 h 2425415"/>
                <a:gd name="connsiteX2" fmla="*/ 4940852 w 4940852"/>
                <a:gd name="connsiteY2" fmla="*/ 2065995 h 2425415"/>
                <a:gd name="connsiteX3" fmla="*/ 363819 w 4940852"/>
                <a:gd name="connsiteY3" fmla="*/ 2065995 h 2425415"/>
                <a:gd name="connsiteX4" fmla="*/ 100319 w 4940852"/>
                <a:gd name="connsiteY4" fmla="*/ 2425415 h 2425415"/>
                <a:gd name="connsiteX5" fmla="*/ 468594 w 4940852"/>
                <a:gd name="connsiteY5" fmla="*/ 0 h 2425415"/>
                <a:gd name="connsiteX0" fmla="*/ 537687 w 5009945"/>
                <a:gd name="connsiteY0" fmla="*/ 0 h 2425415"/>
                <a:gd name="connsiteX1" fmla="*/ 5009945 w 5009945"/>
                <a:gd name="connsiteY1" fmla="*/ 0 h 2425415"/>
                <a:gd name="connsiteX2" fmla="*/ 5009945 w 5009945"/>
                <a:gd name="connsiteY2" fmla="*/ 2065995 h 2425415"/>
                <a:gd name="connsiteX3" fmla="*/ 432912 w 5009945"/>
                <a:gd name="connsiteY3" fmla="*/ 2065995 h 2425415"/>
                <a:gd name="connsiteX4" fmla="*/ 169412 w 5009945"/>
                <a:gd name="connsiteY4" fmla="*/ 2425415 h 2425415"/>
                <a:gd name="connsiteX5" fmla="*/ 537687 w 5009945"/>
                <a:gd name="connsiteY5" fmla="*/ 0 h 2425415"/>
                <a:gd name="connsiteX0" fmla="*/ 454847 w 5098555"/>
                <a:gd name="connsiteY0" fmla="*/ 0 h 2439703"/>
                <a:gd name="connsiteX1" fmla="*/ 5098555 w 5098555"/>
                <a:gd name="connsiteY1" fmla="*/ 14288 h 2439703"/>
                <a:gd name="connsiteX2" fmla="*/ 5098555 w 5098555"/>
                <a:gd name="connsiteY2" fmla="*/ 2080283 h 2439703"/>
                <a:gd name="connsiteX3" fmla="*/ 521522 w 5098555"/>
                <a:gd name="connsiteY3" fmla="*/ 2080283 h 2439703"/>
                <a:gd name="connsiteX4" fmla="*/ 258022 w 5098555"/>
                <a:gd name="connsiteY4" fmla="*/ 2439703 h 2439703"/>
                <a:gd name="connsiteX5" fmla="*/ 454847 w 5098555"/>
                <a:gd name="connsiteY5" fmla="*/ 0 h 2439703"/>
                <a:gd name="connsiteX0" fmla="*/ 379013 w 5022721"/>
                <a:gd name="connsiteY0" fmla="*/ 0 h 2439703"/>
                <a:gd name="connsiteX1" fmla="*/ 5022721 w 5022721"/>
                <a:gd name="connsiteY1" fmla="*/ 14288 h 2439703"/>
                <a:gd name="connsiteX2" fmla="*/ 5022721 w 5022721"/>
                <a:gd name="connsiteY2" fmla="*/ 2080283 h 2439703"/>
                <a:gd name="connsiteX3" fmla="*/ 445688 w 5022721"/>
                <a:gd name="connsiteY3" fmla="*/ 2080283 h 2439703"/>
                <a:gd name="connsiteX4" fmla="*/ 182188 w 5022721"/>
                <a:gd name="connsiteY4" fmla="*/ 2439703 h 2439703"/>
                <a:gd name="connsiteX5" fmla="*/ 379013 w 5022721"/>
                <a:gd name="connsiteY5" fmla="*/ 0 h 2439703"/>
                <a:gd name="connsiteX0" fmla="*/ 350710 w 5056330"/>
                <a:gd name="connsiteY0" fmla="*/ 0 h 2444465"/>
                <a:gd name="connsiteX1" fmla="*/ 5056330 w 5056330"/>
                <a:gd name="connsiteY1" fmla="*/ 19050 h 2444465"/>
                <a:gd name="connsiteX2" fmla="*/ 5056330 w 5056330"/>
                <a:gd name="connsiteY2" fmla="*/ 2085045 h 2444465"/>
                <a:gd name="connsiteX3" fmla="*/ 479297 w 5056330"/>
                <a:gd name="connsiteY3" fmla="*/ 2085045 h 2444465"/>
                <a:gd name="connsiteX4" fmla="*/ 215797 w 5056330"/>
                <a:gd name="connsiteY4" fmla="*/ 2444465 h 2444465"/>
                <a:gd name="connsiteX5" fmla="*/ 350710 w 5056330"/>
                <a:gd name="connsiteY5" fmla="*/ 0 h 2444465"/>
                <a:gd name="connsiteX0" fmla="*/ 352764 w 5053622"/>
                <a:gd name="connsiteY0" fmla="*/ 0 h 2453990"/>
                <a:gd name="connsiteX1" fmla="*/ 5053622 w 5053622"/>
                <a:gd name="connsiteY1" fmla="*/ 28575 h 2453990"/>
                <a:gd name="connsiteX2" fmla="*/ 5053622 w 5053622"/>
                <a:gd name="connsiteY2" fmla="*/ 2094570 h 2453990"/>
                <a:gd name="connsiteX3" fmla="*/ 476589 w 5053622"/>
                <a:gd name="connsiteY3" fmla="*/ 2094570 h 2453990"/>
                <a:gd name="connsiteX4" fmla="*/ 213089 w 5053622"/>
                <a:gd name="connsiteY4" fmla="*/ 2453990 h 2453990"/>
                <a:gd name="connsiteX5" fmla="*/ 352764 w 5053622"/>
                <a:gd name="connsiteY5" fmla="*/ 0 h 2453990"/>
                <a:gd name="connsiteX0" fmla="*/ 322357 w 5023215"/>
                <a:gd name="connsiteY0" fmla="*/ 0 h 2453990"/>
                <a:gd name="connsiteX1" fmla="*/ 5023215 w 5023215"/>
                <a:gd name="connsiteY1" fmla="*/ 28575 h 2453990"/>
                <a:gd name="connsiteX2" fmla="*/ 5023215 w 5023215"/>
                <a:gd name="connsiteY2" fmla="*/ 2094570 h 2453990"/>
                <a:gd name="connsiteX3" fmla="*/ 446182 w 5023215"/>
                <a:gd name="connsiteY3" fmla="*/ 2094570 h 2453990"/>
                <a:gd name="connsiteX4" fmla="*/ 182682 w 5023215"/>
                <a:gd name="connsiteY4" fmla="*/ 2453990 h 2453990"/>
                <a:gd name="connsiteX5" fmla="*/ 322357 w 5023215"/>
                <a:gd name="connsiteY5" fmla="*/ 0 h 2453990"/>
                <a:gd name="connsiteX0" fmla="*/ 322357 w 5023215"/>
                <a:gd name="connsiteY0" fmla="*/ 0 h 2453990"/>
                <a:gd name="connsiteX1" fmla="*/ 5023215 w 5023215"/>
                <a:gd name="connsiteY1" fmla="*/ 28575 h 2453990"/>
                <a:gd name="connsiteX2" fmla="*/ 5023215 w 5023215"/>
                <a:gd name="connsiteY2" fmla="*/ 2094570 h 2453990"/>
                <a:gd name="connsiteX3" fmla="*/ 446182 w 5023215"/>
                <a:gd name="connsiteY3" fmla="*/ 2094570 h 2453990"/>
                <a:gd name="connsiteX4" fmla="*/ 182682 w 5023215"/>
                <a:gd name="connsiteY4" fmla="*/ 2453990 h 2453990"/>
                <a:gd name="connsiteX5" fmla="*/ 322357 w 5023215"/>
                <a:gd name="connsiteY5" fmla="*/ 0 h 2453990"/>
                <a:gd name="connsiteX0" fmla="*/ 344987 w 5045845"/>
                <a:gd name="connsiteY0" fmla="*/ 0 h 2453990"/>
                <a:gd name="connsiteX1" fmla="*/ 5045845 w 5045845"/>
                <a:gd name="connsiteY1" fmla="*/ 28575 h 2453990"/>
                <a:gd name="connsiteX2" fmla="*/ 5045845 w 5045845"/>
                <a:gd name="connsiteY2" fmla="*/ 2094570 h 2453990"/>
                <a:gd name="connsiteX3" fmla="*/ 468812 w 5045845"/>
                <a:gd name="connsiteY3" fmla="*/ 2094570 h 2453990"/>
                <a:gd name="connsiteX4" fmla="*/ 205312 w 5045845"/>
                <a:gd name="connsiteY4" fmla="*/ 2453990 h 2453990"/>
                <a:gd name="connsiteX5" fmla="*/ 344987 w 5045845"/>
                <a:gd name="connsiteY5" fmla="*/ 0 h 2453990"/>
                <a:gd name="connsiteX0" fmla="*/ 333411 w 5058081"/>
                <a:gd name="connsiteY0" fmla="*/ 0 h 2453990"/>
                <a:gd name="connsiteX1" fmla="*/ 5058081 w 5058081"/>
                <a:gd name="connsiteY1" fmla="*/ 28575 h 2453990"/>
                <a:gd name="connsiteX2" fmla="*/ 5058081 w 5058081"/>
                <a:gd name="connsiteY2" fmla="*/ 2094570 h 2453990"/>
                <a:gd name="connsiteX3" fmla="*/ 481048 w 5058081"/>
                <a:gd name="connsiteY3" fmla="*/ 2094570 h 2453990"/>
                <a:gd name="connsiteX4" fmla="*/ 217548 w 5058081"/>
                <a:gd name="connsiteY4" fmla="*/ 2453990 h 2453990"/>
                <a:gd name="connsiteX5" fmla="*/ 333411 w 5058081"/>
                <a:gd name="connsiteY5" fmla="*/ 0 h 2453990"/>
                <a:gd name="connsiteX0" fmla="*/ 324249 w 5048919"/>
                <a:gd name="connsiteY0" fmla="*/ 0 h 2453990"/>
                <a:gd name="connsiteX1" fmla="*/ 5048919 w 5048919"/>
                <a:gd name="connsiteY1" fmla="*/ 28575 h 2453990"/>
                <a:gd name="connsiteX2" fmla="*/ 5048919 w 5048919"/>
                <a:gd name="connsiteY2" fmla="*/ 2094570 h 2453990"/>
                <a:gd name="connsiteX3" fmla="*/ 471886 w 5048919"/>
                <a:gd name="connsiteY3" fmla="*/ 2094570 h 2453990"/>
                <a:gd name="connsiteX4" fmla="*/ 208386 w 5048919"/>
                <a:gd name="connsiteY4" fmla="*/ 2453990 h 2453990"/>
                <a:gd name="connsiteX5" fmla="*/ 324249 w 5048919"/>
                <a:gd name="connsiteY5" fmla="*/ 0 h 2453990"/>
                <a:gd name="connsiteX0" fmla="*/ 401579 w 4988136"/>
                <a:gd name="connsiteY0" fmla="*/ 0 h 2444465"/>
                <a:gd name="connsiteX1" fmla="*/ 4988136 w 4988136"/>
                <a:gd name="connsiteY1" fmla="*/ 19050 h 2444465"/>
                <a:gd name="connsiteX2" fmla="*/ 4988136 w 4988136"/>
                <a:gd name="connsiteY2" fmla="*/ 2085045 h 2444465"/>
                <a:gd name="connsiteX3" fmla="*/ 411103 w 4988136"/>
                <a:gd name="connsiteY3" fmla="*/ 2085045 h 2444465"/>
                <a:gd name="connsiteX4" fmla="*/ 147603 w 4988136"/>
                <a:gd name="connsiteY4" fmla="*/ 2444465 h 2444465"/>
                <a:gd name="connsiteX5" fmla="*/ 401579 w 4988136"/>
                <a:gd name="connsiteY5" fmla="*/ 0 h 2444465"/>
                <a:gd name="connsiteX0" fmla="*/ 567981 w 5154538"/>
                <a:gd name="connsiteY0" fmla="*/ 0 h 2085045"/>
                <a:gd name="connsiteX1" fmla="*/ 5154538 w 5154538"/>
                <a:gd name="connsiteY1" fmla="*/ 19050 h 2085045"/>
                <a:gd name="connsiteX2" fmla="*/ 5154538 w 5154538"/>
                <a:gd name="connsiteY2" fmla="*/ 2085045 h 2085045"/>
                <a:gd name="connsiteX3" fmla="*/ 577505 w 5154538"/>
                <a:gd name="connsiteY3" fmla="*/ 2085045 h 2085045"/>
                <a:gd name="connsiteX4" fmla="*/ 567981 w 5154538"/>
                <a:gd name="connsiteY4" fmla="*/ 0 h 2085045"/>
                <a:gd name="connsiteX0" fmla="*/ 378118 w 4964675"/>
                <a:gd name="connsiteY0" fmla="*/ 0 h 2085045"/>
                <a:gd name="connsiteX1" fmla="*/ 4964675 w 4964675"/>
                <a:gd name="connsiteY1" fmla="*/ 19050 h 2085045"/>
                <a:gd name="connsiteX2" fmla="*/ 4964675 w 4964675"/>
                <a:gd name="connsiteY2" fmla="*/ 2085045 h 2085045"/>
                <a:gd name="connsiteX3" fmla="*/ 387642 w 4964675"/>
                <a:gd name="connsiteY3" fmla="*/ 2085045 h 2085045"/>
                <a:gd name="connsiteX4" fmla="*/ 378118 w 4964675"/>
                <a:gd name="connsiteY4" fmla="*/ 0 h 2085045"/>
                <a:gd name="connsiteX0" fmla="*/ 106350 w 4692907"/>
                <a:gd name="connsiteY0" fmla="*/ 0 h 2085045"/>
                <a:gd name="connsiteX1" fmla="*/ 4692907 w 4692907"/>
                <a:gd name="connsiteY1" fmla="*/ 19050 h 2085045"/>
                <a:gd name="connsiteX2" fmla="*/ 4692907 w 4692907"/>
                <a:gd name="connsiteY2" fmla="*/ 2085045 h 2085045"/>
                <a:gd name="connsiteX3" fmla="*/ 115874 w 4692907"/>
                <a:gd name="connsiteY3" fmla="*/ 2085045 h 2085045"/>
                <a:gd name="connsiteX4" fmla="*/ 106350 w 4692907"/>
                <a:gd name="connsiteY4" fmla="*/ 0 h 2085045"/>
                <a:gd name="connsiteX0" fmla="*/ 106350 w 4692907"/>
                <a:gd name="connsiteY0" fmla="*/ 0 h 2085045"/>
                <a:gd name="connsiteX1" fmla="*/ 4435732 w 4692907"/>
                <a:gd name="connsiteY1" fmla="*/ 19050 h 2085045"/>
                <a:gd name="connsiteX2" fmla="*/ 4692907 w 4692907"/>
                <a:gd name="connsiteY2" fmla="*/ 2085045 h 2085045"/>
                <a:gd name="connsiteX3" fmla="*/ 115874 w 4692907"/>
                <a:gd name="connsiteY3" fmla="*/ 2085045 h 2085045"/>
                <a:gd name="connsiteX4" fmla="*/ 106350 w 4692907"/>
                <a:gd name="connsiteY4" fmla="*/ 0 h 2085045"/>
                <a:gd name="connsiteX0" fmla="*/ 106350 w 4692907"/>
                <a:gd name="connsiteY0" fmla="*/ 0 h 2085045"/>
                <a:gd name="connsiteX1" fmla="*/ 4435732 w 4692907"/>
                <a:gd name="connsiteY1" fmla="*/ 19050 h 2085045"/>
                <a:gd name="connsiteX2" fmla="*/ 4692907 w 4692907"/>
                <a:gd name="connsiteY2" fmla="*/ 2085045 h 2085045"/>
                <a:gd name="connsiteX3" fmla="*/ 115874 w 4692907"/>
                <a:gd name="connsiteY3" fmla="*/ 2085045 h 2085045"/>
                <a:gd name="connsiteX4" fmla="*/ 106350 w 4692907"/>
                <a:gd name="connsiteY4" fmla="*/ 0 h 2085045"/>
                <a:gd name="connsiteX0" fmla="*/ 106350 w 4692907"/>
                <a:gd name="connsiteY0" fmla="*/ 0 h 2085045"/>
                <a:gd name="connsiteX1" fmla="*/ 4454782 w 4692907"/>
                <a:gd name="connsiteY1" fmla="*/ 19050 h 2085045"/>
                <a:gd name="connsiteX2" fmla="*/ 4692907 w 4692907"/>
                <a:gd name="connsiteY2" fmla="*/ 2085045 h 2085045"/>
                <a:gd name="connsiteX3" fmla="*/ 115874 w 4692907"/>
                <a:gd name="connsiteY3" fmla="*/ 2085045 h 2085045"/>
                <a:gd name="connsiteX4" fmla="*/ 106350 w 4692907"/>
                <a:gd name="connsiteY4" fmla="*/ 0 h 2085045"/>
                <a:gd name="connsiteX0" fmla="*/ 106350 w 4692907"/>
                <a:gd name="connsiteY0" fmla="*/ 0 h 2085045"/>
                <a:gd name="connsiteX1" fmla="*/ 4454782 w 4692907"/>
                <a:gd name="connsiteY1" fmla="*/ 19050 h 2085045"/>
                <a:gd name="connsiteX2" fmla="*/ 4692907 w 4692907"/>
                <a:gd name="connsiteY2" fmla="*/ 2085045 h 2085045"/>
                <a:gd name="connsiteX3" fmla="*/ 115874 w 4692907"/>
                <a:gd name="connsiteY3" fmla="*/ 2085045 h 2085045"/>
                <a:gd name="connsiteX4" fmla="*/ 106350 w 4692907"/>
                <a:gd name="connsiteY4" fmla="*/ 0 h 2085045"/>
                <a:gd name="connsiteX0" fmla="*/ 123187 w 4709744"/>
                <a:gd name="connsiteY0" fmla="*/ 0 h 2085045"/>
                <a:gd name="connsiteX1" fmla="*/ 4471619 w 4709744"/>
                <a:gd name="connsiteY1" fmla="*/ 19050 h 2085045"/>
                <a:gd name="connsiteX2" fmla="*/ 4709744 w 4709744"/>
                <a:gd name="connsiteY2" fmla="*/ 2085045 h 2085045"/>
                <a:gd name="connsiteX3" fmla="*/ 132711 w 4709744"/>
                <a:gd name="connsiteY3" fmla="*/ 2085045 h 2085045"/>
                <a:gd name="connsiteX4" fmla="*/ 123187 w 4709744"/>
                <a:gd name="connsiteY4" fmla="*/ 0 h 2085045"/>
                <a:gd name="connsiteX0" fmla="*/ 119847 w 4706404"/>
                <a:gd name="connsiteY0" fmla="*/ 0 h 2085045"/>
                <a:gd name="connsiteX1" fmla="*/ 4468279 w 4706404"/>
                <a:gd name="connsiteY1" fmla="*/ 19050 h 2085045"/>
                <a:gd name="connsiteX2" fmla="*/ 4706404 w 4706404"/>
                <a:gd name="connsiteY2" fmla="*/ 2085045 h 2085045"/>
                <a:gd name="connsiteX3" fmla="*/ 129371 w 4706404"/>
                <a:gd name="connsiteY3" fmla="*/ 2085045 h 2085045"/>
                <a:gd name="connsiteX4" fmla="*/ 119847 w 4706404"/>
                <a:gd name="connsiteY4" fmla="*/ 0 h 2085045"/>
                <a:gd name="connsiteX0" fmla="*/ 119847 w 4706404"/>
                <a:gd name="connsiteY0" fmla="*/ 0 h 2085045"/>
                <a:gd name="connsiteX1" fmla="*/ 4669447 w 4706404"/>
                <a:gd name="connsiteY1" fmla="*/ 28194 h 2085045"/>
                <a:gd name="connsiteX2" fmla="*/ 4706404 w 4706404"/>
                <a:gd name="connsiteY2" fmla="*/ 2085045 h 2085045"/>
                <a:gd name="connsiteX3" fmla="*/ 129371 w 4706404"/>
                <a:gd name="connsiteY3" fmla="*/ 2085045 h 2085045"/>
                <a:gd name="connsiteX4" fmla="*/ 119847 w 4706404"/>
                <a:gd name="connsiteY4" fmla="*/ 0 h 2085045"/>
                <a:gd name="connsiteX0" fmla="*/ 119847 w 4706404"/>
                <a:gd name="connsiteY0" fmla="*/ 0 h 2085045"/>
                <a:gd name="connsiteX1" fmla="*/ 4669447 w 4706404"/>
                <a:gd name="connsiteY1" fmla="*/ 28194 h 2085045"/>
                <a:gd name="connsiteX2" fmla="*/ 4706404 w 4706404"/>
                <a:gd name="connsiteY2" fmla="*/ 2085045 h 2085045"/>
                <a:gd name="connsiteX3" fmla="*/ 129371 w 4706404"/>
                <a:gd name="connsiteY3" fmla="*/ 2085045 h 2085045"/>
                <a:gd name="connsiteX4" fmla="*/ 119847 w 4706404"/>
                <a:gd name="connsiteY4" fmla="*/ 0 h 2085045"/>
                <a:gd name="connsiteX0" fmla="*/ 119847 w 4706404"/>
                <a:gd name="connsiteY0" fmla="*/ 0 h 2085045"/>
                <a:gd name="connsiteX1" fmla="*/ 4685322 w 4706404"/>
                <a:gd name="connsiteY1" fmla="*/ 28194 h 2085045"/>
                <a:gd name="connsiteX2" fmla="*/ 4706404 w 4706404"/>
                <a:gd name="connsiteY2" fmla="*/ 2085045 h 2085045"/>
                <a:gd name="connsiteX3" fmla="*/ 129371 w 4706404"/>
                <a:gd name="connsiteY3" fmla="*/ 2085045 h 2085045"/>
                <a:gd name="connsiteX4" fmla="*/ 119847 w 4706404"/>
                <a:gd name="connsiteY4" fmla="*/ 0 h 2085045"/>
                <a:gd name="connsiteX0" fmla="*/ 119847 w 4706404"/>
                <a:gd name="connsiteY0" fmla="*/ 0 h 2085045"/>
                <a:gd name="connsiteX1" fmla="*/ 4685322 w 4706404"/>
                <a:gd name="connsiteY1" fmla="*/ 28194 h 2085045"/>
                <a:gd name="connsiteX2" fmla="*/ 4706404 w 4706404"/>
                <a:gd name="connsiteY2" fmla="*/ 2085045 h 2085045"/>
                <a:gd name="connsiteX3" fmla="*/ 129371 w 4706404"/>
                <a:gd name="connsiteY3" fmla="*/ 2085045 h 2085045"/>
                <a:gd name="connsiteX4" fmla="*/ 119847 w 4706404"/>
                <a:gd name="connsiteY4" fmla="*/ 0 h 2085045"/>
                <a:gd name="connsiteX0" fmla="*/ 119847 w 4706404"/>
                <a:gd name="connsiteY0" fmla="*/ 0 h 2085045"/>
                <a:gd name="connsiteX1" fmla="*/ 4685322 w 4706404"/>
                <a:gd name="connsiteY1" fmla="*/ 28194 h 2085045"/>
                <a:gd name="connsiteX2" fmla="*/ 4706404 w 4706404"/>
                <a:gd name="connsiteY2" fmla="*/ 2085045 h 2085045"/>
                <a:gd name="connsiteX3" fmla="*/ 129371 w 4706404"/>
                <a:gd name="connsiteY3" fmla="*/ 2085045 h 2085045"/>
                <a:gd name="connsiteX4" fmla="*/ 119847 w 4706404"/>
                <a:gd name="connsiteY4" fmla="*/ 0 h 2085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6404" h="2085045">
                  <a:moveTo>
                    <a:pt x="119847" y="0"/>
                  </a:moveTo>
                  <a:lnTo>
                    <a:pt x="4685322" y="28194"/>
                  </a:lnTo>
                  <a:cubicBezTo>
                    <a:pt x="4564672" y="726384"/>
                    <a:pt x="4401604" y="1653555"/>
                    <a:pt x="4706404" y="2085045"/>
                  </a:cubicBezTo>
                  <a:lnTo>
                    <a:pt x="129371" y="2085045"/>
                  </a:lnTo>
                  <a:cubicBezTo>
                    <a:pt x="-35361" y="1207313"/>
                    <a:pt x="-47362" y="828456"/>
                    <a:pt x="11984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988" name="Group 2987">
              <a:extLst>
                <a:ext uri="{FF2B5EF4-FFF2-40B4-BE49-F238E27FC236}">
                  <a16:creationId xmlns:a16="http://schemas.microsoft.com/office/drawing/2014/main" id="{A64A9E6D-059B-422D-96CE-3BD84D1AA3C3}"/>
                </a:ext>
              </a:extLst>
            </p:cNvPr>
            <p:cNvGrpSpPr/>
            <p:nvPr/>
          </p:nvGrpSpPr>
          <p:grpSpPr>
            <a:xfrm>
              <a:off x="9962147" y="527843"/>
              <a:ext cx="1822246" cy="1508629"/>
              <a:chOff x="7333166" y="1813561"/>
              <a:chExt cx="1061534" cy="878839"/>
            </a:xfrm>
          </p:grpSpPr>
          <p:sp>
            <p:nvSpPr>
              <p:cNvPr id="2990" name="Rectangle: Rounded Corners 2029">
                <a:extLst>
                  <a:ext uri="{FF2B5EF4-FFF2-40B4-BE49-F238E27FC236}">
                    <a16:creationId xmlns:a16="http://schemas.microsoft.com/office/drawing/2014/main" id="{A9489E4A-1CBA-4ECA-A89A-F15216586B13}"/>
                  </a:ext>
                </a:extLst>
              </p:cNvPr>
              <p:cNvSpPr/>
              <p:nvPr/>
            </p:nvSpPr>
            <p:spPr bwMode="auto">
              <a:xfrm>
                <a:off x="7333166" y="1813561"/>
                <a:ext cx="1061534" cy="878839"/>
              </a:xfrm>
              <a:prstGeom prst="roundRect">
                <a:avLst>
                  <a:gd name="adj" fmla="val 4384"/>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91" name="Rectangle: Rounded Corners 2030">
                <a:extLst>
                  <a:ext uri="{FF2B5EF4-FFF2-40B4-BE49-F238E27FC236}">
                    <a16:creationId xmlns:a16="http://schemas.microsoft.com/office/drawing/2014/main" id="{BA0ACAF9-2C54-4364-9EC9-2353C045E3D3}"/>
                  </a:ext>
                </a:extLst>
              </p:cNvPr>
              <p:cNvSpPr/>
              <p:nvPr/>
            </p:nvSpPr>
            <p:spPr bwMode="auto">
              <a:xfrm>
                <a:off x="7378158" y="1860551"/>
                <a:ext cx="971550" cy="723900"/>
              </a:xfrm>
              <a:prstGeom prst="roundRect">
                <a:avLst>
                  <a:gd name="adj" fmla="val 438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89" name="Freeform: Shape 2028">
              <a:extLst>
                <a:ext uri="{FF2B5EF4-FFF2-40B4-BE49-F238E27FC236}">
                  <a16:creationId xmlns:a16="http://schemas.microsoft.com/office/drawing/2014/main" id="{F92B757B-936B-4148-850A-BA1E33EDB308}"/>
                </a:ext>
              </a:extLst>
            </p:cNvPr>
            <p:cNvSpPr/>
            <p:nvPr/>
          </p:nvSpPr>
          <p:spPr bwMode="auto">
            <a:xfrm flipH="1">
              <a:off x="12164609" y="81502"/>
              <a:ext cx="361779" cy="2413097"/>
            </a:xfrm>
            <a:custGeom>
              <a:avLst/>
              <a:gdLst>
                <a:gd name="connsiteX0" fmla="*/ 257175 w 257175"/>
                <a:gd name="connsiteY0" fmla="*/ 2362201 h 2719388"/>
                <a:gd name="connsiteX1" fmla="*/ 257175 w 257175"/>
                <a:gd name="connsiteY1" fmla="*/ 0 h 2719388"/>
                <a:gd name="connsiteX2" fmla="*/ 0 w 257175"/>
                <a:gd name="connsiteY2" fmla="*/ 2719388 h 2719388"/>
                <a:gd name="connsiteX3" fmla="*/ 257175 w 257175"/>
                <a:gd name="connsiteY3" fmla="*/ 2362201 h 2719388"/>
                <a:gd name="connsiteX0" fmla="*/ 302450 w 302450"/>
                <a:gd name="connsiteY0" fmla="*/ 2362201 h 2719388"/>
                <a:gd name="connsiteX1" fmla="*/ 302450 w 302450"/>
                <a:gd name="connsiteY1" fmla="*/ 0 h 2719388"/>
                <a:gd name="connsiteX2" fmla="*/ 45275 w 302450"/>
                <a:gd name="connsiteY2" fmla="*/ 2719388 h 2719388"/>
                <a:gd name="connsiteX3" fmla="*/ 302450 w 302450"/>
                <a:gd name="connsiteY3" fmla="*/ 2362201 h 2719388"/>
                <a:gd name="connsiteX0" fmla="*/ 300467 w 300467"/>
                <a:gd name="connsiteY0" fmla="*/ 2362201 h 2733676"/>
                <a:gd name="connsiteX1" fmla="*/ 300467 w 300467"/>
                <a:gd name="connsiteY1" fmla="*/ 0 h 2733676"/>
                <a:gd name="connsiteX2" fmla="*/ 48054 w 300467"/>
                <a:gd name="connsiteY2" fmla="*/ 2733676 h 2733676"/>
                <a:gd name="connsiteX3" fmla="*/ 300467 w 300467"/>
                <a:gd name="connsiteY3" fmla="*/ 2362201 h 2733676"/>
                <a:gd name="connsiteX0" fmla="*/ 454094 w 454094"/>
                <a:gd name="connsiteY0" fmla="*/ 2362201 h 2733676"/>
                <a:gd name="connsiteX1" fmla="*/ 454094 w 454094"/>
                <a:gd name="connsiteY1" fmla="*/ 0 h 2733676"/>
                <a:gd name="connsiteX2" fmla="*/ 201681 w 454094"/>
                <a:gd name="connsiteY2" fmla="*/ 2733676 h 2733676"/>
                <a:gd name="connsiteX3" fmla="*/ 454094 w 454094"/>
                <a:gd name="connsiteY3" fmla="*/ 2362201 h 2733676"/>
                <a:gd name="connsiteX0" fmla="*/ 458857 w 458857"/>
                <a:gd name="connsiteY0" fmla="*/ 2362201 h 2733676"/>
                <a:gd name="connsiteX1" fmla="*/ 454094 w 458857"/>
                <a:gd name="connsiteY1" fmla="*/ 0 h 2733676"/>
                <a:gd name="connsiteX2" fmla="*/ 201681 w 458857"/>
                <a:gd name="connsiteY2" fmla="*/ 2733676 h 2733676"/>
                <a:gd name="connsiteX3" fmla="*/ 458857 w 458857"/>
                <a:gd name="connsiteY3" fmla="*/ 2362201 h 2733676"/>
                <a:gd name="connsiteX0" fmla="*/ 458857 w 458857"/>
                <a:gd name="connsiteY0" fmla="*/ 2330554 h 2733676"/>
                <a:gd name="connsiteX1" fmla="*/ 454094 w 458857"/>
                <a:gd name="connsiteY1" fmla="*/ 0 h 2733676"/>
                <a:gd name="connsiteX2" fmla="*/ 201681 w 458857"/>
                <a:gd name="connsiteY2" fmla="*/ 2733676 h 2733676"/>
                <a:gd name="connsiteX3" fmla="*/ 458857 w 458857"/>
                <a:gd name="connsiteY3" fmla="*/ 2330554 h 2733676"/>
                <a:gd name="connsiteX0" fmla="*/ 466809 w 466809"/>
                <a:gd name="connsiteY0" fmla="*/ 2330554 h 2716026"/>
                <a:gd name="connsiteX1" fmla="*/ 462046 w 466809"/>
                <a:gd name="connsiteY1" fmla="*/ 0 h 2716026"/>
                <a:gd name="connsiteX2" fmla="*/ 196933 w 466809"/>
                <a:gd name="connsiteY2" fmla="*/ 2716026 h 2716026"/>
                <a:gd name="connsiteX3" fmla="*/ 466809 w 466809"/>
                <a:gd name="connsiteY3" fmla="*/ 2330554 h 2716026"/>
                <a:gd name="connsiteX0" fmla="*/ 454935 w 454935"/>
                <a:gd name="connsiteY0" fmla="*/ 2330554 h 2716026"/>
                <a:gd name="connsiteX1" fmla="*/ 450172 w 454935"/>
                <a:gd name="connsiteY1" fmla="*/ 0 h 2716026"/>
                <a:gd name="connsiteX2" fmla="*/ 204109 w 454935"/>
                <a:gd name="connsiteY2" fmla="*/ 2716026 h 2716026"/>
                <a:gd name="connsiteX3" fmla="*/ 454935 w 454935"/>
                <a:gd name="connsiteY3" fmla="*/ 2330554 h 2716026"/>
                <a:gd name="connsiteX0" fmla="*/ 460832 w 460832"/>
                <a:gd name="connsiteY0" fmla="*/ 2330554 h 2708966"/>
                <a:gd name="connsiteX1" fmla="*/ 456069 w 460832"/>
                <a:gd name="connsiteY1" fmla="*/ 0 h 2708966"/>
                <a:gd name="connsiteX2" fmla="*/ 200481 w 460832"/>
                <a:gd name="connsiteY2" fmla="*/ 2708966 h 2708966"/>
                <a:gd name="connsiteX3" fmla="*/ 460832 w 460832"/>
                <a:gd name="connsiteY3" fmla="*/ 2330554 h 2708966"/>
                <a:gd name="connsiteX0" fmla="*/ 260351 w 260351"/>
                <a:gd name="connsiteY0" fmla="*/ 2330554 h 2708966"/>
                <a:gd name="connsiteX1" fmla="*/ 255588 w 260351"/>
                <a:gd name="connsiteY1" fmla="*/ 0 h 2708966"/>
                <a:gd name="connsiteX2" fmla="*/ 0 w 260351"/>
                <a:gd name="connsiteY2" fmla="*/ 2708966 h 2708966"/>
                <a:gd name="connsiteX3" fmla="*/ 260351 w 260351"/>
                <a:gd name="connsiteY3" fmla="*/ 2330554 h 2708966"/>
                <a:gd name="connsiteX0" fmla="*/ 402851 w 402851"/>
                <a:gd name="connsiteY0" fmla="*/ 2309374 h 2687786"/>
                <a:gd name="connsiteX1" fmla="*/ 194447 w 402851"/>
                <a:gd name="connsiteY1" fmla="*/ 0 h 2687786"/>
                <a:gd name="connsiteX2" fmla="*/ 142500 w 402851"/>
                <a:gd name="connsiteY2" fmla="*/ 2687786 h 2687786"/>
                <a:gd name="connsiteX3" fmla="*/ 402851 w 402851"/>
                <a:gd name="connsiteY3" fmla="*/ 2309374 h 2687786"/>
                <a:gd name="connsiteX0" fmla="*/ 260351 w 260351"/>
                <a:gd name="connsiteY0" fmla="*/ 2309374 h 2687786"/>
                <a:gd name="connsiteX1" fmla="*/ 51947 w 260351"/>
                <a:gd name="connsiteY1" fmla="*/ 0 h 2687786"/>
                <a:gd name="connsiteX2" fmla="*/ 0 w 260351"/>
                <a:gd name="connsiteY2" fmla="*/ 2687786 h 2687786"/>
                <a:gd name="connsiteX3" fmla="*/ 260351 w 260351"/>
                <a:gd name="connsiteY3" fmla="*/ 2309374 h 2687786"/>
                <a:gd name="connsiteX0" fmla="*/ 270884 w 270884"/>
                <a:gd name="connsiteY0" fmla="*/ 2309374 h 2687786"/>
                <a:gd name="connsiteX1" fmla="*/ 62480 w 270884"/>
                <a:gd name="connsiteY1" fmla="*/ 0 h 2687786"/>
                <a:gd name="connsiteX2" fmla="*/ 0 w 270884"/>
                <a:gd name="connsiteY2" fmla="*/ 2687786 h 2687786"/>
                <a:gd name="connsiteX3" fmla="*/ 270884 w 270884"/>
                <a:gd name="connsiteY3" fmla="*/ 2309374 h 2687786"/>
                <a:gd name="connsiteX0" fmla="*/ 270884 w 270884"/>
                <a:gd name="connsiteY0" fmla="*/ 2309374 h 2687786"/>
                <a:gd name="connsiteX1" fmla="*/ 62480 w 270884"/>
                <a:gd name="connsiteY1" fmla="*/ 0 h 2687786"/>
                <a:gd name="connsiteX2" fmla="*/ 0 w 270884"/>
                <a:gd name="connsiteY2" fmla="*/ 2687786 h 2687786"/>
                <a:gd name="connsiteX3" fmla="*/ 270884 w 270884"/>
                <a:gd name="connsiteY3" fmla="*/ 2309374 h 2687786"/>
                <a:gd name="connsiteX0" fmla="*/ 270884 w 275373"/>
                <a:gd name="connsiteY0" fmla="*/ 2309374 h 2687786"/>
                <a:gd name="connsiteX1" fmla="*/ 62480 w 275373"/>
                <a:gd name="connsiteY1" fmla="*/ 0 h 2687786"/>
                <a:gd name="connsiteX2" fmla="*/ 0 w 275373"/>
                <a:gd name="connsiteY2" fmla="*/ 2687786 h 2687786"/>
                <a:gd name="connsiteX3" fmla="*/ 270884 w 275373"/>
                <a:gd name="connsiteY3" fmla="*/ 2309374 h 2687786"/>
                <a:gd name="connsiteX0" fmla="*/ 270884 w 284785"/>
                <a:gd name="connsiteY0" fmla="*/ 2309374 h 2687786"/>
                <a:gd name="connsiteX1" fmla="*/ 62480 w 284785"/>
                <a:gd name="connsiteY1" fmla="*/ 0 h 2687786"/>
                <a:gd name="connsiteX2" fmla="*/ 0 w 284785"/>
                <a:gd name="connsiteY2" fmla="*/ 2687786 h 2687786"/>
                <a:gd name="connsiteX3" fmla="*/ 270884 w 284785"/>
                <a:gd name="connsiteY3" fmla="*/ 2309374 h 2687786"/>
                <a:gd name="connsiteX0" fmla="*/ 270884 w 281758"/>
                <a:gd name="connsiteY0" fmla="*/ 2309374 h 2687786"/>
                <a:gd name="connsiteX1" fmla="*/ 62480 w 281758"/>
                <a:gd name="connsiteY1" fmla="*/ 0 h 2687786"/>
                <a:gd name="connsiteX2" fmla="*/ 0 w 281758"/>
                <a:gd name="connsiteY2" fmla="*/ 2687786 h 2687786"/>
                <a:gd name="connsiteX3" fmla="*/ 270884 w 281758"/>
                <a:gd name="connsiteY3" fmla="*/ 2309374 h 2687786"/>
                <a:gd name="connsiteX0" fmla="*/ 270884 w 281758"/>
                <a:gd name="connsiteY0" fmla="*/ 2309374 h 2687786"/>
                <a:gd name="connsiteX1" fmla="*/ 62480 w 281758"/>
                <a:gd name="connsiteY1" fmla="*/ 0 h 2687786"/>
                <a:gd name="connsiteX2" fmla="*/ 0 w 281758"/>
                <a:gd name="connsiteY2" fmla="*/ 2687786 h 2687786"/>
                <a:gd name="connsiteX3" fmla="*/ 270884 w 281758"/>
                <a:gd name="connsiteY3" fmla="*/ 2309374 h 2687786"/>
                <a:gd name="connsiteX0" fmla="*/ 270884 w 281758"/>
                <a:gd name="connsiteY0" fmla="*/ 2309375 h 2687786"/>
                <a:gd name="connsiteX1" fmla="*/ 62480 w 281758"/>
                <a:gd name="connsiteY1" fmla="*/ 0 h 2687786"/>
                <a:gd name="connsiteX2" fmla="*/ 0 w 281758"/>
                <a:gd name="connsiteY2" fmla="*/ 2687786 h 2687786"/>
                <a:gd name="connsiteX3" fmla="*/ 270884 w 281758"/>
                <a:gd name="connsiteY3" fmla="*/ 2309375 h 2687786"/>
                <a:gd name="connsiteX0" fmla="*/ 270884 w 281758"/>
                <a:gd name="connsiteY0" fmla="*/ 2288194 h 2687786"/>
                <a:gd name="connsiteX1" fmla="*/ 62480 w 281758"/>
                <a:gd name="connsiteY1" fmla="*/ 0 h 2687786"/>
                <a:gd name="connsiteX2" fmla="*/ 0 w 281758"/>
                <a:gd name="connsiteY2" fmla="*/ 2687786 h 2687786"/>
                <a:gd name="connsiteX3" fmla="*/ 270884 w 281758"/>
                <a:gd name="connsiteY3" fmla="*/ 2288194 h 2687786"/>
                <a:gd name="connsiteX0" fmla="*/ 270884 w 270884"/>
                <a:gd name="connsiteY0" fmla="*/ 2288194 h 2687786"/>
                <a:gd name="connsiteX1" fmla="*/ 62480 w 270884"/>
                <a:gd name="connsiteY1" fmla="*/ 0 h 2687786"/>
                <a:gd name="connsiteX2" fmla="*/ 0 w 270884"/>
                <a:gd name="connsiteY2" fmla="*/ 2687786 h 2687786"/>
                <a:gd name="connsiteX3" fmla="*/ 270884 w 270884"/>
                <a:gd name="connsiteY3" fmla="*/ 2288194 h 2687786"/>
                <a:gd name="connsiteX0" fmla="*/ 270884 w 276260"/>
                <a:gd name="connsiteY0" fmla="*/ 2293490 h 2693082"/>
                <a:gd name="connsiteX1" fmla="*/ 180979 w 276260"/>
                <a:gd name="connsiteY1" fmla="*/ 0 h 2693082"/>
                <a:gd name="connsiteX2" fmla="*/ 0 w 276260"/>
                <a:gd name="connsiteY2" fmla="*/ 2693082 h 2693082"/>
                <a:gd name="connsiteX3" fmla="*/ 270884 w 276260"/>
                <a:gd name="connsiteY3" fmla="*/ 2293490 h 2693082"/>
                <a:gd name="connsiteX0" fmla="*/ 270884 w 276260"/>
                <a:gd name="connsiteY0" fmla="*/ 2293490 h 2693082"/>
                <a:gd name="connsiteX1" fmla="*/ 180979 w 276260"/>
                <a:gd name="connsiteY1" fmla="*/ 0 h 2693082"/>
                <a:gd name="connsiteX2" fmla="*/ 0 w 276260"/>
                <a:gd name="connsiteY2" fmla="*/ 2693082 h 2693082"/>
                <a:gd name="connsiteX3" fmla="*/ 270884 w 276260"/>
                <a:gd name="connsiteY3" fmla="*/ 2293490 h 2693082"/>
                <a:gd name="connsiteX0" fmla="*/ 270884 w 270884"/>
                <a:gd name="connsiteY0" fmla="*/ 2293490 h 2693082"/>
                <a:gd name="connsiteX1" fmla="*/ 180979 w 270884"/>
                <a:gd name="connsiteY1" fmla="*/ 0 h 2693082"/>
                <a:gd name="connsiteX2" fmla="*/ 0 w 270884"/>
                <a:gd name="connsiteY2" fmla="*/ 2693082 h 2693082"/>
                <a:gd name="connsiteX3" fmla="*/ 270884 w 270884"/>
                <a:gd name="connsiteY3" fmla="*/ 2293490 h 2693082"/>
                <a:gd name="connsiteX0" fmla="*/ 270884 w 270884"/>
                <a:gd name="connsiteY0" fmla="*/ 2293490 h 2693082"/>
                <a:gd name="connsiteX1" fmla="*/ 180979 w 270884"/>
                <a:gd name="connsiteY1" fmla="*/ 0 h 2693082"/>
                <a:gd name="connsiteX2" fmla="*/ 0 w 270884"/>
                <a:gd name="connsiteY2" fmla="*/ 2693082 h 2693082"/>
                <a:gd name="connsiteX3" fmla="*/ 270884 w 270884"/>
                <a:gd name="connsiteY3" fmla="*/ 2293490 h 2693082"/>
                <a:gd name="connsiteX0" fmla="*/ 270884 w 270884"/>
                <a:gd name="connsiteY0" fmla="*/ 2293490 h 2693082"/>
                <a:gd name="connsiteX1" fmla="*/ 180979 w 270884"/>
                <a:gd name="connsiteY1" fmla="*/ 0 h 2693082"/>
                <a:gd name="connsiteX2" fmla="*/ 0 w 270884"/>
                <a:gd name="connsiteY2" fmla="*/ 2693082 h 2693082"/>
                <a:gd name="connsiteX3" fmla="*/ 270884 w 270884"/>
                <a:gd name="connsiteY3" fmla="*/ 2293490 h 2693082"/>
                <a:gd name="connsiteX0" fmla="*/ 270884 w 270884"/>
                <a:gd name="connsiteY0" fmla="*/ 2293490 h 2693082"/>
                <a:gd name="connsiteX1" fmla="*/ 180979 w 270884"/>
                <a:gd name="connsiteY1" fmla="*/ 0 h 2693082"/>
                <a:gd name="connsiteX2" fmla="*/ 0 w 270884"/>
                <a:gd name="connsiteY2" fmla="*/ 2693082 h 2693082"/>
                <a:gd name="connsiteX3" fmla="*/ 270884 w 270884"/>
                <a:gd name="connsiteY3" fmla="*/ 2293490 h 2693082"/>
                <a:gd name="connsiteX0" fmla="*/ 211196 w 211196"/>
                <a:gd name="connsiteY0" fmla="*/ 2314670 h 2693082"/>
                <a:gd name="connsiteX1" fmla="*/ 180979 w 211196"/>
                <a:gd name="connsiteY1" fmla="*/ 0 h 2693082"/>
                <a:gd name="connsiteX2" fmla="*/ 0 w 211196"/>
                <a:gd name="connsiteY2" fmla="*/ 2693082 h 2693082"/>
                <a:gd name="connsiteX3" fmla="*/ 211196 w 211196"/>
                <a:gd name="connsiteY3" fmla="*/ 2314670 h 2693082"/>
                <a:gd name="connsiteX0" fmla="*/ 211196 w 211196"/>
                <a:gd name="connsiteY0" fmla="*/ 2314670 h 2693082"/>
                <a:gd name="connsiteX1" fmla="*/ 180979 w 211196"/>
                <a:gd name="connsiteY1" fmla="*/ 0 h 2693082"/>
                <a:gd name="connsiteX2" fmla="*/ 0 w 211196"/>
                <a:gd name="connsiteY2" fmla="*/ 2693082 h 2693082"/>
                <a:gd name="connsiteX3" fmla="*/ 211196 w 211196"/>
                <a:gd name="connsiteY3" fmla="*/ 2314670 h 2693082"/>
                <a:gd name="connsiteX0" fmla="*/ 186619 w 199169"/>
                <a:gd name="connsiteY0" fmla="*/ 2314670 h 2693082"/>
                <a:gd name="connsiteX1" fmla="*/ 180979 w 199169"/>
                <a:gd name="connsiteY1" fmla="*/ 0 h 2693082"/>
                <a:gd name="connsiteX2" fmla="*/ 0 w 199169"/>
                <a:gd name="connsiteY2" fmla="*/ 2693082 h 2693082"/>
                <a:gd name="connsiteX3" fmla="*/ 186619 w 199169"/>
                <a:gd name="connsiteY3" fmla="*/ 2314670 h 2693082"/>
                <a:gd name="connsiteX0" fmla="*/ 176086 w 197096"/>
                <a:gd name="connsiteY0" fmla="*/ 2314670 h 2693082"/>
                <a:gd name="connsiteX1" fmla="*/ 180979 w 197096"/>
                <a:gd name="connsiteY1" fmla="*/ 0 h 2693082"/>
                <a:gd name="connsiteX2" fmla="*/ 0 w 197096"/>
                <a:gd name="connsiteY2" fmla="*/ 2693082 h 2693082"/>
                <a:gd name="connsiteX3" fmla="*/ 176086 w 197096"/>
                <a:gd name="connsiteY3" fmla="*/ 2314670 h 2693082"/>
                <a:gd name="connsiteX0" fmla="*/ 176086 w 200262"/>
                <a:gd name="connsiteY0" fmla="*/ 2314670 h 2693082"/>
                <a:gd name="connsiteX1" fmla="*/ 180979 w 200262"/>
                <a:gd name="connsiteY1" fmla="*/ 0 h 2693082"/>
                <a:gd name="connsiteX2" fmla="*/ 0 w 200262"/>
                <a:gd name="connsiteY2" fmla="*/ 2693082 h 2693082"/>
                <a:gd name="connsiteX3" fmla="*/ 176086 w 200262"/>
                <a:gd name="connsiteY3" fmla="*/ 2314670 h 2693082"/>
                <a:gd name="connsiteX0" fmla="*/ 176086 w 180979"/>
                <a:gd name="connsiteY0" fmla="*/ 2314670 h 2693082"/>
                <a:gd name="connsiteX1" fmla="*/ 180979 w 180979"/>
                <a:gd name="connsiteY1" fmla="*/ 0 h 2693082"/>
                <a:gd name="connsiteX2" fmla="*/ 0 w 180979"/>
                <a:gd name="connsiteY2" fmla="*/ 2693082 h 2693082"/>
                <a:gd name="connsiteX3" fmla="*/ 176086 w 180979"/>
                <a:gd name="connsiteY3" fmla="*/ 2314670 h 2693082"/>
                <a:gd name="connsiteX0" fmla="*/ 177842 w 180979"/>
                <a:gd name="connsiteY0" fmla="*/ 2307610 h 2693082"/>
                <a:gd name="connsiteX1" fmla="*/ 180979 w 180979"/>
                <a:gd name="connsiteY1" fmla="*/ 0 h 2693082"/>
                <a:gd name="connsiteX2" fmla="*/ 0 w 180979"/>
                <a:gd name="connsiteY2" fmla="*/ 2693082 h 2693082"/>
                <a:gd name="connsiteX3" fmla="*/ 177842 w 180979"/>
                <a:gd name="connsiteY3" fmla="*/ 2307610 h 2693082"/>
                <a:gd name="connsiteX0" fmla="*/ 177842 w 180979"/>
                <a:gd name="connsiteY0" fmla="*/ 2307610 h 2693082"/>
                <a:gd name="connsiteX1" fmla="*/ 180979 w 180979"/>
                <a:gd name="connsiteY1" fmla="*/ 0 h 2693082"/>
                <a:gd name="connsiteX2" fmla="*/ 0 w 180979"/>
                <a:gd name="connsiteY2" fmla="*/ 2693082 h 2693082"/>
                <a:gd name="connsiteX3" fmla="*/ 177842 w 180979"/>
                <a:gd name="connsiteY3" fmla="*/ 2307610 h 2693082"/>
                <a:gd name="connsiteX0" fmla="*/ 177842 w 203920"/>
                <a:gd name="connsiteY0" fmla="*/ 2307610 h 2693082"/>
                <a:gd name="connsiteX1" fmla="*/ 180979 w 203920"/>
                <a:gd name="connsiteY1" fmla="*/ 0 h 2693082"/>
                <a:gd name="connsiteX2" fmla="*/ 0 w 203920"/>
                <a:gd name="connsiteY2" fmla="*/ 2693082 h 2693082"/>
                <a:gd name="connsiteX3" fmla="*/ 177842 w 203920"/>
                <a:gd name="connsiteY3" fmla="*/ 2307610 h 2693082"/>
                <a:gd name="connsiteX0" fmla="*/ 177842 w 219237"/>
                <a:gd name="connsiteY0" fmla="*/ 2307610 h 2693082"/>
                <a:gd name="connsiteX1" fmla="*/ 180979 w 219237"/>
                <a:gd name="connsiteY1" fmla="*/ 0 h 2693082"/>
                <a:gd name="connsiteX2" fmla="*/ 0 w 219237"/>
                <a:gd name="connsiteY2" fmla="*/ 2693082 h 2693082"/>
                <a:gd name="connsiteX3" fmla="*/ 177842 w 219237"/>
                <a:gd name="connsiteY3" fmla="*/ 2307610 h 2693082"/>
                <a:gd name="connsiteX0" fmla="*/ 177842 w 241991"/>
                <a:gd name="connsiteY0" fmla="*/ 2307610 h 2693082"/>
                <a:gd name="connsiteX1" fmla="*/ 180979 w 241991"/>
                <a:gd name="connsiteY1" fmla="*/ 0 h 2693082"/>
                <a:gd name="connsiteX2" fmla="*/ 0 w 241991"/>
                <a:gd name="connsiteY2" fmla="*/ 2693082 h 2693082"/>
                <a:gd name="connsiteX3" fmla="*/ 177842 w 241991"/>
                <a:gd name="connsiteY3" fmla="*/ 2307610 h 2693082"/>
                <a:gd name="connsiteX0" fmla="*/ 177842 w 219237"/>
                <a:gd name="connsiteY0" fmla="*/ 2307610 h 2693082"/>
                <a:gd name="connsiteX1" fmla="*/ 180979 w 219237"/>
                <a:gd name="connsiteY1" fmla="*/ 0 h 2693082"/>
                <a:gd name="connsiteX2" fmla="*/ 0 w 219237"/>
                <a:gd name="connsiteY2" fmla="*/ 2693082 h 2693082"/>
                <a:gd name="connsiteX3" fmla="*/ 177842 w 219237"/>
                <a:gd name="connsiteY3" fmla="*/ 2307610 h 2693082"/>
                <a:gd name="connsiteX0" fmla="*/ 177842 w 227346"/>
                <a:gd name="connsiteY0" fmla="*/ 2307610 h 2693082"/>
                <a:gd name="connsiteX1" fmla="*/ 180979 w 227346"/>
                <a:gd name="connsiteY1" fmla="*/ 0 h 2693082"/>
                <a:gd name="connsiteX2" fmla="*/ 0 w 227346"/>
                <a:gd name="connsiteY2" fmla="*/ 2693082 h 2693082"/>
                <a:gd name="connsiteX3" fmla="*/ 177842 w 227346"/>
                <a:gd name="connsiteY3" fmla="*/ 2307610 h 2693082"/>
                <a:gd name="connsiteX0" fmla="*/ 177842 w 194485"/>
                <a:gd name="connsiteY0" fmla="*/ 2297444 h 2682916"/>
                <a:gd name="connsiteX1" fmla="*/ 59637 w 194485"/>
                <a:gd name="connsiteY1" fmla="*/ 0 h 2682916"/>
                <a:gd name="connsiteX2" fmla="*/ 0 w 194485"/>
                <a:gd name="connsiteY2" fmla="*/ 2682916 h 2682916"/>
                <a:gd name="connsiteX3" fmla="*/ 177842 w 194485"/>
                <a:gd name="connsiteY3" fmla="*/ 2297444 h 2682916"/>
                <a:gd name="connsiteX0" fmla="*/ 177842 w 194485"/>
                <a:gd name="connsiteY0" fmla="*/ 2297444 h 2682916"/>
                <a:gd name="connsiteX1" fmla="*/ 59637 w 194485"/>
                <a:gd name="connsiteY1" fmla="*/ 0 h 2682916"/>
                <a:gd name="connsiteX2" fmla="*/ 0 w 194485"/>
                <a:gd name="connsiteY2" fmla="*/ 2682916 h 2682916"/>
                <a:gd name="connsiteX3" fmla="*/ 177842 w 194485"/>
                <a:gd name="connsiteY3" fmla="*/ 2297444 h 2682916"/>
                <a:gd name="connsiteX0" fmla="*/ 177842 w 200036"/>
                <a:gd name="connsiteY0" fmla="*/ 2297444 h 2682916"/>
                <a:gd name="connsiteX1" fmla="*/ 59637 w 200036"/>
                <a:gd name="connsiteY1" fmla="*/ 0 h 2682916"/>
                <a:gd name="connsiteX2" fmla="*/ 0 w 200036"/>
                <a:gd name="connsiteY2" fmla="*/ 2682916 h 2682916"/>
                <a:gd name="connsiteX3" fmla="*/ 177842 w 200036"/>
                <a:gd name="connsiteY3" fmla="*/ 2297444 h 2682916"/>
              </a:gdLst>
              <a:ahLst/>
              <a:cxnLst>
                <a:cxn ang="0">
                  <a:pos x="connsiteX0" y="connsiteY0"/>
                </a:cxn>
                <a:cxn ang="0">
                  <a:pos x="connsiteX1" y="connsiteY1"/>
                </a:cxn>
                <a:cxn ang="0">
                  <a:pos x="connsiteX2" y="connsiteY2"/>
                </a:cxn>
                <a:cxn ang="0">
                  <a:pos x="connsiteX3" y="connsiteY3"/>
                </a:cxn>
              </a:cxnLst>
              <a:rect l="l" t="t" r="r" b="b"/>
              <a:pathLst>
                <a:path w="200036" h="2682916">
                  <a:moveTo>
                    <a:pt x="177842" y="2297444"/>
                  </a:moveTo>
                  <a:cubicBezTo>
                    <a:pt x="235903" y="1241774"/>
                    <a:pt x="174319" y="607501"/>
                    <a:pt x="59637" y="0"/>
                  </a:cubicBezTo>
                  <a:cubicBezTo>
                    <a:pt x="109345" y="858748"/>
                    <a:pt x="108254" y="1996392"/>
                    <a:pt x="0" y="2682916"/>
                  </a:cubicBezTo>
                  <a:lnTo>
                    <a:pt x="177842" y="2297444"/>
                  </a:lnTo>
                  <a:close/>
                </a:path>
              </a:pathLst>
            </a:cu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992" name="Group 2991">
            <a:extLst>
              <a:ext uri="{FF2B5EF4-FFF2-40B4-BE49-F238E27FC236}">
                <a16:creationId xmlns:a16="http://schemas.microsoft.com/office/drawing/2014/main" id="{F7046737-2E5D-4FF3-8591-DE7FE0847A58}"/>
              </a:ext>
            </a:extLst>
          </p:cNvPr>
          <p:cNvGrpSpPr/>
          <p:nvPr/>
        </p:nvGrpSpPr>
        <p:grpSpPr>
          <a:xfrm rot="791521">
            <a:off x="2076377" y="1891377"/>
            <a:ext cx="270563" cy="224719"/>
            <a:chOff x="2375866" y="3508354"/>
            <a:chExt cx="210389" cy="174742"/>
          </a:xfrm>
        </p:grpSpPr>
        <p:sp>
          <p:nvSpPr>
            <p:cNvPr id="2993" name="Freeform 72">
              <a:extLst>
                <a:ext uri="{FF2B5EF4-FFF2-40B4-BE49-F238E27FC236}">
                  <a16:creationId xmlns:a16="http://schemas.microsoft.com/office/drawing/2014/main" id="{93876AC1-F5FF-4276-9D8B-635905AF02E0}"/>
                </a:ext>
              </a:extLst>
            </p:cNvPr>
            <p:cNvSpPr>
              <a:spLocks/>
            </p:cNvSpPr>
            <p:nvPr/>
          </p:nvSpPr>
          <p:spPr bwMode="auto">
            <a:xfrm rot="20774749">
              <a:off x="2375866" y="3508354"/>
              <a:ext cx="210389" cy="174742"/>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chemeClr val="bg1">
                <a:lumMod val="50000"/>
              </a:schemeClr>
            </a:solidFill>
            <a:ln>
              <a:noFill/>
            </a:ln>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grpSp>
          <p:nvGrpSpPr>
            <p:cNvPr id="2994" name="Group 2993">
              <a:extLst>
                <a:ext uri="{FF2B5EF4-FFF2-40B4-BE49-F238E27FC236}">
                  <a16:creationId xmlns:a16="http://schemas.microsoft.com/office/drawing/2014/main" id="{BB8B743A-FAC8-4CF1-BD77-654D6D52A5E6}"/>
                </a:ext>
              </a:extLst>
            </p:cNvPr>
            <p:cNvGrpSpPr/>
            <p:nvPr/>
          </p:nvGrpSpPr>
          <p:grpSpPr>
            <a:xfrm rot="20774749">
              <a:off x="2386657" y="3519503"/>
              <a:ext cx="188701" cy="152045"/>
              <a:chOff x="-4206875" y="1603375"/>
              <a:chExt cx="3978275" cy="3168650"/>
            </a:xfrm>
            <a:solidFill>
              <a:srgbClr val="FFFFFF"/>
            </a:solidFill>
          </p:grpSpPr>
          <p:sp>
            <p:nvSpPr>
              <p:cNvPr id="2995" name="Freeform 73">
                <a:extLst>
                  <a:ext uri="{FF2B5EF4-FFF2-40B4-BE49-F238E27FC236}">
                    <a16:creationId xmlns:a16="http://schemas.microsoft.com/office/drawing/2014/main" id="{5407633E-527E-45E9-A7F0-640FE9F815C3}"/>
                  </a:ext>
                </a:extLst>
              </p:cNvPr>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2996" name="Freeform 74">
                <a:extLst>
                  <a:ext uri="{FF2B5EF4-FFF2-40B4-BE49-F238E27FC236}">
                    <a16:creationId xmlns:a16="http://schemas.microsoft.com/office/drawing/2014/main" id="{0F05135E-A60B-4E4A-AC45-A051C8D20F4F}"/>
                  </a:ext>
                </a:extLst>
              </p:cNvPr>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2997" name="Freeform 75">
                <a:extLst>
                  <a:ext uri="{FF2B5EF4-FFF2-40B4-BE49-F238E27FC236}">
                    <a16:creationId xmlns:a16="http://schemas.microsoft.com/office/drawing/2014/main" id="{2E2EE758-065C-40F7-964C-18DAA5C97A9A}"/>
                  </a:ext>
                </a:extLst>
              </p:cNvPr>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2998" name="Freeform 76">
                <a:extLst>
                  <a:ext uri="{FF2B5EF4-FFF2-40B4-BE49-F238E27FC236}">
                    <a16:creationId xmlns:a16="http://schemas.microsoft.com/office/drawing/2014/main" id="{FF037ABB-5268-49FE-8839-81E0A77A2873}"/>
                  </a:ext>
                </a:extLst>
              </p:cNvPr>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2999" name="Freeform 77">
                <a:extLst>
                  <a:ext uri="{FF2B5EF4-FFF2-40B4-BE49-F238E27FC236}">
                    <a16:creationId xmlns:a16="http://schemas.microsoft.com/office/drawing/2014/main" id="{BE401AF9-0DE5-4290-B762-B7D279C9A2F0}"/>
                  </a:ext>
                </a:extLst>
              </p:cNvPr>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3000" name="Freeform 78">
                <a:extLst>
                  <a:ext uri="{FF2B5EF4-FFF2-40B4-BE49-F238E27FC236}">
                    <a16:creationId xmlns:a16="http://schemas.microsoft.com/office/drawing/2014/main" id="{0815CE8D-BA59-4DDF-8138-4D60D02542B4}"/>
                  </a:ext>
                </a:extLst>
              </p:cNvPr>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3001" name="Freeform 79">
                <a:extLst>
                  <a:ext uri="{FF2B5EF4-FFF2-40B4-BE49-F238E27FC236}">
                    <a16:creationId xmlns:a16="http://schemas.microsoft.com/office/drawing/2014/main" id="{CE266E59-EEF7-4AEA-95C4-EDA38D3DFB82}"/>
                  </a:ext>
                </a:extLst>
              </p:cNvPr>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3002" name="Freeform 80">
                <a:extLst>
                  <a:ext uri="{FF2B5EF4-FFF2-40B4-BE49-F238E27FC236}">
                    <a16:creationId xmlns:a16="http://schemas.microsoft.com/office/drawing/2014/main" id="{584F8C8F-27C1-45D5-B8B7-1706AD3B6A4D}"/>
                  </a:ext>
                </a:extLst>
              </p:cNvPr>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grpSp>
      </p:grpSp>
      <p:grpSp>
        <p:nvGrpSpPr>
          <p:cNvPr id="3003" name="Group 3002">
            <a:extLst>
              <a:ext uri="{FF2B5EF4-FFF2-40B4-BE49-F238E27FC236}">
                <a16:creationId xmlns:a16="http://schemas.microsoft.com/office/drawing/2014/main" id="{5D9D2D2C-3F72-42D1-A22B-50B8F32F4A9E}"/>
              </a:ext>
            </a:extLst>
          </p:cNvPr>
          <p:cNvGrpSpPr/>
          <p:nvPr/>
        </p:nvGrpSpPr>
        <p:grpSpPr>
          <a:xfrm rot="791521">
            <a:off x="574956" y="1864162"/>
            <a:ext cx="270563" cy="224719"/>
            <a:chOff x="2375866" y="3508354"/>
            <a:chExt cx="210389" cy="174742"/>
          </a:xfrm>
        </p:grpSpPr>
        <p:sp>
          <p:nvSpPr>
            <p:cNvPr id="3004" name="Freeform 72">
              <a:extLst>
                <a:ext uri="{FF2B5EF4-FFF2-40B4-BE49-F238E27FC236}">
                  <a16:creationId xmlns:a16="http://schemas.microsoft.com/office/drawing/2014/main" id="{7A183DF5-905B-42EB-98A2-5FB4539B2A10}"/>
                </a:ext>
              </a:extLst>
            </p:cNvPr>
            <p:cNvSpPr>
              <a:spLocks/>
            </p:cNvSpPr>
            <p:nvPr/>
          </p:nvSpPr>
          <p:spPr bwMode="auto">
            <a:xfrm rot="20774749">
              <a:off x="2375866" y="3508354"/>
              <a:ext cx="210389" cy="174742"/>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chemeClr val="bg1">
                <a:lumMod val="50000"/>
              </a:schemeClr>
            </a:solidFill>
            <a:ln>
              <a:noFill/>
            </a:ln>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grpSp>
          <p:nvGrpSpPr>
            <p:cNvPr id="3005" name="Group 3004">
              <a:extLst>
                <a:ext uri="{FF2B5EF4-FFF2-40B4-BE49-F238E27FC236}">
                  <a16:creationId xmlns:a16="http://schemas.microsoft.com/office/drawing/2014/main" id="{C5DC75C0-5DD3-473C-B8A6-66D0755EEC17}"/>
                </a:ext>
              </a:extLst>
            </p:cNvPr>
            <p:cNvGrpSpPr/>
            <p:nvPr/>
          </p:nvGrpSpPr>
          <p:grpSpPr>
            <a:xfrm rot="20774749">
              <a:off x="2386657" y="3519503"/>
              <a:ext cx="188701" cy="152045"/>
              <a:chOff x="-4206875" y="1603375"/>
              <a:chExt cx="3978275" cy="3168650"/>
            </a:xfrm>
            <a:solidFill>
              <a:srgbClr val="FFFFFF"/>
            </a:solidFill>
          </p:grpSpPr>
          <p:sp>
            <p:nvSpPr>
              <p:cNvPr id="3006" name="Freeform 73">
                <a:extLst>
                  <a:ext uri="{FF2B5EF4-FFF2-40B4-BE49-F238E27FC236}">
                    <a16:creationId xmlns:a16="http://schemas.microsoft.com/office/drawing/2014/main" id="{C21F54CA-6F36-4FA5-B4EF-647F02BAB6A3}"/>
                  </a:ext>
                </a:extLst>
              </p:cNvPr>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3007" name="Freeform 74">
                <a:extLst>
                  <a:ext uri="{FF2B5EF4-FFF2-40B4-BE49-F238E27FC236}">
                    <a16:creationId xmlns:a16="http://schemas.microsoft.com/office/drawing/2014/main" id="{666608BB-6964-4078-A475-9AAA5053D7D6}"/>
                  </a:ext>
                </a:extLst>
              </p:cNvPr>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3008" name="Freeform 75">
                <a:extLst>
                  <a:ext uri="{FF2B5EF4-FFF2-40B4-BE49-F238E27FC236}">
                    <a16:creationId xmlns:a16="http://schemas.microsoft.com/office/drawing/2014/main" id="{B79DB71B-FA36-42C6-AE4E-AB63758EC6FA}"/>
                  </a:ext>
                </a:extLst>
              </p:cNvPr>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3009" name="Freeform 76">
                <a:extLst>
                  <a:ext uri="{FF2B5EF4-FFF2-40B4-BE49-F238E27FC236}">
                    <a16:creationId xmlns:a16="http://schemas.microsoft.com/office/drawing/2014/main" id="{B9FDAA85-7B5C-4CE6-812C-0F3447919292}"/>
                  </a:ext>
                </a:extLst>
              </p:cNvPr>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3010" name="Freeform 77">
                <a:extLst>
                  <a:ext uri="{FF2B5EF4-FFF2-40B4-BE49-F238E27FC236}">
                    <a16:creationId xmlns:a16="http://schemas.microsoft.com/office/drawing/2014/main" id="{AEFE0021-064F-41D4-B64D-62B850D8D82B}"/>
                  </a:ext>
                </a:extLst>
              </p:cNvPr>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3011" name="Freeform 78">
                <a:extLst>
                  <a:ext uri="{FF2B5EF4-FFF2-40B4-BE49-F238E27FC236}">
                    <a16:creationId xmlns:a16="http://schemas.microsoft.com/office/drawing/2014/main" id="{AD92901E-E15F-49FB-967C-90D3A3A558FE}"/>
                  </a:ext>
                </a:extLst>
              </p:cNvPr>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3012" name="Freeform 79">
                <a:extLst>
                  <a:ext uri="{FF2B5EF4-FFF2-40B4-BE49-F238E27FC236}">
                    <a16:creationId xmlns:a16="http://schemas.microsoft.com/office/drawing/2014/main" id="{F31ED4A4-FE95-426F-97FD-8E4013CC1C37}"/>
                  </a:ext>
                </a:extLst>
              </p:cNvPr>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sp>
            <p:nvSpPr>
              <p:cNvPr id="3013" name="Freeform 80">
                <a:extLst>
                  <a:ext uri="{FF2B5EF4-FFF2-40B4-BE49-F238E27FC236}">
                    <a16:creationId xmlns:a16="http://schemas.microsoft.com/office/drawing/2014/main" id="{74AA257F-5779-41BD-B1B5-4F5AD7979AC4}"/>
                  </a:ext>
                </a:extLst>
              </p:cNvPr>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55" tIns="60926" rIns="121855" bIns="60926" numCol="1" anchor="t" anchorCtr="0" compatLnSpc="1">
                <a:prstTxWarp prst="textNoShape">
                  <a:avLst/>
                </a:prstTxWarp>
              </a:bodyPr>
              <a:lstStyle/>
              <a:p>
                <a:pPr defTabSz="1218428">
                  <a:defRPr/>
                </a:pPr>
                <a:endParaRPr lang="en-US" sz="2400" kern="0">
                  <a:solidFill>
                    <a:srgbClr val="000000"/>
                  </a:solidFill>
                  <a:latin typeface="Segoe UI"/>
                </a:endParaRPr>
              </a:p>
            </p:txBody>
          </p:sp>
        </p:grpSp>
      </p:grpSp>
      <p:grpSp>
        <p:nvGrpSpPr>
          <p:cNvPr id="3014" name="Group 3013">
            <a:extLst>
              <a:ext uri="{FF2B5EF4-FFF2-40B4-BE49-F238E27FC236}">
                <a16:creationId xmlns:a16="http://schemas.microsoft.com/office/drawing/2014/main" id="{DDEB0E0A-AEBB-4B1A-8F79-EB9DBA33DF5E}"/>
              </a:ext>
            </a:extLst>
          </p:cNvPr>
          <p:cNvGrpSpPr/>
          <p:nvPr/>
        </p:nvGrpSpPr>
        <p:grpSpPr>
          <a:xfrm>
            <a:off x="1578402" y="3170372"/>
            <a:ext cx="1755412" cy="1399263"/>
            <a:chOff x="1653349" y="2979418"/>
            <a:chExt cx="1746995" cy="1392553"/>
          </a:xfrm>
        </p:grpSpPr>
        <p:sp>
          <p:nvSpPr>
            <p:cNvPr id="3015" name="Freeform: Shape 54">
              <a:extLst>
                <a:ext uri="{FF2B5EF4-FFF2-40B4-BE49-F238E27FC236}">
                  <a16:creationId xmlns:a16="http://schemas.microsoft.com/office/drawing/2014/main" id="{6E4DB72D-7732-428C-9F99-F0D00744DE0C}"/>
                </a:ext>
              </a:extLst>
            </p:cNvPr>
            <p:cNvSpPr>
              <a:spLocks noChangeArrowheads="1"/>
            </p:cNvSpPr>
            <p:nvPr/>
          </p:nvSpPr>
          <p:spPr bwMode="auto">
            <a:xfrm>
              <a:off x="2383330" y="4302657"/>
              <a:ext cx="19234" cy="69314"/>
            </a:xfrm>
            <a:custGeom>
              <a:avLst/>
              <a:gdLst>
                <a:gd name="connsiteX0" fmla="*/ 0 w 33338"/>
                <a:gd name="connsiteY0" fmla="*/ 0 h 136096"/>
                <a:gd name="connsiteX1" fmla="*/ 33338 w 33338"/>
                <a:gd name="connsiteY1" fmla="*/ 0 h 136096"/>
                <a:gd name="connsiteX2" fmla="*/ 33338 w 33338"/>
                <a:gd name="connsiteY2" fmla="*/ 136096 h 136096"/>
                <a:gd name="connsiteX3" fmla="*/ 0 w 33338"/>
                <a:gd name="connsiteY3" fmla="*/ 136096 h 136096"/>
              </a:gdLst>
              <a:ahLst/>
              <a:cxnLst>
                <a:cxn ang="0">
                  <a:pos x="connsiteX0" y="connsiteY0"/>
                </a:cxn>
                <a:cxn ang="0">
                  <a:pos x="connsiteX1" y="connsiteY1"/>
                </a:cxn>
                <a:cxn ang="0">
                  <a:pos x="connsiteX2" y="connsiteY2"/>
                </a:cxn>
                <a:cxn ang="0">
                  <a:pos x="connsiteX3" y="connsiteY3"/>
                </a:cxn>
              </a:cxnLst>
              <a:rect l="l" t="t" r="r" b="b"/>
              <a:pathLst>
                <a:path w="33338" h="136096">
                  <a:moveTo>
                    <a:pt x="0" y="0"/>
                  </a:moveTo>
                  <a:lnTo>
                    <a:pt x="33338" y="0"/>
                  </a:lnTo>
                  <a:lnTo>
                    <a:pt x="33338" y="136096"/>
                  </a:lnTo>
                  <a:lnTo>
                    <a:pt x="0" y="136096"/>
                  </a:lnTo>
                  <a:close/>
                </a:path>
              </a:pathLst>
            </a:cu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noAutofit/>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016" name="Freeform: Shape 55">
              <a:extLst>
                <a:ext uri="{FF2B5EF4-FFF2-40B4-BE49-F238E27FC236}">
                  <a16:creationId xmlns:a16="http://schemas.microsoft.com/office/drawing/2014/main" id="{D8B13633-B58A-4194-8DF1-41B008E98C28}"/>
                </a:ext>
              </a:extLst>
            </p:cNvPr>
            <p:cNvSpPr>
              <a:spLocks noChangeArrowheads="1"/>
            </p:cNvSpPr>
            <p:nvPr/>
          </p:nvSpPr>
          <p:spPr bwMode="auto">
            <a:xfrm>
              <a:off x="2507896" y="4278829"/>
              <a:ext cx="23813" cy="93138"/>
            </a:xfrm>
            <a:custGeom>
              <a:avLst/>
              <a:gdLst>
                <a:gd name="connsiteX0" fmla="*/ 0 w 41275"/>
                <a:gd name="connsiteY0" fmla="*/ 0 h 182877"/>
                <a:gd name="connsiteX1" fmla="*/ 41275 w 41275"/>
                <a:gd name="connsiteY1" fmla="*/ 0 h 182877"/>
                <a:gd name="connsiteX2" fmla="*/ 41275 w 41275"/>
                <a:gd name="connsiteY2" fmla="*/ 182877 h 182877"/>
                <a:gd name="connsiteX3" fmla="*/ 0 w 41275"/>
                <a:gd name="connsiteY3" fmla="*/ 182877 h 182877"/>
              </a:gdLst>
              <a:ahLst/>
              <a:cxnLst>
                <a:cxn ang="0">
                  <a:pos x="connsiteX0" y="connsiteY0"/>
                </a:cxn>
                <a:cxn ang="0">
                  <a:pos x="connsiteX1" y="connsiteY1"/>
                </a:cxn>
                <a:cxn ang="0">
                  <a:pos x="connsiteX2" y="connsiteY2"/>
                </a:cxn>
                <a:cxn ang="0">
                  <a:pos x="connsiteX3" y="connsiteY3"/>
                </a:cxn>
              </a:cxnLst>
              <a:rect l="l" t="t" r="r" b="b"/>
              <a:pathLst>
                <a:path w="41275" h="182877">
                  <a:moveTo>
                    <a:pt x="0" y="0"/>
                  </a:moveTo>
                  <a:lnTo>
                    <a:pt x="41275" y="0"/>
                  </a:lnTo>
                  <a:lnTo>
                    <a:pt x="41275" y="182877"/>
                  </a:lnTo>
                  <a:lnTo>
                    <a:pt x="0" y="182877"/>
                  </a:lnTo>
                  <a:close/>
                </a:path>
              </a:pathLst>
            </a:cu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noAutofit/>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017" name="Freeform: Shape 81">
              <a:extLst>
                <a:ext uri="{FF2B5EF4-FFF2-40B4-BE49-F238E27FC236}">
                  <a16:creationId xmlns:a16="http://schemas.microsoft.com/office/drawing/2014/main" id="{D30073BB-4B5B-4639-8802-A5052ECFBD1C}"/>
                </a:ext>
              </a:extLst>
            </p:cNvPr>
            <p:cNvSpPr/>
            <p:nvPr/>
          </p:nvSpPr>
          <p:spPr bwMode="auto">
            <a:xfrm>
              <a:off x="2393406" y="4277214"/>
              <a:ext cx="140134" cy="67726"/>
            </a:xfrm>
            <a:custGeom>
              <a:avLst/>
              <a:gdLst>
                <a:gd name="connsiteX0" fmla="*/ 238125 w 250825"/>
                <a:gd name="connsiteY0" fmla="*/ 0 h 139700"/>
                <a:gd name="connsiteX1" fmla="*/ 250825 w 250825"/>
                <a:gd name="connsiteY1" fmla="*/ 55562 h 139700"/>
                <a:gd name="connsiteX2" fmla="*/ 250825 w 250825"/>
                <a:gd name="connsiteY2" fmla="*/ 74612 h 139700"/>
                <a:gd name="connsiteX3" fmla="*/ 0 w 250825"/>
                <a:gd name="connsiteY3" fmla="*/ 139700 h 139700"/>
                <a:gd name="connsiteX4" fmla="*/ 3175 w 250825"/>
                <a:gd name="connsiteY4" fmla="*/ 106362 h 139700"/>
                <a:gd name="connsiteX5" fmla="*/ 238125 w 250825"/>
                <a:gd name="connsiteY5" fmla="*/ 0 h 139700"/>
                <a:gd name="connsiteX0" fmla="*/ 238125 w 250825"/>
                <a:gd name="connsiteY0" fmla="*/ 0 h 139700"/>
                <a:gd name="connsiteX1" fmla="*/ 250825 w 250825"/>
                <a:gd name="connsiteY1" fmla="*/ 74612 h 139700"/>
                <a:gd name="connsiteX2" fmla="*/ 0 w 250825"/>
                <a:gd name="connsiteY2" fmla="*/ 139700 h 139700"/>
                <a:gd name="connsiteX3" fmla="*/ 3175 w 250825"/>
                <a:gd name="connsiteY3" fmla="*/ 106362 h 139700"/>
                <a:gd name="connsiteX4" fmla="*/ 238125 w 250825"/>
                <a:gd name="connsiteY4" fmla="*/ 0 h 139700"/>
                <a:gd name="connsiteX0" fmla="*/ 238125 w 239713"/>
                <a:gd name="connsiteY0" fmla="*/ 0 h 139700"/>
                <a:gd name="connsiteX1" fmla="*/ 239713 w 239713"/>
                <a:gd name="connsiteY1" fmla="*/ 34925 h 139700"/>
                <a:gd name="connsiteX2" fmla="*/ 0 w 239713"/>
                <a:gd name="connsiteY2" fmla="*/ 139700 h 139700"/>
                <a:gd name="connsiteX3" fmla="*/ 3175 w 239713"/>
                <a:gd name="connsiteY3" fmla="*/ 106362 h 139700"/>
                <a:gd name="connsiteX4" fmla="*/ 238125 w 239713"/>
                <a:gd name="connsiteY4" fmla="*/ 0 h 139700"/>
                <a:gd name="connsiteX0" fmla="*/ 238125 w 239713"/>
                <a:gd name="connsiteY0" fmla="*/ 0 h 131762"/>
                <a:gd name="connsiteX1" fmla="*/ 239713 w 239713"/>
                <a:gd name="connsiteY1" fmla="*/ 34925 h 131762"/>
                <a:gd name="connsiteX2" fmla="*/ 0 w 239713"/>
                <a:gd name="connsiteY2" fmla="*/ 131762 h 131762"/>
                <a:gd name="connsiteX3" fmla="*/ 3175 w 239713"/>
                <a:gd name="connsiteY3" fmla="*/ 106362 h 131762"/>
                <a:gd name="connsiteX4" fmla="*/ 238125 w 239713"/>
                <a:gd name="connsiteY4" fmla="*/ 0 h 131762"/>
                <a:gd name="connsiteX0" fmla="*/ 238125 w 239713"/>
                <a:gd name="connsiteY0" fmla="*/ 0 h 138369"/>
                <a:gd name="connsiteX1" fmla="*/ 239713 w 239713"/>
                <a:gd name="connsiteY1" fmla="*/ 34925 h 138369"/>
                <a:gd name="connsiteX2" fmla="*/ 0 w 239713"/>
                <a:gd name="connsiteY2" fmla="*/ 138369 h 138369"/>
                <a:gd name="connsiteX3" fmla="*/ 3175 w 239713"/>
                <a:gd name="connsiteY3" fmla="*/ 106362 h 138369"/>
                <a:gd name="connsiteX4" fmla="*/ 238125 w 239713"/>
                <a:gd name="connsiteY4" fmla="*/ 0 h 13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713" h="138369">
                  <a:moveTo>
                    <a:pt x="238125" y="0"/>
                  </a:moveTo>
                  <a:cubicBezTo>
                    <a:pt x="238654" y="11642"/>
                    <a:pt x="239184" y="23283"/>
                    <a:pt x="239713" y="34925"/>
                  </a:cubicBezTo>
                  <a:lnTo>
                    <a:pt x="0" y="138369"/>
                  </a:lnTo>
                  <a:lnTo>
                    <a:pt x="3175" y="106362"/>
                  </a:lnTo>
                  <a:lnTo>
                    <a:pt x="238125" y="0"/>
                  </a:lnTo>
                  <a:close/>
                </a:path>
              </a:pathLst>
            </a:custGeom>
            <a:solidFill>
              <a:schemeClr val="tx1">
                <a:lumMod val="50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a:solidFill>
                  <a:srgbClr val="505050"/>
                </a:solidFill>
                <a:latin typeface="Segoe UI" panose="020B0502040204020203" pitchFamily="34" charset="0"/>
                <a:cs typeface="Segoe UI" panose="020B0502040204020203" pitchFamily="34" charset="0"/>
              </a:endParaRPr>
            </a:p>
          </p:txBody>
        </p:sp>
        <p:grpSp>
          <p:nvGrpSpPr>
            <p:cNvPr id="3018" name="Group 3017">
              <a:extLst>
                <a:ext uri="{FF2B5EF4-FFF2-40B4-BE49-F238E27FC236}">
                  <a16:creationId xmlns:a16="http://schemas.microsoft.com/office/drawing/2014/main" id="{923A1863-F7AE-4B02-8559-3AAFCE8CFF64}"/>
                </a:ext>
              </a:extLst>
            </p:cNvPr>
            <p:cNvGrpSpPr/>
            <p:nvPr/>
          </p:nvGrpSpPr>
          <p:grpSpPr>
            <a:xfrm>
              <a:off x="2045850" y="3751661"/>
              <a:ext cx="433814" cy="401239"/>
              <a:chOff x="2814818" y="2734108"/>
              <a:chExt cx="275564" cy="254871"/>
            </a:xfrm>
          </p:grpSpPr>
          <p:sp>
            <p:nvSpPr>
              <p:cNvPr id="3334" name="Rectangle 3333">
                <a:extLst>
                  <a:ext uri="{FF2B5EF4-FFF2-40B4-BE49-F238E27FC236}">
                    <a16:creationId xmlns:a16="http://schemas.microsoft.com/office/drawing/2014/main" id="{29B57532-29A6-4817-89B7-09730056638A}"/>
                  </a:ext>
                </a:extLst>
              </p:cNvPr>
              <p:cNvSpPr/>
              <p:nvPr/>
            </p:nvSpPr>
            <p:spPr bwMode="auto">
              <a:xfrm rot="2366189">
                <a:off x="2972577" y="2881858"/>
                <a:ext cx="37322" cy="70798"/>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35" name="Rectangle 21">
                <a:extLst>
                  <a:ext uri="{FF2B5EF4-FFF2-40B4-BE49-F238E27FC236}">
                    <a16:creationId xmlns:a16="http://schemas.microsoft.com/office/drawing/2014/main" id="{9DDE4925-CFA8-428F-BCFA-67665F02DD90}"/>
                  </a:ext>
                </a:extLst>
              </p:cNvPr>
              <p:cNvSpPr/>
              <p:nvPr/>
            </p:nvSpPr>
            <p:spPr bwMode="auto">
              <a:xfrm rot="19936818">
                <a:off x="2964446" y="2757605"/>
                <a:ext cx="39814" cy="106826"/>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36" name="Rectangle 29">
                <a:extLst>
                  <a:ext uri="{FF2B5EF4-FFF2-40B4-BE49-F238E27FC236}">
                    <a16:creationId xmlns:a16="http://schemas.microsoft.com/office/drawing/2014/main" id="{11447325-0BFB-4722-B18B-1B4160C4664A}"/>
                  </a:ext>
                </a:extLst>
              </p:cNvPr>
              <p:cNvSpPr/>
              <p:nvPr/>
            </p:nvSpPr>
            <p:spPr bwMode="auto">
              <a:xfrm rot="15300000">
                <a:off x="2873502" y="2726795"/>
                <a:ext cx="30578" cy="103305"/>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37" name="Oval 3336">
                <a:extLst>
                  <a:ext uri="{FF2B5EF4-FFF2-40B4-BE49-F238E27FC236}">
                    <a16:creationId xmlns:a16="http://schemas.microsoft.com/office/drawing/2014/main" id="{2CBE66D7-30A6-45CB-8195-96C63BBE91C8}"/>
                  </a:ext>
                </a:extLst>
              </p:cNvPr>
              <p:cNvSpPr/>
              <p:nvPr/>
            </p:nvSpPr>
            <p:spPr bwMode="auto">
              <a:xfrm>
                <a:off x="2968094" y="2841114"/>
                <a:ext cx="72635" cy="73478"/>
              </a:xfrm>
              <a:prstGeom prst="ellipse">
                <a:avLst/>
              </a:prstGeom>
              <a:solidFill>
                <a:srgbClr val="BFBFBF"/>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41" name="Rectangle 3340">
                <a:extLst>
                  <a:ext uri="{FF2B5EF4-FFF2-40B4-BE49-F238E27FC236}">
                    <a16:creationId xmlns:a16="http://schemas.microsoft.com/office/drawing/2014/main" id="{F674E975-7665-4944-BAF9-50FF1CD73461}"/>
                  </a:ext>
                </a:extLst>
              </p:cNvPr>
              <p:cNvSpPr/>
              <p:nvPr/>
            </p:nvSpPr>
            <p:spPr bwMode="auto">
              <a:xfrm rot="11618614">
                <a:off x="2814818" y="2810992"/>
                <a:ext cx="19946" cy="36254"/>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43" name="Rounded Rectangle 1424">
                <a:extLst>
                  <a:ext uri="{FF2B5EF4-FFF2-40B4-BE49-F238E27FC236}">
                    <a16:creationId xmlns:a16="http://schemas.microsoft.com/office/drawing/2014/main" id="{D688A343-BACC-43AA-9361-6EC747CBF63C}"/>
                  </a:ext>
                </a:extLst>
              </p:cNvPr>
              <p:cNvSpPr/>
              <p:nvPr/>
            </p:nvSpPr>
            <p:spPr bwMode="auto">
              <a:xfrm>
                <a:off x="2896308" y="2929914"/>
                <a:ext cx="174431" cy="55639"/>
              </a:xfrm>
              <a:prstGeom prst="round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45" name="Rounded Rectangle 1425">
                <a:extLst>
                  <a:ext uri="{FF2B5EF4-FFF2-40B4-BE49-F238E27FC236}">
                    <a16:creationId xmlns:a16="http://schemas.microsoft.com/office/drawing/2014/main" id="{B58F2999-D3B6-49B9-819C-21E76C34AE83}"/>
                  </a:ext>
                </a:extLst>
              </p:cNvPr>
              <p:cNvSpPr/>
              <p:nvPr/>
            </p:nvSpPr>
            <p:spPr bwMode="auto">
              <a:xfrm>
                <a:off x="2876666" y="2957733"/>
                <a:ext cx="213716" cy="31246"/>
              </a:xfrm>
              <a:prstGeom prst="round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346" name="Group 3345">
                <a:extLst>
                  <a:ext uri="{FF2B5EF4-FFF2-40B4-BE49-F238E27FC236}">
                    <a16:creationId xmlns:a16="http://schemas.microsoft.com/office/drawing/2014/main" id="{03925550-D3C4-46A8-9D33-B2A877B66B3C}"/>
                  </a:ext>
                </a:extLst>
              </p:cNvPr>
              <p:cNvGrpSpPr/>
              <p:nvPr/>
            </p:nvGrpSpPr>
            <p:grpSpPr>
              <a:xfrm flipH="1">
                <a:off x="2816219" y="2779596"/>
                <a:ext cx="36973" cy="37402"/>
                <a:chOff x="4394973" y="1762558"/>
                <a:chExt cx="352210" cy="352210"/>
              </a:xfrm>
              <a:solidFill>
                <a:srgbClr val="FFFFFF">
                  <a:lumMod val="75000"/>
                </a:srgbClr>
              </a:solidFill>
            </p:grpSpPr>
            <p:grpSp>
              <p:nvGrpSpPr>
                <p:cNvPr id="3349" name="Group 3348">
                  <a:extLst>
                    <a:ext uri="{FF2B5EF4-FFF2-40B4-BE49-F238E27FC236}">
                      <a16:creationId xmlns:a16="http://schemas.microsoft.com/office/drawing/2014/main" id="{42D53F53-A2E6-49F2-A318-8D98EFF09178}"/>
                    </a:ext>
                  </a:extLst>
                </p:cNvPr>
                <p:cNvGrpSpPr/>
                <p:nvPr/>
              </p:nvGrpSpPr>
              <p:grpSpPr>
                <a:xfrm flipH="1">
                  <a:off x="4394973" y="1762558"/>
                  <a:ext cx="352210" cy="352210"/>
                  <a:chOff x="5411363" y="1755522"/>
                  <a:chExt cx="316187" cy="316187"/>
                </a:xfrm>
                <a:grpFill/>
              </p:grpSpPr>
              <p:sp>
                <p:nvSpPr>
                  <p:cNvPr id="3352" name="Oval 3351">
                    <a:extLst>
                      <a:ext uri="{FF2B5EF4-FFF2-40B4-BE49-F238E27FC236}">
                        <a16:creationId xmlns:a16="http://schemas.microsoft.com/office/drawing/2014/main" id="{0E1BE30E-1FC1-44F6-B863-4BEC82615FAD}"/>
                      </a:ext>
                    </a:extLst>
                  </p:cNvPr>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53" name="Oval 3352">
                    <a:extLst>
                      <a:ext uri="{FF2B5EF4-FFF2-40B4-BE49-F238E27FC236}">
                        <a16:creationId xmlns:a16="http://schemas.microsoft.com/office/drawing/2014/main" id="{EA2400B8-98FB-4074-A562-EF5B37049C0D}"/>
                      </a:ext>
                    </a:extLst>
                  </p:cNvPr>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54" name="Oval 3353">
                    <a:extLst>
                      <a:ext uri="{FF2B5EF4-FFF2-40B4-BE49-F238E27FC236}">
                        <a16:creationId xmlns:a16="http://schemas.microsoft.com/office/drawing/2014/main" id="{039FACA4-4701-4E41-BF65-16AD60F30474}"/>
                      </a:ext>
                    </a:extLst>
                  </p:cNvPr>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350" name="Rectangle 3349">
                  <a:extLst>
                    <a:ext uri="{FF2B5EF4-FFF2-40B4-BE49-F238E27FC236}">
                      <a16:creationId xmlns:a16="http://schemas.microsoft.com/office/drawing/2014/main" id="{583A290F-E07E-4FC9-9DED-B5EAC4EA309F}"/>
                    </a:ext>
                  </a:extLst>
                </p:cNvPr>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51" name="Rectangle 3350">
                  <a:extLst>
                    <a:ext uri="{FF2B5EF4-FFF2-40B4-BE49-F238E27FC236}">
                      <a16:creationId xmlns:a16="http://schemas.microsoft.com/office/drawing/2014/main" id="{EF67D89B-1B1C-4898-B7A0-120CBDDC1B50}"/>
                    </a:ext>
                  </a:extLst>
                </p:cNvPr>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348" name="Oval 3347">
                <a:extLst>
                  <a:ext uri="{FF2B5EF4-FFF2-40B4-BE49-F238E27FC236}">
                    <a16:creationId xmlns:a16="http://schemas.microsoft.com/office/drawing/2014/main" id="{9A41503A-8F95-42C0-BC92-F49B42EC9D89}"/>
                  </a:ext>
                </a:extLst>
              </p:cNvPr>
              <p:cNvSpPr/>
              <p:nvPr/>
            </p:nvSpPr>
            <p:spPr bwMode="auto">
              <a:xfrm>
                <a:off x="2927706" y="2734108"/>
                <a:ext cx="52900" cy="53514"/>
              </a:xfrm>
              <a:prstGeom prst="ellipse">
                <a:avLst/>
              </a:prstGeom>
              <a:solidFill>
                <a:srgbClr val="6BC082"/>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019" name="Rectangle 213">
              <a:extLst>
                <a:ext uri="{FF2B5EF4-FFF2-40B4-BE49-F238E27FC236}">
                  <a16:creationId xmlns:a16="http://schemas.microsoft.com/office/drawing/2014/main" id="{B2F31FC6-E97C-4DF9-9856-82FD0D510A1F}"/>
                </a:ext>
              </a:extLst>
            </p:cNvPr>
            <p:cNvSpPr>
              <a:spLocks noChangeArrowheads="1"/>
            </p:cNvSpPr>
            <p:nvPr/>
          </p:nvSpPr>
          <p:spPr bwMode="auto">
            <a:xfrm>
              <a:off x="2295360" y="3623938"/>
              <a:ext cx="19234" cy="13987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031" name="Rectangle 216">
              <a:extLst>
                <a:ext uri="{FF2B5EF4-FFF2-40B4-BE49-F238E27FC236}">
                  <a16:creationId xmlns:a16="http://schemas.microsoft.com/office/drawing/2014/main" id="{4A7370A6-7F28-483C-913C-6475D40EB3E3}"/>
                </a:ext>
              </a:extLst>
            </p:cNvPr>
            <p:cNvSpPr>
              <a:spLocks noChangeArrowheads="1"/>
            </p:cNvSpPr>
            <p:nvPr/>
          </p:nvSpPr>
          <p:spPr bwMode="auto">
            <a:xfrm>
              <a:off x="2927342" y="3985343"/>
              <a:ext cx="19234" cy="13987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033" name="Rectangle 217">
              <a:extLst>
                <a:ext uri="{FF2B5EF4-FFF2-40B4-BE49-F238E27FC236}">
                  <a16:creationId xmlns:a16="http://schemas.microsoft.com/office/drawing/2014/main" id="{1C41F35C-0C09-428E-AA61-67367280DA56}"/>
                </a:ext>
              </a:extLst>
            </p:cNvPr>
            <p:cNvSpPr>
              <a:spLocks noChangeArrowheads="1"/>
            </p:cNvSpPr>
            <p:nvPr/>
          </p:nvSpPr>
          <p:spPr bwMode="auto">
            <a:xfrm>
              <a:off x="2578378" y="3791300"/>
              <a:ext cx="23814" cy="13583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035" name="Freeform 218">
              <a:extLst>
                <a:ext uri="{FF2B5EF4-FFF2-40B4-BE49-F238E27FC236}">
                  <a16:creationId xmlns:a16="http://schemas.microsoft.com/office/drawing/2014/main" id="{0F801349-4A41-4FC5-9E0E-CA7F3A86C1AD}"/>
                </a:ext>
              </a:extLst>
            </p:cNvPr>
            <p:cNvSpPr>
              <a:spLocks/>
            </p:cNvSpPr>
            <p:nvPr/>
          </p:nvSpPr>
          <p:spPr bwMode="auto">
            <a:xfrm>
              <a:off x="2292919" y="3554137"/>
              <a:ext cx="756547" cy="440639"/>
            </a:xfrm>
            <a:custGeom>
              <a:avLst/>
              <a:gdLst>
                <a:gd name="T0" fmla="*/ 707 w 826"/>
                <a:gd name="T1" fmla="*/ 545 h 545"/>
                <a:gd name="T2" fmla="*/ 0 w 826"/>
                <a:gd name="T3" fmla="*/ 80 h 545"/>
                <a:gd name="T4" fmla="*/ 123 w 826"/>
                <a:gd name="T5" fmla="*/ 0 h 545"/>
                <a:gd name="T6" fmla="*/ 826 w 826"/>
                <a:gd name="T7" fmla="*/ 460 h 545"/>
                <a:gd name="T8" fmla="*/ 707 w 826"/>
                <a:gd name="T9" fmla="*/ 545 h 545"/>
              </a:gdLst>
              <a:ahLst/>
              <a:cxnLst>
                <a:cxn ang="0">
                  <a:pos x="T0" y="T1"/>
                </a:cxn>
                <a:cxn ang="0">
                  <a:pos x="T2" y="T3"/>
                </a:cxn>
                <a:cxn ang="0">
                  <a:pos x="T4" y="T5"/>
                </a:cxn>
                <a:cxn ang="0">
                  <a:pos x="T6" y="T7"/>
                </a:cxn>
                <a:cxn ang="0">
                  <a:pos x="T8" y="T9"/>
                </a:cxn>
              </a:cxnLst>
              <a:rect l="0" t="0" r="r" b="b"/>
              <a:pathLst>
                <a:path w="826" h="545">
                  <a:moveTo>
                    <a:pt x="707" y="545"/>
                  </a:moveTo>
                  <a:lnTo>
                    <a:pt x="0" y="80"/>
                  </a:lnTo>
                  <a:lnTo>
                    <a:pt x="123" y="0"/>
                  </a:lnTo>
                  <a:lnTo>
                    <a:pt x="826" y="460"/>
                  </a:lnTo>
                  <a:lnTo>
                    <a:pt x="707" y="545"/>
                  </a:lnTo>
                  <a:close/>
                </a:path>
              </a:pathLst>
            </a:custGeom>
            <a:solidFill>
              <a:schemeClr val="bg1">
                <a:lumMod val="50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14" name="Freeform 219">
              <a:extLst>
                <a:ext uri="{FF2B5EF4-FFF2-40B4-BE49-F238E27FC236}">
                  <a16:creationId xmlns:a16="http://schemas.microsoft.com/office/drawing/2014/main" id="{B496A361-0750-49DB-BFFD-C496B3B285A9}"/>
                </a:ext>
              </a:extLst>
            </p:cNvPr>
            <p:cNvSpPr>
              <a:spLocks/>
            </p:cNvSpPr>
            <p:nvPr/>
          </p:nvSpPr>
          <p:spPr bwMode="auto">
            <a:xfrm>
              <a:off x="2295362" y="3616662"/>
              <a:ext cx="756547" cy="396170"/>
            </a:xfrm>
            <a:custGeom>
              <a:avLst/>
              <a:gdLst>
                <a:gd name="T0" fmla="*/ 707 w 826"/>
                <a:gd name="T1" fmla="*/ 465 h 490"/>
                <a:gd name="T2" fmla="*/ 826 w 826"/>
                <a:gd name="T3" fmla="*/ 380 h 490"/>
                <a:gd name="T4" fmla="*/ 826 w 826"/>
                <a:gd name="T5" fmla="*/ 406 h 490"/>
                <a:gd name="T6" fmla="*/ 707 w 826"/>
                <a:gd name="T7" fmla="*/ 490 h 490"/>
                <a:gd name="T8" fmla="*/ 0 w 826"/>
                <a:gd name="T9" fmla="*/ 26 h 490"/>
                <a:gd name="T10" fmla="*/ 0 w 826"/>
                <a:gd name="T11" fmla="*/ 0 h 490"/>
                <a:gd name="T12" fmla="*/ 707 w 826"/>
                <a:gd name="T13" fmla="*/ 465 h 490"/>
                <a:gd name="connsiteX0" fmla="*/ 8559 w 10000"/>
                <a:gd name="connsiteY0" fmla="*/ 9490 h 10000"/>
                <a:gd name="connsiteX1" fmla="*/ 10000 w 10000"/>
                <a:gd name="connsiteY1" fmla="*/ 8286 h 10000"/>
                <a:gd name="connsiteX2" fmla="*/ 8559 w 10000"/>
                <a:gd name="connsiteY2" fmla="*/ 10000 h 10000"/>
                <a:gd name="connsiteX3" fmla="*/ 0 w 10000"/>
                <a:gd name="connsiteY3" fmla="*/ 531 h 10000"/>
                <a:gd name="connsiteX4" fmla="*/ 0 w 10000"/>
                <a:gd name="connsiteY4" fmla="*/ 0 h 10000"/>
                <a:gd name="connsiteX5" fmla="*/ 8559 w 10000"/>
                <a:gd name="connsiteY5" fmla="*/ 949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8559" y="9490"/>
                  </a:moveTo>
                  <a:lnTo>
                    <a:pt x="10000" y="8286"/>
                  </a:lnTo>
                  <a:lnTo>
                    <a:pt x="8559" y="10000"/>
                  </a:lnTo>
                  <a:lnTo>
                    <a:pt x="0" y="531"/>
                  </a:lnTo>
                  <a:lnTo>
                    <a:pt x="0" y="0"/>
                  </a:lnTo>
                  <a:lnTo>
                    <a:pt x="8559" y="9490"/>
                  </a:lnTo>
                  <a:close/>
                </a:path>
              </a:pathLst>
            </a:custGeom>
            <a:solidFill>
              <a:schemeClr val="tx1">
                <a:lumMod val="50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16" name="Freeform: Shape 3115">
              <a:extLst>
                <a:ext uri="{FF2B5EF4-FFF2-40B4-BE49-F238E27FC236}">
                  <a16:creationId xmlns:a16="http://schemas.microsoft.com/office/drawing/2014/main" id="{21A71D6D-63D4-4184-BB01-BD1913B7D95E}"/>
                </a:ext>
              </a:extLst>
            </p:cNvPr>
            <p:cNvSpPr>
              <a:spLocks/>
            </p:cNvSpPr>
            <p:nvPr/>
          </p:nvSpPr>
          <p:spPr bwMode="auto">
            <a:xfrm>
              <a:off x="2921238" y="3919585"/>
              <a:ext cx="230824" cy="172373"/>
            </a:xfrm>
            <a:custGeom>
              <a:avLst/>
              <a:gdLst>
                <a:gd name="connsiteX0" fmla="*/ 116322 w 230824"/>
                <a:gd name="connsiteY0" fmla="*/ 0 h 172373"/>
                <a:gd name="connsiteX1" fmla="*/ 230824 w 230824"/>
                <a:gd name="connsiteY1" fmla="*/ 66516 h 172373"/>
                <a:gd name="connsiteX2" fmla="*/ 185344 w 230824"/>
                <a:gd name="connsiteY2" fmla="*/ 172373 h 172373"/>
                <a:gd name="connsiteX3" fmla="*/ 0 w 230824"/>
                <a:gd name="connsiteY3" fmla="*/ 64681 h 172373"/>
              </a:gdLst>
              <a:ahLst/>
              <a:cxnLst>
                <a:cxn ang="0">
                  <a:pos x="connsiteX0" y="connsiteY0"/>
                </a:cxn>
                <a:cxn ang="0">
                  <a:pos x="connsiteX1" y="connsiteY1"/>
                </a:cxn>
                <a:cxn ang="0">
                  <a:pos x="connsiteX2" y="connsiteY2"/>
                </a:cxn>
                <a:cxn ang="0">
                  <a:pos x="connsiteX3" y="connsiteY3"/>
                </a:cxn>
              </a:cxnLst>
              <a:rect l="l" t="t" r="r" b="b"/>
              <a:pathLst>
                <a:path w="230824" h="172373">
                  <a:moveTo>
                    <a:pt x="116322" y="0"/>
                  </a:moveTo>
                  <a:lnTo>
                    <a:pt x="230824" y="66516"/>
                  </a:lnTo>
                  <a:lnTo>
                    <a:pt x="185344" y="172373"/>
                  </a:lnTo>
                  <a:lnTo>
                    <a:pt x="0" y="64681"/>
                  </a:lnTo>
                  <a:close/>
                </a:path>
              </a:pathLst>
            </a:custGeom>
            <a:solidFill>
              <a:schemeClr val="bg1">
                <a:lumMod val="50000"/>
              </a:schemeClr>
            </a:solidFill>
            <a:ln>
              <a:noFill/>
            </a:ln>
          </p:spPr>
          <p:txBody>
            <a:bodyPr vert="horz" wrap="square" lIns="91417" tIns="45707" rIns="91417" bIns="45707" numCol="1" anchor="t" anchorCtr="0" compatLnSpc="1">
              <a:prstTxWarp prst="textNoShape">
                <a:avLst/>
              </a:prstTxWarp>
              <a:noAutofit/>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17" name="Freeform: Shape 3116">
              <a:extLst>
                <a:ext uri="{FF2B5EF4-FFF2-40B4-BE49-F238E27FC236}">
                  <a16:creationId xmlns:a16="http://schemas.microsoft.com/office/drawing/2014/main" id="{AF8CE2F3-FD60-4CF6-B7D0-095326FA134C}"/>
                </a:ext>
              </a:extLst>
            </p:cNvPr>
            <p:cNvSpPr>
              <a:spLocks/>
            </p:cNvSpPr>
            <p:nvPr/>
          </p:nvSpPr>
          <p:spPr bwMode="auto">
            <a:xfrm>
              <a:off x="2910802" y="3982112"/>
              <a:ext cx="197011" cy="121805"/>
            </a:xfrm>
            <a:custGeom>
              <a:avLst/>
              <a:gdLst>
                <a:gd name="connsiteX0" fmla="*/ 12880 w 197011"/>
                <a:gd name="connsiteY0" fmla="*/ 0 h 121805"/>
                <a:gd name="connsiteX1" fmla="*/ 197011 w 197011"/>
                <a:gd name="connsiteY1" fmla="*/ 106984 h 121805"/>
                <a:gd name="connsiteX2" fmla="*/ 190643 w 197011"/>
                <a:gd name="connsiteY2" fmla="*/ 121805 h 121805"/>
                <a:gd name="connsiteX3" fmla="*/ 0 w 197011"/>
                <a:gd name="connsiteY3" fmla="*/ 11331 h 121805"/>
              </a:gdLst>
              <a:ahLst/>
              <a:cxnLst>
                <a:cxn ang="0">
                  <a:pos x="connsiteX0" y="connsiteY0"/>
                </a:cxn>
                <a:cxn ang="0">
                  <a:pos x="connsiteX1" y="connsiteY1"/>
                </a:cxn>
                <a:cxn ang="0">
                  <a:pos x="connsiteX2" y="connsiteY2"/>
                </a:cxn>
                <a:cxn ang="0">
                  <a:pos x="connsiteX3" y="connsiteY3"/>
                </a:cxn>
              </a:cxnLst>
              <a:rect l="l" t="t" r="r" b="b"/>
              <a:pathLst>
                <a:path w="197011" h="121805">
                  <a:moveTo>
                    <a:pt x="12880" y="0"/>
                  </a:moveTo>
                  <a:lnTo>
                    <a:pt x="197011" y="106984"/>
                  </a:lnTo>
                  <a:lnTo>
                    <a:pt x="190643" y="121805"/>
                  </a:lnTo>
                  <a:lnTo>
                    <a:pt x="0" y="11331"/>
                  </a:lnTo>
                  <a:close/>
                </a:path>
              </a:pathLst>
            </a:custGeom>
            <a:solidFill>
              <a:schemeClr val="tx1">
                <a:lumMod val="50000"/>
              </a:schemeClr>
            </a:solidFill>
            <a:ln>
              <a:noFill/>
            </a:ln>
          </p:spPr>
          <p:txBody>
            <a:bodyPr vert="horz" wrap="square" lIns="91417" tIns="45707" rIns="91417" bIns="45707" numCol="1" anchor="t" anchorCtr="0" compatLnSpc="1">
              <a:prstTxWarp prst="textNoShape">
                <a:avLst/>
              </a:prstTxWarp>
              <a:noAutofit/>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18" name="Freeform: Shape 45">
              <a:extLst>
                <a:ext uri="{FF2B5EF4-FFF2-40B4-BE49-F238E27FC236}">
                  <a16:creationId xmlns:a16="http://schemas.microsoft.com/office/drawing/2014/main" id="{921F218D-4583-499B-9D44-C0BE4C4E11B3}"/>
                </a:ext>
              </a:extLst>
            </p:cNvPr>
            <p:cNvSpPr/>
            <p:nvPr/>
          </p:nvSpPr>
          <p:spPr bwMode="auto">
            <a:xfrm>
              <a:off x="1764444" y="3321971"/>
              <a:ext cx="205871" cy="244635"/>
            </a:xfrm>
            <a:custGeom>
              <a:avLst/>
              <a:gdLst>
                <a:gd name="connsiteX0" fmla="*/ 69850 w 288925"/>
                <a:gd name="connsiteY0" fmla="*/ 349250 h 388937"/>
                <a:gd name="connsiteX1" fmla="*/ 0 w 288925"/>
                <a:gd name="connsiteY1" fmla="*/ 388937 h 388937"/>
                <a:gd name="connsiteX2" fmla="*/ 0 w 288925"/>
                <a:gd name="connsiteY2" fmla="*/ 90487 h 388937"/>
                <a:gd name="connsiteX3" fmla="*/ 239712 w 288925"/>
                <a:gd name="connsiteY3" fmla="*/ 0 h 388937"/>
                <a:gd name="connsiteX4" fmla="*/ 288925 w 288925"/>
                <a:gd name="connsiteY4" fmla="*/ 19050 h 388937"/>
                <a:gd name="connsiteX5" fmla="*/ 287337 w 288925"/>
                <a:gd name="connsiteY5" fmla="*/ 214312 h 388937"/>
                <a:gd name="connsiteX6" fmla="*/ 69850 w 288925"/>
                <a:gd name="connsiteY6" fmla="*/ 349250 h 38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925" h="388937">
                  <a:moveTo>
                    <a:pt x="69850" y="349250"/>
                  </a:moveTo>
                  <a:lnTo>
                    <a:pt x="0" y="388937"/>
                  </a:lnTo>
                  <a:lnTo>
                    <a:pt x="0" y="90487"/>
                  </a:lnTo>
                  <a:lnTo>
                    <a:pt x="239712" y="0"/>
                  </a:lnTo>
                  <a:lnTo>
                    <a:pt x="288925" y="19050"/>
                  </a:lnTo>
                  <a:cubicBezTo>
                    <a:pt x="288396" y="84137"/>
                    <a:pt x="287866" y="149225"/>
                    <a:pt x="287337" y="214312"/>
                  </a:cubicBezTo>
                  <a:lnTo>
                    <a:pt x="69850" y="349250"/>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119" name="Rectangle 396">
              <a:extLst>
                <a:ext uri="{FF2B5EF4-FFF2-40B4-BE49-F238E27FC236}">
                  <a16:creationId xmlns:a16="http://schemas.microsoft.com/office/drawing/2014/main" id="{F1FCC023-6B6F-4325-8205-B4CD6049464E}"/>
                </a:ext>
              </a:extLst>
            </p:cNvPr>
            <p:cNvSpPr/>
            <p:nvPr/>
          </p:nvSpPr>
          <p:spPr bwMode="auto">
            <a:xfrm>
              <a:off x="1808104" y="3335020"/>
              <a:ext cx="165968" cy="263227"/>
            </a:xfrm>
            <a:custGeom>
              <a:avLst/>
              <a:gdLst>
                <a:gd name="connsiteX0" fmla="*/ 0 w 274513"/>
                <a:gd name="connsiteY0" fmla="*/ 0 h 149681"/>
                <a:gd name="connsiteX1" fmla="*/ 274513 w 274513"/>
                <a:gd name="connsiteY1" fmla="*/ 0 h 149681"/>
                <a:gd name="connsiteX2" fmla="*/ 274513 w 274513"/>
                <a:gd name="connsiteY2" fmla="*/ 149681 h 149681"/>
                <a:gd name="connsiteX3" fmla="*/ 0 w 274513"/>
                <a:gd name="connsiteY3" fmla="*/ 149681 h 149681"/>
                <a:gd name="connsiteX4" fmla="*/ 0 w 274513"/>
                <a:gd name="connsiteY4" fmla="*/ 0 h 149681"/>
                <a:gd name="connsiteX0" fmla="*/ 0 w 274513"/>
                <a:gd name="connsiteY0" fmla="*/ 105834 h 255515"/>
                <a:gd name="connsiteX1" fmla="*/ 232180 w 274513"/>
                <a:gd name="connsiteY1" fmla="*/ 0 h 255515"/>
                <a:gd name="connsiteX2" fmla="*/ 274513 w 274513"/>
                <a:gd name="connsiteY2" fmla="*/ 255515 h 255515"/>
                <a:gd name="connsiteX3" fmla="*/ 0 w 274513"/>
                <a:gd name="connsiteY3" fmla="*/ 255515 h 255515"/>
                <a:gd name="connsiteX4" fmla="*/ 0 w 274513"/>
                <a:gd name="connsiteY4" fmla="*/ 105834 h 255515"/>
                <a:gd name="connsiteX0" fmla="*/ 0 w 255463"/>
                <a:gd name="connsiteY0" fmla="*/ 105834 h 255515"/>
                <a:gd name="connsiteX1" fmla="*/ 232180 w 255463"/>
                <a:gd name="connsiteY1" fmla="*/ 0 h 255515"/>
                <a:gd name="connsiteX2" fmla="*/ 255463 w 255463"/>
                <a:gd name="connsiteY2" fmla="*/ 109465 h 255515"/>
                <a:gd name="connsiteX3" fmla="*/ 0 w 255463"/>
                <a:gd name="connsiteY3" fmla="*/ 255515 h 255515"/>
                <a:gd name="connsiteX4" fmla="*/ 0 w 255463"/>
                <a:gd name="connsiteY4" fmla="*/ 105834 h 255515"/>
                <a:gd name="connsiteX0" fmla="*/ 0 w 255463"/>
                <a:gd name="connsiteY0" fmla="*/ 105834 h 454481"/>
                <a:gd name="connsiteX1" fmla="*/ 232180 w 255463"/>
                <a:gd name="connsiteY1" fmla="*/ 0 h 454481"/>
                <a:gd name="connsiteX2" fmla="*/ 255463 w 255463"/>
                <a:gd name="connsiteY2" fmla="*/ 109465 h 454481"/>
                <a:gd name="connsiteX3" fmla="*/ 4234 w 255463"/>
                <a:gd name="connsiteY3" fmla="*/ 454481 h 454481"/>
                <a:gd name="connsiteX4" fmla="*/ 0 w 255463"/>
                <a:gd name="connsiteY4" fmla="*/ 105834 h 454481"/>
                <a:gd name="connsiteX0" fmla="*/ 0 w 244880"/>
                <a:gd name="connsiteY0" fmla="*/ 105834 h 454481"/>
                <a:gd name="connsiteX1" fmla="*/ 232180 w 244880"/>
                <a:gd name="connsiteY1" fmla="*/ 0 h 454481"/>
                <a:gd name="connsiteX2" fmla="*/ 244880 w 244880"/>
                <a:gd name="connsiteY2" fmla="*/ 240698 h 454481"/>
                <a:gd name="connsiteX3" fmla="*/ 4234 w 244880"/>
                <a:gd name="connsiteY3" fmla="*/ 454481 h 454481"/>
                <a:gd name="connsiteX4" fmla="*/ 0 w 244880"/>
                <a:gd name="connsiteY4" fmla="*/ 105834 h 454481"/>
                <a:gd name="connsiteX0" fmla="*/ 0 w 244880"/>
                <a:gd name="connsiteY0" fmla="*/ 105834 h 454481"/>
                <a:gd name="connsiteX1" fmla="*/ 232180 w 244880"/>
                <a:gd name="connsiteY1" fmla="*/ 0 h 454481"/>
                <a:gd name="connsiteX2" fmla="*/ 244880 w 244880"/>
                <a:gd name="connsiteY2" fmla="*/ 240698 h 454481"/>
                <a:gd name="connsiteX3" fmla="*/ 4234 w 244880"/>
                <a:gd name="connsiteY3" fmla="*/ 454481 h 454481"/>
                <a:gd name="connsiteX4" fmla="*/ 0 w 244880"/>
                <a:gd name="connsiteY4" fmla="*/ 105834 h 454481"/>
                <a:gd name="connsiteX0" fmla="*/ 406 w 245286"/>
                <a:gd name="connsiteY0" fmla="*/ 105834 h 443897"/>
                <a:gd name="connsiteX1" fmla="*/ 232586 w 245286"/>
                <a:gd name="connsiteY1" fmla="*/ 0 h 443897"/>
                <a:gd name="connsiteX2" fmla="*/ 245286 w 245286"/>
                <a:gd name="connsiteY2" fmla="*/ 240698 h 443897"/>
                <a:gd name="connsiteX3" fmla="*/ 407 w 245286"/>
                <a:gd name="connsiteY3" fmla="*/ 443897 h 443897"/>
                <a:gd name="connsiteX4" fmla="*/ 406 w 245286"/>
                <a:gd name="connsiteY4" fmla="*/ 105834 h 443897"/>
                <a:gd name="connsiteX0" fmla="*/ 406 w 234703"/>
                <a:gd name="connsiteY0" fmla="*/ 105834 h 443897"/>
                <a:gd name="connsiteX1" fmla="*/ 232586 w 234703"/>
                <a:gd name="connsiteY1" fmla="*/ 0 h 443897"/>
                <a:gd name="connsiteX2" fmla="*/ 234703 w 234703"/>
                <a:gd name="connsiteY2" fmla="*/ 251281 h 443897"/>
                <a:gd name="connsiteX3" fmla="*/ 407 w 234703"/>
                <a:gd name="connsiteY3" fmla="*/ 443897 h 443897"/>
                <a:gd name="connsiteX4" fmla="*/ 406 w 234703"/>
                <a:gd name="connsiteY4" fmla="*/ 105834 h 443897"/>
                <a:gd name="connsiteX0" fmla="*/ 1870 w 234579"/>
                <a:gd name="connsiteY0" fmla="*/ 116946 h 443897"/>
                <a:gd name="connsiteX1" fmla="*/ 232462 w 234579"/>
                <a:gd name="connsiteY1" fmla="*/ 0 h 443897"/>
                <a:gd name="connsiteX2" fmla="*/ 234579 w 234579"/>
                <a:gd name="connsiteY2" fmla="*/ 251281 h 443897"/>
                <a:gd name="connsiteX3" fmla="*/ 283 w 234579"/>
                <a:gd name="connsiteY3" fmla="*/ 443897 h 443897"/>
                <a:gd name="connsiteX4" fmla="*/ 1870 w 234579"/>
                <a:gd name="connsiteY4" fmla="*/ 116946 h 443897"/>
                <a:gd name="connsiteX0" fmla="*/ 4938 w 234472"/>
                <a:gd name="connsiteY0" fmla="*/ 88371 h 443897"/>
                <a:gd name="connsiteX1" fmla="*/ 232355 w 234472"/>
                <a:gd name="connsiteY1" fmla="*/ 0 h 443897"/>
                <a:gd name="connsiteX2" fmla="*/ 234472 w 234472"/>
                <a:gd name="connsiteY2" fmla="*/ 251281 h 443897"/>
                <a:gd name="connsiteX3" fmla="*/ 176 w 234472"/>
                <a:gd name="connsiteY3" fmla="*/ 443897 h 443897"/>
                <a:gd name="connsiteX4" fmla="*/ 4938 w 234472"/>
                <a:gd name="connsiteY4" fmla="*/ 88371 h 443897"/>
                <a:gd name="connsiteX0" fmla="*/ 0 w 229534"/>
                <a:gd name="connsiteY0" fmla="*/ 88371 h 515335"/>
                <a:gd name="connsiteX1" fmla="*/ 227417 w 229534"/>
                <a:gd name="connsiteY1" fmla="*/ 0 h 515335"/>
                <a:gd name="connsiteX2" fmla="*/ 229534 w 229534"/>
                <a:gd name="connsiteY2" fmla="*/ 251281 h 515335"/>
                <a:gd name="connsiteX3" fmla="*/ 11113 w 229534"/>
                <a:gd name="connsiteY3" fmla="*/ 515335 h 515335"/>
                <a:gd name="connsiteX4" fmla="*/ 0 w 229534"/>
                <a:gd name="connsiteY4" fmla="*/ 88371 h 515335"/>
                <a:gd name="connsiteX0" fmla="*/ 0 w 229534"/>
                <a:gd name="connsiteY0" fmla="*/ 88371 h 420085"/>
                <a:gd name="connsiteX1" fmla="*/ 227417 w 229534"/>
                <a:gd name="connsiteY1" fmla="*/ 0 h 420085"/>
                <a:gd name="connsiteX2" fmla="*/ 229534 w 229534"/>
                <a:gd name="connsiteY2" fmla="*/ 251281 h 420085"/>
                <a:gd name="connsiteX3" fmla="*/ 7938 w 229534"/>
                <a:gd name="connsiteY3" fmla="*/ 420085 h 420085"/>
                <a:gd name="connsiteX4" fmla="*/ 0 w 229534"/>
                <a:gd name="connsiteY4" fmla="*/ 88371 h 420085"/>
                <a:gd name="connsiteX0" fmla="*/ 3391 w 232925"/>
                <a:gd name="connsiteY0" fmla="*/ 88371 h 418498"/>
                <a:gd name="connsiteX1" fmla="*/ 230808 w 232925"/>
                <a:gd name="connsiteY1" fmla="*/ 0 h 418498"/>
                <a:gd name="connsiteX2" fmla="*/ 232925 w 232925"/>
                <a:gd name="connsiteY2" fmla="*/ 251281 h 418498"/>
                <a:gd name="connsiteX3" fmla="*/ 216 w 232925"/>
                <a:gd name="connsiteY3" fmla="*/ 418498 h 418498"/>
                <a:gd name="connsiteX4" fmla="*/ 3391 w 232925"/>
                <a:gd name="connsiteY4" fmla="*/ 88371 h 41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925" h="418498">
                  <a:moveTo>
                    <a:pt x="3391" y="88371"/>
                  </a:moveTo>
                  <a:lnTo>
                    <a:pt x="230808" y="0"/>
                  </a:lnTo>
                  <a:cubicBezTo>
                    <a:pt x="231514" y="83760"/>
                    <a:pt x="232219" y="167521"/>
                    <a:pt x="232925" y="251281"/>
                  </a:cubicBezTo>
                  <a:lnTo>
                    <a:pt x="216" y="418498"/>
                  </a:lnTo>
                  <a:cubicBezTo>
                    <a:pt x="-1195" y="302282"/>
                    <a:pt x="4802" y="204587"/>
                    <a:pt x="3391" y="8837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120" name="Freeform: Shape 53">
              <a:extLst>
                <a:ext uri="{FF2B5EF4-FFF2-40B4-BE49-F238E27FC236}">
                  <a16:creationId xmlns:a16="http://schemas.microsoft.com/office/drawing/2014/main" id="{E5A660B8-166F-4992-B9E2-736AAFF71AFC}"/>
                </a:ext>
              </a:extLst>
            </p:cNvPr>
            <p:cNvSpPr>
              <a:spLocks/>
            </p:cNvSpPr>
            <p:nvPr/>
          </p:nvSpPr>
          <p:spPr bwMode="auto">
            <a:xfrm>
              <a:off x="2389963" y="2986024"/>
              <a:ext cx="5276" cy="2160"/>
            </a:xfrm>
            <a:custGeom>
              <a:avLst/>
              <a:gdLst>
                <a:gd name="connsiteX0" fmla="*/ 5970 w 9144"/>
                <a:gd name="connsiteY0" fmla="*/ 0 h 4241"/>
                <a:gd name="connsiteX1" fmla="*/ 9144 w 9144"/>
                <a:gd name="connsiteY1" fmla="*/ 1311 h 4241"/>
                <a:gd name="connsiteX2" fmla="*/ 9144 w 9144"/>
                <a:gd name="connsiteY2" fmla="*/ 4241 h 4241"/>
                <a:gd name="connsiteX3" fmla="*/ 0 w 9144"/>
                <a:gd name="connsiteY3" fmla="*/ 4241 h 4241"/>
                <a:gd name="connsiteX4" fmla="*/ 0 w 9144"/>
                <a:gd name="connsiteY4" fmla="*/ 3215 h 4241"/>
                <a:gd name="connsiteX5" fmla="*/ 5970 w 9144"/>
                <a:gd name="connsiteY5" fmla="*/ 0 h 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 h="4241">
                  <a:moveTo>
                    <a:pt x="5970" y="0"/>
                  </a:moveTo>
                  <a:lnTo>
                    <a:pt x="9144" y="1311"/>
                  </a:lnTo>
                  <a:lnTo>
                    <a:pt x="9144" y="4241"/>
                  </a:lnTo>
                  <a:lnTo>
                    <a:pt x="0" y="4241"/>
                  </a:lnTo>
                  <a:lnTo>
                    <a:pt x="0" y="3215"/>
                  </a:lnTo>
                  <a:lnTo>
                    <a:pt x="5970" y="0"/>
                  </a:lnTo>
                  <a:close/>
                </a:path>
              </a:pathLst>
            </a:custGeom>
            <a:solidFill>
              <a:schemeClr val="bg1">
                <a:lumMod val="95000"/>
              </a:schemeClr>
            </a:solidFill>
            <a:ln>
              <a:noFill/>
            </a:ln>
          </p:spPr>
          <p:txBody>
            <a:bodyPr vert="horz" wrap="square" lIns="91417" tIns="45707" rIns="91417" bIns="45707" numCol="1" anchor="t" anchorCtr="0" compatLnSpc="1">
              <a:prstTxWarp prst="textNoShape">
                <a:avLst/>
              </a:prstTxWarp>
              <a:noAutofit/>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21" name="Rectangle 174">
              <a:extLst>
                <a:ext uri="{FF2B5EF4-FFF2-40B4-BE49-F238E27FC236}">
                  <a16:creationId xmlns:a16="http://schemas.microsoft.com/office/drawing/2014/main" id="{D269C1C4-6505-4390-A957-9CE48A8F3740}"/>
                </a:ext>
              </a:extLst>
            </p:cNvPr>
            <p:cNvSpPr>
              <a:spLocks noChangeArrowheads="1"/>
            </p:cNvSpPr>
            <p:nvPr/>
          </p:nvSpPr>
          <p:spPr bwMode="auto">
            <a:xfrm>
              <a:off x="1959261" y="4074277"/>
              <a:ext cx="23813" cy="139873"/>
            </a:xfrm>
            <a:prstGeom prst="rect">
              <a:avLst/>
            </a:pr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22" name="Rectangle 175">
              <a:extLst>
                <a:ext uri="{FF2B5EF4-FFF2-40B4-BE49-F238E27FC236}">
                  <a16:creationId xmlns:a16="http://schemas.microsoft.com/office/drawing/2014/main" id="{E031E69D-41E4-4D85-A12B-B43290E62A68}"/>
                </a:ext>
              </a:extLst>
            </p:cNvPr>
            <p:cNvSpPr>
              <a:spLocks noChangeArrowheads="1"/>
            </p:cNvSpPr>
            <p:nvPr/>
          </p:nvSpPr>
          <p:spPr bwMode="auto">
            <a:xfrm>
              <a:off x="2091153" y="4040321"/>
              <a:ext cx="19234" cy="139873"/>
            </a:xfrm>
            <a:prstGeom prst="rect">
              <a:avLst/>
            </a:pr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23" name="Rectangle 177">
              <a:extLst>
                <a:ext uri="{FF2B5EF4-FFF2-40B4-BE49-F238E27FC236}">
                  <a16:creationId xmlns:a16="http://schemas.microsoft.com/office/drawing/2014/main" id="{DD943F0D-8540-4804-A85D-8B705F43CA4B}"/>
                </a:ext>
              </a:extLst>
            </p:cNvPr>
            <p:cNvSpPr>
              <a:spLocks noChangeArrowheads="1"/>
            </p:cNvSpPr>
            <p:nvPr/>
          </p:nvSpPr>
          <p:spPr bwMode="auto">
            <a:xfrm>
              <a:off x="2009638" y="3511554"/>
              <a:ext cx="23813" cy="135831"/>
            </a:xfrm>
            <a:prstGeom prst="rect">
              <a:avLst/>
            </a:pr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25" name="Rectangle 178">
              <a:extLst>
                <a:ext uri="{FF2B5EF4-FFF2-40B4-BE49-F238E27FC236}">
                  <a16:creationId xmlns:a16="http://schemas.microsoft.com/office/drawing/2014/main" id="{14970132-200E-430E-9679-260E06583EE9}"/>
                </a:ext>
              </a:extLst>
            </p:cNvPr>
            <p:cNvSpPr>
              <a:spLocks noChangeArrowheads="1"/>
            </p:cNvSpPr>
            <p:nvPr/>
          </p:nvSpPr>
          <p:spPr bwMode="auto">
            <a:xfrm>
              <a:off x="2231290" y="3388660"/>
              <a:ext cx="19234" cy="135831"/>
            </a:xfrm>
            <a:prstGeom prst="rect">
              <a:avLst/>
            </a:pr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26" name="Rectangle 179">
              <a:extLst>
                <a:ext uri="{FF2B5EF4-FFF2-40B4-BE49-F238E27FC236}">
                  <a16:creationId xmlns:a16="http://schemas.microsoft.com/office/drawing/2014/main" id="{6778447F-3B29-46A0-8888-B3CD6BABBDB8}"/>
                </a:ext>
              </a:extLst>
            </p:cNvPr>
            <p:cNvSpPr>
              <a:spLocks noChangeArrowheads="1"/>
            </p:cNvSpPr>
            <p:nvPr/>
          </p:nvSpPr>
          <p:spPr bwMode="auto">
            <a:xfrm>
              <a:off x="1765115" y="3672170"/>
              <a:ext cx="32576" cy="99941"/>
            </a:xfrm>
            <a:prstGeom prst="rect">
              <a:avLst/>
            </a:pr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27" name="Rectangle 180">
              <a:extLst>
                <a:ext uri="{FF2B5EF4-FFF2-40B4-BE49-F238E27FC236}">
                  <a16:creationId xmlns:a16="http://schemas.microsoft.com/office/drawing/2014/main" id="{04132F3C-33DD-407B-AC90-B4C9D6CB30A0}"/>
                </a:ext>
              </a:extLst>
            </p:cNvPr>
            <p:cNvSpPr>
              <a:spLocks noChangeArrowheads="1"/>
            </p:cNvSpPr>
            <p:nvPr/>
          </p:nvSpPr>
          <p:spPr bwMode="auto">
            <a:xfrm>
              <a:off x="2106723" y="3364404"/>
              <a:ext cx="22898" cy="139873"/>
            </a:xfrm>
            <a:prstGeom prst="rect">
              <a:avLst/>
            </a:pr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28" name="Rectangle 181">
              <a:extLst>
                <a:ext uri="{FF2B5EF4-FFF2-40B4-BE49-F238E27FC236}">
                  <a16:creationId xmlns:a16="http://schemas.microsoft.com/office/drawing/2014/main" id="{9B40FD11-2CB6-4DEB-940F-A5B021B7F9D4}"/>
                </a:ext>
              </a:extLst>
            </p:cNvPr>
            <p:cNvSpPr>
              <a:spLocks noChangeArrowheads="1"/>
            </p:cNvSpPr>
            <p:nvPr/>
          </p:nvSpPr>
          <p:spPr bwMode="auto">
            <a:xfrm>
              <a:off x="2436454" y="3108915"/>
              <a:ext cx="19234" cy="299956"/>
            </a:xfrm>
            <a:prstGeom prst="rect">
              <a:avLst/>
            </a:pr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29" name="Rectangle 182">
              <a:extLst>
                <a:ext uri="{FF2B5EF4-FFF2-40B4-BE49-F238E27FC236}">
                  <a16:creationId xmlns:a16="http://schemas.microsoft.com/office/drawing/2014/main" id="{D9997DFA-151F-409C-96F0-5339340DEE98}"/>
                </a:ext>
              </a:extLst>
            </p:cNvPr>
            <p:cNvSpPr>
              <a:spLocks noChangeArrowheads="1"/>
            </p:cNvSpPr>
            <p:nvPr/>
          </p:nvSpPr>
          <p:spPr bwMode="auto">
            <a:xfrm>
              <a:off x="2335703" y="3084661"/>
              <a:ext cx="22898" cy="279745"/>
            </a:xfrm>
            <a:prstGeom prst="rect">
              <a:avLst/>
            </a:pr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30" name="Rectangle 183">
              <a:extLst>
                <a:ext uri="{FF2B5EF4-FFF2-40B4-BE49-F238E27FC236}">
                  <a16:creationId xmlns:a16="http://schemas.microsoft.com/office/drawing/2014/main" id="{FD777CF4-C086-424B-A1CD-26394144465F}"/>
                </a:ext>
              </a:extLst>
            </p:cNvPr>
            <p:cNvSpPr>
              <a:spLocks noChangeArrowheads="1"/>
            </p:cNvSpPr>
            <p:nvPr/>
          </p:nvSpPr>
          <p:spPr bwMode="auto">
            <a:xfrm>
              <a:off x="2611767" y="3120422"/>
              <a:ext cx="23813" cy="218298"/>
            </a:xfrm>
            <a:prstGeom prst="rect">
              <a:avLst/>
            </a:pr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31" name="Rectangle 184">
              <a:extLst>
                <a:ext uri="{FF2B5EF4-FFF2-40B4-BE49-F238E27FC236}">
                  <a16:creationId xmlns:a16="http://schemas.microsoft.com/office/drawing/2014/main" id="{CB3E0E90-1CD8-420B-BC39-F5FF77876626}"/>
                </a:ext>
              </a:extLst>
            </p:cNvPr>
            <p:cNvSpPr>
              <a:spLocks noChangeArrowheads="1"/>
            </p:cNvSpPr>
            <p:nvPr/>
          </p:nvSpPr>
          <p:spPr bwMode="auto">
            <a:xfrm>
              <a:off x="2715557" y="3078435"/>
              <a:ext cx="22898" cy="221532"/>
            </a:xfrm>
            <a:prstGeom prst="rect">
              <a:avLst/>
            </a:prstGeom>
            <a:solidFill>
              <a:srgbClr val="0A0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32" name="Freeform 187">
              <a:extLst>
                <a:ext uri="{FF2B5EF4-FFF2-40B4-BE49-F238E27FC236}">
                  <a16:creationId xmlns:a16="http://schemas.microsoft.com/office/drawing/2014/main" id="{8E02FF4D-0C2A-4D1C-94DD-3EA5D5B2AFC3}"/>
                </a:ext>
              </a:extLst>
            </p:cNvPr>
            <p:cNvSpPr>
              <a:spLocks/>
            </p:cNvSpPr>
            <p:nvPr/>
          </p:nvSpPr>
          <p:spPr bwMode="auto">
            <a:xfrm>
              <a:off x="2320132" y="2998959"/>
              <a:ext cx="729069" cy="266808"/>
            </a:xfrm>
            <a:custGeom>
              <a:avLst/>
              <a:gdLst>
                <a:gd name="T0" fmla="*/ 159 w 188"/>
                <a:gd name="T1" fmla="*/ 78 h 78"/>
                <a:gd name="T2" fmla="*/ 86 w 188"/>
                <a:gd name="T3" fmla="*/ 40 h 78"/>
                <a:gd name="T4" fmla="*/ 35 w 188"/>
                <a:gd name="T5" fmla="*/ 34 h 78"/>
                <a:gd name="T6" fmla="*/ 0 w 188"/>
                <a:gd name="T7" fmla="*/ 23 h 78"/>
                <a:gd name="T8" fmla="*/ 101 w 188"/>
                <a:gd name="T9" fmla="*/ 16 h 78"/>
                <a:gd name="T10" fmla="*/ 188 w 188"/>
                <a:gd name="T11" fmla="*/ 61 h 78"/>
                <a:gd name="T12" fmla="*/ 159 w 188"/>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88" h="78">
                  <a:moveTo>
                    <a:pt x="159" y="78"/>
                  </a:moveTo>
                  <a:cubicBezTo>
                    <a:pt x="159" y="78"/>
                    <a:pt x="119" y="57"/>
                    <a:pt x="86" y="40"/>
                  </a:cubicBezTo>
                  <a:cubicBezTo>
                    <a:pt x="64" y="29"/>
                    <a:pt x="55" y="27"/>
                    <a:pt x="35" y="34"/>
                  </a:cubicBezTo>
                  <a:cubicBezTo>
                    <a:pt x="0" y="23"/>
                    <a:pt x="0" y="23"/>
                    <a:pt x="0" y="23"/>
                  </a:cubicBezTo>
                  <a:cubicBezTo>
                    <a:pt x="31" y="6"/>
                    <a:pt x="70" y="0"/>
                    <a:pt x="101" y="16"/>
                  </a:cubicBezTo>
                  <a:cubicBezTo>
                    <a:pt x="134" y="33"/>
                    <a:pt x="188" y="61"/>
                    <a:pt x="188" y="61"/>
                  </a:cubicBezTo>
                  <a:lnTo>
                    <a:pt x="159" y="78"/>
                  </a:lnTo>
                  <a:close/>
                </a:path>
              </a:pathLst>
            </a:custGeom>
            <a:solidFill>
              <a:schemeClr val="bg1">
                <a:lumMod val="50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33" name="Freeform 188">
              <a:extLst>
                <a:ext uri="{FF2B5EF4-FFF2-40B4-BE49-F238E27FC236}">
                  <a16:creationId xmlns:a16="http://schemas.microsoft.com/office/drawing/2014/main" id="{3D9CE608-325C-4557-9ABE-CBA00F35141C}"/>
                </a:ext>
              </a:extLst>
            </p:cNvPr>
            <p:cNvSpPr>
              <a:spLocks/>
            </p:cNvSpPr>
            <p:nvPr/>
          </p:nvSpPr>
          <p:spPr bwMode="auto">
            <a:xfrm>
              <a:off x="1774940" y="3391898"/>
              <a:ext cx="476504" cy="392124"/>
            </a:xfrm>
            <a:custGeom>
              <a:avLst/>
              <a:gdLst>
                <a:gd name="T0" fmla="*/ 127 w 128"/>
                <a:gd name="T1" fmla="*/ 0 h 116"/>
                <a:gd name="T2" fmla="*/ 64 w 128"/>
                <a:gd name="T3" fmla="*/ 40 h 116"/>
                <a:gd name="T4" fmla="*/ 5 w 128"/>
                <a:gd name="T5" fmla="*/ 116 h 116"/>
                <a:gd name="T6" fmla="*/ 65 w 128"/>
                <a:gd name="T7" fmla="*/ 42 h 116"/>
                <a:gd name="T8" fmla="*/ 128 w 128"/>
                <a:gd name="T9" fmla="*/ 2 h 116"/>
                <a:gd name="T10" fmla="*/ 127 w 128"/>
                <a:gd name="T11" fmla="*/ 0 h 116"/>
                <a:gd name="connsiteX0" fmla="*/ 9576 w 9654"/>
                <a:gd name="connsiteY0" fmla="*/ 0 h 10000"/>
                <a:gd name="connsiteX1" fmla="*/ 4599 w 9654"/>
                <a:gd name="connsiteY1" fmla="*/ 3428 h 10000"/>
                <a:gd name="connsiteX2" fmla="*/ 45 w 9654"/>
                <a:gd name="connsiteY2" fmla="*/ 10000 h 10000"/>
                <a:gd name="connsiteX3" fmla="*/ 4732 w 9654"/>
                <a:gd name="connsiteY3" fmla="*/ 3621 h 10000"/>
                <a:gd name="connsiteX4" fmla="*/ 9654 w 9654"/>
                <a:gd name="connsiteY4" fmla="*/ 172 h 10000"/>
                <a:gd name="connsiteX5" fmla="*/ 9576 w 9654"/>
                <a:gd name="connsiteY5" fmla="*/ 0 h 10000"/>
                <a:gd name="connsiteX0" fmla="*/ 9728 w 10000"/>
                <a:gd name="connsiteY0" fmla="*/ 0 h 9857"/>
                <a:gd name="connsiteX1" fmla="*/ 4764 w 10000"/>
                <a:gd name="connsiteY1" fmla="*/ 3285 h 9857"/>
                <a:gd name="connsiteX2" fmla="*/ 47 w 10000"/>
                <a:gd name="connsiteY2" fmla="*/ 9857 h 9857"/>
                <a:gd name="connsiteX3" fmla="*/ 4902 w 10000"/>
                <a:gd name="connsiteY3" fmla="*/ 3478 h 9857"/>
                <a:gd name="connsiteX4" fmla="*/ 10000 w 10000"/>
                <a:gd name="connsiteY4" fmla="*/ 29 h 9857"/>
                <a:gd name="connsiteX5" fmla="*/ 9728 w 10000"/>
                <a:gd name="connsiteY5" fmla="*/ 0 h 9857"/>
                <a:gd name="connsiteX0" fmla="*/ 9728 w 9790"/>
                <a:gd name="connsiteY0" fmla="*/ 0 h 10000"/>
                <a:gd name="connsiteX1" fmla="*/ 4764 w 9790"/>
                <a:gd name="connsiteY1" fmla="*/ 3333 h 10000"/>
                <a:gd name="connsiteX2" fmla="*/ 47 w 9790"/>
                <a:gd name="connsiteY2" fmla="*/ 10000 h 10000"/>
                <a:gd name="connsiteX3" fmla="*/ 4902 w 9790"/>
                <a:gd name="connsiteY3" fmla="*/ 3528 h 10000"/>
                <a:gd name="connsiteX4" fmla="*/ 9790 w 9790"/>
                <a:gd name="connsiteY4" fmla="*/ 133 h 10000"/>
                <a:gd name="connsiteX5" fmla="*/ 9728 w 9790"/>
                <a:gd name="connsiteY5" fmla="*/ 0 h 10000"/>
                <a:gd name="connsiteX0" fmla="*/ 9937 w 10078"/>
                <a:gd name="connsiteY0" fmla="*/ 0 h 10000"/>
                <a:gd name="connsiteX1" fmla="*/ 4866 w 10078"/>
                <a:gd name="connsiteY1" fmla="*/ 3333 h 10000"/>
                <a:gd name="connsiteX2" fmla="*/ 48 w 10078"/>
                <a:gd name="connsiteY2" fmla="*/ 10000 h 10000"/>
                <a:gd name="connsiteX3" fmla="*/ 5007 w 10078"/>
                <a:gd name="connsiteY3" fmla="*/ 3528 h 10000"/>
                <a:gd name="connsiteX4" fmla="*/ 10078 w 10078"/>
                <a:gd name="connsiteY4" fmla="*/ 71 h 10000"/>
                <a:gd name="connsiteX5" fmla="*/ 9937 w 10078"/>
                <a:gd name="connsiteY5" fmla="*/ 0 h 10000"/>
                <a:gd name="connsiteX0" fmla="*/ 9996 w 10078"/>
                <a:gd name="connsiteY0" fmla="*/ 0 h 10062"/>
                <a:gd name="connsiteX1" fmla="*/ 4866 w 10078"/>
                <a:gd name="connsiteY1" fmla="*/ 3395 h 10062"/>
                <a:gd name="connsiteX2" fmla="*/ 48 w 10078"/>
                <a:gd name="connsiteY2" fmla="*/ 10062 h 10062"/>
                <a:gd name="connsiteX3" fmla="*/ 5007 w 10078"/>
                <a:gd name="connsiteY3" fmla="*/ 3590 h 10062"/>
                <a:gd name="connsiteX4" fmla="*/ 10078 w 10078"/>
                <a:gd name="connsiteY4" fmla="*/ 133 h 10062"/>
                <a:gd name="connsiteX5" fmla="*/ 9996 w 10078"/>
                <a:gd name="connsiteY5" fmla="*/ 0 h 10062"/>
                <a:gd name="connsiteX0" fmla="*/ 9996 w 10156"/>
                <a:gd name="connsiteY0" fmla="*/ 0 h 10062"/>
                <a:gd name="connsiteX1" fmla="*/ 4866 w 10156"/>
                <a:gd name="connsiteY1" fmla="*/ 3395 h 10062"/>
                <a:gd name="connsiteX2" fmla="*/ 48 w 10156"/>
                <a:gd name="connsiteY2" fmla="*/ 10062 h 10062"/>
                <a:gd name="connsiteX3" fmla="*/ 5007 w 10156"/>
                <a:gd name="connsiteY3" fmla="*/ 3590 h 10062"/>
                <a:gd name="connsiteX4" fmla="*/ 10156 w 10156"/>
                <a:gd name="connsiteY4" fmla="*/ 92 h 10062"/>
                <a:gd name="connsiteX5" fmla="*/ 9996 w 10156"/>
                <a:gd name="connsiteY5" fmla="*/ 0 h 1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6" h="10062">
                  <a:moveTo>
                    <a:pt x="9996" y="0"/>
                  </a:moveTo>
                  <a:cubicBezTo>
                    <a:pt x="8177" y="1225"/>
                    <a:pt x="6353" y="2346"/>
                    <a:pt x="4866" y="3395"/>
                  </a:cubicBezTo>
                  <a:cubicBezTo>
                    <a:pt x="1973" y="5319"/>
                    <a:pt x="-366" y="5951"/>
                    <a:pt x="48" y="10062"/>
                  </a:cubicBezTo>
                  <a:cubicBezTo>
                    <a:pt x="48" y="6038"/>
                    <a:pt x="2032" y="5777"/>
                    <a:pt x="5007" y="3590"/>
                  </a:cubicBezTo>
                  <a:cubicBezTo>
                    <a:pt x="6494" y="2540"/>
                    <a:pt x="8090" y="1492"/>
                    <a:pt x="10156" y="92"/>
                  </a:cubicBezTo>
                  <a:cubicBezTo>
                    <a:pt x="10128" y="35"/>
                    <a:pt x="10023" y="58"/>
                    <a:pt x="9996" y="0"/>
                  </a:cubicBezTo>
                  <a:close/>
                </a:path>
              </a:pathLst>
            </a:custGeom>
            <a:solidFill>
              <a:schemeClr val="tx1">
                <a:lumMod val="50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34" name="Freeform 190">
              <a:extLst>
                <a:ext uri="{FF2B5EF4-FFF2-40B4-BE49-F238E27FC236}">
                  <a16:creationId xmlns:a16="http://schemas.microsoft.com/office/drawing/2014/main" id="{B50C6154-E34A-4493-8547-9B6F9481978B}"/>
                </a:ext>
              </a:extLst>
            </p:cNvPr>
            <p:cNvSpPr>
              <a:spLocks/>
            </p:cNvSpPr>
            <p:nvPr/>
          </p:nvSpPr>
          <p:spPr bwMode="auto">
            <a:xfrm>
              <a:off x="2114690" y="3077385"/>
              <a:ext cx="341913" cy="317747"/>
            </a:xfrm>
            <a:custGeom>
              <a:avLst/>
              <a:gdLst>
                <a:gd name="T0" fmla="*/ 144 w 372"/>
                <a:gd name="T1" fmla="*/ 388 h 388"/>
                <a:gd name="T2" fmla="*/ 0 w 372"/>
                <a:gd name="T3" fmla="*/ 341 h 388"/>
                <a:gd name="T4" fmla="*/ 224 w 372"/>
                <a:gd name="T5" fmla="*/ 0 h 388"/>
                <a:gd name="T6" fmla="*/ 372 w 372"/>
                <a:gd name="T7" fmla="*/ 46 h 388"/>
                <a:gd name="T8" fmla="*/ 144 w 372"/>
                <a:gd name="T9" fmla="*/ 388 h 388"/>
                <a:gd name="connsiteX0" fmla="*/ 4014 w 10143"/>
                <a:gd name="connsiteY0" fmla="*/ 10000 h 10000"/>
                <a:gd name="connsiteX1" fmla="*/ 0 w 10143"/>
                <a:gd name="connsiteY1" fmla="*/ 8960 h 10000"/>
                <a:gd name="connsiteX2" fmla="*/ 6165 w 10143"/>
                <a:gd name="connsiteY2" fmla="*/ 0 h 10000"/>
                <a:gd name="connsiteX3" fmla="*/ 10143 w 10143"/>
                <a:gd name="connsiteY3" fmla="*/ 1186 h 10000"/>
                <a:gd name="connsiteX4" fmla="*/ 4014 w 10143"/>
                <a:gd name="connsiteY4" fmla="*/ 10000 h 10000"/>
                <a:gd name="connsiteX0" fmla="*/ 3853 w 10143"/>
                <a:gd name="connsiteY0" fmla="*/ 10077 h 10077"/>
                <a:gd name="connsiteX1" fmla="*/ 0 w 10143"/>
                <a:gd name="connsiteY1" fmla="*/ 8960 h 10077"/>
                <a:gd name="connsiteX2" fmla="*/ 6165 w 10143"/>
                <a:gd name="connsiteY2" fmla="*/ 0 h 10077"/>
                <a:gd name="connsiteX3" fmla="*/ 10143 w 10143"/>
                <a:gd name="connsiteY3" fmla="*/ 1186 h 10077"/>
                <a:gd name="connsiteX4" fmla="*/ 3853 w 10143"/>
                <a:gd name="connsiteY4" fmla="*/ 10077 h 10077"/>
                <a:gd name="connsiteX0" fmla="*/ 3745 w 10035"/>
                <a:gd name="connsiteY0" fmla="*/ 10077 h 10077"/>
                <a:gd name="connsiteX1" fmla="*/ 0 w 10035"/>
                <a:gd name="connsiteY1" fmla="*/ 8806 h 10077"/>
                <a:gd name="connsiteX2" fmla="*/ 6057 w 10035"/>
                <a:gd name="connsiteY2" fmla="*/ 0 h 10077"/>
                <a:gd name="connsiteX3" fmla="*/ 10035 w 10035"/>
                <a:gd name="connsiteY3" fmla="*/ 1186 h 10077"/>
                <a:gd name="connsiteX4" fmla="*/ 3745 w 10035"/>
                <a:gd name="connsiteY4" fmla="*/ 10077 h 10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5" h="10077">
                  <a:moveTo>
                    <a:pt x="3745" y="10077"/>
                  </a:moveTo>
                  <a:lnTo>
                    <a:pt x="0" y="8806"/>
                  </a:lnTo>
                  <a:lnTo>
                    <a:pt x="6057" y="0"/>
                  </a:lnTo>
                  <a:lnTo>
                    <a:pt x="10035" y="1186"/>
                  </a:lnTo>
                  <a:lnTo>
                    <a:pt x="3745" y="10077"/>
                  </a:lnTo>
                  <a:close/>
                </a:path>
              </a:pathLst>
            </a:custGeom>
            <a:solidFill>
              <a:schemeClr val="tx1"/>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35" name="Freeform 191">
              <a:extLst>
                <a:ext uri="{FF2B5EF4-FFF2-40B4-BE49-F238E27FC236}">
                  <a16:creationId xmlns:a16="http://schemas.microsoft.com/office/drawing/2014/main" id="{A161752E-0EB1-428D-A9DE-7EE5215D7DF2}"/>
                </a:ext>
              </a:extLst>
            </p:cNvPr>
            <p:cNvSpPr>
              <a:spLocks/>
            </p:cNvSpPr>
            <p:nvPr/>
          </p:nvSpPr>
          <p:spPr bwMode="auto">
            <a:xfrm>
              <a:off x="1658865" y="3785663"/>
              <a:ext cx="739124" cy="559430"/>
            </a:xfrm>
            <a:custGeom>
              <a:avLst/>
              <a:gdLst>
                <a:gd name="T0" fmla="*/ 190 w 191"/>
                <a:gd name="T1" fmla="*/ 161 h 161"/>
                <a:gd name="T2" fmla="*/ 95 w 191"/>
                <a:gd name="T3" fmla="*/ 97 h 161"/>
                <a:gd name="T4" fmla="*/ 0 w 191"/>
                <a:gd name="T5" fmla="*/ 0 h 161"/>
                <a:gd name="T6" fmla="*/ 96 w 191"/>
                <a:gd name="T7" fmla="*/ 95 h 161"/>
                <a:gd name="T8" fmla="*/ 191 w 191"/>
                <a:gd name="T9" fmla="*/ 159 h 161"/>
                <a:gd name="T10" fmla="*/ 190 w 191"/>
                <a:gd name="T11" fmla="*/ 161 h 161"/>
                <a:gd name="connsiteX0" fmla="*/ 9923 w 9975"/>
                <a:gd name="connsiteY0" fmla="*/ 10029 h 10029"/>
                <a:gd name="connsiteX1" fmla="*/ 4949 w 9975"/>
                <a:gd name="connsiteY1" fmla="*/ 6054 h 10029"/>
                <a:gd name="connsiteX2" fmla="*/ 0 w 9975"/>
                <a:gd name="connsiteY2" fmla="*/ 0 h 10029"/>
                <a:gd name="connsiteX3" fmla="*/ 5001 w 9975"/>
                <a:gd name="connsiteY3" fmla="*/ 5930 h 10029"/>
                <a:gd name="connsiteX4" fmla="*/ 9975 w 9975"/>
                <a:gd name="connsiteY4" fmla="*/ 9905 h 10029"/>
                <a:gd name="connsiteX5" fmla="*/ 9923 w 9975"/>
                <a:gd name="connsiteY5" fmla="*/ 10029 h 10029"/>
                <a:gd name="connsiteX0" fmla="*/ 9948 w 10000"/>
                <a:gd name="connsiteY0" fmla="*/ 10000 h 10000"/>
                <a:gd name="connsiteX1" fmla="*/ 4961 w 10000"/>
                <a:gd name="connsiteY1" fmla="*/ 6036 h 10000"/>
                <a:gd name="connsiteX2" fmla="*/ 0 w 10000"/>
                <a:gd name="connsiteY2" fmla="*/ 0 h 10000"/>
                <a:gd name="connsiteX3" fmla="*/ 5014 w 10000"/>
                <a:gd name="connsiteY3" fmla="*/ 5913 h 10000"/>
                <a:gd name="connsiteX4" fmla="*/ 10000 w 10000"/>
                <a:gd name="connsiteY4" fmla="*/ 9876 h 10000"/>
                <a:gd name="connsiteX5" fmla="*/ 9948 w 10000"/>
                <a:gd name="connsiteY5" fmla="*/ 10000 h 10000"/>
                <a:gd name="connsiteX0" fmla="*/ 9948 w 10000"/>
                <a:gd name="connsiteY0" fmla="*/ 10000 h 10000"/>
                <a:gd name="connsiteX1" fmla="*/ 4924 w 10000"/>
                <a:gd name="connsiteY1" fmla="*/ 6168 h 10000"/>
                <a:gd name="connsiteX2" fmla="*/ 0 w 10000"/>
                <a:gd name="connsiteY2" fmla="*/ 0 h 10000"/>
                <a:gd name="connsiteX3" fmla="*/ 5014 w 10000"/>
                <a:gd name="connsiteY3" fmla="*/ 5913 h 10000"/>
                <a:gd name="connsiteX4" fmla="*/ 10000 w 10000"/>
                <a:gd name="connsiteY4" fmla="*/ 9876 h 10000"/>
                <a:gd name="connsiteX5" fmla="*/ 9948 w 10000"/>
                <a:gd name="connsiteY5" fmla="*/ 10000 h 10000"/>
                <a:gd name="connsiteX0" fmla="*/ 9948 w 10000"/>
                <a:gd name="connsiteY0" fmla="*/ 10000 h 10000"/>
                <a:gd name="connsiteX1" fmla="*/ 4924 w 10000"/>
                <a:gd name="connsiteY1" fmla="*/ 6168 h 10000"/>
                <a:gd name="connsiteX2" fmla="*/ 0 w 10000"/>
                <a:gd name="connsiteY2" fmla="*/ 0 h 10000"/>
                <a:gd name="connsiteX3" fmla="*/ 5014 w 10000"/>
                <a:gd name="connsiteY3" fmla="*/ 5913 h 10000"/>
                <a:gd name="connsiteX4" fmla="*/ 10000 w 10000"/>
                <a:gd name="connsiteY4" fmla="*/ 9876 h 10000"/>
                <a:gd name="connsiteX5" fmla="*/ 9948 w 10000"/>
                <a:gd name="connsiteY5" fmla="*/ 10000 h 10000"/>
                <a:gd name="connsiteX0" fmla="*/ 9948 w 10000"/>
                <a:gd name="connsiteY0" fmla="*/ 10000 h 10000"/>
                <a:gd name="connsiteX1" fmla="*/ 4924 w 10000"/>
                <a:gd name="connsiteY1" fmla="*/ 6168 h 10000"/>
                <a:gd name="connsiteX2" fmla="*/ 0 w 10000"/>
                <a:gd name="connsiteY2" fmla="*/ 0 h 10000"/>
                <a:gd name="connsiteX3" fmla="*/ 5014 w 10000"/>
                <a:gd name="connsiteY3" fmla="*/ 5913 h 10000"/>
                <a:gd name="connsiteX4" fmla="*/ 10000 w 10000"/>
                <a:gd name="connsiteY4" fmla="*/ 9876 h 10000"/>
                <a:gd name="connsiteX5" fmla="*/ 9948 w 10000"/>
                <a:gd name="connsiteY5" fmla="*/ 10000 h 10000"/>
                <a:gd name="connsiteX0" fmla="*/ 9948 w 10000"/>
                <a:gd name="connsiteY0" fmla="*/ 10000 h 10000"/>
                <a:gd name="connsiteX1" fmla="*/ 4924 w 10000"/>
                <a:gd name="connsiteY1" fmla="*/ 6168 h 10000"/>
                <a:gd name="connsiteX2" fmla="*/ 0 w 10000"/>
                <a:gd name="connsiteY2" fmla="*/ 0 h 10000"/>
                <a:gd name="connsiteX3" fmla="*/ 5014 w 10000"/>
                <a:gd name="connsiteY3" fmla="*/ 5913 h 10000"/>
                <a:gd name="connsiteX4" fmla="*/ 10000 w 10000"/>
                <a:gd name="connsiteY4" fmla="*/ 9876 h 10000"/>
                <a:gd name="connsiteX5" fmla="*/ 9948 w 10000"/>
                <a:gd name="connsiteY5" fmla="*/ 10000 h 10000"/>
                <a:gd name="connsiteX0" fmla="*/ 9948 w 10000"/>
                <a:gd name="connsiteY0" fmla="*/ 10000 h 10000"/>
                <a:gd name="connsiteX1" fmla="*/ 4924 w 10000"/>
                <a:gd name="connsiteY1" fmla="*/ 6168 h 10000"/>
                <a:gd name="connsiteX2" fmla="*/ 0 w 10000"/>
                <a:gd name="connsiteY2" fmla="*/ 0 h 10000"/>
                <a:gd name="connsiteX3" fmla="*/ 5014 w 10000"/>
                <a:gd name="connsiteY3" fmla="*/ 5913 h 10000"/>
                <a:gd name="connsiteX4" fmla="*/ 10000 w 10000"/>
                <a:gd name="connsiteY4" fmla="*/ 9876 h 10000"/>
                <a:gd name="connsiteX5" fmla="*/ 9948 w 10000"/>
                <a:gd name="connsiteY5" fmla="*/ 10000 h 10000"/>
                <a:gd name="connsiteX0" fmla="*/ 9948 w 10000"/>
                <a:gd name="connsiteY0" fmla="*/ 10073 h 10073"/>
                <a:gd name="connsiteX1" fmla="*/ 4924 w 10000"/>
                <a:gd name="connsiteY1" fmla="*/ 6168 h 10073"/>
                <a:gd name="connsiteX2" fmla="*/ 0 w 10000"/>
                <a:gd name="connsiteY2" fmla="*/ 0 h 10073"/>
                <a:gd name="connsiteX3" fmla="*/ 5014 w 10000"/>
                <a:gd name="connsiteY3" fmla="*/ 5913 h 10073"/>
                <a:gd name="connsiteX4" fmla="*/ 10000 w 10000"/>
                <a:gd name="connsiteY4" fmla="*/ 9876 h 10073"/>
                <a:gd name="connsiteX5" fmla="*/ 9948 w 10000"/>
                <a:gd name="connsiteY5" fmla="*/ 10073 h 10073"/>
                <a:gd name="connsiteX0" fmla="*/ 9948 w 10000"/>
                <a:gd name="connsiteY0" fmla="*/ 10073 h 10073"/>
                <a:gd name="connsiteX1" fmla="*/ 4924 w 10000"/>
                <a:gd name="connsiteY1" fmla="*/ 6168 h 10073"/>
                <a:gd name="connsiteX2" fmla="*/ 0 w 10000"/>
                <a:gd name="connsiteY2" fmla="*/ 0 h 10073"/>
                <a:gd name="connsiteX3" fmla="*/ 5014 w 10000"/>
                <a:gd name="connsiteY3" fmla="*/ 5913 h 10073"/>
                <a:gd name="connsiteX4" fmla="*/ 10000 w 10000"/>
                <a:gd name="connsiteY4" fmla="*/ 9876 h 10073"/>
                <a:gd name="connsiteX5" fmla="*/ 9948 w 10000"/>
                <a:gd name="connsiteY5" fmla="*/ 10073 h 10073"/>
                <a:gd name="connsiteX0" fmla="*/ 9985 w 10000"/>
                <a:gd name="connsiteY0" fmla="*/ 10146 h 10146"/>
                <a:gd name="connsiteX1" fmla="*/ 4924 w 10000"/>
                <a:gd name="connsiteY1" fmla="*/ 6168 h 10146"/>
                <a:gd name="connsiteX2" fmla="*/ 0 w 10000"/>
                <a:gd name="connsiteY2" fmla="*/ 0 h 10146"/>
                <a:gd name="connsiteX3" fmla="*/ 5014 w 10000"/>
                <a:gd name="connsiteY3" fmla="*/ 5913 h 10146"/>
                <a:gd name="connsiteX4" fmla="*/ 10000 w 10000"/>
                <a:gd name="connsiteY4" fmla="*/ 9876 h 10146"/>
                <a:gd name="connsiteX5" fmla="*/ 9985 w 10000"/>
                <a:gd name="connsiteY5" fmla="*/ 10146 h 1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146">
                  <a:moveTo>
                    <a:pt x="9985" y="10146"/>
                  </a:moveTo>
                  <a:cubicBezTo>
                    <a:pt x="8258" y="8826"/>
                    <a:pt x="6394" y="7221"/>
                    <a:pt x="4924" y="6168"/>
                  </a:cubicBezTo>
                  <a:cubicBezTo>
                    <a:pt x="2047" y="3807"/>
                    <a:pt x="575" y="3159"/>
                    <a:pt x="0" y="0"/>
                  </a:cubicBezTo>
                  <a:cubicBezTo>
                    <a:pt x="546" y="2415"/>
                    <a:pt x="2074" y="3745"/>
                    <a:pt x="5014" y="5913"/>
                  </a:cubicBezTo>
                  <a:cubicBezTo>
                    <a:pt x="6483" y="7028"/>
                    <a:pt x="8163" y="8266"/>
                    <a:pt x="10000" y="9876"/>
                  </a:cubicBezTo>
                  <a:cubicBezTo>
                    <a:pt x="9983" y="9917"/>
                    <a:pt x="10002" y="10105"/>
                    <a:pt x="9985" y="10146"/>
                  </a:cubicBezTo>
                  <a:close/>
                </a:path>
              </a:pathLst>
            </a:custGeom>
            <a:solidFill>
              <a:schemeClr val="tx1">
                <a:lumMod val="50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36" name="Freeform 192">
              <a:extLst>
                <a:ext uri="{FF2B5EF4-FFF2-40B4-BE49-F238E27FC236}">
                  <a16:creationId xmlns:a16="http://schemas.microsoft.com/office/drawing/2014/main" id="{31BA8C8F-A404-42CD-9FB4-09E10EA1251C}"/>
                </a:ext>
              </a:extLst>
            </p:cNvPr>
            <p:cNvSpPr>
              <a:spLocks/>
            </p:cNvSpPr>
            <p:nvPr/>
          </p:nvSpPr>
          <p:spPr bwMode="auto">
            <a:xfrm>
              <a:off x="2242047" y="3099092"/>
              <a:ext cx="695466" cy="298464"/>
            </a:xfrm>
            <a:custGeom>
              <a:avLst/>
              <a:gdLst>
                <a:gd name="T0" fmla="*/ 2 w 178"/>
                <a:gd name="T1" fmla="*/ 95 h 95"/>
                <a:gd name="T2" fmla="*/ 0 w 178"/>
                <a:gd name="T3" fmla="*/ 94 h 95"/>
                <a:gd name="T4" fmla="*/ 54 w 178"/>
                <a:gd name="T5" fmla="*/ 12 h 95"/>
                <a:gd name="T6" fmla="*/ 54 w 178"/>
                <a:gd name="T7" fmla="*/ 12 h 95"/>
                <a:gd name="T8" fmla="*/ 105 w 178"/>
                <a:gd name="T9" fmla="*/ 18 h 95"/>
                <a:gd name="T10" fmla="*/ 178 w 178"/>
                <a:gd name="T11" fmla="*/ 57 h 95"/>
                <a:gd name="T12" fmla="*/ 178 w 178"/>
                <a:gd name="T13" fmla="*/ 60 h 95"/>
                <a:gd name="T14" fmla="*/ 104 w 178"/>
                <a:gd name="T15" fmla="*/ 19 h 95"/>
                <a:gd name="T16" fmla="*/ 55 w 178"/>
                <a:gd name="T17" fmla="*/ 13 h 95"/>
                <a:gd name="T18" fmla="*/ 2 w 178"/>
                <a:gd name="T19" fmla="*/ 95 h 95"/>
                <a:gd name="connsiteX0" fmla="*/ 112 w 10340"/>
                <a:gd name="connsiteY0" fmla="*/ 9150 h 9150"/>
                <a:gd name="connsiteX1" fmla="*/ 0 w 10340"/>
                <a:gd name="connsiteY1" fmla="*/ 9045 h 9150"/>
                <a:gd name="connsiteX2" fmla="*/ 3034 w 10340"/>
                <a:gd name="connsiteY2" fmla="*/ 413 h 9150"/>
                <a:gd name="connsiteX3" fmla="*/ 3034 w 10340"/>
                <a:gd name="connsiteY3" fmla="*/ 413 h 9150"/>
                <a:gd name="connsiteX4" fmla="*/ 5899 w 10340"/>
                <a:gd name="connsiteY4" fmla="*/ 1045 h 9150"/>
                <a:gd name="connsiteX5" fmla="*/ 10093 w 10340"/>
                <a:gd name="connsiteY5" fmla="*/ 5150 h 9150"/>
                <a:gd name="connsiteX6" fmla="*/ 10000 w 10340"/>
                <a:gd name="connsiteY6" fmla="*/ 5466 h 9150"/>
                <a:gd name="connsiteX7" fmla="*/ 5843 w 10340"/>
                <a:gd name="connsiteY7" fmla="*/ 1150 h 9150"/>
                <a:gd name="connsiteX8" fmla="*/ 3090 w 10340"/>
                <a:gd name="connsiteY8" fmla="*/ 518 h 9150"/>
                <a:gd name="connsiteX9" fmla="*/ 112 w 10340"/>
                <a:gd name="connsiteY9" fmla="*/ 9150 h 9150"/>
                <a:gd name="connsiteX0" fmla="*/ 108 w 10036"/>
                <a:gd name="connsiteY0" fmla="*/ 10000 h 10000"/>
                <a:gd name="connsiteX1" fmla="*/ 0 w 10036"/>
                <a:gd name="connsiteY1" fmla="*/ 9885 h 10000"/>
                <a:gd name="connsiteX2" fmla="*/ 2934 w 10036"/>
                <a:gd name="connsiteY2" fmla="*/ 451 h 10000"/>
                <a:gd name="connsiteX3" fmla="*/ 2934 w 10036"/>
                <a:gd name="connsiteY3" fmla="*/ 451 h 10000"/>
                <a:gd name="connsiteX4" fmla="*/ 5705 w 10036"/>
                <a:gd name="connsiteY4" fmla="*/ 1142 h 10000"/>
                <a:gd name="connsiteX5" fmla="*/ 9761 w 10036"/>
                <a:gd name="connsiteY5" fmla="*/ 5628 h 10000"/>
                <a:gd name="connsiteX6" fmla="*/ 9722 w 10036"/>
                <a:gd name="connsiteY6" fmla="*/ 6056 h 10000"/>
                <a:gd name="connsiteX7" fmla="*/ 5651 w 10036"/>
                <a:gd name="connsiteY7" fmla="*/ 1257 h 10000"/>
                <a:gd name="connsiteX8" fmla="*/ 2988 w 10036"/>
                <a:gd name="connsiteY8" fmla="*/ 566 h 10000"/>
                <a:gd name="connsiteX9" fmla="*/ 108 w 10036"/>
                <a:gd name="connsiteY9" fmla="*/ 10000 h 10000"/>
                <a:gd name="connsiteX0" fmla="*/ 108 w 9763"/>
                <a:gd name="connsiteY0" fmla="*/ 10000 h 10000"/>
                <a:gd name="connsiteX1" fmla="*/ 0 w 9763"/>
                <a:gd name="connsiteY1" fmla="*/ 9885 h 10000"/>
                <a:gd name="connsiteX2" fmla="*/ 2934 w 9763"/>
                <a:gd name="connsiteY2" fmla="*/ 451 h 10000"/>
                <a:gd name="connsiteX3" fmla="*/ 2934 w 9763"/>
                <a:gd name="connsiteY3" fmla="*/ 451 h 10000"/>
                <a:gd name="connsiteX4" fmla="*/ 5705 w 9763"/>
                <a:gd name="connsiteY4" fmla="*/ 1142 h 10000"/>
                <a:gd name="connsiteX5" fmla="*/ 9761 w 9763"/>
                <a:gd name="connsiteY5" fmla="*/ 5628 h 10000"/>
                <a:gd name="connsiteX6" fmla="*/ 9722 w 9763"/>
                <a:gd name="connsiteY6" fmla="*/ 6056 h 10000"/>
                <a:gd name="connsiteX7" fmla="*/ 5651 w 9763"/>
                <a:gd name="connsiteY7" fmla="*/ 1257 h 10000"/>
                <a:gd name="connsiteX8" fmla="*/ 2988 w 9763"/>
                <a:gd name="connsiteY8" fmla="*/ 566 h 10000"/>
                <a:gd name="connsiteX9" fmla="*/ 108 w 9763"/>
                <a:gd name="connsiteY9" fmla="*/ 10000 h 10000"/>
                <a:gd name="connsiteX0" fmla="*/ 111 w 9998"/>
                <a:gd name="connsiteY0" fmla="*/ 10000 h 10000"/>
                <a:gd name="connsiteX1" fmla="*/ 0 w 9998"/>
                <a:gd name="connsiteY1" fmla="*/ 9885 h 10000"/>
                <a:gd name="connsiteX2" fmla="*/ 3005 w 9998"/>
                <a:gd name="connsiteY2" fmla="*/ 451 h 10000"/>
                <a:gd name="connsiteX3" fmla="*/ 3005 w 9998"/>
                <a:gd name="connsiteY3" fmla="*/ 451 h 10000"/>
                <a:gd name="connsiteX4" fmla="*/ 5843 w 9998"/>
                <a:gd name="connsiteY4" fmla="*/ 1142 h 10000"/>
                <a:gd name="connsiteX5" fmla="*/ 9998 w 9998"/>
                <a:gd name="connsiteY5" fmla="*/ 5628 h 10000"/>
                <a:gd name="connsiteX6" fmla="*/ 9958 w 9998"/>
                <a:gd name="connsiteY6" fmla="*/ 6056 h 10000"/>
                <a:gd name="connsiteX7" fmla="*/ 5788 w 9998"/>
                <a:gd name="connsiteY7" fmla="*/ 1257 h 10000"/>
                <a:gd name="connsiteX8" fmla="*/ 3061 w 9998"/>
                <a:gd name="connsiteY8" fmla="*/ 566 h 10000"/>
                <a:gd name="connsiteX9" fmla="*/ 111 w 9998"/>
                <a:gd name="connsiteY9" fmla="*/ 10000 h 10000"/>
                <a:gd name="connsiteX0" fmla="*/ 111 w 10000"/>
                <a:gd name="connsiteY0" fmla="*/ 10000 h 10000"/>
                <a:gd name="connsiteX1" fmla="*/ 0 w 10000"/>
                <a:gd name="connsiteY1" fmla="*/ 9885 h 10000"/>
                <a:gd name="connsiteX2" fmla="*/ 3006 w 10000"/>
                <a:gd name="connsiteY2" fmla="*/ 451 h 10000"/>
                <a:gd name="connsiteX3" fmla="*/ 3006 w 10000"/>
                <a:gd name="connsiteY3" fmla="*/ 451 h 10000"/>
                <a:gd name="connsiteX4" fmla="*/ 5844 w 10000"/>
                <a:gd name="connsiteY4" fmla="*/ 1142 h 10000"/>
                <a:gd name="connsiteX5" fmla="*/ 10000 w 10000"/>
                <a:gd name="connsiteY5" fmla="*/ 5628 h 10000"/>
                <a:gd name="connsiteX6" fmla="*/ 9960 w 10000"/>
                <a:gd name="connsiteY6" fmla="*/ 6056 h 10000"/>
                <a:gd name="connsiteX7" fmla="*/ 5763 w 10000"/>
                <a:gd name="connsiteY7" fmla="*/ 1421 h 10000"/>
                <a:gd name="connsiteX8" fmla="*/ 3062 w 10000"/>
                <a:gd name="connsiteY8" fmla="*/ 566 h 10000"/>
                <a:gd name="connsiteX9" fmla="*/ 111 w 10000"/>
                <a:gd name="connsiteY9" fmla="*/ 10000 h 10000"/>
                <a:gd name="connsiteX0" fmla="*/ 111 w 10000"/>
                <a:gd name="connsiteY0" fmla="*/ 10057 h 10057"/>
                <a:gd name="connsiteX1" fmla="*/ 0 w 10000"/>
                <a:gd name="connsiteY1" fmla="*/ 9942 h 10057"/>
                <a:gd name="connsiteX2" fmla="*/ 3006 w 10000"/>
                <a:gd name="connsiteY2" fmla="*/ 508 h 10057"/>
                <a:gd name="connsiteX3" fmla="*/ 3006 w 10000"/>
                <a:gd name="connsiteY3" fmla="*/ 508 h 10057"/>
                <a:gd name="connsiteX4" fmla="*/ 5883 w 10000"/>
                <a:gd name="connsiteY4" fmla="*/ 1063 h 10057"/>
                <a:gd name="connsiteX5" fmla="*/ 10000 w 10000"/>
                <a:gd name="connsiteY5" fmla="*/ 5685 h 10057"/>
                <a:gd name="connsiteX6" fmla="*/ 9960 w 10000"/>
                <a:gd name="connsiteY6" fmla="*/ 6113 h 10057"/>
                <a:gd name="connsiteX7" fmla="*/ 5763 w 10000"/>
                <a:gd name="connsiteY7" fmla="*/ 1478 h 10057"/>
                <a:gd name="connsiteX8" fmla="*/ 3062 w 10000"/>
                <a:gd name="connsiteY8" fmla="*/ 623 h 10057"/>
                <a:gd name="connsiteX9" fmla="*/ 111 w 10000"/>
                <a:gd name="connsiteY9" fmla="*/ 10057 h 10057"/>
                <a:gd name="connsiteX0" fmla="*/ 111 w 10000"/>
                <a:gd name="connsiteY0" fmla="*/ 10057 h 10057"/>
                <a:gd name="connsiteX1" fmla="*/ 0 w 10000"/>
                <a:gd name="connsiteY1" fmla="*/ 9942 h 10057"/>
                <a:gd name="connsiteX2" fmla="*/ 3006 w 10000"/>
                <a:gd name="connsiteY2" fmla="*/ 508 h 10057"/>
                <a:gd name="connsiteX3" fmla="*/ 3006 w 10000"/>
                <a:gd name="connsiteY3" fmla="*/ 508 h 10057"/>
                <a:gd name="connsiteX4" fmla="*/ 5883 w 10000"/>
                <a:gd name="connsiteY4" fmla="*/ 1063 h 10057"/>
                <a:gd name="connsiteX5" fmla="*/ 10000 w 10000"/>
                <a:gd name="connsiteY5" fmla="*/ 5685 h 10057"/>
                <a:gd name="connsiteX6" fmla="*/ 9960 w 10000"/>
                <a:gd name="connsiteY6" fmla="*/ 6113 h 10057"/>
                <a:gd name="connsiteX7" fmla="*/ 5763 w 10000"/>
                <a:gd name="connsiteY7" fmla="*/ 1478 h 10057"/>
                <a:gd name="connsiteX8" fmla="*/ 3062 w 10000"/>
                <a:gd name="connsiteY8" fmla="*/ 623 h 10057"/>
                <a:gd name="connsiteX9" fmla="*/ 111 w 10000"/>
                <a:gd name="connsiteY9" fmla="*/ 10057 h 10057"/>
                <a:gd name="connsiteX0" fmla="*/ 111 w 10000"/>
                <a:gd name="connsiteY0" fmla="*/ 10057 h 10057"/>
                <a:gd name="connsiteX1" fmla="*/ 0 w 10000"/>
                <a:gd name="connsiteY1" fmla="*/ 9942 h 10057"/>
                <a:gd name="connsiteX2" fmla="*/ 3006 w 10000"/>
                <a:gd name="connsiteY2" fmla="*/ 508 h 10057"/>
                <a:gd name="connsiteX3" fmla="*/ 3006 w 10000"/>
                <a:gd name="connsiteY3" fmla="*/ 508 h 10057"/>
                <a:gd name="connsiteX4" fmla="*/ 5883 w 10000"/>
                <a:gd name="connsiteY4" fmla="*/ 1063 h 10057"/>
                <a:gd name="connsiteX5" fmla="*/ 10000 w 10000"/>
                <a:gd name="connsiteY5" fmla="*/ 5685 h 10057"/>
                <a:gd name="connsiteX6" fmla="*/ 9960 w 10000"/>
                <a:gd name="connsiteY6" fmla="*/ 6113 h 10057"/>
                <a:gd name="connsiteX7" fmla="*/ 5816 w 10000"/>
                <a:gd name="connsiteY7" fmla="*/ 1233 h 10057"/>
                <a:gd name="connsiteX8" fmla="*/ 3062 w 10000"/>
                <a:gd name="connsiteY8" fmla="*/ 623 h 10057"/>
                <a:gd name="connsiteX9" fmla="*/ 111 w 10000"/>
                <a:gd name="connsiteY9" fmla="*/ 10057 h 10057"/>
                <a:gd name="connsiteX0" fmla="*/ 111 w 10000"/>
                <a:gd name="connsiteY0" fmla="*/ 10057 h 10057"/>
                <a:gd name="connsiteX1" fmla="*/ 0 w 10000"/>
                <a:gd name="connsiteY1" fmla="*/ 9942 h 10057"/>
                <a:gd name="connsiteX2" fmla="*/ 3006 w 10000"/>
                <a:gd name="connsiteY2" fmla="*/ 508 h 10057"/>
                <a:gd name="connsiteX3" fmla="*/ 3006 w 10000"/>
                <a:gd name="connsiteY3" fmla="*/ 508 h 10057"/>
                <a:gd name="connsiteX4" fmla="*/ 5883 w 10000"/>
                <a:gd name="connsiteY4" fmla="*/ 1063 h 10057"/>
                <a:gd name="connsiteX5" fmla="*/ 10000 w 10000"/>
                <a:gd name="connsiteY5" fmla="*/ 5685 h 10057"/>
                <a:gd name="connsiteX6" fmla="*/ 9960 w 10000"/>
                <a:gd name="connsiteY6" fmla="*/ 6113 h 10057"/>
                <a:gd name="connsiteX7" fmla="*/ 5816 w 10000"/>
                <a:gd name="connsiteY7" fmla="*/ 1233 h 10057"/>
                <a:gd name="connsiteX8" fmla="*/ 3075 w 10000"/>
                <a:gd name="connsiteY8" fmla="*/ 650 h 10057"/>
                <a:gd name="connsiteX9" fmla="*/ 111 w 10000"/>
                <a:gd name="connsiteY9" fmla="*/ 10057 h 10057"/>
                <a:gd name="connsiteX0" fmla="*/ 111 w 10000"/>
                <a:gd name="connsiteY0" fmla="*/ 10057 h 10057"/>
                <a:gd name="connsiteX1" fmla="*/ 0 w 10000"/>
                <a:gd name="connsiteY1" fmla="*/ 9942 h 10057"/>
                <a:gd name="connsiteX2" fmla="*/ 3006 w 10000"/>
                <a:gd name="connsiteY2" fmla="*/ 508 h 10057"/>
                <a:gd name="connsiteX3" fmla="*/ 3006 w 10000"/>
                <a:gd name="connsiteY3" fmla="*/ 508 h 10057"/>
                <a:gd name="connsiteX4" fmla="*/ 5883 w 10000"/>
                <a:gd name="connsiteY4" fmla="*/ 1063 h 10057"/>
                <a:gd name="connsiteX5" fmla="*/ 10000 w 10000"/>
                <a:gd name="connsiteY5" fmla="*/ 5685 h 10057"/>
                <a:gd name="connsiteX6" fmla="*/ 9960 w 10000"/>
                <a:gd name="connsiteY6" fmla="*/ 6113 h 10057"/>
                <a:gd name="connsiteX7" fmla="*/ 5816 w 10000"/>
                <a:gd name="connsiteY7" fmla="*/ 1233 h 10057"/>
                <a:gd name="connsiteX8" fmla="*/ 3075 w 10000"/>
                <a:gd name="connsiteY8" fmla="*/ 650 h 10057"/>
                <a:gd name="connsiteX9" fmla="*/ 111 w 10000"/>
                <a:gd name="connsiteY9" fmla="*/ 10057 h 10057"/>
                <a:gd name="connsiteX0" fmla="*/ 111 w 10000"/>
                <a:gd name="connsiteY0" fmla="*/ 10322 h 10322"/>
                <a:gd name="connsiteX1" fmla="*/ 0 w 10000"/>
                <a:gd name="connsiteY1" fmla="*/ 10207 h 10322"/>
                <a:gd name="connsiteX2" fmla="*/ 3006 w 10000"/>
                <a:gd name="connsiteY2" fmla="*/ 773 h 10322"/>
                <a:gd name="connsiteX3" fmla="*/ 3124 w 10000"/>
                <a:gd name="connsiteY3" fmla="*/ 500 h 10322"/>
                <a:gd name="connsiteX4" fmla="*/ 5883 w 10000"/>
                <a:gd name="connsiteY4" fmla="*/ 1328 h 10322"/>
                <a:gd name="connsiteX5" fmla="*/ 10000 w 10000"/>
                <a:gd name="connsiteY5" fmla="*/ 5950 h 10322"/>
                <a:gd name="connsiteX6" fmla="*/ 9960 w 10000"/>
                <a:gd name="connsiteY6" fmla="*/ 6378 h 10322"/>
                <a:gd name="connsiteX7" fmla="*/ 5816 w 10000"/>
                <a:gd name="connsiteY7" fmla="*/ 1498 h 10322"/>
                <a:gd name="connsiteX8" fmla="*/ 3075 w 10000"/>
                <a:gd name="connsiteY8" fmla="*/ 915 h 10322"/>
                <a:gd name="connsiteX9" fmla="*/ 111 w 10000"/>
                <a:gd name="connsiteY9" fmla="*/ 10322 h 10322"/>
                <a:gd name="connsiteX0" fmla="*/ 111 w 10000"/>
                <a:gd name="connsiteY0" fmla="*/ 10256 h 10256"/>
                <a:gd name="connsiteX1" fmla="*/ 0 w 10000"/>
                <a:gd name="connsiteY1" fmla="*/ 10141 h 10256"/>
                <a:gd name="connsiteX2" fmla="*/ 3006 w 10000"/>
                <a:gd name="connsiteY2" fmla="*/ 707 h 10256"/>
                <a:gd name="connsiteX3" fmla="*/ 5883 w 10000"/>
                <a:gd name="connsiteY3" fmla="*/ 1262 h 10256"/>
                <a:gd name="connsiteX4" fmla="*/ 10000 w 10000"/>
                <a:gd name="connsiteY4" fmla="*/ 5884 h 10256"/>
                <a:gd name="connsiteX5" fmla="*/ 9960 w 10000"/>
                <a:gd name="connsiteY5" fmla="*/ 6312 h 10256"/>
                <a:gd name="connsiteX6" fmla="*/ 5816 w 10000"/>
                <a:gd name="connsiteY6" fmla="*/ 1432 h 10256"/>
                <a:gd name="connsiteX7" fmla="*/ 3075 w 10000"/>
                <a:gd name="connsiteY7" fmla="*/ 849 h 10256"/>
                <a:gd name="connsiteX8" fmla="*/ 111 w 10000"/>
                <a:gd name="connsiteY8" fmla="*/ 10256 h 10256"/>
                <a:gd name="connsiteX0" fmla="*/ 111 w 10000"/>
                <a:gd name="connsiteY0" fmla="*/ 10099 h 10099"/>
                <a:gd name="connsiteX1" fmla="*/ 0 w 10000"/>
                <a:gd name="connsiteY1" fmla="*/ 9984 h 10099"/>
                <a:gd name="connsiteX2" fmla="*/ 3006 w 10000"/>
                <a:gd name="connsiteY2" fmla="*/ 550 h 10099"/>
                <a:gd name="connsiteX3" fmla="*/ 5883 w 10000"/>
                <a:gd name="connsiteY3" fmla="*/ 1105 h 10099"/>
                <a:gd name="connsiteX4" fmla="*/ 10000 w 10000"/>
                <a:gd name="connsiteY4" fmla="*/ 5727 h 10099"/>
                <a:gd name="connsiteX5" fmla="*/ 9960 w 10000"/>
                <a:gd name="connsiteY5" fmla="*/ 6155 h 10099"/>
                <a:gd name="connsiteX6" fmla="*/ 5816 w 10000"/>
                <a:gd name="connsiteY6" fmla="*/ 1275 h 10099"/>
                <a:gd name="connsiteX7" fmla="*/ 3075 w 10000"/>
                <a:gd name="connsiteY7" fmla="*/ 692 h 10099"/>
                <a:gd name="connsiteX8" fmla="*/ 111 w 10000"/>
                <a:gd name="connsiteY8" fmla="*/ 10099 h 10099"/>
                <a:gd name="connsiteX0" fmla="*/ 111 w 10000"/>
                <a:gd name="connsiteY0" fmla="*/ 10061 h 10061"/>
                <a:gd name="connsiteX1" fmla="*/ 0 w 10000"/>
                <a:gd name="connsiteY1" fmla="*/ 9946 h 10061"/>
                <a:gd name="connsiteX2" fmla="*/ 3006 w 10000"/>
                <a:gd name="connsiteY2" fmla="*/ 512 h 10061"/>
                <a:gd name="connsiteX3" fmla="*/ 5883 w 10000"/>
                <a:gd name="connsiteY3" fmla="*/ 1067 h 10061"/>
                <a:gd name="connsiteX4" fmla="*/ 10000 w 10000"/>
                <a:gd name="connsiteY4" fmla="*/ 5689 h 10061"/>
                <a:gd name="connsiteX5" fmla="*/ 9960 w 10000"/>
                <a:gd name="connsiteY5" fmla="*/ 6117 h 10061"/>
                <a:gd name="connsiteX6" fmla="*/ 5816 w 10000"/>
                <a:gd name="connsiteY6" fmla="*/ 1237 h 10061"/>
                <a:gd name="connsiteX7" fmla="*/ 3075 w 10000"/>
                <a:gd name="connsiteY7" fmla="*/ 654 h 10061"/>
                <a:gd name="connsiteX8" fmla="*/ 111 w 10000"/>
                <a:gd name="connsiteY8" fmla="*/ 10061 h 10061"/>
                <a:gd name="connsiteX0" fmla="*/ 111 w 10000"/>
                <a:gd name="connsiteY0" fmla="*/ 10061 h 10061"/>
                <a:gd name="connsiteX1" fmla="*/ 0 w 10000"/>
                <a:gd name="connsiteY1" fmla="*/ 9946 h 10061"/>
                <a:gd name="connsiteX2" fmla="*/ 3006 w 10000"/>
                <a:gd name="connsiteY2" fmla="*/ 512 h 10061"/>
                <a:gd name="connsiteX3" fmla="*/ 5883 w 10000"/>
                <a:gd name="connsiteY3" fmla="*/ 1067 h 10061"/>
                <a:gd name="connsiteX4" fmla="*/ 10000 w 10000"/>
                <a:gd name="connsiteY4" fmla="*/ 5689 h 10061"/>
                <a:gd name="connsiteX5" fmla="*/ 9973 w 10000"/>
                <a:gd name="connsiteY5" fmla="*/ 6035 h 10061"/>
                <a:gd name="connsiteX6" fmla="*/ 5816 w 10000"/>
                <a:gd name="connsiteY6" fmla="*/ 1237 h 10061"/>
                <a:gd name="connsiteX7" fmla="*/ 3075 w 10000"/>
                <a:gd name="connsiteY7" fmla="*/ 654 h 10061"/>
                <a:gd name="connsiteX8" fmla="*/ 111 w 10000"/>
                <a:gd name="connsiteY8" fmla="*/ 10061 h 10061"/>
                <a:gd name="connsiteX0" fmla="*/ 111 w 10000"/>
                <a:gd name="connsiteY0" fmla="*/ 10061 h 10061"/>
                <a:gd name="connsiteX1" fmla="*/ 0 w 10000"/>
                <a:gd name="connsiteY1" fmla="*/ 9946 h 10061"/>
                <a:gd name="connsiteX2" fmla="*/ 3006 w 10000"/>
                <a:gd name="connsiteY2" fmla="*/ 512 h 10061"/>
                <a:gd name="connsiteX3" fmla="*/ 5883 w 10000"/>
                <a:gd name="connsiteY3" fmla="*/ 1067 h 10061"/>
                <a:gd name="connsiteX4" fmla="*/ 10000 w 10000"/>
                <a:gd name="connsiteY4" fmla="*/ 5689 h 10061"/>
                <a:gd name="connsiteX5" fmla="*/ 9973 w 10000"/>
                <a:gd name="connsiteY5" fmla="*/ 6035 h 10061"/>
                <a:gd name="connsiteX6" fmla="*/ 5816 w 10000"/>
                <a:gd name="connsiteY6" fmla="*/ 1237 h 10061"/>
                <a:gd name="connsiteX7" fmla="*/ 3075 w 10000"/>
                <a:gd name="connsiteY7" fmla="*/ 654 h 10061"/>
                <a:gd name="connsiteX8" fmla="*/ 111 w 10000"/>
                <a:gd name="connsiteY8" fmla="*/ 10061 h 10061"/>
                <a:gd name="connsiteX0" fmla="*/ 111 w 10000"/>
                <a:gd name="connsiteY0" fmla="*/ 10061 h 10061"/>
                <a:gd name="connsiteX1" fmla="*/ 0 w 10000"/>
                <a:gd name="connsiteY1" fmla="*/ 9946 h 10061"/>
                <a:gd name="connsiteX2" fmla="*/ 3006 w 10000"/>
                <a:gd name="connsiteY2" fmla="*/ 512 h 10061"/>
                <a:gd name="connsiteX3" fmla="*/ 5883 w 10000"/>
                <a:gd name="connsiteY3" fmla="*/ 1067 h 10061"/>
                <a:gd name="connsiteX4" fmla="*/ 10000 w 10000"/>
                <a:gd name="connsiteY4" fmla="*/ 5689 h 10061"/>
                <a:gd name="connsiteX5" fmla="*/ 9973 w 10000"/>
                <a:gd name="connsiteY5" fmla="*/ 6035 h 10061"/>
                <a:gd name="connsiteX6" fmla="*/ 5816 w 10000"/>
                <a:gd name="connsiteY6" fmla="*/ 1237 h 10061"/>
                <a:gd name="connsiteX7" fmla="*/ 3075 w 10000"/>
                <a:gd name="connsiteY7" fmla="*/ 654 h 10061"/>
                <a:gd name="connsiteX8" fmla="*/ 111 w 10000"/>
                <a:gd name="connsiteY8" fmla="*/ 10061 h 10061"/>
                <a:gd name="connsiteX0" fmla="*/ 111 w 9991"/>
                <a:gd name="connsiteY0" fmla="*/ 10061 h 10061"/>
                <a:gd name="connsiteX1" fmla="*/ 0 w 9991"/>
                <a:gd name="connsiteY1" fmla="*/ 9946 h 10061"/>
                <a:gd name="connsiteX2" fmla="*/ 3006 w 9991"/>
                <a:gd name="connsiteY2" fmla="*/ 512 h 10061"/>
                <a:gd name="connsiteX3" fmla="*/ 5883 w 9991"/>
                <a:gd name="connsiteY3" fmla="*/ 1067 h 10061"/>
                <a:gd name="connsiteX4" fmla="*/ 9987 w 9991"/>
                <a:gd name="connsiteY4" fmla="*/ 5607 h 10061"/>
                <a:gd name="connsiteX5" fmla="*/ 9973 w 9991"/>
                <a:gd name="connsiteY5" fmla="*/ 6035 h 10061"/>
                <a:gd name="connsiteX6" fmla="*/ 5816 w 9991"/>
                <a:gd name="connsiteY6" fmla="*/ 1237 h 10061"/>
                <a:gd name="connsiteX7" fmla="*/ 3075 w 9991"/>
                <a:gd name="connsiteY7" fmla="*/ 654 h 10061"/>
                <a:gd name="connsiteX8" fmla="*/ 111 w 9991"/>
                <a:gd name="connsiteY8" fmla="*/ 10061 h 1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91" h="10061">
                  <a:moveTo>
                    <a:pt x="111" y="10061"/>
                  </a:moveTo>
                  <a:lnTo>
                    <a:pt x="0" y="9946"/>
                  </a:lnTo>
                  <a:lnTo>
                    <a:pt x="3006" y="512"/>
                  </a:lnTo>
                  <a:cubicBezTo>
                    <a:pt x="4552" y="-614"/>
                    <a:pt x="5138" y="368"/>
                    <a:pt x="5883" y="1067"/>
                  </a:cubicBezTo>
                  <a:cubicBezTo>
                    <a:pt x="7580" y="2919"/>
                    <a:pt x="9876" y="5377"/>
                    <a:pt x="9987" y="5607"/>
                  </a:cubicBezTo>
                  <a:cubicBezTo>
                    <a:pt x="9934" y="5817"/>
                    <a:pt x="10030" y="5810"/>
                    <a:pt x="9973" y="6035"/>
                  </a:cubicBezTo>
                  <a:cubicBezTo>
                    <a:pt x="9139" y="4843"/>
                    <a:pt x="7542" y="3308"/>
                    <a:pt x="5816" y="1237"/>
                  </a:cubicBezTo>
                  <a:cubicBezTo>
                    <a:pt x="4280" y="-468"/>
                    <a:pt x="3265" y="675"/>
                    <a:pt x="3075" y="654"/>
                  </a:cubicBezTo>
                  <a:lnTo>
                    <a:pt x="111" y="10061"/>
                  </a:lnTo>
                  <a:close/>
                </a:path>
              </a:pathLst>
            </a:custGeom>
            <a:solidFill>
              <a:schemeClr val="tx1">
                <a:lumMod val="50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37" name="Freeform 193">
              <a:extLst>
                <a:ext uri="{FF2B5EF4-FFF2-40B4-BE49-F238E27FC236}">
                  <a16:creationId xmlns:a16="http://schemas.microsoft.com/office/drawing/2014/main" id="{BD0DE3F6-A0A0-4193-AD7E-D3863D2B1826}"/>
                </a:ext>
              </a:extLst>
            </p:cNvPr>
            <p:cNvSpPr>
              <a:spLocks/>
            </p:cNvSpPr>
            <p:nvPr/>
          </p:nvSpPr>
          <p:spPr bwMode="auto">
            <a:xfrm>
              <a:off x="2932878" y="3207558"/>
              <a:ext cx="115228" cy="68720"/>
            </a:xfrm>
            <a:custGeom>
              <a:avLst/>
              <a:gdLst>
                <a:gd name="T0" fmla="*/ 0 w 123"/>
                <a:gd name="T1" fmla="*/ 72 h 84"/>
                <a:gd name="T2" fmla="*/ 123 w 123"/>
                <a:gd name="T3" fmla="*/ 0 h 84"/>
                <a:gd name="T4" fmla="*/ 123 w 123"/>
                <a:gd name="T5" fmla="*/ 13 h 84"/>
                <a:gd name="T6" fmla="*/ 0 w 123"/>
                <a:gd name="T7" fmla="*/ 84 h 84"/>
                <a:gd name="T8" fmla="*/ 0 w 123"/>
                <a:gd name="T9" fmla="*/ 72 h 84"/>
                <a:gd name="connsiteX0" fmla="*/ 0 w 10000"/>
                <a:gd name="connsiteY0" fmla="*/ 8571 h 10000"/>
                <a:gd name="connsiteX1" fmla="*/ 10000 w 10000"/>
                <a:gd name="connsiteY1" fmla="*/ 0 h 10000"/>
                <a:gd name="connsiteX2" fmla="*/ 9920 w 10000"/>
                <a:gd name="connsiteY2" fmla="*/ 2104 h 10000"/>
                <a:gd name="connsiteX3" fmla="*/ 0 w 10000"/>
                <a:gd name="connsiteY3" fmla="*/ 10000 h 10000"/>
                <a:gd name="connsiteX4" fmla="*/ 0 w 10000"/>
                <a:gd name="connsiteY4" fmla="*/ 8571 h 10000"/>
                <a:gd name="connsiteX0" fmla="*/ 0 w 9927"/>
                <a:gd name="connsiteY0" fmla="*/ 8015 h 9444"/>
                <a:gd name="connsiteX1" fmla="*/ 9921 w 9927"/>
                <a:gd name="connsiteY1" fmla="*/ 0 h 9444"/>
                <a:gd name="connsiteX2" fmla="*/ 9920 w 9927"/>
                <a:gd name="connsiteY2" fmla="*/ 1548 h 9444"/>
                <a:gd name="connsiteX3" fmla="*/ 0 w 9927"/>
                <a:gd name="connsiteY3" fmla="*/ 9444 h 9444"/>
                <a:gd name="connsiteX4" fmla="*/ 0 w 9927"/>
                <a:gd name="connsiteY4" fmla="*/ 8015 h 9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7" h="9444">
                  <a:moveTo>
                    <a:pt x="0" y="8015"/>
                  </a:moveTo>
                  <a:lnTo>
                    <a:pt x="9921" y="0"/>
                  </a:lnTo>
                  <a:cubicBezTo>
                    <a:pt x="9894" y="701"/>
                    <a:pt x="9947" y="847"/>
                    <a:pt x="9920" y="1548"/>
                  </a:cubicBezTo>
                  <a:lnTo>
                    <a:pt x="0" y="9444"/>
                  </a:lnTo>
                  <a:lnTo>
                    <a:pt x="0" y="8015"/>
                  </a:lnTo>
                  <a:close/>
                </a:path>
              </a:pathLst>
            </a:custGeom>
            <a:solidFill>
              <a:schemeClr val="tx1">
                <a:lumMod val="50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38" name="Freeform 189">
              <a:extLst>
                <a:ext uri="{FF2B5EF4-FFF2-40B4-BE49-F238E27FC236}">
                  <a16:creationId xmlns:a16="http://schemas.microsoft.com/office/drawing/2014/main" id="{E1D2C0CC-A67D-4CAA-A406-1CA19E2BEE7C}"/>
                </a:ext>
              </a:extLst>
            </p:cNvPr>
            <p:cNvSpPr>
              <a:spLocks/>
            </p:cNvSpPr>
            <p:nvPr/>
          </p:nvSpPr>
          <p:spPr bwMode="auto">
            <a:xfrm>
              <a:off x="1653349" y="3353897"/>
              <a:ext cx="880196" cy="979916"/>
            </a:xfrm>
            <a:custGeom>
              <a:avLst/>
              <a:gdLst>
                <a:gd name="T0" fmla="*/ 192 w 227"/>
                <a:gd name="T1" fmla="*/ 287 h 287"/>
                <a:gd name="T2" fmla="*/ 34 w 227"/>
                <a:gd name="T3" fmla="*/ 181 h 287"/>
                <a:gd name="T4" fmla="*/ 1 w 227"/>
                <a:gd name="T5" fmla="*/ 114 h 287"/>
                <a:gd name="T6" fmla="*/ 39 w 227"/>
                <a:gd name="T7" fmla="*/ 49 h 287"/>
                <a:gd name="T8" fmla="*/ 119 w 227"/>
                <a:gd name="T9" fmla="*/ 0 h 287"/>
                <a:gd name="T10" fmla="*/ 153 w 227"/>
                <a:gd name="T11" fmla="*/ 11 h 287"/>
                <a:gd name="T12" fmla="*/ 56 w 227"/>
                <a:gd name="T13" fmla="*/ 72 h 287"/>
                <a:gd name="T14" fmla="*/ 32 w 227"/>
                <a:gd name="T15" fmla="*/ 115 h 287"/>
                <a:gd name="T16" fmla="*/ 52 w 227"/>
                <a:gd name="T17" fmla="*/ 159 h 287"/>
                <a:gd name="T18" fmla="*/ 227 w 227"/>
                <a:gd name="T19" fmla="*/ 271 h 287"/>
                <a:gd name="T20" fmla="*/ 192 w 227"/>
                <a:gd name="T21"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7" h="287">
                  <a:moveTo>
                    <a:pt x="192" y="287"/>
                  </a:moveTo>
                  <a:cubicBezTo>
                    <a:pt x="34" y="181"/>
                    <a:pt x="34" y="181"/>
                    <a:pt x="34" y="181"/>
                  </a:cubicBezTo>
                  <a:cubicBezTo>
                    <a:pt x="12" y="165"/>
                    <a:pt x="0" y="140"/>
                    <a:pt x="1" y="114"/>
                  </a:cubicBezTo>
                  <a:cubicBezTo>
                    <a:pt x="2" y="88"/>
                    <a:pt x="16" y="64"/>
                    <a:pt x="39" y="49"/>
                  </a:cubicBezTo>
                  <a:cubicBezTo>
                    <a:pt x="119" y="0"/>
                    <a:pt x="119" y="0"/>
                    <a:pt x="119" y="0"/>
                  </a:cubicBezTo>
                  <a:cubicBezTo>
                    <a:pt x="153" y="11"/>
                    <a:pt x="153" y="11"/>
                    <a:pt x="153" y="11"/>
                  </a:cubicBezTo>
                  <a:cubicBezTo>
                    <a:pt x="56" y="72"/>
                    <a:pt x="56" y="72"/>
                    <a:pt x="56" y="72"/>
                  </a:cubicBezTo>
                  <a:cubicBezTo>
                    <a:pt x="40" y="82"/>
                    <a:pt x="32" y="98"/>
                    <a:pt x="32" y="115"/>
                  </a:cubicBezTo>
                  <a:cubicBezTo>
                    <a:pt x="31" y="132"/>
                    <a:pt x="38" y="149"/>
                    <a:pt x="52" y="159"/>
                  </a:cubicBezTo>
                  <a:cubicBezTo>
                    <a:pt x="227" y="271"/>
                    <a:pt x="227" y="271"/>
                    <a:pt x="227" y="271"/>
                  </a:cubicBezTo>
                  <a:lnTo>
                    <a:pt x="192" y="287"/>
                  </a:lnTo>
                  <a:close/>
                </a:path>
              </a:pathLst>
            </a:custGeom>
            <a:solidFill>
              <a:schemeClr val="bg1">
                <a:lumMod val="50000"/>
              </a:schemeClr>
            </a:solidFill>
            <a:ln>
              <a:noFill/>
            </a:ln>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139" name="Freeform: Shape 112">
              <a:extLst>
                <a:ext uri="{FF2B5EF4-FFF2-40B4-BE49-F238E27FC236}">
                  <a16:creationId xmlns:a16="http://schemas.microsoft.com/office/drawing/2014/main" id="{14A4492C-BF60-4785-A7D6-EACD3DEF2E08}"/>
                </a:ext>
              </a:extLst>
            </p:cNvPr>
            <p:cNvSpPr/>
            <p:nvPr/>
          </p:nvSpPr>
          <p:spPr bwMode="auto">
            <a:xfrm>
              <a:off x="1947693" y="3480734"/>
              <a:ext cx="30592" cy="234650"/>
            </a:xfrm>
            <a:custGeom>
              <a:avLst/>
              <a:gdLst>
                <a:gd name="connsiteX0" fmla="*/ 0 w 53975"/>
                <a:gd name="connsiteY0" fmla="*/ 0 h 371475"/>
                <a:gd name="connsiteX1" fmla="*/ 0 w 53975"/>
                <a:gd name="connsiteY1" fmla="*/ 331788 h 371475"/>
                <a:gd name="connsiteX2" fmla="*/ 39687 w 53975"/>
                <a:gd name="connsiteY2" fmla="*/ 371475 h 371475"/>
                <a:gd name="connsiteX3" fmla="*/ 53975 w 53975"/>
                <a:gd name="connsiteY3" fmla="*/ 17463 h 371475"/>
                <a:gd name="connsiteX4" fmla="*/ 0 w 53975"/>
                <a:gd name="connsiteY4" fmla="*/ 0 h 371475"/>
                <a:gd name="connsiteX0" fmla="*/ 0 w 39687"/>
                <a:gd name="connsiteY0" fmla="*/ 0 h 371475"/>
                <a:gd name="connsiteX1" fmla="*/ 0 w 39687"/>
                <a:gd name="connsiteY1" fmla="*/ 331788 h 371475"/>
                <a:gd name="connsiteX2" fmla="*/ 39687 w 39687"/>
                <a:gd name="connsiteY2" fmla="*/ 371475 h 371475"/>
                <a:gd name="connsiteX3" fmla="*/ 36513 w 39687"/>
                <a:gd name="connsiteY3" fmla="*/ 15876 h 371475"/>
                <a:gd name="connsiteX4" fmla="*/ 0 w 39687"/>
                <a:gd name="connsiteY4" fmla="*/ 0 h 371475"/>
                <a:gd name="connsiteX0" fmla="*/ 0 w 39687"/>
                <a:gd name="connsiteY0" fmla="*/ 0 h 371475"/>
                <a:gd name="connsiteX1" fmla="*/ 0 w 39687"/>
                <a:gd name="connsiteY1" fmla="*/ 331788 h 371475"/>
                <a:gd name="connsiteX2" fmla="*/ 39687 w 39687"/>
                <a:gd name="connsiteY2" fmla="*/ 371475 h 371475"/>
                <a:gd name="connsiteX3" fmla="*/ 36513 w 39687"/>
                <a:gd name="connsiteY3" fmla="*/ 15876 h 371475"/>
                <a:gd name="connsiteX4" fmla="*/ 0 w 39687"/>
                <a:gd name="connsiteY4" fmla="*/ 0 h 371475"/>
                <a:gd name="connsiteX0" fmla="*/ 0 w 41276"/>
                <a:gd name="connsiteY0" fmla="*/ 0 h 371475"/>
                <a:gd name="connsiteX1" fmla="*/ 0 w 41276"/>
                <a:gd name="connsiteY1" fmla="*/ 331788 h 371475"/>
                <a:gd name="connsiteX2" fmla="*/ 39687 w 41276"/>
                <a:gd name="connsiteY2" fmla="*/ 371475 h 371475"/>
                <a:gd name="connsiteX3" fmla="*/ 41276 w 41276"/>
                <a:gd name="connsiteY3" fmla="*/ 17464 h 371475"/>
                <a:gd name="connsiteX4" fmla="*/ 0 w 41276"/>
                <a:gd name="connsiteY4" fmla="*/ 0 h 371475"/>
                <a:gd name="connsiteX0" fmla="*/ 0 w 39840"/>
                <a:gd name="connsiteY0" fmla="*/ 0 h 371475"/>
                <a:gd name="connsiteX1" fmla="*/ 0 w 39840"/>
                <a:gd name="connsiteY1" fmla="*/ 331788 h 371475"/>
                <a:gd name="connsiteX2" fmla="*/ 39687 w 39840"/>
                <a:gd name="connsiteY2" fmla="*/ 371475 h 371475"/>
                <a:gd name="connsiteX3" fmla="*/ 39688 w 39840"/>
                <a:gd name="connsiteY3" fmla="*/ 6352 h 371475"/>
                <a:gd name="connsiteX4" fmla="*/ 0 w 39840"/>
                <a:gd name="connsiteY4" fmla="*/ 0 h 371475"/>
                <a:gd name="connsiteX0" fmla="*/ 0 w 41692"/>
                <a:gd name="connsiteY0" fmla="*/ 0 h 371475"/>
                <a:gd name="connsiteX1" fmla="*/ 0 w 41692"/>
                <a:gd name="connsiteY1" fmla="*/ 331788 h 371475"/>
                <a:gd name="connsiteX2" fmla="*/ 39687 w 41692"/>
                <a:gd name="connsiteY2" fmla="*/ 371475 h 371475"/>
                <a:gd name="connsiteX3" fmla="*/ 39688 w 41692"/>
                <a:gd name="connsiteY3" fmla="*/ 6352 h 371475"/>
                <a:gd name="connsiteX4" fmla="*/ 0 w 41692"/>
                <a:gd name="connsiteY4" fmla="*/ 0 h 371475"/>
                <a:gd name="connsiteX0" fmla="*/ 0 w 39758"/>
                <a:gd name="connsiteY0" fmla="*/ 0 h 371475"/>
                <a:gd name="connsiteX1" fmla="*/ 0 w 39758"/>
                <a:gd name="connsiteY1" fmla="*/ 331788 h 371475"/>
                <a:gd name="connsiteX2" fmla="*/ 39687 w 39758"/>
                <a:gd name="connsiteY2" fmla="*/ 371475 h 371475"/>
                <a:gd name="connsiteX3" fmla="*/ 39688 w 39758"/>
                <a:gd name="connsiteY3" fmla="*/ 6352 h 371475"/>
                <a:gd name="connsiteX4" fmla="*/ 0 w 39758"/>
                <a:gd name="connsiteY4" fmla="*/ 0 h 371475"/>
                <a:gd name="connsiteX0" fmla="*/ 0 w 42896"/>
                <a:gd name="connsiteY0" fmla="*/ 0 h 373063"/>
                <a:gd name="connsiteX1" fmla="*/ 0 w 42896"/>
                <a:gd name="connsiteY1" fmla="*/ 331788 h 373063"/>
                <a:gd name="connsiteX2" fmla="*/ 42862 w 42896"/>
                <a:gd name="connsiteY2" fmla="*/ 373063 h 373063"/>
                <a:gd name="connsiteX3" fmla="*/ 39688 w 42896"/>
                <a:gd name="connsiteY3" fmla="*/ 6352 h 373063"/>
                <a:gd name="connsiteX4" fmla="*/ 0 w 42896"/>
                <a:gd name="connsiteY4" fmla="*/ 0 h 373063"/>
                <a:gd name="connsiteX0" fmla="*/ 0 w 42933"/>
                <a:gd name="connsiteY0" fmla="*/ 0 h 373063"/>
                <a:gd name="connsiteX1" fmla="*/ 0 w 42933"/>
                <a:gd name="connsiteY1" fmla="*/ 331788 h 373063"/>
                <a:gd name="connsiteX2" fmla="*/ 42862 w 42933"/>
                <a:gd name="connsiteY2" fmla="*/ 373063 h 373063"/>
                <a:gd name="connsiteX3" fmla="*/ 42863 w 42933"/>
                <a:gd name="connsiteY3" fmla="*/ 7940 h 373063"/>
                <a:gd name="connsiteX4" fmla="*/ 0 w 42933"/>
                <a:gd name="connsiteY4" fmla="*/ 0 h 373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33" h="373063">
                  <a:moveTo>
                    <a:pt x="0" y="0"/>
                  </a:moveTo>
                  <a:lnTo>
                    <a:pt x="0" y="331788"/>
                  </a:lnTo>
                  <a:lnTo>
                    <a:pt x="42862" y="373063"/>
                  </a:lnTo>
                  <a:cubicBezTo>
                    <a:pt x="43392" y="255059"/>
                    <a:pt x="40745" y="132294"/>
                    <a:pt x="42863" y="7940"/>
                  </a:cubicBezTo>
                  <a:lnTo>
                    <a:pt x="0" y="0"/>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140" name="Freeform: Shape 113">
              <a:extLst>
                <a:ext uri="{FF2B5EF4-FFF2-40B4-BE49-F238E27FC236}">
                  <a16:creationId xmlns:a16="http://schemas.microsoft.com/office/drawing/2014/main" id="{75117258-3270-4459-BF4A-F70EF76BC507}"/>
                </a:ext>
              </a:extLst>
            </p:cNvPr>
            <p:cNvSpPr/>
            <p:nvPr/>
          </p:nvSpPr>
          <p:spPr bwMode="auto">
            <a:xfrm>
              <a:off x="1765466" y="3379884"/>
              <a:ext cx="210502" cy="109835"/>
            </a:xfrm>
            <a:custGeom>
              <a:avLst/>
              <a:gdLst>
                <a:gd name="connsiteX0" fmla="*/ 0 w 304800"/>
                <a:gd name="connsiteY0" fmla="*/ 65088 h 174625"/>
                <a:gd name="connsiteX1" fmla="*/ 304800 w 304800"/>
                <a:gd name="connsiteY1" fmla="*/ 174625 h 174625"/>
                <a:gd name="connsiteX2" fmla="*/ 298450 w 304800"/>
                <a:gd name="connsiteY2" fmla="*/ 114300 h 174625"/>
                <a:gd name="connsiteX3" fmla="*/ 1588 w 304800"/>
                <a:gd name="connsiteY3" fmla="*/ 0 h 174625"/>
                <a:gd name="connsiteX4" fmla="*/ 0 w 304800"/>
                <a:gd name="connsiteY4" fmla="*/ 65088 h 174625"/>
                <a:gd name="connsiteX0" fmla="*/ 0 w 304800"/>
                <a:gd name="connsiteY0" fmla="*/ 65088 h 174625"/>
                <a:gd name="connsiteX1" fmla="*/ 304800 w 304800"/>
                <a:gd name="connsiteY1" fmla="*/ 174625 h 174625"/>
                <a:gd name="connsiteX2" fmla="*/ 298450 w 304800"/>
                <a:gd name="connsiteY2" fmla="*/ 114300 h 174625"/>
                <a:gd name="connsiteX3" fmla="*/ 6351 w 304800"/>
                <a:gd name="connsiteY3" fmla="*/ 0 h 174625"/>
                <a:gd name="connsiteX4" fmla="*/ 0 w 304800"/>
                <a:gd name="connsiteY4" fmla="*/ 65088 h 174625"/>
                <a:gd name="connsiteX0" fmla="*/ 152 w 298602"/>
                <a:gd name="connsiteY0" fmla="*/ 68263 h 174625"/>
                <a:gd name="connsiteX1" fmla="*/ 298602 w 298602"/>
                <a:gd name="connsiteY1" fmla="*/ 174625 h 174625"/>
                <a:gd name="connsiteX2" fmla="*/ 292252 w 298602"/>
                <a:gd name="connsiteY2" fmla="*/ 114300 h 174625"/>
                <a:gd name="connsiteX3" fmla="*/ 153 w 298602"/>
                <a:gd name="connsiteY3" fmla="*/ 0 h 174625"/>
                <a:gd name="connsiteX4" fmla="*/ 152 w 298602"/>
                <a:gd name="connsiteY4" fmla="*/ 68263 h 174625"/>
                <a:gd name="connsiteX0" fmla="*/ 152 w 298602"/>
                <a:gd name="connsiteY0" fmla="*/ 68263 h 174625"/>
                <a:gd name="connsiteX1" fmla="*/ 298602 w 298602"/>
                <a:gd name="connsiteY1" fmla="*/ 174625 h 174625"/>
                <a:gd name="connsiteX2" fmla="*/ 292252 w 298602"/>
                <a:gd name="connsiteY2" fmla="*/ 114300 h 174625"/>
                <a:gd name="connsiteX3" fmla="*/ 153 w 298602"/>
                <a:gd name="connsiteY3" fmla="*/ 0 h 174625"/>
                <a:gd name="connsiteX4" fmla="*/ 152 w 298602"/>
                <a:gd name="connsiteY4" fmla="*/ 68263 h 174625"/>
                <a:gd name="connsiteX0" fmla="*/ 152 w 298602"/>
                <a:gd name="connsiteY0" fmla="*/ 68263 h 174625"/>
                <a:gd name="connsiteX1" fmla="*/ 298602 w 298602"/>
                <a:gd name="connsiteY1" fmla="*/ 174625 h 174625"/>
                <a:gd name="connsiteX2" fmla="*/ 295427 w 298602"/>
                <a:gd name="connsiteY2" fmla="*/ 111125 h 174625"/>
                <a:gd name="connsiteX3" fmla="*/ 153 w 298602"/>
                <a:gd name="connsiteY3" fmla="*/ 0 h 174625"/>
                <a:gd name="connsiteX4" fmla="*/ 152 w 298602"/>
                <a:gd name="connsiteY4" fmla="*/ 68263 h 174625"/>
                <a:gd name="connsiteX0" fmla="*/ 152 w 295427"/>
                <a:gd name="connsiteY0" fmla="*/ 68263 h 174625"/>
                <a:gd name="connsiteX1" fmla="*/ 295427 w 295427"/>
                <a:gd name="connsiteY1" fmla="*/ 174625 h 174625"/>
                <a:gd name="connsiteX2" fmla="*/ 295427 w 295427"/>
                <a:gd name="connsiteY2" fmla="*/ 111125 h 174625"/>
                <a:gd name="connsiteX3" fmla="*/ 153 w 295427"/>
                <a:gd name="connsiteY3" fmla="*/ 0 h 174625"/>
                <a:gd name="connsiteX4" fmla="*/ 152 w 295427"/>
                <a:gd name="connsiteY4" fmla="*/ 68263 h 174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427" h="174625">
                  <a:moveTo>
                    <a:pt x="152" y="68263"/>
                  </a:moveTo>
                  <a:lnTo>
                    <a:pt x="295427" y="174625"/>
                  </a:lnTo>
                  <a:lnTo>
                    <a:pt x="295427" y="111125"/>
                  </a:lnTo>
                  <a:lnTo>
                    <a:pt x="153" y="0"/>
                  </a:lnTo>
                  <a:cubicBezTo>
                    <a:pt x="-376" y="21696"/>
                    <a:pt x="681" y="46567"/>
                    <a:pt x="152" y="68263"/>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141" name="Freeform: Shape 114">
              <a:extLst>
                <a:ext uri="{FF2B5EF4-FFF2-40B4-BE49-F238E27FC236}">
                  <a16:creationId xmlns:a16="http://schemas.microsoft.com/office/drawing/2014/main" id="{D94C2F9E-650B-46E9-B827-12A7DDED0F61}"/>
                </a:ext>
              </a:extLst>
            </p:cNvPr>
            <p:cNvSpPr/>
            <p:nvPr/>
          </p:nvSpPr>
          <p:spPr bwMode="auto">
            <a:xfrm>
              <a:off x="1764709" y="3322276"/>
              <a:ext cx="348595" cy="129129"/>
            </a:xfrm>
            <a:custGeom>
              <a:avLst/>
              <a:gdLst>
                <a:gd name="connsiteX0" fmla="*/ 0 w 488950"/>
                <a:gd name="connsiteY0" fmla="*/ 111125 h 514350"/>
                <a:gd name="connsiteX1" fmla="*/ 260350 w 488950"/>
                <a:gd name="connsiteY1" fmla="*/ 331788 h 514350"/>
                <a:gd name="connsiteX2" fmla="*/ 260350 w 488950"/>
                <a:gd name="connsiteY2" fmla="*/ 514350 h 514350"/>
                <a:gd name="connsiteX3" fmla="*/ 484187 w 488950"/>
                <a:gd name="connsiteY3" fmla="*/ 366713 h 514350"/>
                <a:gd name="connsiteX4" fmla="*/ 488950 w 488950"/>
                <a:gd name="connsiteY4" fmla="*/ 169863 h 514350"/>
                <a:gd name="connsiteX5" fmla="*/ 230187 w 488950"/>
                <a:gd name="connsiteY5" fmla="*/ 0 h 514350"/>
                <a:gd name="connsiteX6" fmla="*/ 0 w 488950"/>
                <a:gd name="connsiteY6" fmla="*/ 111125 h 514350"/>
                <a:gd name="connsiteX0" fmla="*/ 0 w 491891"/>
                <a:gd name="connsiteY0" fmla="*/ 111125 h 514350"/>
                <a:gd name="connsiteX1" fmla="*/ 260350 w 491891"/>
                <a:gd name="connsiteY1" fmla="*/ 331788 h 514350"/>
                <a:gd name="connsiteX2" fmla="*/ 260350 w 491891"/>
                <a:gd name="connsiteY2" fmla="*/ 514350 h 514350"/>
                <a:gd name="connsiteX3" fmla="*/ 491891 w 491891"/>
                <a:gd name="connsiteY3" fmla="*/ 406798 h 514350"/>
                <a:gd name="connsiteX4" fmla="*/ 488950 w 491891"/>
                <a:gd name="connsiteY4" fmla="*/ 169863 h 514350"/>
                <a:gd name="connsiteX5" fmla="*/ 230187 w 491891"/>
                <a:gd name="connsiteY5" fmla="*/ 0 h 514350"/>
                <a:gd name="connsiteX6" fmla="*/ 0 w 491891"/>
                <a:gd name="connsiteY6" fmla="*/ 111125 h 514350"/>
                <a:gd name="connsiteX0" fmla="*/ 0 w 491891"/>
                <a:gd name="connsiteY0" fmla="*/ 111125 h 514350"/>
                <a:gd name="connsiteX1" fmla="*/ 237239 w 491891"/>
                <a:gd name="connsiteY1" fmla="*/ 162095 h 514350"/>
                <a:gd name="connsiteX2" fmla="*/ 260350 w 491891"/>
                <a:gd name="connsiteY2" fmla="*/ 514350 h 514350"/>
                <a:gd name="connsiteX3" fmla="*/ 491891 w 491891"/>
                <a:gd name="connsiteY3" fmla="*/ 406798 h 514350"/>
                <a:gd name="connsiteX4" fmla="*/ 488950 w 491891"/>
                <a:gd name="connsiteY4" fmla="*/ 169863 h 514350"/>
                <a:gd name="connsiteX5" fmla="*/ 230187 w 491891"/>
                <a:gd name="connsiteY5" fmla="*/ 0 h 514350"/>
                <a:gd name="connsiteX6" fmla="*/ 0 w 491891"/>
                <a:gd name="connsiteY6" fmla="*/ 111125 h 514350"/>
                <a:gd name="connsiteX0" fmla="*/ 0 w 491891"/>
                <a:gd name="connsiteY0" fmla="*/ 111125 h 514350"/>
                <a:gd name="connsiteX1" fmla="*/ 237239 w 491891"/>
                <a:gd name="connsiteY1" fmla="*/ 162095 h 514350"/>
                <a:gd name="connsiteX2" fmla="*/ 260350 w 491891"/>
                <a:gd name="connsiteY2" fmla="*/ 514350 h 514350"/>
                <a:gd name="connsiteX3" fmla="*/ 491891 w 491891"/>
                <a:gd name="connsiteY3" fmla="*/ 406798 h 514350"/>
                <a:gd name="connsiteX4" fmla="*/ 487025 w 491891"/>
                <a:gd name="connsiteY4" fmla="*/ 65642 h 514350"/>
                <a:gd name="connsiteX5" fmla="*/ 230187 w 491891"/>
                <a:gd name="connsiteY5" fmla="*/ 0 h 514350"/>
                <a:gd name="connsiteX6" fmla="*/ 0 w 491891"/>
                <a:gd name="connsiteY6" fmla="*/ 111125 h 514350"/>
                <a:gd name="connsiteX0" fmla="*/ 0 w 491891"/>
                <a:gd name="connsiteY0" fmla="*/ 111125 h 514350"/>
                <a:gd name="connsiteX1" fmla="*/ 237239 w 491891"/>
                <a:gd name="connsiteY1" fmla="*/ 162095 h 514350"/>
                <a:gd name="connsiteX2" fmla="*/ 260350 w 491891"/>
                <a:gd name="connsiteY2" fmla="*/ 514350 h 514350"/>
                <a:gd name="connsiteX3" fmla="*/ 491891 w 491891"/>
                <a:gd name="connsiteY3" fmla="*/ 406798 h 514350"/>
                <a:gd name="connsiteX4" fmla="*/ 490877 w 491891"/>
                <a:gd name="connsiteY4" fmla="*/ 64305 h 514350"/>
                <a:gd name="connsiteX5" fmla="*/ 230187 w 491891"/>
                <a:gd name="connsiteY5" fmla="*/ 0 h 514350"/>
                <a:gd name="connsiteX6" fmla="*/ 0 w 491891"/>
                <a:gd name="connsiteY6" fmla="*/ 111125 h 514350"/>
                <a:gd name="connsiteX0" fmla="*/ 0 w 491891"/>
                <a:gd name="connsiteY0" fmla="*/ 111125 h 514350"/>
                <a:gd name="connsiteX1" fmla="*/ 246869 w 491891"/>
                <a:gd name="connsiteY1" fmla="*/ 162095 h 514350"/>
                <a:gd name="connsiteX2" fmla="*/ 260350 w 491891"/>
                <a:gd name="connsiteY2" fmla="*/ 514350 h 514350"/>
                <a:gd name="connsiteX3" fmla="*/ 491891 w 491891"/>
                <a:gd name="connsiteY3" fmla="*/ 406798 h 514350"/>
                <a:gd name="connsiteX4" fmla="*/ 490877 w 491891"/>
                <a:gd name="connsiteY4" fmla="*/ 64305 h 514350"/>
                <a:gd name="connsiteX5" fmla="*/ 230187 w 491891"/>
                <a:gd name="connsiteY5" fmla="*/ 0 h 514350"/>
                <a:gd name="connsiteX6" fmla="*/ 0 w 491891"/>
                <a:gd name="connsiteY6" fmla="*/ 111125 h 514350"/>
                <a:gd name="connsiteX0" fmla="*/ 0 w 491891"/>
                <a:gd name="connsiteY0" fmla="*/ 111125 h 514350"/>
                <a:gd name="connsiteX1" fmla="*/ 246869 w 491891"/>
                <a:gd name="connsiteY1" fmla="*/ 162095 h 514350"/>
                <a:gd name="connsiteX2" fmla="*/ 260350 w 491891"/>
                <a:gd name="connsiteY2" fmla="*/ 514350 h 514350"/>
                <a:gd name="connsiteX3" fmla="*/ 491891 w 491891"/>
                <a:gd name="connsiteY3" fmla="*/ 406798 h 514350"/>
                <a:gd name="connsiteX4" fmla="*/ 490877 w 491891"/>
                <a:gd name="connsiteY4" fmla="*/ 64305 h 514350"/>
                <a:gd name="connsiteX5" fmla="*/ 230187 w 491891"/>
                <a:gd name="connsiteY5" fmla="*/ 0 h 514350"/>
                <a:gd name="connsiteX6" fmla="*/ 0 w 491891"/>
                <a:gd name="connsiteY6" fmla="*/ 111125 h 514350"/>
                <a:gd name="connsiteX0" fmla="*/ 0 w 491891"/>
                <a:gd name="connsiteY0" fmla="*/ 111125 h 514350"/>
                <a:gd name="connsiteX1" fmla="*/ 254573 w 491891"/>
                <a:gd name="connsiteY1" fmla="*/ 160759 h 514350"/>
                <a:gd name="connsiteX2" fmla="*/ 260350 w 491891"/>
                <a:gd name="connsiteY2" fmla="*/ 514350 h 514350"/>
                <a:gd name="connsiteX3" fmla="*/ 491891 w 491891"/>
                <a:gd name="connsiteY3" fmla="*/ 406798 h 514350"/>
                <a:gd name="connsiteX4" fmla="*/ 490877 w 491891"/>
                <a:gd name="connsiteY4" fmla="*/ 64305 h 514350"/>
                <a:gd name="connsiteX5" fmla="*/ 230187 w 491891"/>
                <a:gd name="connsiteY5" fmla="*/ 0 h 514350"/>
                <a:gd name="connsiteX6" fmla="*/ 0 w 491891"/>
                <a:gd name="connsiteY6" fmla="*/ 111125 h 514350"/>
                <a:gd name="connsiteX0" fmla="*/ 0 w 491891"/>
                <a:gd name="connsiteY0" fmla="*/ 111125 h 514350"/>
                <a:gd name="connsiteX1" fmla="*/ 262277 w 491891"/>
                <a:gd name="connsiteY1" fmla="*/ 160759 h 514350"/>
                <a:gd name="connsiteX2" fmla="*/ 260350 w 491891"/>
                <a:gd name="connsiteY2" fmla="*/ 514350 h 514350"/>
                <a:gd name="connsiteX3" fmla="*/ 491891 w 491891"/>
                <a:gd name="connsiteY3" fmla="*/ 406798 h 514350"/>
                <a:gd name="connsiteX4" fmla="*/ 490877 w 491891"/>
                <a:gd name="connsiteY4" fmla="*/ 64305 h 514350"/>
                <a:gd name="connsiteX5" fmla="*/ 230187 w 491891"/>
                <a:gd name="connsiteY5" fmla="*/ 0 h 514350"/>
                <a:gd name="connsiteX6" fmla="*/ 0 w 491891"/>
                <a:gd name="connsiteY6" fmla="*/ 111125 h 514350"/>
                <a:gd name="connsiteX0" fmla="*/ 0 w 515002"/>
                <a:gd name="connsiteY0" fmla="*/ 80393 h 514350"/>
                <a:gd name="connsiteX1" fmla="*/ 285388 w 515002"/>
                <a:gd name="connsiteY1" fmla="*/ 160759 h 514350"/>
                <a:gd name="connsiteX2" fmla="*/ 283461 w 515002"/>
                <a:gd name="connsiteY2" fmla="*/ 514350 h 514350"/>
                <a:gd name="connsiteX3" fmla="*/ 515002 w 515002"/>
                <a:gd name="connsiteY3" fmla="*/ 406798 h 514350"/>
                <a:gd name="connsiteX4" fmla="*/ 513988 w 515002"/>
                <a:gd name="connsiteY4" fmla="*/ 64305 h 514350"/>
                <a:gd name="connsiteX5" fmla="*/ 253298 w 515002"/>
                <a:gd name="connsiteY5" fmla="*/ 0 h 514350"/>
                <a:gd name="connsiteX6" fmla="*/ 0 w 515002"/>
                <a:gd name="connsiteY6" fmla="*/ 80393 h 514350"/>
                <a:gd name="connsiteX0" fmla="*/ 0 w 515002"/>
                <a:gd name="connsiteY0" fmla="*/ 72376 h 506333"/>
                <a:gd name="connsiteX1" fmla="*/ 285388 w 515002"/>
                <a:gd name="connsiteY1" fmla="*/ 152742 h 506333"/>
                <a:gd name="connsiteX2" fmla="*/ 283461 w 515002"/>
                <a:gd name="connsiteY2" fmla="*/ 506333 h 506333"/>
                <a:gd name="connsiteX3" fmla="*/ 515002 w 515002"/>
                <a:gd name="connsiteY3" fmla="*/ 398781 h 506333"/>
                <a:gd name="connsiteX4" fmla="*/ 513988 w 515002"/>
                <a:gd name="connsiteY4" fmla="*/ 56288 h 506333"/>
                <a:gd name="connsiteX5" fmla="*/ 282186 w 515002"/>
                <a:gd name="connsiteY5" fmla="*/ 0 h 506333"/>
                <a:gd name="connsiteX6" fmla="*/ 0 w 515002"/>
                <a:gd name="connsiteY6" fmla="*/ 72376 h 506333"/>
                <a:gd name="connsiteX0" fmla="*/ 0 w 516121"/>
                <a:gd name="connsiteY0" fmla="*/ 72376 h 506333"/>
                <a:gd name="connsiteX1" fmla="*/ 285388 w 516121"/>
                <a:gd name="connsiteY1" fmla="*/ 152742 h 506333"/>
                <a:gd name="connsiteX2" fmla="*/ 283461 w 516121"/>
                <a:gd name="connsiteY2" fmla="*/ 506333 h 506333"/>
                <a:gd name="connsiteX3" fmla="*/ 515002 w 516121"/>
                <a:gd name="connsiteY3" fmla="*/ 398781 h 506333"/>
                <a:gd name="connsiteX4" fmla="*/ 515914 w 516121"/>
                <a:gd name="connsiteY4" fmla="*/ 61633 h 506333"/>
                <a:gd name="connsiteX5" fmla="*/ 282186 w 516121"/>
                <a:gd name="connsiteY5" fmla="*/ 0 h 506333"/>
                <a:gd name="connsiteX6" fmla="*/ 0 w 516121"/>
                <a:gd name="connsiteY6" fmla="*/ 72376 h 506333"/>
                <a:gd name="connsiteX0" fmla="*/ 0 w 516120"/>
                <a:gd name="connsiteY0" fmla="*/ 76385 h 510342"/>
                <a:gd name="connsiteX1" fmla="*/ 285388 w 516120"/>
                <a:gd name="connsiteY1" fmla="*/ 156751 h 510342"/>
                <a:gd name="connsiteX2" fmla="*/ 283461 w 516120"/>
                <a:gd name="connsiteY2" fmla="*/ 510342 h 510342"/>
                <a:gd name="connsiteX3" fmla="*/ 515002 w 516120"/>
                <a:gd name="connsiteY3" fmla="*/ 402790 h 510342"/>
                <a:gd name="connsiteX4" fmla="*/ 515914 w 516120"/>
                <a:gd name="connsiteY4" fmla="*/ 65642 h 510342"/>
                <a:gd name="connsiteX5" fmla="*/ 272555 w 516120"/>
                <a:gd name="connsiteY5" fmla="*/ 0 h 510342"/>
                <a:gd name="connsiteX6" fmla="*/ 0 w 516120"/>
                <a:gd name="connsiteY6" fmla="*/ 76385 h 510342"/>
                <a:gd name="connsiteX0" fmla="*/ 0 w 593158"/>
                <a:gd name="connsiteY0" fmla="*/ 60351 h 510342"/>
                <a:gd name="connsiteX1" fmla="*/ 362426 w 593158"/>
                <a:gd name="connsiteY1" fmla="*/ 156751 h 510342"/>
                <a:gd name="connsiteX2" fmla="*/ 360499 w 593158"/>
                <a:gd name="connsiteY2" fmla="*/ 510342 h 510342"/>
                <a:gd name="connsiteX3" fmla="*/ 592040 w 593158"/>
                <a:gd name="connsiteY3" fmla="*/ 402790 h 510342"/>
                <a:gd name="connsiteX4" fmla="*/ 592952 w 593158"/>
                <a:gd name="connsiteY4" fmla="*/ 65642 h 510342"/>
                <a:gd name="connsiteX5" fmla="*/ 349593 w 593158"/>
                <a:gd name="connsiteY5" fmla="*/ 0 h 510342"/>
                <a:gd name="connsiteX6" fmla="*/ 0 w 593158"/>
                <a:gd name="connsiteY6" fmla="*/ 60351 h 510342"/>
                <a:gd name="connsiteX0" fmla="*/ 0 w 593158"/>
                <a:gd name="connsiteY0" fmla="*/ 76385 h 526376"/>
                <a:gd name="connsiteX1" fmla="*/ 362426 w 593158"/>
                <a:gd name="connsiteY1" fmla="*/ 172785 h 526376"/>
                <a:gd name="connsiteX2" fmla="*/ 360499 w 593158"/>
                <a:gd name="connsiteY2" fmla="*/ 526376 h 526376"/>
                <a:gd name="connsiteX3" fmla="*/ 592040 w 593158"/>
                <a:gd name="connsiteY3" fmla="*/ 418824 h 526376"/>
                <a:gd name="connsiteX4" fmla="*/ 592952 w 593158"/>
                <a:gd name="connsiteY4" fmla="*/ 81676 h 526376"/>
                <a:gd name="connsiteX5" fmla="*/ 297593 w 593158"/>
                <a:gd name="connsiteY5" fmla="*/ 0 h 526376"/>
                <a:gd name="connsiteX6" fmla="*/ 0 w 593158"/>
                <a:gd name="connsiteY6" fmla="*/ 76385 h 526376"/>
                <a:gd name="connsiteX0" fmla="*/ 0 w 593158"/>
                <a:gd name="connsiteY0" fmla="*/ 76385 h 419628"/>
                <a:gd name="connsiteX1" fmla="*/ 362426 w 593158"/>
                <a:gd name="connsiteY1" fmla="*/ 172785 h 419628"/>
                <a:gd name="connsiteX2" fmla="*/ 592040 w 593158"/>
                <a:gd name="connsiteY2" fmla="*/ 418824 h 419628"/>
                <a:gd name="connsiteX3" fmla="*/ 592952 w 593158"/>
                <a:gd name="connsiteY3" fmla="*/ 81676 h 419628"/>
                <a:gd name="connsiteX4" fmla="*/ 297593 w 593158"/>
                <a:gd name="connsiteY4" fmla="*/ 0 h 419628"/>
                <a:gd name="connsiteX5" fmla="*/ 0 w 593158"/>
                <a:gd name="connsiteY5" fmla="*/ 76385 h 419628"/>
                <a:gd name="connsiteX0" fmla="*/ 0 w 593532"/>
                <a:gd name="connsiteY0" fmla="*/ 76385 h 172794"/>
                <a:gd name="connsiteX1" fmla="*/ 362426 w 593532"/>
                <a:gd name="connsiteY1" fmla="*/ 172785 h 172794"/>
                <a:gd name="connsiteX2" fmla="*/ 592952 w 593532"/>
                <a:gd name="connsiteY2" fmla="*/ 81676 h 172794"/>
                <a:gd name="connsiteX3" fmla="*/ 297593 w 593532"/>
                <a:gd name="connsiteY3" fmla="*/ 0 h 172794"/>
                <a:gd name="connsiteX4" fmla="*/ 0 w 593532"/>
                <a:gd name="connsiteY4" fmla="*/ 76385 h 172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32" h="172794">
                  <a:moveTo>
                    <a:pt x="0" y="76385"/>
                  </a:moveTo>
                  <a:lnTo>
                    <a:pt x="362426" y="172785"/>
                  </a:lnTo>
                  <a:cubicBezTo>
                    <a:pt x="461251" y="173667"/>
                    <a:pt x="603757" y="110473"/>
                    <a:pt x="592952" y="81676"/>
                  </a:cubicBezTo>
                  <a:lnTo>
                    <a:pt x="297593" y="0"/>
                  </a:lnTo>
                  <a:lnTo>
                    <a:pt x="0" y="76385"/>
                  </a:lnTo>
                  <a:close/>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142" name="Freeform: Shape 115">
              <a:extLst>
                <a:ext uri="{FF2B5EF4-FFF2-40B4-BE49-F238E27FC236}">
                  <a16:creationId xmlns:a16="http://schemas.microsoft.com/office/drawing/2014/main" id="{35BBB31C-E2B1-49E7-AD26-0E0F3D10BEA1}"/>
                </a:ext>
              </a:extLst>
            </p:cNvPr>
            <p:cNvSpPr/>
            <p:nvPr/>
          </p:nvSpPr>
          <p:spPr bwMode="auto">
            <a:xfrm>
              <a:off x="1975881" y="3381881"/>
              <a:ext cx="135804" cy="332506"/>
            </a:xfrm>
            <a:custGeom>
              <a:avLst/>
              <a:gdLst>
                <a:gd name="connsiteX0" fmla="*/ 14170 w 207845"/>
                <a:gd name="connsiteY0" fmla="*/ 104775 h 530225"/>
                <a:gd name="connsiteX1" fmla="*/ 207845 w 207845"/>
                <a:gd name="connsiteY1" fmla="*/ 0 h 530225"/>
                <a:gd name="connsiteX2" fmla="*/ 203083 w 207845"/>
                <a:gd name="connsiteY2" fmla="*/ 403225 h 530225"/>
                <a:gd name="connsiteX3" fmla="*/ 15758 w 207845"/>
                <a:gd name="connsiteY3" fmla="*/ 530225 h 530225"/>
                <a:gd name="connsiteX4" fmla="*/ 14170 w 207845"/>
                <a:gd name="connsiteY4" fmla="*/ 104775 h 530225"/>
                <a:gd name="connsiteX0" fmla="*/ 14170 w 207845"/>
                <a:gd name="connsiteY0" fmla="*/ 104775 h 530225"/>
                <a:gd name="connsiteX1" fmla="*/ 207845 w 207845"/>
                <a:gd name="connsiteY1" fmla="*/ 0 h 530225"/>
                <a:gd name="connsiteX2" fmla="*/ 203083 w 207845"/>
                <a:gd name="connsiteY2" fmla="*/ 403225 h 530225"/>
                <a:gd name="connsiteX3" fmla="*/ 15758 w 207845"/>
                <a:gd name="connsiteY3" fmla="*/ 530225 h 530225"/>
                <a:gd name="connsiteX4" fmla="*/ 14170 w 207845"/>
                <a:gd name="connsiteY4" fmla="*/ 104775 h 530225"/>
                <a:gd name="connsiteX0" fmla="*/ 90 w 193765"/>
                <a:gd name="connsiteY0" fmla="*/ 104775 h 530225"/>
                <a:gd name="connsiteX1" fmla="*/ 193765 w 193765"/>
                <a:gd name="connsiteY1" fmla="*/ 0 h 530225"/>
                <a:gd name="connsiteX2" fmla="*/ 189003 w 193765"/>
                <a:gd name="connsiteY2" fmla="*/ 403225 h 530225"/>
                <a:gd name="connsiteX3" fmla="*/ 1678 w 193765"/>
                <a:gd name="connsiteY3" fmla="*/ 530225 h 530225"/>
                <a:gd name="connsiteX4" fmla="*/ 90 w 193765"/>
                <a:gd name="connsiteY4" fmla="*/ 104775 h 530225"/>
                <a:gd name="connsiteX0" fmla="*/ 3513 w 192426"/>
                <a:gd name="connsiteY0" fmla="*/ 111125 h 530225"/>
                <a:gd name="connsiteX1" fmla="*/ 192426 w 192426"/>
                <a:gd name="connsiteY1" fmla="*/ 0 h 530225"/>
                <a:gd name="connsiteX2" fmla="*/ 187664 w 192426"/>
                <a:gd name="connsiteY2" fmla="*/ 403225 h 530225"/>
                <a:gd name="connsiteX3" fmla="*/ 339 w 192426"/>
                <a:gd name="connsiteY3" fmla="*/ 530225 h 530225"/>
                <a:gd name="connsiteX4" fmla="*/ 3513 w 192426"/>
                <a:gd name="connsiteY4" fmla="*/ 111125 h 530225"/>
                <a:gd name="connsiteX0" fmla="*/ 89 w 193765"/>
                <a:gd name="connsiteY0" fmla="*/ 111125 h 530225"/>
                <a:gd name="connsiteX1" fmla="*/ 193765 w 193765"/>
                <a:gd name="connsiteY1" fmla="*/ 0 h 530225"/>
                <a:gd name="connsiteX2" fmla="*/ 189003 w 193765"/>
                <a:gd name="connsiteY2" fmla="*/ 403225 h 530225"/>
                <a:gd name="connsiteX3" fmla="*/ 1678 w 193765"/>
                <a:gd name="connsiteY3" fmla="*/ 530225 h 530225"/>
                <a:gd name="connsiteX4" fmla="*/ 89 w 193765"/>
                <a:gd name="connsiteY4" fmla="*/ 111125 h 530225"/>
                <a:gd name="connsiteX0" fmla="*/ 89 w 190590"/>
                <a:gd name="connsiteY0" fmla="*/ 109538 h 528638"/>
                <a:gd name="connsiteX1" fmla="*/ 190590 w 190590"/>
                <a:gd name="connsiteY1" fmla="*/ 0 h 528638"/>
                <a:gd name="connsiteX2" fmla="*/ 189003 w 190590"/>
                <a:gd name="connsiteY2" fmla="*/ 401638 h 528638"/>
                <a:gd name="connsiteX3" fmla="*/ 1678 w 190590"/>
                <a:gd name="connsiteY3" fmla="*/ 528638 h 528638"/>
                <a:gd name="connsiteX4" fmla="*/ 89 w 190590"/>
                <a:gd name="connsiteY4" fmla="*/ 109538 h 528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90" h="528638">
                  <a:moveTo>
                    <a:pt x="89" y="109538"/>
                  </a:moveTo>
                  <a:cubicBezTo>
                    <a:pt x="70203" y="65617"/>
                    <a:pt x="126032" y="34925"/>
                    <a:pt x="190590" y="0"/>
                  </a:cubicBezTo>
                  <a:cubicBezTo>
                    <a:pt x="189003" y="134408"/>
                    <a:pt x="190590" y="267230"/>
                    <a:pt x="189003" y="401638"/>
                  </a:cubicBezTo>
                  <a:lnTo>
                    <a:pt x="1678" y="528638"/>
                  </a:lnTo>
                  <a:cubicBezTo>
                    <a:pt x="90" y="388938"/>
                    <a:pt x="-175" y="237597"/>
                    <a:pt x="89" y="109538"/>
                  </a:cubicBezTo>
                  <a:close/>
                </a:path>
              </a:pathLst>
            </a:cu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3312" name="Group 3311">
              <a:extLst>
                <a:ext uri="{FF2B5EF4-FFF2-40B4-BE49-F238E27FC236}">
                  <a16:creationId xmlns:a16="http://schemas.microsoft.com/office/drawing/2014/main" id="{450CAED0-CD6A-46EB-B86C-25065F8CFD40}"/>
                </a:ext>
              </a:extLst>
            </p:cNvPr>
            <p:cNvGrpSpPr/>
            <p:nvPr/>
          </p:nvGrpSpPr>
          <p:grpSpPr>
            <a:xfrm>
              <a:off x="1991710" y="3910134"/>
              <a:ext cx="105404" cy="105769"/>
              <a:chOff x="2780428" y="2834771"/>
              <a:chExt cx="66954" cy="67186"/>
            </a:xfrm>
          </p:grpSpPr>
          <p:sp>
            <p:nvSpPr>
              <p:cNvPr id="3327" name="Oval 3326">
                <a:extLst>
                  <a:ext uri="{FF2B5EF4-FFF2-40B4-BE49-F238E27FC236}">
                    <a16:creationId xmlns:a16="http://schemas.microsoft.com/office/drawing/2014/main" id="{500A704A-0BE1-4600-9CD1-6FF56E7BA076}"/>
                  </a:ext>
                </a:extLst>
              </p:cNvPr>
              <p:cNvSpPr/>
              <p:nvPr/>
            </p:nvSpPr>
            <p:spPr bwMode="auto">
              <a:xfrm rot="11681175">
                <a:off x="2807377" y="2838918"/>
                <a:ext cx="22880" cy="23145"/>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328" name="Group 3327">
                <a:extLst>
                  <a:ext uri="{FF2B5EF4-FFF2-40B4-BE49-F238E27FC236}">
                    <a16:creationId xmlns:a16="http://schemas.microsoft.com/office/drawing/2014/main" id="{6FFF2D3E-1B95-4F30-B5F5-192D2E97C816}"/>
                  </a:ext>
                </a:extLst>
              </p:cNvPr>
              <p:cNvGrpSpPr/>
              <p:nvPr/>
            </p:nvGrpSpPr>
            <p:grpSpPr>
              <a:xfrm rot="2114316">
                <a:off x="2780428" y="2834771"/>
                <a:ext cx="20452" cy="56918"/>
                <a:chOff x="5422401" y="1772114"/>
                <a:chExt cx="99173" cy="272833"/>
              </a:xfrm>
              <a:solidFill>
                <a:srgbClr val="505050">
                  <a:lumMod val="40000"/>
                  <a:lumOff val="60000"/>
                </a:srgbClr>
              </a:solidFill>
            </p:grpSpPr>
            <p:sp>
              <p:nvSpPr>
                <p:cNvPr id="3331" name="Rectangle 3330">
                  <a:extLst>
                    <a:ext uri="{FF2B5EF4-FFF2-40B4-BE49-F238E27FC236}">
                      <a16:creationId xmlns:a16="http://schemas.microsoft.com/office/drawing/2014/main" id="{7D359749-DED4-4AED-B729-662BFF49076F}"/>
                    </a:ext>
                  </a:extLst>
                </p:cNvPr>
                <p:cNvSpPr/>
                <p:nvPr/>
              </p:nvSpPr>
              <p:spPr bwMode="auto">
                <a:xfrm rot="13260000" flipH="1">
                  <a:off x="5460056" y="1772114"/>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33" name="Diagonal Stripe 3332">
                  <a:extLst>
                    <a:ext uri="{FF2B5EF4-FFF2-40B4-BE49-F238E27FC236}">
                      <a16:creationId xmlns:a16="http://schemas.microsoft.com/office/drawing/2014/main" id="{204F6257-2C91-47CB-9BBB-96366D4BDD88}"/>
                    </a:ext>
                  </a:extLst>
                </p:cNvPr>
                <p:cNvSpPr/>
                <p:nvPr/>
              </p:nvSpPr>
              <p:spPr bwMode="auto">
                <a:xfrm rot="19432650">
                  <a:off x="5422401" y="1862067"/>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329" name="Rectangle 3328">
                <a:extLst>
                  <a:ext uri="{FF2B5EF4-FFF2-40B4-BE49-F238E27FC236}">
                    <a16:creationId xmlns:a16="http://schemas.microsoft.com/office/drawing/2014/main" id="{268C9054-739A-49D3-9603-888810CD01AA}"/>
                  </a:ext>
                </a:extLst>
              </p:cNvPr>
              <p:cNvSpPr/>
              <p:nvPr/>
            </p:nvSpPr>
            <p:spPr bwMode="auto">
              <a:xfrm rot="9158614">
                <a:off x="2827103" y="2853890"/>
                <a:ext cx="9429" cy="28614"/>
              </a:xfrm>
              <a:prstGeom prst="rect">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30" name="Diagonal Stripe 3329">
                <a:extLst>
                  <a:ext uri="{FF2B5EF4-FFF2-40B4-BE49-F238E27FC236}">
                    <a16:creationId xmlns:a16="http://schemas.microsoft.com/office/drawing/2014/main" id="{78901BD1-B380-4FAC-87D6-C1F72FBC8249}"/>
                  </a:ext>
                </a:extLst>
              </p:cNvPr>
              <p:cNvSpPr/>
              <p:nvPr/>
            </p:nvSpPr>
            <p:spPr bwMode="auto">
              <a:xfrm rot="2985964" flipH="1">
                <a:off x="2818180" y="2872756"/>
                <a:ext cx="20689" cy="37714"/>
              </a:xfrm>
              <a:prstGeom prst="diagStripe">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313" name="Rectangle 212">
              <a:extLst>
                <a:ext uri="{FF2B5EF4-FFF2-40B4-BE49-F238E27FC236}">
                  <a16:creationId xmlns:a16="http://schemas.microsoft.com/office/drawing/2014/main" id="{9E66EC34-AA1F-4CF9-9A6A-6DC2BF4A4685}"/>
                </a:ext>
              </a:extLst>
            </p:cNvPr>
            <p:cNvSpPr>
              <a:spLocks noChangeArrowheads="1"/>
            </p:cNvSpPr>
            <p:nvPr/>
          </p:nvSpPr>
          <p:spPr bwMode="auto">
            <a:xfrm rot="21412007">
              <a:off x="3102024" y="3285578"/>
              <a:ext cx="18388" cy="1306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314" name="Rectangle 213">
              <a:extLst>
                <a:ext uri="{FF2B5EF4-FFF2-40B4-BE49-F238E27FC236}">
                  <a16:creationId xmlns:a16="http://schemas.microsoft.com/office/drawing/2014/main" id="{499469E9-00B5-4AC9-99FF-F773DA870A36}"/>
                </a:ext>
              </a:extLst>
            </p:cNvPr>
            <p:cNvSpPr>
              <a:spLocks noChangeArrowheads="1"/>
            </p:cNvSpPr>
            <p:nvPr/>
          </p:nvSpPr>
          <p:spPr bwMode="auto">
            <a:xfrm>
              <a:off x="2928992" y="3330836"/>
              <a:ext cx="18388" cy="13370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315" name="Rectangle 213">
              <a:extLst>
                <a:ext uri="{FF2B5EF4-FFF2-40B4-BE49-F238E27FC236}">
                  <a16:creationId xmlns:a16="http://schemas.microsoft.com/office/drawing/2014/main" id="{8094B9E9-CBEF-4864-B6C1-04031F571DCF}"/>
                </a:ext>
              </a:extLst>
            </p:cNvPr>
            <p:cNvSpPr>
              <a:spLocks noChangeArrowheads="1"/>
            </p:cNvSpPr>
            <p:nvPr/>
          </p:nvSpPr>
          <p:spPr bwMode="auto">
            <a:xfrm>
              <a:off x="2761352" y="3256541"/>
              <a:ext cx="18388" cy="13370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7" tIns="45707" rIns="91417" bIns="45707" numCol="1" anchor="t" anchorCtr="0" compatLnSpc="1">
              <a:prstTxWarp prst="textNoShape">
                <a:avLst/>
              </a:prstTxWarp>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grpSp>
          <p:nvGrpSpPr>
            <p:cNvPr id="3316" name="Group 3315">
              <a:extLst>
                <a:ext uri="{FF2B5EF4-FFF2-40B4-BE49-F238E27FC236}">
                  <a16:creationId xmlns:a16="http://schemas.microsoft.com/office/drawing/2014/main" id="{31345690-B9F9-45BD-9205-D7BBD63B6B4E}"/>
                </a:ext>
              </a:extLst>
            </p:cNvPr>
            <p:cNvGrpSpPr/>
            <p:nvPr/>
          </p:nvGrpSpPr>
          <p:grpSpPr>
            <a:xfrm>
              <a:off x="2757060" y="2979418"/>
              <a:ext cx="368809" cy="441525"/>
              <a:chOff x="6684433" y="2794000"/>
              <a:chExt cx="639233" cy="866932"/>
            </a:xfrm>
          </p:grpSpPr>
          <p:sp>
            <p:nvSpPr>
              <p:cNvPr id="3323" name="Freeform: Shape 165">
                <a:extLst>
                  <a:ext uri="{FF2B5EF4-FFF2-40B4-BE49-F238E27FC236}">
                    <a16:creationId xmlns:a16="http://schemas.microsoft.com/office/drawing/2014/main" id="{1158B449-5534-4A61-883A-D1B3D36DECE0}"/>
                  </a:ext>
                </a:extLst>
              </p:cNvPr>
              <p:cNvSpPr/>
              <p:nvPr/>
            </p:nvSpPr>
            <p:spPr bwMode="auto">
              <a:xfrm>
                <a:off x="6980587" y="2964019"/>
                <a:ext cx="341539" cy="696913"/>
              </a:xfrm>
              <a:custGeom>
                <a:avLst/>
                <a:gdLst>
                  <a:gd name="connsiteX0" fmla="*/ 632522 w 632929"/>
                  <a:gd name="connsiteY0" fmla="*/ 0 h 696913"/>
                  <a:gd name="connsiteX1" fmla="*/ 632523 w 632929"/>
                  <a:gd name="connsiteY1" fmla="*/ 502179 h 696913"/>
                  <a:gd name="connsiteX2" fmla="*/ 291792 w 632929"/>
                  <a:gd name="connsiteY2" fmla="*/ 696719 h 696913"/>
                  <a:gd name="connsiteX3" fmla="*/ 291452 w 632929"/>
                  <a:gd name="connsiteY3" fmla="*/ 696913 h 696913"/>
                  <a:gd name="connsiteX4" fmla="*/ 1587 w 632929"/>
                  <a:gd name="connsiteY4" fmla="*/ 518427 h 696913"/>
                  <a:gd name="connsiteX5" fmla="*/ 0 w 632929"/>
                  <a:gd name="connsiteY5" fmla="*/ 29477 h 696913"/>
                  <a:gd name="connsiteX6" fmla="*/ 291792 w 632929"/>
                  <a:gd name="connsiteY6" fmla="*/ 198606 h 696913"/>
                  <a:gd name="connsiteX7" fmla="*/ 295157 w 632929"/>
                  <a:gd name="connsiteY7" fmla="*/ 200556 h 696913"/>
                  <a:gd name="connsiteX8" fmla="*/ 632522 w 632929"/>
                  <a:gd name="connsiteY8" fmla="*/ 0 h 696913"/>
                  <a:gd name="connsiteX0" fmla="*/ 630935 w 631342"/>
                  <a:gd name="connsiteY0" fmla="*/ 0 h 696913"/>
                  <a:gd name="connsiteX1" fmla="*/ 630936 w 631342"/>
                  <a:gd name="connsiteY1" fmla="*/ 502179 h 696913"/>
                  <a:gd name="connsiteX2" fmla="*/ 290205 w 631342"/>
                  <a:gd name="connsiteY2" fmla="*/ 696719 h 696913"/>
                  <a:gd name="connsiteX3" fmla="*/ 289865 w 631342"/>
                  <a:gd name="connsiteY3" fmla="*/ 696913 h 696913"/>
                  <a:gd name="connsiteX4" fmla="*/ 0 w 631342"/>
                  <a:gd name="connsiteY4" fmla="*/ 518427 h 696913"/>
                  <a:gd name="connsiteX5" fmla="*/ 290205 w 631342"/>
                  <a:gd name="connsiteY5" fmla="*/ 198606 h 696913"/>
                  <a:gd name="connsiteX6" fmla="*/ 293570 w 631342"/>
                  <a:gd name="connsiteY6" fmla="*/ 200556 h 696913"/>
                  <a:gd name="connsiteX7" fmla="*/ 630935 w 631342"/>
                  <a:gd name="connsiteY7" fmla="*/ 0 h 696913"/>
                  <a:gd name="connsiteX0" fmla="*/ 341132 w 341539"/>
                  <a:gd name="connsiteY0" fmla="*/ 0 h 696913"/>
                  <a:gd name="connsiteX1" fmla="*/ 341133 w 341539"/>
                  <a:gd name="connsiteY1" fmla="*/ 502179 h 696913"/>
                  <a:gd name="connsiteX2" fmla="*/ 402 w 341539"/>
                  <a:gd name="connsiteY2" fmla="*/ 696719 h 696913"/>
                  <a:gd name="connsiteX3" fmla="*/ 62 w 341539"/>
                  <a:gd name="connsiteY3" fmla="*/ 696913 h 696913"/>
                  <a:gd name="connsiteX4" fmla="*/ 402 w 341539"/>
                  <a:gd name="connsiteY4" fmla="*/ 198606 h 696913"/>
                  <a:gd name="connsiteX5" fmla="*/ 3767 w 341539"/>
                  <a:gd name="connsiteY5" fmla="*/ 200556 h 696913"/>
                  <a:gd name="connsiteX6" fmla="*/ 341132 w 341539"/>
                  <a:gd name="connsiteY6" fmla="*/ 0 h 69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539" h="696913">
                    <a:moveTo>
                      <a:pt x="341132" y="0"/>
                    </a:moveTo>
                    <a:cubicBezTo>
                      <a:pt x="342543" y="197026"/>
                      <a:pt x="339722" y="305153"/>
                      <a:pt x="341133" y="502179"/>
                    </a:cubicBezTo>
                    <a:lnTo>
                      <a:pt x="402" y="696719"/>
                    </a:lnTo>
                    <a:lnTo>
                      <a:pt x="62" y="696913"/>
                    </a:lnTo>
                    <a:cubicBezTo>
                      <a:pt x="62" y="613894"/>
                      <a:pt x="-215" y="281332"/>
                      <a:pt x="402" y="198606"/>
                    </a:cubicBezTo>
                    <a:lnTo>
                      <a:pt x="3767" y="200556"/>
                    </a:lnTo>
                    <a:lnTo>
                      <a:pt x="341132" y="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325" name="Freeform: Shape 166">
                <a:extLst>
                  <a:ext uri="{FF2B5EF4-FFF2-40B4-BE49-F238E27FC236}">
                    <a16:creationId xmlns:a16="http://schemas.microsoft.com/office/drawing/2014/main" id="{0BE4B94B-C046-4EED-8EB1-D6E349950E50}"/>
                  </a:ext>
                </a:extLst>
              </p:cNvPr>
              <p:cNvSpPr/>
              <p:nvPr/>
            </p:nvSpPr>
            <p:spPr bwMode="auto">
              <a:xfrm>
                <a:off x="6687608" y="2990319"/>
                <a:ext cx="295275" cy="670245"/>
              </a:xfrm>
              <a:custGeom>
                <a:avLst/>
                <a:gdLst>
                  <a:gd name="connsiteX0" fmla="*/ 0 w 295275"/>
                  <a:gd name="connsiteY0" fmla="*/ 0 h 666750"/>
                  <a:gd name="connsiteX1" fmla="*/ 295275 w 295275"/>
                  <a:gd name="connsiteY1" fmla="*/ 180975 h 666750"/>
                  <a:gd name="connsiteX2" fmla="*/ 295275 w 295275"/>
                  <a:gd name="connsiteY2" fmla="*/ 666750 h 666750"/>
                  <a:gd name="connsiteX3" fmla="*/ 1588 w 295275"/>
                  <a:gd name="connsiteY3" fmla="*/ 485775 h 666750"/>
                  <a:gd name="connsiteX4" fmla="*/ 1588 w 295275"/>
                  <a:gd name="connsiteY4" fmla="*/ 19050 h 666750"/>
                  <a:gd name="connsiteX5" fmla="*/ 0 w 295275"/>
                  <a:gd name="connsiteY5" fmla="*/ 0 h 666750"/>
                  <a:gd name="connsiteX0" fmla="*/ 0 w 295275"/>
                  <a:gd name="connsiteY0" fmla="*/ 0 h 666750"/>
                  <a:gd name="connsiteX1" fmla="*/ 293687 w 295275"/>
                  <a:gd name="connsiteY1" fmla="*/ 163603 h 666750"/>
                  <a:gd name="connsiteX2" fmla="*/ 295275 w 295275"/>
                  <a:gd name="connsiteY2" fmla="*/ 666750 h 666750"/>
                  <a:gd name="connsiteX3" fmla="*/ 1588 w 295275"/>
                  <a:gd name="connsiteY3" fmla="*/ 485775 h 666750"/>
                  <a:gd name="connsiteX4" fmla="*/ 1588 w 295275"/>
                  <a:gd name="connsiteY4" fmla="*/ 19050 h 666750"/>
                  <a:gd name="connsiteX5" fmla="*/ 0 w 295275"/>
                  <a:gd name="connsiteY5" fmla="*/ 0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275" h="666750">
                    <a:moveTo>
                      <a:pt x="0" y="0"/>
                    </a:moveTo>
                    <a:lnTo>
                      <a:pt x="293687" y="163603"/>
                    </a:lnTo>
                    <a:cubicBezTo>
                      <a:pt x="294216" y="331319"/>
                      <a:pt x="294746" y="499034"/>
                      <a:pt x="295275" y="666750"/>
                    </a:cubicBezTo>
                    <a:lnTo>
                      <a:pt x="1588" y="485775"/>
                    </a:lnTo>
                    <a:lnTo>
                      <a:pt x="1588" y="19050"/>
                    </a:lnTo>
                    <a:lnTo>
                      <a:pt x="0" y="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326" name="Freeform: Shape 167">
                <a:extLst>
                  <a:ext uri="{FF2B5EF4-FFF2-40B4-BE49-F238E27FC236}">
                    <a16:creationId xmlns:a16="http://schemas.microsoft.com/office/drawing/2014/main" id="{C5CAE157-6B19-478F-8F50-CAE2252CF09A}"/>
                  </a:ext>
                </a:extLst>
              </p:cNvPr>
              <p:cNvSpPr/>
              <p:nvPr/>
            </p:nvSpPr>
            <p:spPr bwMode="auto">
              <a:xfrm>
                <a:off x="6684433" y="2794000"/>
                <a:ext cx="639233" cy="376766"/>
              </a:xfrm>
              <a:custGeom>
                <a:avLst/>
                <a:gdLst>
                  <a:gd name="connsiteX0" fmla="*/ 0 w 571500"/>
                  <a:gd name="connsiteY0" fmla="*/ 194733 h 440267"/>
                  <a:gd name="connsiteX1" fmla="*/ 245533 w 571500"/>
                  <a:gd name="connsiteY1" fmla="*/ 440267 h 440267"/>
                  <a:gd name="connsiteX2" fmla="*/ 571500 w 571500"/>
                  <a:gd name="connsiteY2" fmla="*/ 232833 h 440267"/>
                  <a:gd name="connsiteX3" fmla="*/ 347133 w 571500"/>
                  <a:gd name="connsiteY3" fmla="*/ 0 h 440267"/>
                  <a:gd name="connsiteX4" fmla="*/ 0 w 571500"/>
                  <a:gd name="connsiteY4" fmla="*/ 194733 h 440267"/>
                  <a:gd name="connsiteX0" fmla="*/ 0 w 639233"/>
                  <a:gd name="connsiteY0" fmla="*/ 194733 h 440267"/>
                  <a:gd name="connsiteX1" fmla="*/ 245533 w 639233"/>
                  <a:gd name="connsiteY1" fmla="*/ 440267 h 440267"/>
                  <a:gd name="connsiteX2" fmla="*/ 639233 w 639233"/>
                  <a:gd name="connsiteY2" fmla="*/ 165099 h 440267"/>
                  <a:gd name="connsiteX3" fmla="*/ 347133 w 639233"/>
                  <a:gd name="connsiteY3" fmla="*/ 0 h 440267"/>
                  <a:gd name="connsiteX4" fmla="*/ 0 w 639233"/>
                  <a:gd name="connsiteY4" fmla="*/ 194733 h 440267"/>
                  <a:gd name="connsiteX0" fmla="*/ 0 w 639233"/>
                  <a:gd name="connsiteY0" fmla="*/ 198966 h 444500"/>
                  <a:gd name="connsiteX1" fmla="*/ 245533 w 639233"/>
                  <a:gd name="connsiteY1" fmla="*/ 444500 h 444500"/>
                  <a:gd name="connsiteX2" fmla="*/ 639233 w 639233"/>
                  <a:gd name="connsiteY2" fmla="*/ 169332 h 444500"/>
                  <a:gd name="connsiteX3" fmla="*/ 334433 w 639233"/>
                  <a:gd name="connsiteY3" fmla="*/ 0 h 444500"/>
                  <a:gd name="connsiteX4" fmla="*/ 0 w 639233"/>
                  <a:gd name="connsiteY4" fmla="*/ 198966 h 444500"/>
                  <a:gd name="connsiteX0" fmla="*/ 0 w 639233"/>
                  <a:gd name="connsiteY0" fmla="*/ 198966 h 389466"/>
                  <a:gd name="connsiteX1" fmla="*/ 317499 w 639233"/>
                  <a:gd name="connsiteY1" fmla="*/ 389466 h 389466"/>
                  <a:gd name="connsiteX2" fmla="*/ 639233 w 639233"/>
                  <a:gd name="connsiteY2" fmla="*/ 169332 h 389466"/>
                  <a:gd name="connsiteX3" fmla="*/ 334433 w 639233"/>
                  <a:gd name="connsiteY3" fmla="*/ 0 h 389466"/>
                  <a:gd name="connsiteX4" fmla="*/ 0 w 639233"/>
                  <a:gd name="connsiteY4" fmla="*/ 198966 h 389466"/>
                  <a:gd name="connsiteX0" fmla="*/ 0 w 639233"/>
                  <a:gd name="connsiteY0" fmla="*/ 198966 h 376766"/>
                  <a:gd name="connsiteX1" fmla="*/ 296333 w 639233"/>
                  <a:gd name="connsiteY1" fmla="*/ 376766 h 376766"/>
                  <a:gd name="connsiteX2" fmla="*/ 639233 w 639233"/>
                  <a:gd name="connsiteY2" fmla="*/ 169332 h 376766"/>
                  <a:gd name="connsiteX3" fmla="*/ 334433 w 639233"/>
                  <a:gd name="connsiteY3" fmla="*/ 0 h 376766"/>
                  <a:gd name="connsiteX4" fmla="*/ 0 w 639233"/>
                  <a:gd name="connsiteY4" fmla="*/ 198966 h 376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233" h="376766">
                    <a:moveTo>
                      <a:pt x="0" y="198966"/>
                    </a:moveTo>
                    <a:lnTo>
                      <a:pt x="296333" y="376766"/>
                    </a:lnTo>
                    <a:lnTo>
                      <a:pt x="639233" y="169332"/>
                    </a:lnTo>
                    <a:lnTo>
                      <a:pt x="334433" y="0"/>
                    </a:lnTo>
                    <a:lnTo>
                      <a:pt x="0" y="198966"/>
                    </a:ln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3317" name="Freeform: Shape 3316">
              <a:extLst>
                <a:ext uri="{FF2B5EF4-FFF2-40B4-BE49-F238E27FC236}">
                  <a16:creationId xmlns:a16="http://schemas.microsoft.com/office/drawing/2014/main" id="{788B6FA1-50BB-468B-8B37-013C869E8926}"/>
                </a:ext>
              </a:extLst>
            </p:cNvPr>
            <p:cNvSpPr>
              <a:spLocks/>
            </p:cNvSpPr>
            <p:nvPr/>
          </p:nvSpPr>
          <p:spPr bwMode="auto">
            <a:xfrm rot="21412007">
              <a:off x="2959849" y="3223306"/>
              <a:ext cx="440495" cy="295314"/>
            </a:xfrm>
            <a:custGeom>
              <a:avLst/>
              <a:gdLst>
                <a:gd name="connsiteX0" fmla="*/ 107681 w 440495"/>
                <a:gd name="connsiteY0" fmla="*/ 0 h 295314"/>
                <a:gd name="connsiteX1" fmla="*/ 440495 w 440495"/>
                <a:gd name="connsiteY1" fmla="*/ 192112 h 295314"/>
                <a:gd name="connsiteX2" fmla="*/ 389303 w 440495"/>
                <a:gd name="connsiteY2" fmla="*/ 295314 h 295314"/>
                <a:gd name="connsiteX3" fmla="*/ 0 w 440495"/>
                <a:gd name="connsiteY3" fmla="*/ 61833 h 295314"/>
              </a:gdLst>
              <a:ahLst/>
              <a:cxnLst>
                <a:cxn ang="0">
                  <a:pos x="connsiteX0" y="connsiteY0"/>
                </a:cxn>
                <a:cxn ang="0">
                  <a:pos x="connsiteX1" y="connsiteY1"/>
                </a:cxn>
                <a:cxn ang="0">
                  <a:pos x="connsiteX2" y="connsiteY2"/>
                </a:cxn>
                <a:cxn ang="0">
                  <a:pos x="connsiteX3" y="connsiteY3"/>
                </a:cxn>
              </a:cxnLst>
              <a:rect l="l" t="t" r="r" b="b"/>
              <a:pathLst>
                <a:path w="440495" h="295314">
                  <a:moveTo>
                    <a:pt x="107681" y="0"/>
                  </a:moveTo>
                  <a:lnTo>
                    <a:pt x="440495" y="192112"/>
                  </a:lnTo>
                  <a:lnTo>
                    <a:pt x="389303" y="295314"/>
                  </a:lnTo>
                  <a:lnTo>
                    <a:pt x="0" y="61833"/>
                  </a:lnTo>
                  <a:close/>
                </a:path>
              </a:pathLst>
            </a:custGeom>
            <a:solidFill>
              <a:schemeClr val="bg1">
                <a:lumMod val="50000"/>
              </a:schemeClr>
            </a:solidFill>
            <a:ln>
              <a:noFill/>
            </a:ln>
          </p:spPr>
          <p:txBody>
            <a:bodyPr vert="horz" wrap="square" lIns="91417" tIns="45707" rIns="91417" bIns="45707" numCol="1" anchor="t" anchorCtr="0" compatLnSpc="1">
              <a:prstTxWarp prst="textNoShape">
                <a:avLst/>
              </a:prstTxWarp>
              <a:noAutofit/>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sp>
          <p:nvSpPr>
            <p:cNvPr id="3318" name="Freeform: Shape 3317">
              <a:extLst>
                <a:ext uri="{FF2B5EF4-FFF2-40B4-BE49-F238E27FC236}">
                  <a16:creationId xmlns:a16="http://schemas.microsoft.com/office/drawing/2014/main" id="{C911821F-2478-4B43-AEE7-A71C739FBA71}"/>
                </a:ext>
              </a:extLst>
            </p:cNvPr>
            <p:cNvSpPr>
              <a:spLocks/>
            </p:cNvSpPr>
            <p:nvPr/>
          </p:nvSpPr>
          <p:spPr bwMode="auto">
            <a:xfrm rot="21412007">
              <a:off x="2965236" y="3286019"/>
              <a:ext cx="386760" cy="241448"/>
            </a:xfrm>
            <a:custGeom>
              <a:avLst/>
              <a:gdLst>
                <a:gd name="connsiteX0" fmla="*/ 0 w 386760"/>
                <a:gd name="connsiteY0" fmla="*/ 0 h 241448"/>
                <a:gd name="connsiteX1" fmla="*/ 386760 w 386760"/>
                <a:gd name="connsiteY1" fmla="*/ 231970 h 241448"/>
                <a:gd name="connsiteX2" fmla="*/ 382059 w 386760"/>
                <a:gd name="connsiteY2" fmla="*/ 241448 h 241448"/>
                <a:gd name="connsiteX3" fmla="*/ 0 w 386760"/>
                <a:gd name="connsiteY3" fmla="*/ 20109 h 241448"/>
              </a:gdLst>
              <a:ahLst/>
              <a:cxnLst>
                <a:cxn ang="0">
                  <a:pos x="connsiteX0" y="connsiteY0"/>
                </a:cxn>
                <a:cxn ang="0">
                  <a:pos x="connsiteX1" y="connsiteY1"/>
                </a:cxn>
                <a:cxn ang="0">
                  <a:pos x="connsiteX2" y="connsiteY2"/>
                </a:cxn>
                <a:cxn ang="0">
                  <a:pos x="connsiteX3" y="connsiteY3"/>
                </a:cxn>
              </a:cxnLst>
              <a:rect l="l" t="t" r="r" b="b"/>
              <a:pathLst>
                <a:path w="386760" h="241448">
                  <a:moveTo>
                    <a:pt x="0" y="0"/>
                  </a:moveTo>
                  <a:lnTo>
                    <a:pt x="386760" y="231970"/>
                  </a:lnTo>
                  <a:lnTo>
                    <a:pt x="382059" y="241448"/>
                  </a:lnTo>
                  <a:lnTo>
                    <a:pt x="0" y="20109"/>
                  </a:lnTo>
                  <a:close/>
                </a:path>
              </a:pathLst>
            </a:custGeom>
            <a:solidFill>
              <a:schemeClr val="tx1">
                <a:lumMod val="50000"/>
              </a:schemeClr>
            </a:solidFill>
            <a:ln>
              <a:noFill/>
            </a:ln>
          </p:spPr>
          <p:txBody>
            <a:bodyPr vert="horz" wrap="square" lIns="91417" tIns="45707" rIns="91417" bIns="45707" numCol="1" anchor="t" anchorCtr="0" compatLnSpc="1">
              <a:prstTxWarp prst="textNoShape">
                <a:avLst/>
              </a:prstTxWarp>
              <a:noAutofit/>
            </a:bodyPr>
            <a:lstStyle/>
            <a:p>
              <a:pPr defTabSz="914150">
                <a:defRPr/>
              </a:pPr>
              <a:endParaRPr lang="en-US" sz="1799" kern="0" dirty="0">
                <a:solidFill>
                  <a:sysClr val="windowText" lastClr="000000"/>
                </a:solidFill>
                <a:latin typeface="Segoe UI" panose="020B0502040204020203" pitchFamily="34" charset="0"/>
                <a:cs typeface="Segoe UI" panose="020B0502040204020203" pitchFamily="34" charset="0"/>
              </a:endParaRPr>
            </a:p>
          </p:txBody>
        </p:sp>
        <p:grpSp>
          <p:nvGrpSpPr>
            <p:cNvPr id="3319" name="Group 3318">
              <a:extLst>
                <a:ext uri="{FF2B5EF4-FFF2-40B4-BE49-F238E27FC236}">
                  <a16:creationId xmlns:a16="http://schemas.microsoft.com/office/drawing/2014/main" id="{BCC55688-6E65-4AC9-980C-77A9DEECF6EC}"/>
                </a:ext>
              </a:extLst>
            </p:cNvPr>
            <p:cNvGrpSpPr/>
            <p:nvPr/>
          </p:nvGrpSpPr>
          <p:grpSpPr>
            <a:xfrm>
              <a:off x="2976823" y="3145887"/>
              <a:ext cx="163033" cy="195177"/>
              <a:chOff x="6684433" y="2794000"/>
              <a:chExt cx="639233" cy="866932"/>
            </a:xfrm>
          </p:grpSpPr>
          <p:sp>
            <p:nvSpPr>
              <p:cNvPr id="3320" name="Freeform: Shape 159">
                <a:extLst>
                  <a:ext uri="{FF2B5EF4-FFF2-40B4-BE49-F238E27FC236}">
                    <a16:creationId xmlns:a16="http://schemas.microsoft.com/office/drawing/2014/main" id="{79701E66-D4F2-4F5E-9BAF-0F2DBC176B20}"/>
                  </a:ext>
                </a:extLst>
              </p:cNvPr>
              <p:cNvSpPr/>
              <p:nvPr/>
            </p:nvSpPr>
            <p:spPr bwMode="auto">
              <a:xfrm>
                <a:off x="6980587" y="2964019"/>
                <a:ext cx="341539" cy="696913"/>
              </a:xfrm>
              <a:custGeom>
                <a:avLst/>
                <a:gdLst>
                  <a:gd name="connsiteX0" fmla="*/ 632522 w 632929"/>
                  <a:gd name="connsiteY0" fmla="*/ 0 h 696913"/>
                  <a:gd name="connsiteX1" fmla="*/ 632523 w 632929"/>
                  <a:gd name="connsiteY1" fmla="*/ 502179 h 696913"/>
                  <a:gd name="connsiteX2" fmla="*/ 291792 w 632929"/>
                  <a:gd name="connsiteY2" fmla="*/ 696719 h 696913"/>
                  <a:gd name="connsiteX3" fmla="*/ 291452 w 632929"/>
                  <a:gd name="connsiteY3" fmla="*/ 696913 h 696913"/>
                  <a:gd name="connsiteX4" fmla="*/ 1587 w 632929"/>
                  <a:gd name="connsiteY4" fmla="*/ 518427 h 696913"/>
                  <a:gd name="connsiteX5" fmla="*/ 0 w 632929"/>
                  <a:gd name="connsiteY5" fmla="*/ 29477 h 696913"/>
                  <a:gd name="connsiteX6" fmla="*/ 291792 w 632929"/>
                  <a:gd name="connsiteY6" fmla="*/ 198606 h 696913"/>
                  <a:gd name="connsiteX7" fmla="*/ 295157 w 632929"/>
                  <a:gd name="connsiteY7" fmla="*/ 200556 h 696913"/>
                  <a:gd name="connsiteX8" fmla="*/ 632522 w 632929"/>
                  <a:gd name="connsiteY8" fmla="*/ 0 h 696913"/>
                  <a:gd name="connsiteX0" fmla="*/ 630935 w 631342"/>
                  <a:gd name="connsiteY0" fmla="*/ 0 h 696913"/>
                  <a:gd name="connsiteX1" fmla="*/ 630936 w 631342"/>
                  <a:gd name="connsiteY1" fmla="*/ 502179 h 696913"/>
                  <a:gd name="connsiteX2" fmla="*/ 290205 w 631342"/>
                  <a:gd name="connsiteY2" fmla="*/ 696719 h 696913"/>
                  <a:gd name="connsiteX3" fmla="*/ 289865 w 631342"/>
                  <a:gd name="connsiteY3" fmla="*/ 696913 h 696913"/>
                  <a:gd name="connsiteX4" fmla="*/ 0 w 631342"/>
                  <a:gd name="connsiteY4" fmla="*/ 518427 h 696913"/>
                  <a:gd name="connsiteX5" fmla="*/ 290205 w 631342"/>
                  <a:gd name="connsiteY5" fmla="*/ 198606 h 696913"/>
                  <a:gd name="connsiteX6" fmla="*/ 293570 w 631342"/>
                  <a:gd name="connsiteY6" fmla="*/ 200556 h 696913"/>
                  <a:gd name="connsiteX7" fmla="*/ 630935 w 631342"/>
                  <a:gd name="connsiteY7" fmla="*/ 0 h 696913"/>
                  <a:gd name="connsiteX0" fmla="*/ 341132 w 341539"/>
                  <a:gd name="connsiteY0" fmla="*/ 0 h 696913"/>
                  <a:gd name="connsiteX1" fmla="*/ 341133 w 341539"/>
                  <a:gd name="connsiteY1" fmla="*/ 502179 h 696913"/>
                  <a:gd name="connsiteX2" fmla="*/ 402 w 341539"/>
                  <a:gd name="connsiteY2" fmla="*/ 696719 h 696913"/>
                  <a:gd name="connsiteX3" fmla="*/ 62 w 341539"/>
                  <a:gd name="connsiteY3" fmla="*/ 696913 h 696913"/>
                  <a:gd name="connsiteX4" fmla="*/ 402 w 341539"/>
                  <a:gd name="connsiteY4" fmla="*/ 198606 h 696913"/>
                  <a:gd name="connsiteX5" fmla="*/ 3767 w 341539"/>
                  <a:gd name="connsiteY5" fmla="*/ 200556 h 696913"/>
                  <a:gd name="connsiteX6" fmla="*/ 341132 w 341539"/>
                  <a:gd name="connsiteY6" fmla="*/ 0 h 69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539" h="696913">
                    <a:moveTo>
                      <a:pt x="341132" y="0"/>
                    </a:moveTo>
                    <a:cubicBezTo>
                      <a:pt x="342543" y="197026"/>
                      <a:pt x="339722" y="305153"/>
                      <a:pt x="341133" y="502179"/>
                    </a:cubicBezTo>
                    <a:lnTo>
                      <a:pt x="402" y="696719"/>
                    </a:lnTo>
                    <a:lnTo>
                      <a:pt x="62" y="696913"/>
                    </a:lnTo>
                    <a:cubicBezTo>
                      <a:pt x="62" y="613894"/>
                      <a:pt x="-215" y="281332"/>
                      <a:pt x="402" y="198606"/>
                    </a:cubicBezTo>
                    <a:lnTo>
                      <a:pt x="3767" y="200556"/>
                    </a:lnTo>
                    <a:lnTo>
                      <a:pt x="341132"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321" name="Freeform: Shape 160">
                <a:extLst>
                  <a:ext uri="{FF2B5EF4-FFF2-40B4-BE49-F238E27FC236}">
                    <a16:creationId xmlns:a16="http://schemas.microsoft.com/office/drawing/2014/main" id="{14ED888D-97DA-472C-9E9C-38212FEA6752}"/>
                  </a:ext>
                </a:extLst>
              </p:cNvPr>
              <p:cNvSpPr/>
              <p:nvPr/>
            </p:nvSpPr>
            <p:spPr bwMode="auto">
              <a:xfrm>
                <a:off x="6687608" y="2990319"/>
                <a:ext cx="295275" cy="670245"/>
              </a:xfrm>
              <a:custGeom>
                <a:avLst/>
                <a:gdLst>
                  <a:gd name="connsiteX0" fmla="*/ 0 w 295275"/>
                  <a:gd name="connsiteY0" fmla="*/ 0 h 666750"/>
                  <a:gd name="connsiteX1" fmla="*/ 295275 w 295275"/>
                  <a:gd name="connsiteY1" fmla="*/ 180975 h 666750"/>
                  <a:gd name="connsiteX2" fmla="*/ 295275 w 295275"/>
                  <a:gd name="connsiteY2" fmla="*/ 666750 h 666750"/>
                  <a:gd name="connsiteX3" fmla="*/ 1588 w 295275"/>
                  <a:gd name="connsiteY3" fmla="*/ 485775 h 666750"/>
                  <a:gd name="connsiteX4" fmla="*/ 1588 w 295275"/>
                  <a:gd name="connsiteY4" fmla="*/ 19050 h 666750"/>
                  <a:gd name="connsiteX5" fmla="*/ 0 w 295275"/>
                  <a:gd name="connsiteY5" fmla="*/ 0 h 666750"/>
                  <a:gd name="connsiteX0" fmla="*/ 0 w 295275"/>
                  <a:gd name="connsiteY0" fmla="*/ 0 h 666750"/>
                  <a:gd name="connsiteX1" fmla="*/ 293687 w 295275"/>
                  <a:gd name="connsiteY1" fmla="*/ 163603 h 666750"/>
                  <a:gd name="connsiteX2" fmla="*/ 295275 w 295275"/>
                  <a:gd name="connsiteY2" fmla="*/ 666750 h 666750"/>
                  <a:gd name="connsiteX3" fmla="*/ 1588 w 295275"/>
                  <a:gd name="connsiteY3" fmla="*/ 485775 h 666750"/>
                  <a:gd name="connsiteX4" fmla="*/ 1588 w 295275"/>
                  <a:gd name="connsiteY4" fmla="*/ 19050 h 666750"/>
                  <a:gd name="connsiteX5" fmla="*/ 0 w 295275"/>
                  <a:gd name="connsiteY5" fmla="*/ 0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275" h="666750">
                    <a:moveTo>
                      <a:pt x="0" y="0"/>
                    </a:moveTo>
                    <a:lnTo>
                      <a:pt x="293687" y="163603"/>
                    </a:lnTo>
                    <a:cubicBezTo>
                      <a:pt x="294216" y="331319"/>
                      <a:pt x="294746" y="499034"/>
                      <a:pt x="295275" y="666750"/>
                    </a:cubicBezTo>
                    <a:lnTo>
                      <a:pt x="1588" y="485775"/>
                    </a:lnTo>
                    <a:lnTo>
                      <a:pt x="1588" y="19050"/>
                    </a:lnTo>
                    <a:lnTo>
                      <a:pt x="0" y="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322" name="Freeform: Shape 161">
                <a:extLst>
                  <a:ext uri="{FF2B5EF4-FFF2-40B4-BE49-F238E27FC236}">
                    <a16:creationId xmlns:a16="http://schemas.microsoft.com/office/drawing/2014/main" id="{A8F712DB-ADDA-4126-8C98-F149ADCB4D24}"/>
                  </a:ext>
                </a:extLst>
              </p:cNvPr>
              <p:cNvSpPr/>
              <p:nvPr/>
            </p:nvSpPr>
            <p:spPr bwMode="auto">
              <a:xfrm>
                <a:off x="6684433" y="2794000"/>
                <a:ext cx="639233" cy="376766"/>
              </a:xfrm>
              <a:custGeom>
                <a:avLst/>
                <a:gdLst>
                  <a:gd name="connsiteX0" fmla="*/ 0 w 571500"/>
                  <a:gd name="connsiteY0" fmla="*/ 194733 h 440267"/>
                  <a:gd name="connsiteX1" fmla="*/ 245533 w 571500"/>
                  <a:gd name="connsiteY1" fmla="*/ 440267 h 440267"/>
                  <a:gd name="connsiteX2" fmla="*/ 571500 w 571500"/>
                  <a:gd name="connsiteY2" fmla="*/ 232833 h 440267"/>
                  <a:gd name="connsiteX3" fmla="*/ 347133 w 571500"/>
                  <a:gd name="connsiteY3" fmla="*/ 0 h 440267"/>
                  <a:gd name="connsiteX4" fmla="*/ 0 w 571500"/>
                  <a:gd name="connsiteY4" fmla="*/ 194733 h 440267"/>
                  <a:gd name="connsiteX0" fmla="*/ 0 w 639233"/>
                  <a:gd name="connsiteY0" fmla="*/ 194733 h 440267"/>
                  <a:gd name="connsiteX1" fmla="*/ 245533 w 639233"/>
                  <a:gd name="connsiteY1" fmla="*/ 440267 h 440267"/>
                  <a:gd name="connsiteX2" fmla="*/ 639233 w 639233"/>
                  <a:gd name="connsiteY2" fmla="*/ 165099 h 440267"/>
                  <a:gd name="connsiteX3" fmla="*/ 347133 w 639233"/>
                  <a:gd name="connsiteY3" fmla="*/ 0 h 440267"/>
                  <a:gd name="connsiteX4" fmla="*/ 0 w 639233"/>
                  <a:gd name="connsiteY4" fmla="*/ 194733 h 440267"/>
                  <a:gd name="connsiteX0" fmla="*/ 0 w 639233"/>
                  <a:gd name="connsiteY0" fmla="*/ 198966 h 444500"/>
                  <a:gd name="connsiteX1" fmla="*/ 245533 w 639233"/>
                  <a:gd name="connsiteY1" fmla="*/ 444500 h 444500"/>
                  <a:gd name="connsiteX2" fmla="*/ 639233 w 639233"/>
                  <a:gd name="connsiteY2" fmla="*/ 169332 h 444500"/>
                  <a:gd name="connsiteX3" fmla="*/ 334433 w 639233"/>
                  <a:gd name="connsiteY3" fmla="*/ 0 h 444500"/>
                  <a:gd name="connsiteX4" fmla="*/ 0 w 639233"/>
                  <a:gd name="connsiteY4" fmla="*/ 198966 h 444500"/>
                  <a:gd name="connsiteX0" fmla="*/ 0 w 639233"/>
                  <a:gd name="connsiteY0" fmla="*/ 198966 h 389466"/>
                  <a:gd name="connsiteX1" fmla="*/ 317499 w 639233"/>
                  <a:gd name="connsiteY1" fmla="*/ 389466 h 389466"/>
                  <a:gd name="connsiteX2" fmla="*/ 639233 w 639233"/>
                  <a:gd name="connsiteY2" fmla="*/ 169332 h 389466"/>
                  <a:gd name="connsiteX3" fmla="*/ 334433 w 639233"/>
                  <a:gd name="connsiteY3" fmla="*/ 0 h 389466"/>
                  <a:gd name="connsiteX4" fmla="*/ 0 w 639233"/>
                  <a:gd name="connsiteY4" fmla="*/ 198966 h 389466"/>
                  <a:gd name="connsiteX0" fmla="*/ 0 w 639233"/>
                  <a:gd name="connsiteY0" fmla="*/ 198966 h 376766"/>
                  <a:gd name="connsiteX1" fmla="*/ 296333 w 639233"/>
                  <a:gd name="connsiteY1" fmla="*/ 376766 h 376766"/>
                  <a:gd name="connsiteX2" fmla="*/ 639233 w 639233"/>
                  <a:gd name="connsiteY2" fmla="*/ 169332 h 376766"/>
                  <a:gd name="connsiteX3" fmla="*/ 334433 w 639233"/>
                  <a:gd name="connsiteY3" fmla="*/ 0 h 376766"/>
                  <a:gd name="connsiteX4" fmla="*/ 0 w 639233"/>
                  <a:gd name="connsiteY4" fmla="*/ 198966 h 376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233" h="376766">
                    <a:moveTo>
                      <a:pt x="0" y="198966"/>
                    </a:moveTo>
                    <a:lnTo>
                      <a:pt x="296333" y="376766"/>
                    </a:lnTo>
                    <a:lnTo>
                      <a:pt x="639233" y="169332"/>
                    </a:lnTo>
                    <a:lnTo>
                      <a:pt x="334433" y="0"/>
                    </a:lnTo>
                    <a:lnTo>
                      <a:pt x="0" y="198966"/>
                    </a:lnTo>
                    <a:close/>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3355" name="Group 3354">
            <a:extLst>
              <a:ext uri="{FF2B5EF4-FFF2-40B4-BE49-F238E27FC236}">
                <a16:creationId xmlns:a16="http://schemas.microsoft.com/office/drawing/2014/main" id="{F653E2FD-AFC1-4B15-895E-DBCF435BD8AA}"/>
              </a:ext>
            </a:extLst>
          </p:cNvPr>
          <p:cNvGrpSpPr/>
          <p:nvPr/>
        </p:nvGrpSpPr>
        <p:grpSpPr>
          <a:xfrm flipH="1">
            <a:off x="4304526" y="4720037"/>
            <a:ext cx="407021" cy="299131"/>
            <a:chOff x="7290563" y="3272789"/>
            <a:chExt cx="581571" cy="427409"/>
          </a:xfrm>
        </p:grpSpPr>
        <p:grpSp>
          <p:nvGrpSpPr>
            <p:cNvPr id="3356" name="Group 3355">
              <a:extLst>
                <a:ext uri="{FF2B5EF4-FFF2-40B4-BE49-F238E27FC236}">
                  <a16:creationId xmlns:a16="http://schemas.microsoft.com/office/drawing/2014/main" id="{87B2AE8F-7426-4BF4-8BA3-A72F8F84AC8B}"/>
                </a:ext>
              </a:extLst>
            </p:cNvPr>
            <p:cNvGrpSpPr/>
            <p:nvPr/>
          </p:nvGrpSpPr>
          <p:grpSpPr>
            <a:xfrm>
              <a:off x="7290563" y="3272789"/>
              <a:ext cx="501193" cy="368891"/>
              <a:chOff x="6333970" y="1980913"/>
              <a:chExt cx="843035" cy="669917"/>
            </a:xfrm>
            <a:solidFill>
              <a:schemeClr val="tx1">
                <a:lumMod val="20000"/>
                <a:lumOff val="80000"/>
              </a:schemeClr>
            </a:solidFill>
          </p:grpSpPr>
          <p:grpSp>
            <p:nvGrpSpPr>
              <p:cNvPr id="3385" name="Group 3384">
                <a:extLst>
                  <a:ext uri="{FF2B5EF4-FFF2-40B4-BE49-F238E27FC236}">
                    <a16:creationId xmlns:a16="http://schemas.microsoft.com/office/drawing/2014/main" id="{853BD439-C036-42EC-B2A2-F1BC92F2F71C}"/>
                  </a:ext>
                </a:extLst>
              </p:cNvPr>
              <p:cNvGrpSpPr/>
              <p:nvPr/>
            </p:nvGrpSpPr>
            <p:grpSpPr>
              <a:xfrm flipH="1">
                <a:off x="6923045" y="2390830"/>
                <a:ext cx="253960" cy="260000"/>
                <a:chOff x="8636176" y="2775642"/>
                <a:chExt cx="1123468" cy="1150187"/>
              </a:xfrm>
              <a:grpFill/>
            </p:grpSpPr>
            <p:sp>
              <p:nvSpPr>
                <p:cNvPr id="3429" name="Parallelogram 3428">
                  <a:extLst>
                    <a:ext uri="{FF2B5EF4-FFF2-40B4-BE49-F238E27FC236}">
                      <a16:creationId xmlns:a16="http://schemas.microsoft.com/office/drawing/2014/main" id="{655972A9-3AE9-4444-8647-D95AA68ACDC5}"/>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30" name="Parallelogram 3429">
                  <a:extLst>
                    <a:ext uri="{FF2B5EF4-FFF2-40B4-BE49-F238E27FC236}">
                      <a16:creationId xmlns:a16="http://schemas.microsoft.com/office/drawing/2014/main" id="{D7442CEA-EDB9-4EED-8A0A-B6282AFB5C53}"/>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31" name="Rectangle 3430">
                  <a:extLst>
                    <a:ext uri="{FF2B5EF4-FFF2-40B4-BE49-F238E27FC236}">
                      <a16:creationId xmlns:a16="http://schemas.microsoft.com/office/drawing/2014/main" id="{794160E4-53C3-467C-A75F-B3C8AA9DDBB8}"/>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86" name="Group 3385">
                <a:extLst>
                  <a:ext uri="{FF2B5EF4-FFF2-40B4-BE49-F238E27FC236}">
                    <a16:creationId xmlns:a16="http://schemas.microsoft.com/office/drawing/2014/main" id="{26F6D67B-5D0B-48F3-B81B-8B0EA15D6407}"/>
                  </a:ext>
                </a:extLst>
              </p:cNvPr>
              <p:cNvGrpSpPr/>
              <p:nvPr/>
            </p:nvGrpSpPr>
            <p:grpSpPr>
              <a:xfrm flipH="1">
                <a:off x="6724417" y="2390830"/>
                <a:ext cx="255538" cy="260000"/>
                <a:chOff x="8629196" y="2775642"/>
                <a:chExt cx="1130448" cy="1150187"/>
              </a:xfrm>
              <a:grpFill/>
            </p:grpSpPr>
            <p:sp>
              <p:nvSpPr>
                <p:cNvPr id="3426" name="Parallelogram 3425">
                  <a:extLst>
                    <a:ext uri="{FF2B5EF4-FFF2-40B4-BE49-F238E27FC236}">
                      <a16:creationId xmlns:a16="http://schemas.microsoft.com/office/drawing/2014/main" id="{20900B6B-3AFF-4223-ADF1-3DCFEA84F71C}"/>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27" name="Parallelogram 3426">
                  <a:extLst>
                    <a:ext uri="{FF2B5EF4-FFF2-40B4-BE49-F238E27FC236}">
                      <a16:creationId xmlns:a16="http://schemas.microsoft.com/office/drawing/2014/main" id="{01EEAEAC-4E5A-4BEE-8F9E-DE7CE8A8B6E2}"/>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28" name="Rectangle 3427">
                  <a:extLst>
                    <a:ext uri="{FF2B5EF4-FFF2-40B4-BE49-F238E27FC236}">
                      <a16:creationId xmlns:a16="http://schemas.microsoft.com/office/drawing/2014/main" id="{EABD01D1-C8E1-429C-9954-3F6DA54DFAD0}"/>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87" name="Group 3386">
                <a:extLst>
                  <a:ext uri="{FF2B5EF4-FFF2-40B4-BE49-F238E27FC236}">
                    <a16:creationId xmlns:a16="http://schemas.microsoft.com/office/drawing/2014/main" id="{3B30EF25-D01D-4F33-B9A1-B4FBF3495DDC}"/>
                  </a:ext>
                </a:extLst>
              </p:cNvPr>
              <p:cNvGrpSpPr/>
              <p:nvPr/>
            </p:nvGrpSpPr>
            <p:grpSpPr>
              <a:xfrm flipH="1">
                <a:off x="6528784" y="2390830"/>
                <a:ext cx="255538" cy="260000"/>
                <a:chOff x="8629196" y="2775642"/>
                <a:chExt cx="1130448" cy="1150187"/>
              </a:xfrm>
              <a:grpFill/>
            </p:grpSpPr>
            <p:sp>
              <p:nvSpPr>
                <p:cNvPr id="3423" name="Parallelogram 3422">
                  <a:extLst>
                    <a:ext uri="{FF2B5EF4-FFF2-40B4-BE49-F238E27FC236}">
                      <a16:creationId xmlns:a16="http://schemas.microsoft.com/office/drawing/2014/main" id="{F1B15658-DA1D-421D-A69B-229CD25A5866}"/>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24" name="Parallelogram 3423">
                  <a:extLst>
                    <a:ext uri="{FF2B5EF4-FFF2-40B4-BE49-F238E27FC236}">
                      <a16:creationId xmlns:a16="http://schemas.microsoft.com/office/drawing/2014/main" id="{EB2E1A40-FA43-459E-954D-3E09E1009334}"/>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25" name="Rectangle 3424">
                  <a:extLst>
                    <a:ext uri="{FF2B5EF4-FFF2-40B4-BE49-F238E27FC236}">
                      <a16:creationId xmlns:a16="http://schemas.microsoft.com/office/drawing/2014/main" id="{8EEE7D0D-0D8E-442E-A1F8-4B6A55639799}"/>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88" name="Group 3387">
                <a:extLst>
                  <a:ext uri="{FF2B5EF4-FFF2-40B4-BE49-F238E27FC236}">
                    <a16:creationId xmlns:a16="http://schemas.microsoft.com/office/drawing/2014/main" id="{529339CA-16D8-4F57-8FA9-81ED641B11A9}"/>
                  </a:ext>
                </a:extLst>
              </p:cNvPr>
              <p:cNvGrpSpPr/>
              <p:nvPr/>
            </p:nvGrpSpPr>
            <p:grpSpPr>
              <a:xfrm flipH="1">
                <a:off x="6333970" y="2390830"/>
                <a:ext cx="250150" cy="260000"/>
                <a:chOff x="8636176" y="2775642"/>
                <a:chExt cx="1106614" cy="1150187"/>
              </a:xfrm>
              <a:grpFill/>
            </p:grpSpPr>
            <p:sp>
              <p:nvSpPr>
                <p:cNvPr id="3420" name="Parallelogram 3419">
                  <a:extLst>
                    <a:ext uri="{FF2B5EF4-FFF2-40B4-BE49-F238E27FC236}">
                      <a16:creationId xmlns:a16="http://schemas.microsoft.com/office/drawing/2014/main" id="{42EA305B-F359-4FD2-ABD4-6A49A7CC2391}"/>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21" name="Parallelogram 3420">
                  <a:extLst>
                    <a:ext uri="{FF2B5EF4-FFF2-40B4-BE49-F238E27FC236}">
                      <a16:creationId xmlns:a16="http://schemas.microsoft.com/office/drawing/2014/main" id="{909377B5-CD20-48C0-8E3C-87B3983F5FEB}"/>
                    </a:ext>
                  </a:extLst>
                </p:cNvPr>
                <p:cNvSpPr/>
                <p:nvPr/>
              </p:nvSpPr>
              <p:spPr bwMode="auto">
                <a:xfrm rot="16200000" flipH="1">
                  <a:off x="9079251" y="3229815"/>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22" name="Rectangle 3421">
                  <a:extLst>
                    <a:ext uri="{FF2B5EF4-FFF2-40B4-BE49-F238E27FC236}">
                      <a16:creationId xmlns:a16="http://schemas.microsoft.com/office/drawing/2014/main" id="{182501C2-1AA6-431B-8CFE-82B7A9C10A1F}"/>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89" name="Group 3388">
                <a:extLst>
                  <a:ext uri="{FF2B5EF4-FFF2-40B4-BE49-F238E27FC236}">
                    <a16:creationId xmlns:a16="http://schemas.microsoft.com/office/drawing/2014/main" id="{A0397EFD-D675-4623-8A67-B8770060201A}"/>
                  </a:ext>
                </a:extLst>
              </p:cNvPr>
              <p:cNvGrpSpPr/>
              <p:nvPr/>
            </p:nvGrpSpPr>
            <p:grpSpPr>
              <a:xfrm flipH="1">
                <a:off x="6821158" y="2181555"/>
                <a:ext cx="253960" cy="260000"/>
                <a:chOff x="8636176" y="2775642"/>
                <a:chExt cx="1123468" cy="1150187"/>
              </a:xfrm>
              <a:grpFill/>
            </p:grpSpPr>
            <p:sp>
              <p:nvSpPr>
                <p:cNvPr id="3417" name="Parallelogram 3416">
                  <a:extLst>
                    <a:ext uri="{FF2B5EF4-FFF2-40B4-BE49-F238E27FC236}">
                      <a16:creationId xmlns:a16="http://schemas.microsoft.com/office/drawing/2014/main" id="{4394BBC4-F2B6-4A04-9C41-6232333810B9}"/>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18" name="Parallelogram 3417">
                  <a:extLst>
                    <a:ext uri="{FF2B5EF4-FFF2-40B4-BE49-F238E27FC236}">
                      <a16:creationId xmlns:a16="http://schemas.microsoft.com/office/drawing/2014/main" id="{0F5520B2-DD58-43E8-B1BF-C97BC954E67E}"/>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19" name="Rectangle 3418">
                  <a:extLst>
                    <a:ext uri="{FF2B5EF4-FFF2-40B4-BE49-F238E27FC236}">
                      <a16:creationId xmlns:a16="http://schemas.microsoft.com/office/drawing/2014/main" id="{9D9B3BCD-9AF1-4DE7-B40F-89C1230ADE65}"/>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90" name="Group 3389">
                <a:extLst>
                  <a:ext uri="{FF2B5EF4-FFF2-40B4-BE49-F238E27FC236}">
                    <a16:creationId xmlns:a16="http://schemas.microsoft.com/office/drawing/2014/main" id="{3B724B87-DA02-46A7-AEC2-EBCF697C1463}"/>
                  </a:ext>
                </a:extLst>
              </p:cNvPr>
              <p:cNvGrpSpPr/>
              <p:nvPr/>
            </p:nvGrpSpPr>
            <p:grpSpPr>
              <a:xfrm flipH="1">
                <a:off x="6629510" y="2181555"/>
                <a:ext cx="255538" cy="260000"/>
                <a:chOff x="8629196" y="2775642"/>
                <a:chExt cx="1130448" cy="1150187"/>
              </a:xfrm>
              <a:grpFill/>
            </p:grpSpPr>
            <p:sp>
              <p:nvSpPr>
                <p:cNvPr id="3414" name="Parallelogram 3413">
                  <a:extLst>
                    <a:ext uri="{FF2B5EF4-FFF2-40B4-BE49-F238E27FC236}">
                      <a16:creationId xmlns:a16="http://schemas.microsoft.com/office/drawing/2014/main" id="{71E016E3-2596-4F16-A54C-6120D46E1BC8}"/>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15" name="Parallelogram 3414">
                  <a:extLst>
                    <a:ext uri="{FF2B5EF4-FFF2-40B4-BE49-F238E27FC236}">
                      <a16:creationId xmlns:a16="http://schemas.microsoft.com/office/drawing/2014/main" id="{E1E97F87-35BA-4761-9C77-C6111E419426}"/>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16" name="Rectangle 3415">
                  <a:extLst>
                    <a:ext uri="{FF2B5EF4-FFF2-40B4-BE49-F238E27FC236}">
                      <a16:creationId xmlns:a16="http://schemas.microsoft.com/office/drawing/2014/main" id="{B810A38F-03B2-46FE-A1A4-27974D9E53C3}"/>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91" name="Group 3390">
                <a:extLst>
                  <a:ext uri="{FF2B5EF4-FFF2-40B4-BE49-F238E27FC236}">
                    <a16:creationId xmlns:a16="http://schemas.microsoft.com/office/drawing/2014/main" id="{94A50F65-1D35-4D90-93CC-55F1B7B057B4}"/>
                  </a:ext>
                </a:extLst>
              </p:cNvPr>
              <p:cNvGrpSpPr/>
              <p:nvPr/>
            </p:nvGrpSpPr>
            <p:grpSpPr>
              <a:xfrm flipH="1">
                <a:off x="6435318" y="2181555"/>
                <a:ext cx="250454" cy="260000"/>
                <a:chOff x="8636176" y="2775642"/>
                <a:chExt cx="1107958" cy="1150187"/>
              </a:xfrm>
              <a:grpFill/>
            </p:grpSpPr>
            <p:sp>
              <p:nvSpPr>
                <p:cNvPr id="3411" name="Parallelogram 3410">
                  <a:extLst>
                    <a:ext uri="{FF2B5EF4-FFF2-40B4-BE49-F238E27FC236}">
                      <a16:creationId xmlns:a16="http://schemas.microsoft.com/office/drawing/2014/main" id="{DEE4FF29-DE7A-4CEF-82D3-50027E9D003A}"/>
                    </a:ext>
                  </a:extLst>
                </p:cNvPr>
                <p:cNvSpPr/>
                <p:nvPr/>
              </p:nvSpPr>
              <p:spPr bwMode="auto">
                <a:xfrm>
                  <a:off x="8646050"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12" name="Parallelogram 3411">
                  <a:extLst>
                    <a:ext uri="{FF2B5EF4-FFF2-40B4-BE49-F238E27FC236}">
                      <a16:creationId xmlns:a16="http://schemas.microsoft.com/office/drawing/2014/main" id="{4831ED80-345C-4FE5-AF4D-8959955BDFB5}"/>
                    </a:ext>
                  </a:extLst>
                </p:cNvPr>
                <p:cNvSpPr/>
                <p:nvPr/>
              </p:nvSpPr>
              <p:spPr bwMode="auto">
                <a:xfrm rot="16200000" flipH="1">
                  <a:off x="9079251" y="3221388"/>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13" name="Rectangle 3412">
                  <a:extLst>
                    <a:ext uri="{FF2B5EF4-FFF2-40B4-BE49-F238E27FC236}">
                      <a16:creationId xmlns:a16="http://schemas.microsoft.com/office/drawing/2014/main" id="{AD9A74D2-D8A0-4A3D-8056-11F6225FB2C7}"/>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92" name="Group 3391">
                <a:extLst>
                  <a:ext uri="{FF2B5EF4-FFF2-40B4-BE49-F238E27FC236}">
                    <a16:creationId xmlns:a16="http://schemas.microsoft.com/office/drawing/2014/main" id="{0F64BB9D-B2A7-4779-8AC5-247C66717DD3}"/>
                  </a:ext>
                </a:extLst>
              </p:cNvPr>
              <p:cNvGrpSpPr/>
              <p:nvPr/>
            </p:nvGrpSpPr>
            <p:grpSpPr>
              <a:xfrm flipH="1">
                <a:off x="6676419" y="1980913"/>
                <a:ext cx="253960" cy="257467"/>
                <a:chOff x="8636176" y="2786845"/>
                <a:chExt cx="1123468" cy="1138984"/>
              </a:xfrm>
              <a:grpFill/>
            </p:grpSpPr>
            <p:sp>
              <p:nvSpPr>
                <p:cNvPr id="3408" name="Parallelogram 3407">
                  <a:extLst>
                    <a:ext uri="{FF2B5EF4-FFF2-40B4-BE49-F238E27FC236}">
                      <a16:creationId xmlns:a16="http://schemas.microsoft.com/office/drawing/2014/main" id="{87A55737-2160-4CC3-A037-751795E1BC65}"/>
                    </a:ext>
                  </a:extLst>
                </p:cNvPr>
                <p:cNvSpPr/>
                <p:nvPr/>
              </p:nvSpPr>
              <p:spPr bwMode="auto">
                <a:xfrm>
                  <a:off x="8637623" y="2792494"/>
                  <a:ext cx="1098084" cy="228994"/>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09" name="Parallelogram 3408">
                  <a:extLst>
                    <a:ext uri="{FF2B5EF4-FFF2-40B4-BE49-F238E27FC236}">
                      <a16:creationId xmlns:a16="http://schemas.microsoft.com/office/drawing/2014/main" id="{F56DD7E3-0207-4BCC-B725-2FE840B6BAE5}"/>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10" name="Rectangle 3409">
                  <a:extLst>
                    <a:ext uri="{FF2B5EF4-FFF2-40B4-BE49-F238E27FC236}">
                      <a16:creationId xmlns:a16="http://schemas.microsoft.com/office/drawing/2014/main" id="{A79B6A69-1162-4EB6-A3CF-DC91B98373FC}"/>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93" name="Group 3392">
                <a:extLst>
                  <a:ext uri="{FF2B5EF4-FFF2-40B4-BE49-F238E27FC236}">
                    <a16:creationId xmlns:a16="http://schemas.microsoft.com/office/drawing/2014/main" id="{F4932AB8-BE00-4F18-8544-DE64210A89C1}"/>
                  </a:ext>
                </a:extLst>
              </p:cNvPr>
              <p:cNvGrpSpPr/>
              <p:nvPr/>
            </p:nvGrpSpPr>
            <p:grpSpPr>
              <a:xfrm flipH="1">
                <a:off x="6488278" y="1982191"/>
                <a:ext cx="250454" cy="256190"/>
                <a:chOff x="8636176" y="2792496"/>
                <a:chExt cx="1107958" cy="1133333"/>
              </a:xfrm>
              <a:grpFill/>
            </p:grpSpPr>
            <p:sp>
              <p:nvSpPr>
                <p:cNvPr id="3394" name="Parallelogram 3393">
                  <a:extLst>
                    <a:ext uri="{FF2B5EF4-FFF2-40B4-BE49-F238E27FC236}">
                      <a16:creationId xmlns:a16="http://schemas.microsoft.com/office/drawing/2014/main" id="{4275C4E0-5451-42FA-B717-A22140E7B86A}"/>
                    </a:ext>
                  </a:extLst>
                </p:cNvPr>
                <p:cNvSpPr/>
                <p:nvPr/>
              </p:nvSpPr>
              <p:spPr bwMode="auto">
                <a:xfrm>
                  <a:off x="8646050" y="2792496"/>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95" name="Parallelogram 3394">
                  <a:extLst>
                    <a:ext uri="{FF2B5EF4-FFF2-40B4-BE49-F238E27FC236}">
                      <a16:creationId xmlns:a16="http://schemas.microsoft.com/office/drawing/2014/main" id="{F0090C8A-C842-4397-B36B-D9455C79A26F}"/>
                    </a:ext>
                  </a:extLst>
                </p:cNvPr>
                <p:cNvSpPr/>
                <p:nvPr/>
              </p:nvSpPr>
              <p:spPr bwMode="auto">
                <a:xfrm rot="16200000" flipH="1">
                  <a:off x="9079249" y="3229819"/>
                  <a:ext cx="1098086"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96" name="Rectangle 3395">
                  <a:extLst>
                    <a:ext uri="{FF2B5EF4-FFF2-40B4-BE49-F238E27FC236}">
                      <a16:creationId xmlns:a16="http://schemas.microsoft.com/office/drawing/2014/main" id="{4669D97D-4189-43A8-AA9B-EBEB0AC327E8}"/>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357" name="Group 3356">
              <a:extLst>
                <a:ext uri="{FF2B5EF4-FFF2-40B4-BE49-F238E27FC236}">
                  <a16:creationId xmlns:a16="http://schemas.microsoft.com/office/drawing/2014/main" id="{FB2A142C-C7C7-4532-BFFB-45BC600FA705}"/>
                </a:ext>
              </a:extLst>
            </p:cNvPr>
            <p:cNvGrpSpPr/>
            <p:nvPr/>
          </p:nvGrpSpPr>
          <p:grpSpPr>
            <a:xfrm flipH="1">
              <a:off x="7721152" y="3557028"/>
              <a:ext cx="150982" cy="143170"/>
              <a:chOff x="8636176" y="2775642"/>
              <a:chExt cx="1123468" cy="1150187"/>
            </a:xfrm>
            <a:solidFill>
              <a:schemeClr val="bg1">
                <a:lumMod val="95000"/>
              </a:schemeClr>
            </a:solidFill>
          </p:grpSpPr>
          <p:sp>
            <p:nvSpPr>
              <p:cNvPr id="3382" name="Parallelogram 3381">
                <a:extLst>
                  <a:ext uri="{FF2B5EF4-FFF2-40B4-BE49-F238E27FC236}">
                    <a16:creationId xmlns:a16="http://schemas.microsoft.com/office/drawing/2014/main" id="{C026972E-944E-42DA-BE71-EABC38E880AF}"/>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83" name="Parallelogram 3382">
                <a:extLst>
                  <a:ext uri="{FF2B5EF4-FFF2-40B4-BE49-F238E27FC236}">
                    <a16:creationId xmlns:a16="http://schemas.microsoft.com/office/drawing/2014/main" id="{6340532A-9258-45E5-8417-5811ED739014}"/>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84" name="Rectangle 3383">
                <a:extLst>
                  <a:ext uri="{FF2B5EF4-FFF2-40B4-BE49-F238E27FC236}">
                    <a16:creationId xmlns:a16="http://schemas.microsoft.com/office/drawing/2014/main" id="{4C54B4C6-AFC3-4C82-844C-B5FF26607B26}"/>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58" name="Group 3357">
              <a:extLst>
                <a:ext uri="{FF2B5EF4-FFF2-40B4-BE49-F238E27FC236}">
                  <a16:creationId xmlns:a16="http://schemas.microsoft.com/office/drawing/2014/main" id="{DC69DEB8-3691-45ED-BEEB-B019F3D71583}"/>
                </a:ext>
              </a:extLst>
            </p:cNvPr>
            <p:cNvGrpSpPr/>
            <p:nvPr/>
          </p:nvGrpSpPr>
          <p:grpSpPr>
            <a:xfrm flipH="1">
              <a:off x="7603066" y="3557028"/>
              <a:ext cx="151920" cy="143170"/>
              <a:chOff x="8629196" y="2775642"/>
              <a:chExt cx="1130448" cy="1150187"/>
            </a:xfrm>
            <a:solidFill>
              <a:schemeClr val="bg1">
                <a:lumMod val="95000"/>
              </a:schemeClr>
            </a:solidFill>
          </p:grpSpPr>
          <p:sp>
            <p:nvSpPr>
              <p:cNvPr id="3379" name="Parallelogram 3378">
                <a:extLst>
                  <a:ext uri="{FF2B5EF4-FFF2-40B4-BE49-F238E27FC236}">
                    <a16:creationId xmlns:a16="http://schemas.microsoft.com/office/drawing/2014/main" id="{2B154AC9-E0FB-474F-BFD2-07988CE236C9}"/>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80" name="Parallelogram 3379">
                <a:extLst>
                  <a:ext uri="{FF2B5EF4-FFF2-40B4-BE49-F238E27FC236}">
                    <a16:creationId xmlns:a16="http://schemas.microsoft.com/office/drawing/2014/main" id="{3F5C3D10-EA7D-4818-BFD5-DB5F715FF2A9}"/>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81" name="Rectangle 3380">
                <a:extLst>
                  <a:ext uri="{FF2B5EF4-FFF2-40B4-BE49-F238E27FC236}">
                    <a16:creationId xmlns:a16="http://schemas.microsoft.com/office/drawing/2014/main" id="{193B4A20-F400-430A-9578-C3BA45311522}"/>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59" name="Group 3358">
              <a:extLst>
                <a:ext uri="{FF2B5EF4-FFF2-40B4-BE49-F238E27FC236}">
                  <a16:creationId xmlns:a16="http://schemas.microsoft.com/office/drawing/2014/main" id="{FD19CA3D-508B-4008-92AB-CB3492FAA11E}"/>
                </a:ext>
              </a:extLst>
            </p:cNvPr>
            <p:cNvGrpSpPr/>
            <p:nvPr/>
          </p:nvGrpSpPr>
          <p:grpSpPr>
            <a:xfrm flipH="1">
              <a:off x="7486760" y="3557028"/>
              <a:ext cx="151920" cy="143170"/>
              <a:chOff x="8629196" y="2775642"/>
              <a:chExt cx="1130448" cy="1150187"/>
            </a:xfrm>
            <a:solidFill>
              <a:schemeClr val="bg1">
                <a:lumMod val="95000"/>
              </a:schemeClr>
            </a:solidFill>
          </p:grpSpPr>
          <p:sp>
            <p:nvSpPr>
              <p:cNvPr id="3376" name="Parallelogram 3375">
                <a:extLst>
                  <a:ext uri="{FF2B5EF4-FFF2-40B4-BE49-F238E27FC236}">
                    <a16:creationId xmlns:a16="http://schemas.microsoft.com/office/drawing/2014/main" id="{4151877B-A017-4B4A-9F3B-D357FF47D703}"/>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77" name="Parallelogram 3376">
                <a:extLst>
                  <a:ext uri="{FF2B5EF4-FFF2-40B4-BE49-F238E27FC236}">
                    <a16:creationId xmlns:a16="http://schemas.microsoft.com/office/drawing/2014/main" id="{A325F9AD-BC0B-4076-99F0-9E3F75EEF1DD}"/>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78" name="Rectangle 3377">
                <a:extLst>
                  <a:ext uri="{FF2B5EF4-FFF2-40B4-BE49-F238E27FC236}">
                    <a16:creationId xmlns:a16="http://schemas.microsoft.com/office/drawing/2014/main" id="{2E6A92F7-23BD-420C-9260-D797CAB81630}"/>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60" name="Group 3359">
              <a:extLst>
                <a:ext uri="{FF2B5EF4-FFF2-40B4-BE49-F238E27FC236}">
                  <a16:creationId xmlns:a16="http://schemas.microsoft.com/office/drawing/2014/main" id="{53EF510A-B3E3-4F6E-B941-2C6A6D79FCE5}"/>
                </a:ext>
              </a:extLst>
            </p:cNvPr>
            <p:cNvGrpSpPr/>
            <p:nvPr/>
          </p:nvGrpSpPr>
          <p:grpSpPr>
            <a:xfrm flipH="1">
              <a:off x="7370941" y="3557028"/>
              <a:ext cx="148717" cy="143170"/>
              <a:chOff x="8636176" y="2775642"/>
              <a:chExt cx="1106614" cy="1150187"/>
            </a:xfrm>
            <a:solidFill>
              <a:schemeClr val="bg1">
                <a:lumMod val="95000"/>
              </a:schemeClr>
            </a:solidFill>
          </p:grpSpPr>
          <p:sp>
            <p:nvSpPr>
              <p:cNvPr id="3373" name="Parallelogram 3372">
                <a:extLst>
                  <a:ext uri="{FF2B5EF4-FFF2-40B4-BE49-F238E27FC236}">
                    <a16:creationId xmlns:a16="http://schemas.microsoft.com/office/drawing/2014/main" id="{561FC1AD-2A6D-4176-A711-B98060C7F5E7}"/>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74" name="Parallelogram 3373">
                <a:extLst>
                  <a:ext uri="{FF2B5EF4-FFF2-40B4-BE49-F238E27FC236}">
                    <a16:creationId xmlns:a16="http://schemas.microsoft.com/office/drawing/2014/main" id="{E4FEA2FC-CE77-4F2D-BA7B-88159DF196BC}"/>
                  </a:ext>
                </a:extLst>
              </p:cNvPr>
              <p:cNvSpPr/>
              <p:nvPr/>
            </p:nvSpPr>
            <p:spPr bwMode="auto">
              <a:xfrm rot="16200000" flipH="1">
                <a:off x="9079251" y="3229815"/>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75" name="Rectangle 3374">
                <a:extLst>
                  <a:ext uri="{FF2B5EF4-FFF2-40B4-BE49-F238E27FC236}">
                    <a16:creationId xmlns:a16="http://schemas.microsoft.com/office/drawing/2014/main" id="{6BD23BEC-93F3-4C11-AA8D-8C3D8503854B}"/>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61" name="Group 3360">
              <a:extLst>
                <a:ext uri="{FF2B5EF4-FFF2-40B4-BE49-F238E27FC236}">
                  <a16:creationId xmlns:a16="http://schemas.microsoft.com/office/drawing/2014/main" id="{7010615D-6690-46E6-BD8C-B5856DD8A443}"/>
                </a:ext>
              </a:extLst>
            </p:cNvPr>
            <p:cNvGrpSpPr/>
            <p:nvPr/>
          </p:nvGrpSpPr>
          <p:grpSpPr>
            <a:xfrm flipH="1">
              <a:off x="7660579" y="3441791"/>
              <a:ext cx="150982" cy="143170"/>
              <a:chOff x="8636176" y="2775642"/>
              <a:chExt cx="1123468" cy="1150187"/>
            </a:xfrm>
            <a:solidFill>
              <a:schemeClr val="bg1">
                <a:lumMod val="95000"/>
              </a:schemeClr>
            </a:solidFill>
          </p:grpSpPr>
          <p:sp>
            <p:nvSpPr>
              <p:cNvPr id="3370" name="Parallelogram 3369">
                <a:extLst>
                  <a:ext uri="{FF2B5EF4-FFF2-40B4-BE49-F238E27FC236}">
                    <a16:creationId xmlns:a16="http://schemas.microsoft.com/office/drawing/2014/main" id="{89A942B5-1D89-4D49-95E5-B1F3F6ACCCE3}"/>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71" name="Parallelogram 3370">
                <a:extLst>
                  <a:ext uri="{FF2B5EF4-FFF2-40B4-BE49-F238E27FC236}">
                    <a16:creationId xmlns:a16="http://schemas.microsoft.com/office/drawing/2014/main" id="{2ABDA47C-AE2A-42CE-9D92-0E41D6377F7F}"/>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72" name="Rectangle 3371">
                <a:extLst>
                  <a:ext uri="{FF2B5EF4-FFF2-40B4-BE49-F238E27FC236}">
                    <a16:creationId xmlns:a16="http://schemas.microsoft.com/office/drawing/2014/main" id="{57DB60A3-BCEB-4635-ACC8-69C077C0035B}"/>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62" name="Group 3361">
              <a:extLst>
                <a:ext uri="{FF2B5EF4-FFF2-40B4-BE49-F238E27FC236}">
                  <a16:creationId xmlns:a16="http://schemas.microsoft.com/office/drawing/2014/main" id="{03459233-DF66-4392-9702-FD47605F1313}"/>
                </a:ext>
              </a:extLst>
            </p:cNvPr>
            <p:cNvGrpSpPr/>
            <p:nvPr/>
          </p:nvGrpSpPr>
          <p:grpSpPr>
            <a:xfrm flipH="1">
              <a:off x="7546643" y="3441791"/>
              <a:ext cx="151920" cy="143170"/>
              <a:chOff x="8629196" y="2775642"/>
              <a:chExt cx="1130448" cy="1150187"/>
            </a:xfrm>
            <a:solidFill>
              <a:schemeClr val="bg1">
                <a:lumMod val="95000"/>
              </a:schemeClr>
            </a:solidFill>
          </p:grpSpPr>
          <p:sp>
            <p:nvSpPr>
              <p:cNvPr id="3367" name="Parallelogram 3366">
                <a:extLst>
                  <a:ext uri="{FF2B5EF4-FFF2-40B4-BE49-F238E27FC236}">
                    <a16:creationId xmlns:a16="http://schemas.microsoft.com/office/drawing/2014/main" id="{AA07E73F-4429-4B13-AB9B-AC21A0D0FB86}"/>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68" name="Parallelogram 3367">
                <a:extLst>
                  <a:ext uri="{FF2B5EF4-FFF2-40B4-BE49-F238E27FC236}">
                    <a16:creationId xmlns:a16="http://schemas.microsoft.com/office/drawing/2014/main" id="{D941B43A-FFD0-4C72-9184-C23B0AFF6AE2}"/>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69" name="Rectangle 3368">
                <a:extLst>
                  <a:ext uri="{FF2B5EF4-FFF2-40B4-BE49-F238E27FC236}">
                    <a16:creationId xmlns:a16="http://schemas.microsoft.com/office/drawing/2014/main" id="{A2B7902A-B490-4E96-AA4F-16EEECB4029D}"/>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63" name="Group 3362">
              <a:extLst>
                <a:ext uri="{FF2B5EF4-FFF2-40B4-BE49-F238E27FC236}">
                  <a16:creationId xmlns:a16="http://schemas.microsoft.com/office/drawing/2014/main" id="{D287F5DD-3248-4C98-AE91-B22D34721703}"/>
                </a:ext>
              </a:extLst>
            </p:cNvPr>
            <p:cNvGrpSpPr/>
            <p:nvPr/>
          </p:nvGrpSpPr>
          <p:grpSpPr>
            <a:xfrm flipH="1">
              <a:off x="7431194" y="3441791"/>
              <a:ext cx="148897" cy="143170"/>
              <a:chOff x="8636176" y="2775642"/>
              <a:chExt cx="1107958" cy="1150187"/>
            </a:xfrm>
            <a:solidFill>
              <a:schemeClr val="bg1">
                <a:lumMod val="95000"/>
              </a:schemeClr>
            </a:solidFill>
          </p:grpSpPr>
          <p:sp>
            <p:nvSpPr>
              <p:cNvPr id="3364" name="Parallelogram 3363">
                <a:extLst>
                  <a:ext uri="{FF2B5EF4-FFF2-40B4-BE49-F238E27FC236}">
                    <a16:creationId xmlns:a16="http://schemas.microsoft.com/office/drawing/2014/main" id="{5D684148-CFDE-40F0-95E6-D2EB3FBFE49E}"/>
                  </a:ext>
                </a:extLst>
              </p:cNvPr>
              <p:cNvSpPr/>
              <p:nvPr/>
            </p:nvSpPr>
            <p:spPr bwMode="auto">
              <a:xfrm>
                <a:off x="8646050"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65" name="Parallelogram 3364">
                <a:extLst>
                  <a:ext uri="{FF2B5EF4-FFF2-40B4-BE49-F238E27FC236}">
                    <a16:creationId xmlns:a16="http://schemas.microsoft.com/office/drawing/2014/main" id="{2EED0490-9C09-4BF0-AB4B-214BAE02DB71}"/>
                  </a:ext>
                </a:extLst>
              </p:cNvPr>
              <p:cNvSpPr/>
              <p:nvPr/>
            </p:nvSpPr>
            <p:spPr bwMode="auto">
              <a:xfrm rot="16200000" flipH="1">
                <a:off x="9079251" y="3221388"/>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66" name="Rectangle 3365">
                <a:extLst>
                  <a:ext uri="{FF2B5EF4-FFF2-40B4-BE49-F238E27FC236}">
                    <a16:creationId xmlns:a16="http://schemas.microsoft.com/office/drawing/2014/main" id="{818B68A3-89F9-46ED-931A-DCF9FCE9C07C}"/>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432" name="Group 3431">
            <a:extLst>
              <a:ext uri="{FF2B5EF4-FFF2-40B4-BE49-F238E27FC236}">
                <a16:creationId xmlns:a16="http://schemas.microsoft.com/office/drawing/2014/main" id="{B9637D7C-70E3-4011-88F5-B7CBF66A6038}"/>
              </a:ext>
            </a:extLst>
          </p:cNvPr>
          <p:cNvGrpSpPr/>
          <p:nvPr/>
        </p:nvGrpSpPr>
        <p:grpSpPr>
          <a:xfrm flipH="1">
            <a:off x="4707472" y="4720037"/>
            <a:ext cx="407021" cy="299131"/>
            <a:chOff x="7290563" y="3272789"/>
            <a:chExt cx="581571" cy="427409"/>
          </a:xfrm>
        </p:grpSpPr>
        <p:grpSp>
          <p:nvGrpSpPr>
            <p:cNvPr id="3433" name="Group 3432">
              <a:extLst>
                <a:ext uri="{FF2B5EF4-FFF2-40B4-BE49-F238E27FC236}">
                  <a16:creationId xmlns:a16="http://schemas.microsoft.com/office/drawing/2014/main" id="{CED75A5F-159C-49A3-A8FB-F32DBEC7437E}"/>
                </a:ext>
              </a:extLst>
            </p:cNvPr>
            <p:cNvGrpSpPr/>
            <p:nvPr/>
          </p:nvGrpSpPr>
          <p:grpSpPr>
            <a:xfrm>
              <a:off x="7290563" y="3272789"/>
              <a:ext cx="501193" cy="368891"/>
              <a:chOff x="6333970" y="1980913"/>
              <a:chExt cx="843035" cy="669917"/>
            </a:xfrm>
            <a:solidFill>
              <a:schemeClr val="tx1">
                <a:lumMod val="20000"/>
                <a:lumOff val="80000"/>
              </a:schemeClr>
            </a:solidFill>
          </p:grpSpPr>
          <p:grpSp>
            <p:nvGrpSpPr>
              <p:cNvPr id="3462" name="Group 3461">
                <a:extLst>
                  <a:ext uri="{FF2B5EF4-FFF2-40B4-BE49-F238E27FC236}">
                    <a16:creationId xmlns:a16="http://schemas.microsoft.com/office/drawing/2014/main" id="{CC5BB7E4-66E4-4DFF-A15C-9B48B7E2DFE5}"/>
                  </a:ext>
                </a:extLst>
              </p:cNvPr>
              <p:cNvGrpSpPr/>
              <p:nvPr/>
            </p:nvGrpSpPr>
            <p:grpSpPr>
              <a:xfrm flipH="1">
                <a:off x="6923045" y="2390830"/>
                <a:ext cx="253960" cy="260000"/>
                <a:chOff x="8636176" y="2775642"/>
                <a:chExt cx="1123468" cy="1150187"/>
              </a:xfrm>
              <a:grpFill/>
            </p:grpSpPr>
            <p:sp>
              <p:nvSpPr>
                <p:cNvPr id="3495" name="Parallelogram 3494">
                  <a:extLst>
                    <a:ext uri="{FF2B5EF4-FFF2-40B4-BE49-F238E27FC236}">
                      <a16:creationId xmlns:a16="http://schemas.microsoft.com/office/drawing/2014/main" id="{73F6A3F5-09C7-430A-A044-97B42F47D95B}"/>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96" name="Parallelogram 3495">
                  <a:extLst>
                    <a:ext uri="{FF2B5EF4-FFF2-40B4-BE49-F238E27FC236}">
                      <a16:creationId xmlns:a16="http://schemas.microsoft.com/office/drawing/2014/main" id="{4B2FA96B-B152-45D2-BD8E-5FC77D877C4B}"/>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97" name="Rectangle 3496">
                  <a:extLst>
                    <a:ext uri="{FF2B5EF4-FFF2-40B4-BE49-F238E27FC236}">
                      <a16:creationId xmlns:a16="http://schemas.microsoft.com/office/drawing/2014/main" id="{1501546B-30C6-40E2-ADD9-8004C9F42529}"/>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63" name="Group 3462">
                <a:extLst>
                  <a:ext uri="{FF2B5EF4-FFF2-40B4-BE49-F238E27FC236}">
                    <a16:creationId xmlns:a16="http://schemas.microsoft.com/office/drawing/2014/main" id="{A444539F-1F90-4A8B-A7E7-EFFE9CCC706B}"/>
                  </a:ext>
                </a:extLst>
              </p:cNvPr>
              <p:cNvGrpSpPr/>
              <p:nvPr/>
            </p:nvGrpSpPr>
            <p:grpSpPr>
              <a:xfrm flipH="1">
                <a:off x="6724417" y="2390830"/>
                <a:ext cx="255538" cy="260000"/>
                <a:chOff x="8629196" y="2775642"/>
                <a:chExt cx="1130448" cy="1150187"/>
              </a:xfrm>
              <a:grpFill/>
            </p:grpSpPr>
            <p:sp>
              <p:nvSpPr>
                <p:cNvPr id="3492" name="Parallelogram 3491">
                  <a:extLst>
                    <a:ext uri="{FF2B5EF4-FFF2-40B4-BE49-F238E27FC236}">
                      <a16:creationId xmlns:a16="http://schemas.microsoft.com/office/drawing/2014/main" id="{11B816B3-E026-4116-BD51-51D3FC58C900}"/>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93" name="Parallelogram 3492">
                  <a:extLst>
                    <a:ext uri="{FF2B5EF4-FFF2-40B4-BE49-F238E27FC236}">
                      <a16:creationId xmlns:a16="http://schemas.microsoft.com/office/drawing/2014/main" id="{30DED6E9-90E8-43D5-BEAF-D7C2A5F132F4}"/>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94" name="Rectangle 3493">
                  <a:extLst>
                    <a:ext uri="{FF2B5EF4-FFF2-40B4-BE49-F238E27FC236}">
                      <a16:creationId xmlns:a16="http://schemas.microsoft.com/office/drawing/2014/main" id="{C0813F13-1B16-40F4-8692-3146A0C72544}"/>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64" name="Group 3463">
                <a:extLst>
                  <a:ext uri="{FF2B5EF4-FFF2-40B4-BE49-F238E27FC236}">
                    <a16:creationId xmlns:a16="http://schemas.microsoft.com/office/drawing/2014/main" id="{F4106F91-BDBC-4C7D-BF26-A80AC2589A75}"/>
                  </a:ext>
                </a:extLst>
              </p:cNvPr>
              <p:cNvGrpSpPr/>
              <p:nvPr/>
            </p:nvGrpSpPr>
            <p:grpSpPr>
              <a:xfrm flipH="1">
                <a:off x="6528784" y="2390830"/>
                <a:ext cx="255538" cy="260000"/>
                <a:chOff x="8629196" y="2775642"/>
                <a:chExt cx="1130448" cy="1150187"/>
              </a:xfrm>
              <a:grpFill/>
            </p:grpSpPr>
            <p:sp>
              <p:nvSpPr>
                <p:cNvPr id="3489" name="Parallelogram 3488">
                  <a:extLst>
                    <a:ext uri="{FF2B5EF4-FFF2-40B4-BE49-F238E27FC236}">
                      <a16:creationId xmlns:a16="http://schemas.microsoft.com/office/drawing/2014/main" id="{FD684FD1-5E6C-447D-9372-5EF8D301BC86}"/>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90" name="Parallelogram 3489">
                  <a:extLst>
                    <a:ext uri="{FF2B5EF4-FFF2-40B4-BE49-F238E27FC236}">
                      <a16:creationId xmlns:a16="http://schemas.microsoft.com/office/drawing/2014/main" id="{4F0DA289-7A8A-4C85-A0E9-D48F0F01D4AE}"/>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91" name="Rectangle 3490">
                  <a:extLst>
                    <a:ext uri="{FF2B5EF4-FFF2-40B4-BE49-F238E27FC236}">
                      <a16:creationId xmlns:a16="http://schemas.microsoft.com/office/drawing/2014/main" id="{7BE8BBD5-6851-4A46-9193-85A93DD7BAED}"/>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65" name="Group 3464">
                <a:extLst>
                  <a:ext uri="{FF2B5EF4-FFF2-40B4-BE49-F238E27FC236}">
                    <a16:creationId xmlns:a16="http://schemas.microsoft.com/office/drawing/2014/main" id="{E5DD404D-5061-4736-BBAE-0A5C7484D774}"/>
                  </a:ext>
                </a:extLst>
              </p:cNvPr>
              <p:cNvGrpSpPr/>
              <p:nvPr/>
            </p:nvGrpSpPr>
            <p:grpSpPr>
              <a:xfrm flipH="1">
                <a:off x="6333970" y="2390830"/>
                <a:ext cx="250150" cy="260000"/>
                <a:chOff x="8636176" y="2775642"/>
                <a:chExt cx="1106614" cy="1150187"/>
              </a:xfrm>
              <a:grpFill/>
            </p:grpSpPr>
            <p:sp>
              <p:nvSpPr>
                <p:cNvPr id="3486" name="Parallelogram 3485">
                  <a:extLst>
                    <a:ext uri="{FF2B5EF4-FFF2-40B4-BE49-F238E27FC236}">
                      <a16:creationId xmlns:a16="http://schemas.microsoft.com/office/drawing/2014/main" id="{2C8E71E1-0312-4BFA-8941-9C20F0B4B8AF}"/>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87" name="Parallelogram 3486">
                  <a:extLst>
                    <a:ext uri="{FF2B5EF4-FFF2-40B4-BE49-F238E27FC236}">
                      <a16:creationId xmlns:a16="http://schemas.microsoft.com/office/drawing/2014/main" id="{DB3BC51D-4778-477A-A57A-CC718661E361}"/>
                    </a:ext>
                  </a:extLst>
                </p:cNvPr>
                <p:cNvSpPr/>
                <p:nvPr/>
              </p:nvSpPr>
              <p:spPr bwMode="auto">
                <a:xfrm rot="16200000" flipH="1">
                  <a:off x="9079251" y="3229815"/>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88" name="Rectangle 3487">
                  <a:extLst>
                    <a:ext uri="{FF2B5EF4-FFF2-40B4-BE49-F238E27FC236}">
                      <a16:creationId xmlns:a16="http://schemas.microsoft.com/office/drawing/2014/main" id="{6B9B2623-636F-43A0-8269-7E3F04F3629D}"/>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66" name="Group 3465">
                <a:extLst>
                  <a:ext uri="{FF2B5EF4-FFF2-40B4-BE49-F238E27FC236}">
                    <a16:creationId xmlns:a16="http://schemas.microsoft.com/office/drawing/2014/main" id="{401C6381-C675-4E55-9B0D-1021715C5515}"/>
                  </a:ext>
                </a:extLst>
              </p:cNvPr>
              <p:cNvGrpSpPr/>
              <p:nvPr/>
            </p:nvGrpSpPr>
            <p:grpSpPr>
              <a:xfrm flipH="1">
                <a:off x="6821158" y="2181555"/>
                <a:ext cx="253960" cy="260000"/>
                <a:chOff x="8636176" y="2775642"/>
                <a:chExt cx="1123468" cy="1150187"/>
              </a:xfrm>
              <a:grpFill/>
            </p:grpSpPr>
            <p:sp>
              <p:nvSpPr>
                <p:cNvPr id="3483" name="Parallelogram 3482">
                  <a:extLst>
                    <a:ext uri="{FF2B5EF4-FFF2-40B4-BE49-F238E27FC236}">
                      <a16:creationId xmlns:a16="http://schemas.microsoft.com/office/drawing/2014/main" id="{875464ED-D011-4543-B53B-E68A248CEFCB}"/>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84" name="Parallelogram 3483">
                  <a:extLst>
                    <a:ext uri="{FF2B5EF4-FFF2-40B4-BE49-F238E27FC236}">
                      <a16:creationId xmlns:a16="http://schemas.microsoft.com/office/drawing/2014/main" id="{86F26F3C-8B5E-48C8-BA96-FF302F017402}"/>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85" name="Rectangle 3484">
                  <a:extLst>
                    <a:ext uri="{FF2B5EF4-FFF2-40B4-BE49-F238E27FC236}">
                      <a16:creationId xmlns:a16="http://schemas.microsoft.com/office/drawing/2014/main" id="{2B61BA1B-439D-4BA0-90A9-1BBDE040BF0C}"/>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67" name="Group 3466">
                <a:extLst>
                  <a:ext uri="{FF2B5EF4-FFF2-40B4-BE49-F238E27FC236}">
                    <a16:creationId xmlns:a16="http://schemas.microsoft.com/office/drawing/2014/main" id="{F181DCE4-9FAF-4287-8CCC-566689EDD9BD}"/>
                  </a:ext>
                </a:extLst>
              </p:cNvPr>
              <p:cNvGrpSpPr/>
              <p:nvPr/>
            </p:nvGrpSpPr>
            <p:grpSpPr>
              <a:xfrm flipH="1">
                <a:off x="6629510" y="2181555"/>
                <a:ext cx="255538" cy="260000"/>
                <a:chOff x="8629196" y="2775642"/>
                <a:chExt cx="1130448" cy="1150187"/>
              </a:xfrm>
              <a:grpFill/>
            </p:grpSpPr>
            <p:sp>
              <p:nvSpPr>
                <p:cNvPr id="3480" name="Parallelogram 3479">
                  <a:extLst>
                    <a:ext uri="{FF2B5EF4-FFF2-40B4-BE49-F238E27FC236}">
                      <a16:creationId xmlns:a16="http://schemas.microsoft.com/office/drawing/2014/main" id="{1FEBB5FB-24FB-4AC5-A1DA-AD467952EB64}"/>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81" name="Parallelogram 3480">
                  <a:extLst>
                    <a:ext uri="{FF2B5EF4-FFF2-40B4-BE49-F238E27FC236}">
                      <a16:creationId xmlns:a16="http://schemas.microsoft.com/office/drawing/2014/main" id="{3D87F3D4-B4E1-4BF6-BB9B-C8C9AB409382}"/>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82" name="Rectangle 3481">
                  <a:extLst>
                    <a:ext uri="{FF2B5EF4-FFF2-40B4-BE49-F238E27FC236}">
                      <a16:creationId xmlns:a16="http://schemas.microsoft.com/office/drawing/2014/main" id="{EB3AC68C-3DD0-4544-A85C-448D8557EEA4}"/>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68" name="Group 3467">
                <a:extLst>
                  <a:ext uri="{FF2B5EF4-FFF2-40B4-BE49-F238E27FC236}">
                    <a16:creationId xmlns:a16="http://schemas.microsoft.com/office/drawing/2014/main" id="{58A88F29-1764-4673-A467-AA7970912B49}"/>
                  </a:ext>
                </a:extLst>
              </p:cNvPr>
              <p:cNvGrpSpPr/>
              <p:nvPr/>
            </p:nvGrpSpPr>
            <p:grpSpPr>
              <a:xfrm flipH="1">
                <a:off x="6435318" y="2181555"/>
                <a:ext cx="250454" cy="260000"/>
                <a:chOff x="8636176" y="2775642"/>
                <a:chExt cx="1107958" cy="1150187"/>
              </a:xfrm>
              <a:grpFill/>
            </p:grpSpPr>
            <p:sp>
              <p:nvSpPr>
                <p:cNvPr id="3477" name="Parallelogram 3476">
                  <a:extLst>
                    <a:ext uri="{FF2B5EF4-FFF2-40B4-BE49-F238E27FC236}">
                      <a16:creationId xmlns:a16="http://schemas.microsoft.com/office/drawing/2014/main" id="{A38614E9-04D5-4606-B735-67006DC9F99E}"/>
                    </a:ext>
                  </a:extLst>
                </p:cNvPr>
                <p:cNvSpPr/>
                <p:nvPr/>
              </p:nvSpPr>
              <p:spPr bwMode="auto">
                <a:xfrm>
                  <a:off x="8646050"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78" name="Parallelogram 3477">
                  <a:extLst>
                    <a:ext uri="{FF2B5EF4-FFF2-40B4-BE49-F238E27FC236}">
                      <a16:creationId xmlns:a16="http://schemas.microsoft.com/office/drawing/2014/main" id="{A3B16B3D-B08B-4FD7-9397-8185F76022F0}"/>
                    </a:ext>
                  </a:extLst>
                </p:cNvPr>
                <p:cNvSpPr/>
                <p:nvPr/>
              </p:nvSpPr>
              <p:spPr bwMode="auto">
                <a:xfrm rot="16200000" flipH="1">
                  <a:off x="9079251" y="3221388"/>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79" name="Rectangle 3478">
                  <a:extLst>
                    <a:ext uri="{FF2B5EF4-FFF2-40B4-BE49-F238E27FC236}">
                      <a16:creationId xmlns:a16="http://schemas.microsoft.com/office/drawing/2014/main" id="{A273DA93-F4B9-4858-8545-F857F8147A7F}"/>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69" name="Group 3468">
                <a:extLst>
                  <a:ext uri="{FF2B5EF4-FFF2-40B4-BE49-F238E27FC236}">
                    <a16:creationId xmlns:a16="http://schemas.microsoft.com/office/drawing/2014/main" id="{5E861516-78E3-459B-A4A1-644455BEC08F}"/>
                  </a:ext>
                </a:extLst>
              </p:cNvPr>
              <p:cNvGrpSpPr/>
              <p:nvPr/>
            </p:nvGrpSpPr>
            <p:grpSpPr>
              <a:xfrm flipH="1">
                <a:off x="6676419" y="1980913"/>
                <a:ext cx="253960" cy="257467"/>
                <a:chOff x="8636176" y="2786845"/>
                <a:chExt cx="1123468" cy="1138984"/>
              </a:xfrm>
              <a:grpFill/>
            </p:grpSpPr>
            <p:sp>
              <p:nvSpPr>
                <p:cNvPr id="3474" name="Parallelogram 3473">
                  <a:extLst>
                    <a:ext uri="{FF2B5EF4-FFF2-40B4-BE49-F238E27FC236}">
                      <a16:creationId xmlns:a16="http://schemas.microsoft.com/office/drawing/2014/main" id="{56D07056-8608-4555-B7B4-03CA92B5EA30}"/>
                    </a:ext>
                  </a:extLst>
                </p:cNvPr>
                <p:cNvSpPr/>
                <p:nvPr/>
              </p:nvSpPr>
              <p:spPr bwMode="auto">
                <a:xfrm>
                  <a:off x="8637623" y="2792494"/>
                  <a:ext cx="1098084" cy="228994"/>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75" name="Parallelogram 3474">
                  <a:extLst>
                    <a:ext uri="{FF2B5EF4-FFF2-40B4-BE49-F238E27FC236}">
                      <a16:creationId xmlns:a16="http://schemas.microsoft.com/office/drawing/2014/main" id="{E19C652E-B5F8-4386-97A9-5319D09AF134}"/>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76" name="Rectangle 3475">
                  <a:extLst>
                    <a:ext uri="{FF2B5EF4-FFF2-40B4-BE49-F238E27FC236}">
                      <a16:creationId xmlns:a16="http://schemas.microsoft.com/office/drawing/2014/main" id="{1A818889-E3C3-43AC-BF73-82DD5D530FEB}"/>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70" name="Group 3469">
                <a:extLst>
                  <a:ext uri="{FF2B5EF4-FFF2-40B4-BE49-F238E27FC236}">
                    <a16:creationId xmlns:a16="http://schemas.microsoft.com/office/drawing/2014/main" id="{88C9EBBD-3710-4550-B176-899787A9605B}"/>
                  </a:ext>
                </a:extLst>
              </p:cNvPr>
              <p:cNvGrpSpPr/>
              <p:nvPr/>
            </p:nvGrpSpPr>
            <p:grpSpPr>
              <a:xfrm flipH="1">
                <a:off x="6488278" y="1982191"/>
                <a:ext cx="250454" cy="256190"/>
                <a:chOff x="8636176" y="2792496"/>
                <a:chExt cx="1107958" cy="1133333"/>
              </a:xfrm>
              <a:grpFill/>
            </p:grpSpPr>
            <p:sp>
              <p:nvSpPr>
                <p:cNvPr id="3471" name="Parallelogram 3470">
                  <a:extLst>
                    <a:ext uri="{FF2B5EF4-FFF2-40B4-BE49-F238E27FC236}">
                      <a16:creationId xmlns:a16="http://schemas.microsoft.com/office/drawing/2014/main" id="{81052A6A-D513-4F2B-A0C1-43F28327FCE9}"/>
                    </a:ext>
                  </a:extLst>
                </p:cNvPr>
                <p:cNvSpPr/>
                <p:nvPr/>
              </p:nvSpPr>
              <p:spPr bwMode="auto">
                <a:xfrm>
                  <a:off x="8646050" y="2792496"/>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72" name="Parallelogram 3471">
                  <a:extLst>
                    <a:ext uri="{FF2B5EF4-FFF2-40B4-BE49-F238E27FC236}">
                      <a16:creationId xmlns:a16="http://schemas.microsoft.com/office/drawing/2014/main" id="{7BD496A0-AF10-42BD-8242-985F07C9183E}"/>
                    </a:ext>
                  </a:extLst>
                </p:cNvPr>
                <p:cNvSpPr/>
                <p:nvPr/>
              </p:nvSpPr>
              <p:spPr bwMode="auto">
                <a:xfrm rot="16200000" flipH="1">
                  <a:off x="9079249" y="3229819"/>
                  <a:ext cx="1098086"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73" name="Rectangle 3472">
                  <a:extLst>
                    <a:ext uri="{FF2B5EF4-FFF2-40B4-BE49-F238E27FC236}">
                      <a16:creationId xmlns:a16="http://schemas.microsoft.com/office/drawing/2014/main" id="{90967872-CF10-4F89-A6B2-50A6B5FEF95D}"/>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434" name="Group 3433">
              <a:extLst>
                <a:ext uri="{FF2B5EF4-FFF2-40B4-BE49-F238E27FC236}">
                  <a16:creationId xmlns:a16="http://schemas.microsoft.com/office/drawing/2014/main" id="{F74C68D3-288F-411E-BD7F-EA4999ABFB2E}"/>
                </a:ext>
              </a:extLst>
            </p:cNvPr>
            <p:cNvGrpSpPr/>
            <p:nvPr/>
          </p:nvGrpSpPr>
          <p:grpSpPr>
            <a:xfrm flipH="1">
              <a:off x="7721152" y="3557028"/>
              <a:ext cx="150982" cy="143170"/>
              <a:chOff x="8636176" y="2775642"/>
              <a:chExt cx="1123468" cy="1150187"/>
            </a:xfrm>
            <a:solidFill>
              <a:schemeClr val="bg1">
                <a:lumMod val="95000"/>
              </a:schemeClr>
            </a:solidFill>
          </p:grpSpPr>
          <p:sp>
            <p:nvSpPr>
              <p:cNvPr id="3459" name="Parallelogram 3458">
                <a:extLst>
                  <a:ext uri="{FF2B5EF4-FFF2-40B4-BE49-F238E27FC236}">
                    <a16:creationId xmlns:a16="http://schemas.microsoft.com/office/drawing/2014/main" id="{46A2ED98-BCCF-43AD-9337-C5E9873FF750}"/>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60" name="Parallelogram 3459">
                <a:extLst>
                  <a:ext uri="{FF2B5EF4-FFF2-40B4-BE49-F238E27FC236}">
                    <a16:creationId xmlns:a16="http://schemas.microsoft.com/office/drawing/2014/main" id="{FECE96DB-A5D1-4260-B722-344F67620D1A}"/>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61" name="Rectangle 3460">
                <a:extLst>
                  <a:ext uri="{FF2B5EF4-FFF2-40B4-BE49-F238E27FC236}">
                    <a16:creationId xmlns:a16="http://schemas.microsoft.com/office/drawing/2014/main" id="{1BDE354F-A6D5-491F-BA98-7D1B56AD675C}"/>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35" name="Group 3434">
              <a:extLst>
                <a:ext uri="{FF2B5EF4-FFF2-40B4-BE49-F238E27FC236}">
                  <a16:creationId xmlns:a16="http://schemas.microsoft.com/office/drawing/2014/main" id="{57524F64-C210-4EAA-A742-1615377EF84E}"/>
                </a:ext>
              </a:extLst>
            </p:cNvPr>
            <p:cNvGrpSpPr/>
            <p:nvPr/>
          </p:nvGrpSpPr>
          <p:grpSpPr>
            <a:xfrm flipH="1">
              <a:off x="7603066" y="3557028"/>
              <a:ext cx="151920" cy="143170"/>
              <a:chOff x="8629196" y="2775642"/>
              <a:chExt cx="1130448" cy="1150187"/>
            </a:xfrm>
            <a:solidFill>
              <a:schemeClr val="bg1">
                <a:lumMod val="95000"/>
              </a:schemeClr>
            </a:solidFill>
          </p:grpSpPr>
          <p:sp>
            <p:nvSpPr>
              <p:cNvPr id="3456" name="Parallelogram 3455">
                <a:extLst>
                  <a:ext uri="{FF2B5EF4-FFF2-40B4-BE49-F238E27FC236}">
                    <a16:creationId xmlns:a16="http://schemas.microsoft.com/office/drawing/2014/main" id="{51FA5337-24CC-49D4-846B-1F12FD2EEAAD}"/>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57" name="Parallelogram 3456">
                <a:extLst>
                  <a:ext uri="{FF2B5EF4-FFF2-40B4-BE49-F238E27FC236}">
                    <a16:creationId xmlns:a16="http://schemas.microsoft.com/office/drawing/2014/main" id="{EDE58BCD-3DFF-48BF-A7C0-EC4209F6C4E3}"/>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58" name="Rectangle 3457">
                <a:extLst>
                  <a:ext uri="{FF2B5EF4-FFF2-40B4-BE49-F238E27FC236}">
                    <a16:creationId xmlns:a16="http://schemas.microsoft.com/office/drawing/2014/main" id="{C4621E79-66EC-4CFC-8B35-F3868F3BCA93}"/>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36" name="Group 3435">
              <a:extLst>
                <a:ext uri="{FF2B5EF4-FFF2-40B4-BE49-F238E27FC236}">
                  <a16:creationId xmlns:a16="http://schemas.microsoft.com/office/drawing/2014/main" id="{DB3F2918-7069-4EA6-A45A-A05089431326}"/>
                </a:ext>
              </a:extLst>
            </p:cNvPr>
            <p:cNvGrpSpPr/>
            <p:nvPr/>
          </p:nvGrpSpPr>
          <p:grpSpPr>
            <a:xfrm flipH="1">
              <a:off x="7486760" y="3557028"/>
              <a:ext cx="151920" cy="143170"/>
              <a:chOff x="8629196" y="2775642"/>
              <a:chExt cx="1130448" cy="1150187"/>
            </a:xfrm>
            <a:solidFill>
              <a:schemeClr val="bg1">
                <a:lumMod val="95000"/>
              </a:schemeClr>
            </a:solidFill>
          </p:grpSpPr>
          <p:sp>
            <p:nvSpPr>
              <p:cNvPr id="3453" name="Parallelogram 3452">
                <a:extLst>
                  <a:ext uri="{FF2B5EF4-FFF2-40B4-BE49-F238E27FC236}">
                    <a16:creationId xmlns:a16="http://schemas.microsoft.com/office/drawing/2014/main" id="{566D3816-9BAD-4D38-AB91-2635C72BE986}"/>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54" name="Parallelogram 3453">
                <a:extLst>
                  <a:ext uri="{FF2B5EF4-FFF2-40B4-BE49-F238E27FC236}">
                    <a16:creationId xmlns:a16="http://schemas.microsoft.com/office/drawing/2014/main" id="{9FE71EB2-468C-4B77-8A8D-C611AC62AD5A}"/>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55" name="Rectangle 3454">
                <a:extLst>
                  <a:ext uri="{FF2B5EF4-FFF2-40B4-BE49-F238E27FC236}">
                    <a16:creationId xmlns:a16="http://schemas.microsoft.com/office/drawing/2014/main" id="{DBFC5AF2-AC70-4DDA-BE92-FCEFD4AFCA79}"/>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37" name="Group 3436">
              <a:extLst>
                <a:ext uri="{FF2B5EF4-FFF2-40B4-BE49-F238E27FC236}">
                  <a16:creationId xmlns:a16="http://schemas.microsoft.com/office/drawing/2014/main" id="{24A123A5-C467-46E7-BB41-CD8E6241A1BD}"/>
                </a:ext>
              </a:extLst>
            </p:cNvPr>
            <p:cNvGrpSpPr/>
            <p:nvPr/>
          </p:nvGrpSpPr>
          <p:grpSpPr>
            <a:xfrm flipH="1">
              <a:off x="7370941" y="3557028"/>
              <a:ext cx="148717" cy="143170"/>
              <a:chOff x="8636176" y="2775642"/>
              <a:chExt cx="1106614" cy="1150187"/>
            </a:xfrm>
            <a:solidFill>
              <a:schemeClr val="bg1">
                <a:lumMod val="95000"/>
              </a:schemeClr>
            </a:solidFill>
          </p:grpSpPr>
          <p:sp>
            <p:nvSpPr>
              <p:cNvPr id="3450" name="Parallelogram 3449">
                <a:extLst>
                  <a:ext uri="{FF2B5EF4-FFF2-40B4-BE49-F238E27FC236}">
                    <a16:creationId xmlns:a16="http://schemas.microsoft.com/office/drawing/2014/main" id="{5B498B0E-3F37-49A1-8107-C089016CBC7E}"/>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51" name="Parallelogram 3450">
                <a:extLst>
                  <a:ext uri="{FF2B5EF4-FFF2-40B4-BE49-F238E27FC236}">
                    <a16:creationId xmlns:a16="http://schemas.microsoft.com/office/drawing/2014/main" id="{F95A0F63-7D5B-4A12-8333-C3277EF83B17}"/>
                  </a:ext>
                </a:extLst>
              </p:cNvPr>
              <p:cNvSpPr/>
              <p:nvPr/>
            </p:nvSpPr>
            <p:spPr bwMode="auto">
              <a:xfrm rot="16200000" flipH="1">
                <a:off x="9079251" y="3229815"/>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52" name="Rectangle 3451">
                <a:extLst>
                  <a:ext uri="{FF2B5EF4-FFF2-40B4-BE49-F238E27FC236}">
                    <a16:creationId xmlns:a16="http://schemas.microsoft.com/office/drawing/2014/main" id="{A74FB5EF-BADD-47D0-BBBC-33778A27F705}"/>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38" name="Group 3437">
              <a:extLst>
                <a:ext uri="{FF2B5EF4-FFF2-40B4-BE49-F238E27FC236}">
                  <a16:creationId xmlns:a16="http://schemas.microsoft.com/office/drawing/2014/main" id="{285BDE5F-E4A1-4BEE-9770-227D49A180D5}"/>
                </a:ext>
              </a:extLst>
            </p:cNvPr>
            <p:cNvGrpSpPr/>
            <p:nvPr/>
          </p:nvGrpSpPr>
          <p:grpSpPr>
            <a:xfrm flipH="1">
              <a:off x="7660579" y="3441791"/>
              <a:ext cx="150982" cy="143170"/>
              <a:chOff x="8636176" y="2775642"/>
              <a:chExt cx="1123468" cy="1150187"/>
            </a:xfrm>
            <a:solidFill>
              <a:schemeClr val="bg1">
                <a:lumMod val="95000"/>
              </a:schemeClr>
            </a:solidFill>
          </p:grpSpPr>
          <p:sp>
            <p:nvSpPr>
              <p:cNvPr id="3447" name="Parallelogram 3446">
                <a:extLst>
                  <a:ext uri="{FF2B5EF4-FFF2-40B4-BE49-F238E27FC236}">
                    <a16:creationId xmlns:a16="http://schemas.microsoft.com/office/drawing/2014/main" id="{098D8C67-451E-4B71-A4CE-544CAA99CE8D}"/>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48" name="Parallelogram 3447">
                <a:extLst>
                  <a:ext uri="{FF2B5EF4-FFF2-40B4-BE49-F238E27FC236}">
                    <a16:creationId xmlns:a16="http://schemas.microsoft.com/office/drawing/2014/main" id="{91A97BAC-923E-4A37-99A1-3016E783B13A}"/>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49" name="Rectangle 3448">
                <a:extLst>
                  <a:ext uri="{FF2B5EF4-FFF2-40B4-BE49-F238E27FC236}">
                    <a16:creationId xmlns:a16="http://schemas.microsoft.com/office/drawing/2014/main" id="{84DA4606-B714-4195-9FF4-1437B221FB8B}"/>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39" name="Group 3438">
              <a:extLst>
                <a:ext uri="{FF2B5EF4-FFF2-40B4-BE49-F238E27FC236}">
                  <a16:creationId xmlns:a16="http://schemas.microsoft.com/office/drawing/2014/main" id="{8292B27D-6C30-47C6-86BB-8C319ED3E3A4}"/>
                </a:ext>
              </a:extLst>
            </p:cNvPr>
            <p:cNvGrpSpPr/>
            <p:nvPr/>
          </p:nvGrpSpPr>
          <p:grpSpPr>
            <a:xfrm flipH="1">
              <a:off x="7546643" y="3441791"/>
              <a:ext cx="151920" cy="143170"/>
              <a:chOff x="8629196" y="2775642"/>
              <a:chExt cx="1130448" cy="1150187"/>
            </a:xfrm>
            <a:solidFill>
              <a:schemeClr val="bg1">
                <a:lumMod val="95000"/>
              </a:schemeClr>
            </a:solidFill>
          </p:grpSpPr>
          <p:sp>
            <p:nvSpPr>
              <p:cNvPr id="3444" name="Parallelogram 3443">
                <a:extLst>
                  <a:ext uri="{FF2B5EF4-FFF2-40B4-BE49-F238E27FC236}">
                    <a16:creationId xmlns:a16="http://schemas.microsoft.com/office/drawing/2014/main" id="{BFF753B1-B037-47EA-8011-7C505B3896BE}"/>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45" name="Parallelogram 3444">
                <a:extLst>
                  <a:ext uri="{FF2B5EF4-FFF2-40B4-BE49-F238E27FC236}">
                    <a16:creationId xmlns:a16="http://schemas.microsoft.com/office/drawing/2014/main" id="{759B8C8F-2C3B-4EA0-9CE2-CED7449D8AE3}"/>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46" name="Rectangle 3445">
                <a:extLst>
                  <a:ext uri="{FF2B5EF4-FFF2-40B4-BE49-F238E27FC236}">
                    <a16:creationId xmlns:a16="http://schemas.microsoft.com/office/drawing/2014/main" id="{1D098C4C-D134-4E60-9672-B0C6957E371C}"/>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40" name="Group 3439">
              <a:extLst>
                <a:ext uri="{FF2B5EF4-FFF2-40B4-BE49-F238E27FC236}">
                  <a16:creationId xmlns:a16="http://schemas.microsoft.com/office/drawing/2014/main" id="{A1E49843-4856-49B8-9568-380440492644}"/>
                </a:ext>
              </a:extLst>
            </p:cNvPr>
            <p:cNvGrpSpPr/>
            <p:nvPr/>
          </p:nvGrpSpPr>
          <p:grpSpPr>
            <a:xfrm flipH="1">
              <a:off x="7431194" y="3441791"/>
              <a:ext cx="148897" cy="143170"/>
              <a:chOff x="8636176" y="2775642"/>
              <a:chExt cx="1107958" cy="1150187"/>
            </a:xfrm>
            <a:solidFill>
              <a:schemeClr val="bg1">
                <a:lumMod val="95000"/>
              </a:schemeClr>
            </a:solidFill>
          </p:grpSpPr>
          <p:sp>
            <p:nvSpPr>
              <p:cNvPr id="3441" name="Parallelogram 3440">
                <a:extLst>
                  <a:ext uri="{FF2B5EF4-FFF2-40B4-BE49-F238E27FC236}">
                    <a16:creationId xmlns:a16="http://schemas.microsoft.com/office/drawing/2014/main" id="{7CE577EA-F29C-49A7-8022-3CB86A5F2791}"/>
                  </a:ext>
                </a:extLst>
              </p:cNvPr>
              <p:cNvSpPr/>
              <p:nvPr/>
            </p:nvSpPr>
            <p:spPr bwMode="auto">
              <a:xfrm>
                <a:off x="8646050"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42" name="Parallelogram 3441">
                <a:extLst>
                  <a:ext uri="{FF2B5EF4-FFF2-40B4-BE49-F238E27FC236}">
                    <a16:creationId xmlns:a16="http://schemas.microsoft.com/office/drawing/2014/main" id="{501C8DCB-4FA4-4039-AFE3-13E7108D84B8}"/>
                  </a:ext>
                </a:extLst>
              </p:cNvPr>
              <p:cNvSpPr/>
              <p:nvPr/>
            </p:nvSpPr>
            <p:spPr bwMode="auto">
              <a:xfrm rot="16200000" flipH="1">
                <a:off x="9079251" y="3221388"/>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43" name="Rectangle 3442">
                <a:extLst>
                  <a:ext uri="{FF2B5EF4-FFF2-40B4-BE49-F238E27FC236}">
                    <a16:creationId xmlns:a16="http://schemas.microsoft.com/office/drawing/2014/main" id="{A2D18A2F-178C-4098-998A-33E57F3CECD6}"/>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498" name="Group 3497">
            <a:extLst>
              <a:ext uri="{FF2B5EF4-FFF2-40B4-BE49-F238E27FC236}">
                <a16:creationId xmlns:a16="http://schemas.microsoft.com/office/drawing/2014/main" id="{9FF25F3B-1F23-40BD-B69D-6991ACA5B34C}"/>
              </a:ext>
            </a:extLst>
          </p:cNvPr>
          <p:cNvGrpSpPr/>
          <p:nvPr/>
        </p:nvGrpSpPr>
        <p:grpSpPr>
          <a:xfrm flipH="1">
            <a:off x="3898438" y="4720037"/>
            <a:ext cx="407021" cy="299131"/>
            <a:chOff x="7290563" y="3272789"/>
            <a:chExt cx="581571" cy="427409"/>
          </a:xfrm>
        </p:grpSpPr>
        <p:grpSp>
          <p:nvGrpSpPr>
            <p:cNvPr id="3499" name="Group 3498">
              <a:extLst>
                <a:ext uri="{FF2B5EF4-FFF2-40B4-BE49-F238E27FC236}">
                  <a16:creationId xmlns:a16="http://schemas.microsoft.com/office/drawing/2014/main" id="{E8ECCC70-7356-4DEB-9B60-83403797C826}"/>
                </a:ext>
              </a:extLst>
            </p:cNvPr>
            <p:cNvGrpSpPr/>
            <p:nvPr/>
          </p:nvGrpSpPr>
          <p:grpSpPr>
            <a:xfrm>
              <a:off x="7290563" y="3272789"/>
              <a:ext cx="501193" cy="368891"/>
              <a:chOff x="6333970" y="1980913"/>
              <a:chExt cx="843035" cy="669917"/>
            </a:xfrm>
            <a:solidFill>
              <a:schemeClr val="tx1">
                <a:lumMod val="20000"/>
                <a:lumOff val="80000"/>
              </a:schemeClr>
            </a:solidFill>
          </p:grpSpPr>
          <p:grpSp>
            <p:nvGrpSpPr>
              <p:cNvPr id="3528" name="Group 3527">
                <a:extLst>
                  <a:ext uri="{FF2B5EF4-FFF2-40B4-BE49-F238E27FC236}">
                    <a16:creationId xmlns:a16="http://schemas.microsoft.com/office/drawing/2014/main" id="{8005C006-9198-4270-981F-E98A3FFA9CD7}"/>
                  </a:ext>
                </a:extLst>
              </p:cNvPr>
              <p:cNvGrpSpPr/>
              <p:nvPr/>
            </p:nvGrpSpPr>
            <p:grpSpPr>
              <a:xfrm flipH="1">
                <a:off x="6923045" y="2390830"/>
                <a:ext cx="253960" cy="260000"/>
                <a:chOff x="8636176" y="2775642"/>
                <a:chExt cx="1123468" cy="1150187"/>
              </a:xfrm>
              <a:grpFill/>
            </p:grpSpPr>
            <p:sp>
              <p:nvSpPr>
                <p:cNvPr id="3561" name="Parallelogram 3560">
                  <a:extLst>
                    <a:ext uri="{FF2B5EF4-FFF2-40B4-BE49-F238E27FC236}">
                      <a16:creationId xmlns:a16="http://schemas.microsoft.com/office/drawing/2014/main" id="{B4F93301-1191-44CD-B389-58ADBE23B5AC}"/>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62" name="Parallelogram 3561">
                  <a:extLst>
                    <a:ext uri="{FF2B5EF4-FFF2-40B4-BE49-F238E27FC236}">
                      <a16:creationId xmlns:a16="http://schemas.microsoft.com/office/drawing/2014/main" id="{F4F2C4B8-A34E-4FAF-8A8D-513267331DCC}"/>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63" name="Rectangle 3562">
                  <a:extLst>
                    <a:ext uri="{FF2B5EF4-FFF2-40B4-BE49-F238E27FC236}">
                      <a16:creationId xmlns:a16="http://schemas.microsoft.com/office/drawing/2014/main" id="{7B3CAF17-FB63-4A70-8F33-B4933A2E28EA}"/>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29" name="Group 3528">
                <a:extLst>
                  <a:ext uri="{FF2B5EF4-FFF2-40B4-BE49-F238E27FC236}">
                    <a16:creationId xmlns:a16="http://schemas.microsoft.com/office/drawing/2014/main" id="{E0DBD683-F6D2-4476-AC98-3E3DEBCCD09E}"/>
                  </a:ext>
                </a:extLst>
              </p:cNvPr>
              <p:cNvGrpSpPr/>
              <p:nvPr/>
            </p:nvGrpSpPr>
            <p:grpSpPr>
              <a:xfrm flipH="1">
                <a:off x="6724417" y="2390830"/>
                <a:ext cx="255538" cy="260000"/>
                <a:chOff x="8629196" y="2775642"/>
                <a:chExt cx="1130448" cy="1150187"/>
              </a:xfrm>
              <a:grpFill/>
            </p:grpSpPr>
            <p:sp>
              <p:nvSpPr>
                <p:cNvPr id="3558" name="Parallelogram 3557">
                  <a:extLst>
                    <a:ext uri="{FF2B5EF4-FFF2-40B4-BE49-F238E27FC236}">
                      <a16:creationId xmlns:a16="http://schemas.microsoft.com/office/drawing/2014/main" id="{63242C28-DA40-4200-A5D4-2F1542F22D4C}"/>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59" name="Parallelogram 3558">
                  <a:extLst>
                    <a:ext uri="{FF2B5EF4-FFF2-40B4-BE49-F238E27FC236}">
                      <a16:creationId xmlns:a16="http://schemas.microsoft.com/office/drawing/2014/main" id="{A2CB3ACC-0AC1-42B5-8DF7-1F24883A829B}"/>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60" name="Rectangle 3559">
                  <a:extLst>
                    <a:ext uri="{FF2B5EF4-FFF2-40B4-BE49-F238E27FC236}">
                      <a16:creationId xmlns:a16="http://schemas.microsoft.com/office/drawing/2014/main" id="{5F648009-1E30-4508-BD78-2B3EB88C5FFB}"/>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30" name="Group 3529">
                <a:extLst>
                  <a:ext uri="{FF2B5EF4-FFF2-40B4-BE49-F238E27FC236}">
                    <a16:creationId xmlns:a16="http://schemas.microsoft.com/office/drawing/2014/main" id="{D54596EA-A270-4F21-8A45-02E25BF187F7}"/>
                  </a:ext>
                </a:extLst>
              </p:cNvPr>
              <p:cNvGrpSpPr/>
              <p:nvPr/>
            </p:nvGrpSpPr>
            <p:grpSpPr>
              <a:xfrm flipH="1">
                <a:off x="6528784" y="2390830"/>
                <a:ext cx="255538" cy="260000"/>
                <a:chOff x="8629196" y="2775642"/>
                <a:chExt cx="1130448" cy="1150187"/>
              </a:xfrm>
              <a:grpFill/>
            </p:grpSpPr>
            <p:sp>
              <p:nvSpPr>
                <p:cNvPr id="3555" name="Parallelogram 3554">
                  <a:extLst>
                    <a:ext uri="{FF2B5EF4-FFF2-40B4-BE49-F238E27FC236}">
                      <a16:creationId xmlns:a16="http://schemas.microsoft.com/office/drawing/2014/main" id="{5C5A19A3-B426-4E1E-B526-5441BD010B5F}"/>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56" name="Parallelogram 3555">
                  <a:extLst>
                    <a:ext uri="{FF2B5EF4-FFF2-40B4-BE49-F238E27FC236}">
                      <a16:creationId xmlns:a16="http://schemas.microsoft.com/office/drawing/2014/main" id="{92762F5F-5607-4A0A-BB60-649D62608541}"/>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57" name="Rectangle 3556">
                  <a:extLst>
                    <a:ext uri="{FF2B5EF4-FFF2-40B4-BE49-F238E27FC236}">
                      <a16:creationId xmlns:a16="http://schemas.microsoft.com/office/drawing/2014/main" id="{481FCE97-C271-4A94-AC43-A430E8CD9F0B}"/>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31" name="Group 3530">
                <a:extLst>
                  <a:ext uri="{FF2B5EF4-FFF2-40B4-BE49-F238E27FC236}">
                    <a16:creationId xmlns:a16="http://schemas.microsoft.com/office/drawing/2014/main" id="{5EC5FDBE-D8AD-4280-81F6-97830F2AD49C}"/>
                  </a:ext>
                </a:extLst>
              </p:cNvPr>
              <p:cNvGrpSpPr/>
              <p:nvPr/>
            </p:nvGrpSpPr>
            <p:grpSpPr>
              <a:xfrm flipH="1">
                <a:off x="6333970" y="2390830"/>
                <a:ext cx="250150" cy="260000"/>
                <a:chOff x="8636176" y="2775642"/>
                <a:chExt cx="1106614" cy="1150187"/>
              </a:xfrm>
              <a:grpFill/>
            </p:grpSpPr>
            <p:sp>
              <p:nvSpPr>
                <p:cNvPr id="3552" name="Parallelogram 3551">
                  <a:extLst>
                    <a:ext uri="{FF2B5EF4-FFF2-40B4-BE49-F238E27FC236}">
                      <a16:creationId xmlns:a16="http://schemas.microsoft.com/office/drawing/2014/main" id="{76C4BC69-4C9A-41A7-9DEA-2CA6F575E2C2}"/>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53" name="Parallelogram 3552">
                  <a:extLst>
                    <a:ext uri="{FF2B5EF4-FFF2-40B4-BE49-F238E27FC236}">
                      <a16:creationId xmlns:a16="http://schemas.microsoft.com/office/drawing/2014/main" id="{6CD52A88-DFE8-4B49-867A-87FD54025C38}"/>
                    </a:ext>
                  </a:extLst>
                </p:cNvPr>
                <p:cNvSpPr/>
                <p:nvPr/>
              </p:nvSpPr>
              <p:spPr bwMode="auto">
                <a:xfrm rot="16200000" flipH="1">
                  <a:off x="9079251" y="3229815"/>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54" name="Rectangle 3553">
                  <a:extLst>
                    <a:ext uri="{FF2B5EF4-FFF2-40B4-BE49-F238E27FC236}">
                      <a16:creationId xmlns:a16="http://schemas.microsoft.com/office/drawing/2014/main" id="{643DE550-989A-4189-A354-9722BFFDF4FE}"/>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32" name="Group 3531">
                <a:extLst>
                  <a:ext uri="{FF2B5EF4-FFF2-40B4-BE49-F238E27FC236}">
                    <a16:creationId xmlns:a16="http://schemas.microsoft.com/office/drawing/2014/main" id="{F21269C4-C194-4DD6-BEFC-F380DEE76211}"/>
                  </a:ext>
                </a:extLst>
              </p:cNvPr>
              <p:cNvGrpSpPr/>
              <p:nvPr/>
            </p:nvGrpSpPr>
            <p:grpSpPr>
              <a:xfrm flipH="1">
                <a:off x="6821158" y="2181555"/>
                <a:ext cx="253960" cy="260000"/>
                <a:chOff x="8636176" y="2775642"/>
                <a:chExt cx="1123468" cy="1150187"/>
              </a:xfrm>
              <a:grpFill/>
            </p:grpSpPr>
            <p:sp>
              <p:nvSpPr>
                <p:cNvPr id="3549" name="Parallelogram 3548">
                  <a:extLst>
                    <a:ext uri="{FF2B5EF4-FFF2-40B4-BE49-F238E27FC236}">
                      <a16:creationId xmlns:a16="http://schemas.microsoft.com/office/drawing/2014/main" id="{60C0934F-5FD8-47AF-ABD0-0AE833906872}"/>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50" name="Parallelogram 3549">
                  <a:extLst>
                    <a:ext uri="{FF2B5EF4-FFF2-40B4-BE49-F238E27FC236}">
                      <a16:creationId xmlns:a16="http://schemas.microsoft.com/office/drawing/2014/main" id="{815E8A9D-8A0C-4AFA-8E68-A439CCA19883}"/>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51" name="Rectangle 3550">
                  <a:extLst>
                    <a:ext uri="{FF2B5EF4-FFF2-40B4-BE49-F238E27FC236}">
                      <a16:creationId xmlns:a16="http://schemas.microsoft.com/office/drawing/2014/main" id="{03E676A3-D91D-4DD8-B3D1-14BE56DA653D}"/>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33" name="Group 3532">
                <a:extLst>
                  <a:ext uri="{FF2B5EF4-FFF2-40B4-BE49-F238E27FC236}">
                    <a16:creationId xmlns:a16="http://schemas.microsoft.com/office/drawing/2014/main" id="{C5D294F4-B27D-40C2-B0D0-22A9CF9B9C53}"/>
                  </a:ext>
                </a:extLst>
              </p:cNvPr>
              <p:cNvGrpSpPr/>
              <p:nvPr/>
            </p:nvGrpSpPr>
            <p:grpSpPr>
              <a:xfrm flipH="1">
                <a:off x="6629510" y="2181555"/>
                <a:ext cx="255538" cy="260000"/>
                <a:chOff x="8629196" y="2775642"/>
                <a:chExt cx="1130448" cy="1150187"/>
              </a:xfrm>
              <a:grpFill/>
            </p:grpSpPr>
            <p:sp>
              <p:nvSpPr>
                <p:cNvPr id="3546" name="Parallelogram 3545">
                  <a:extLst>
                    <a:ext uri="{FF2B5EF4-FFF2-40B4-BE49-F238E27FC236}">
                      <a16:creationId xmlns:a16="http://schemas.microsoft.com/office/drawing/2014/main" id="{D2F9CAC8-01B1-45B0-A790-A70C1C13E064}"/>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47" name="Parallelogram 3546">
                  <a:extLst>
                    <a:ext uri="{FF2B5EF4-FFF2-40B4-BE49-F238E27FC236}">
                      <a16:creationId xmlns:a16="http://schemas.microsoft.com/office/drawing/2014/main" id="{9020964E-63DD-4491-BC6C-993F55578E40}"/>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48" name="Rectangle 3547">
                  <a:extLst>
                    <a:ext uri="{FF2B5EF4-FFF2-40B4-BE49-F238E27FC236}">
                      <a16:creationId xmlns:a16="http://schemas.microsoft.com/office/drawing/2014/main" id="{69322DA5-F2FA-48E5-A33C-79B84373F3CE}"/>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34" name="Group 3533">
                <a:extLst>
                  <a:ext uri="{FF2B5EF4-FFF2-40B4-BE49-F238E27FC236}">
                    <a16:creationId xmlns:a16="http://schemas.microsoft.com/office/drawing/2014/main" id="{BBDE5935-01FB-41CE-8C95-09801F671F4C}"/>
                  </a:ext>
                </a:extLst>
              </p:cNvPr>
              <p:cNvGrpSpPr/>
              <p:nvPr/>
            </p:nvGrpSpPr>
            <p:grpSpPr>
              <a:xfrm flipH="1">
                <a:off x="6435318" y="2181555"/>
                <a:ext cx="250454" cy="260000"/>
                <a:chOff x="8636176" y="2775642"/>
                <a:chExt cx="1107958" cy="1150187"/>
              </a:xfrm>
              <a:grpFill/>
            </p:grpSpPr>
            <p:sp>
              <p:nvSpPr>
                <p:cNvPr id="3543" name="Parallelogram 3542">
                  <a:extLst>
                    <a:ext uri="{FF2B5EF4-FFF2-40B4-BE49-F238E27FC236}">
                      <a16:creationId xmlns:a16="http://schemas.microsoft.com/office/drawing/2014/main" id="{6A4142BC-3C2C-4A63-A651-B103210DCDC4}"/>
                    </a:ext>
                  </a:extLst>
                </p:cNvPr>
                <p:cNvSpPr/>
                <p:nvPr/>
              </p:nvSpPr>
              <p:spPr bwMode="auto">
                <a:xfrm>
                  <a:off x="8646050"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44" name="Parallelogram 3543">
                  <a:extLst>
                    <a:ext uri="{FF2B5EF4-FFF2-40B4-BE49-F238E27FC236}">
                      <a16:creationId xmlns:a16="http://schemas.microsoft.com/office/drawing/2014/main" id="{D4046F42-7CE5-4A60-8932-AD0C4912BA56}"/>
                    </a:ext>
                  </a:extLst>
                </p:cNvPr>
                <p:cNvSpPr/>
                <p:nvPr/>
              </p:nvSpPr>
              <p:spPr bwMode="auto">
                <a:xfrm rot="16200000" flipH="1">
                  <a:off x="9079251" y="3221388"/>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45" name="Rectangle 3544">
                  <a:extLst>
                    <a:ext uri="{FF2B5EF4-FFF2-40B4-BE49-F238E27FC236}">
                      <a16:creationId xmlns:a16="http://schemas.microsoft.com/office/drawing/2014/main" id="{824C6321-C853-4134-9321-BBAB65F59555}"/>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35" name="Group 3534">
                <a:extLst>
                  <a:ext uri="{FF2B5EF4-FFF2-40B4-BE49-F238E27FC236}">
                    <a16:creationId xmlns:a16="http://schemas.microsoft.com/office/drawing/2014/main" id="{073C6065-48CA-4310-94F8-60169E9B11BA}"/>
                  </a:ext>
                </a:extLst>
              </p:cNvPr>
              <p:cNvGrpSpPr/>
              <p:nvPr/>
            </p:nvGrpSpPr>
            <p:grpSpPr>
              <a:xfrm flipH="1">
                <a:off x="6676419" y="1980913"/>
                <a:ext cx="253960" cy="257467"/>
                <a:chOff x="8636176" y="2786845"/>
                <a:chExt cx="1123468" cy="1138984"/>
              </a:xfrm>
              <a:grpFill/>
            </p:grpSpPr>
            <p:sp>
              <p:nvSpPr>
                <p:cNvPr id="3540" name="Parallelogram 3539">
                  <a:extLst>
                    <a:ext uri="{FF2B5EF4-FFF2-40B4-BE49-F238E27FC236}">
                      <a16:creationId xmlns:a16="http://schemas.microsoft.com/office/drawing/2014/main" id="{62BC7EE3-A2FD-4753-A8E1-BACB4CC25615}"/>
                    </a:ext>
                  </a:extLst>
                </p:cNvPr>
                <p:cNvSpPr/>
                <p:nvPr/>
              </p:nvSpPr>
              <p:spPr bwMode="auto">
                <a:xfrm>
                  <a:off x="8637623" y="2792494"/>
                  <a:ext cx="1098084" cy="228994"/>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41" name="Parallelogram 3540">
                  <a:extLst>
                    <a:ext uri="{FF2B5EF4-FFF2-40B4-BE49-F238E27FC236}">
                      <a16:creationId xmlns:a16="http://schemas.microsoft.com/office/drawing/2014/main" id="{E1E3FE1F-120B-4DF7-AF9E-B5F9BCE763B5}"/>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42" name="Rectangle 3541">
                  <a:extLst>
                    <a:ext uri="{FF2B5EF4-FFF2-40B4-BE49-F238E27FC236}">
                      <a16:creationId xmlns:a16="http://schemas.microsoft.com/office/drawing/2014/main" id="{E73473B3-10C9-4104-8ABA-3E49955A56A2}"/>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36" name="Group 3535">
                <a:extLst>
                  <a:ext uri="{FF2B5EF4-FFF2-40B4-BE49-F238E27FC236}">
                    <a16:creationId xmlns:a16="http://schemas.microsoft.com/office/drawing/2014/main" id="{6BB53A8D-3154-493A-A5E8-E996A82A0072}"/>
                  </a:ext>
                </a:extLst>
              </p:cNvPr>
              <p:cNvGrpSpPr/>
              <p:nvPr/>
            </p:nvGrpSpPr>
            <p:grpSpPr>
              <a:xfrm flipH="1">
                <a:off x="6488278" y="1982191"/>
                <a:ext cx="250454" cy="256190"/>
                <a:chOff x="8636176" y="2792496"/>
                <a:chExt cx="1107958" cy="1133333"/>
              </a:xfrm>
              <a:grpFill/>
            </p:grpSpPr>
            <p:sp>
              <p:nvSpPr>
                <p:cNvPr id="3537" name="Parallelogram 3536">
                  <a:extLst>
                    <a:ext uri="{FF2B5EF4-FFF2-40B4-BE49-F238E27FC236}">
                      <a16:creationId xmlns:a16="http://schemas.microsoft.com/office/drawing/2014/main" id="{31214B41-0B9C-4706-9ED9-60FF38D71A01}"/>
                    </a:ext>
                  </a:extLst>
                </p:cNvPr>
                <p:cNvSpPr/>
                <p:nvPr/>
              </p:nvSpPr>
              <p:spPr bwMode="auto">
                <a:xfrm>
                  <a:off x="8646050" y="2792496"/>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38" name="Parallelogram 3537">
                  <a:extLst>
                    <a:ext uri="{FF2B5EF4-FFF2-40B4-BE49-F238E27FC236}">
                      <a16:creationId xmlns:a16="http://schemas.microsoft.com/office/drawing/2014/main" id="{6EC0686A-93FD-4C4A-BEE8-4E94A8420CC1}"/>
                    </a:ext>
                  </a:extLst>
                </p:cNvPr>
                <p:cNvSpPr/>
                <p:nvPr/>
              </p:nvSpPr>
              <p:spPr bwMode="auto">
                <a:xfrm rot="16200000" flipH="1">
                  <a:off x="9079249" y="3229819"/>
                  <a:ext cx="1098086"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39" name="Rectangle 3538">
                  <a:extLst>
                    <a:ext uri="{FF2B5EF4-FFF2-40B4-BE49-F238E27FC236}">
                      <a16:creationId xmlns:a16="http://schemas.microsoft.com/office/drawing/2014/main" id="{CD8FD42A-D43C-4239-81C3-9F43992A3AED}"/>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500" name="Group 3499">
              <a:extLst>
                <a:ext uri="{FF2B5EF4-FFF2-40B4-BE49-F238E27FC236}">
                  <a16:creationId xmlns:a16="http://schemas.microsoft.com/office/drawing/2014/main" id="{EFBFE72E-0E46-4FF2-865A-914CAA28B1B7}"/>
                </a:ext>
              </a:extLst>
            </p:cNvPr>
            <p:cNvGrpSpPr/>
            <p:nvPr/>
          </p:nvGrpSpPr>
          <p:grpSpPr>
            <a:xfrm flipH="1">
              <a:off x="7721152" y="3557028"/>
              <a:ext cx="150982" cy="143170"/>
              <a:chOff x="8636176" y="2775642"/>
              <a:chExt cx="1123468" cy="1150187"/>
            </a:xfrm>
            <a:solidFill>
              <a:schemeClr val="bg1">
                <a:lumMod val="95000"/>
              </a:schemeClr>
            </a:solidFill>
          </p:grpSpPr>
          <p:sp>
            <p:nvSpPr>
              <p:cNvPr id="3525" name="Parallelogram 3524">
                <a:extLst>
                  <a:ext uri="{FF2B5EF4-FFF2-40B4-BE49-F238E27FC236}">
                    <a16:creationId xmlns:a16="http://schemas.microsoft.com/office/drawing/2014/main" id="{E6171DCE-DDFD-4A87-B719-9F0EC0E60DD4}"/>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26" name="Parallelogram 3525">
                <a:extLst>
                  <a:ext uri="{FF2B5EF4-FFF2-40B4-BE49-F238E27FC236}">
                    <a16:creationId xmlns:a16="http://schemas.microsoft.com/office/drawing/2014/main" id="{71D3F24C-2D5D-416D-8A26-417B5E132953}"/>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27" name="Rectangle 3526">
                <a:extLst>
                  <a:ext uri="{FF2B5EF4-FFF2-40B4-BE49-F238E27FC236}">
                    <a16:creationId xmlns:a16="http://schemas.microsoft.com/office/drawing/2014/main" id="{79F8B653-A8F9-44D1-88DF-F7EDD99FBF7A}"/>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01" name="Group 3500">
              <a:extLst>
                <a:ext uri="{FF2B5EF4-FFF2-40B4-BE49-F238E27FC236}">
                  <a16:creationId xmlns:a16="http://schemas.microsoft.com/office/drawing/2014/main" id="{3EC7ED13-CCCC-4AA9-B44F-34045D5DF7BB}"/>
                </a:ext>
              </a:extLst>
            </p:cNvPr>
            <p:cNvGrpSpPr/>
            <p:nvPr/>
          </p:nvGrpSpPr>
          <p:grpSpPr>
            <a:xfrm flipH="1">
              <a:off x="7603066" y="3557028"/>
              <a:ext cx="151920" cy="143170"/>
              <a:chOff x="8629196" y="2775642"/>
              <a:chExt cx="1130448" cy="1150187"/>
            </a:xfrm>
            <a:solidFill>
              <a:schemeClr val="bg1">
                <a:lumMod val="95000"/>
              </a:schemeClr>
            </a:solidFill>
          </p:grpSpPr>
          <p:sp>
            <p:nvSpPr>
              <p:cNvPr id="3522" name="Parallelogram 3521">
                <a:extLst>
                  <a:ext uri="{FF2B5EF4-FFF2-40B4-BE49-F238E27FC236}">
                    <a16:creationId xmlns:a16="http://schemas.microsoft.com/office/drawing/2014/main" id="{167D72BC-F287-4984-AB01-1040A29BF141}"/>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23" name="Parallelogram 3522">
                <a:extLst>
                  <a:ext uri="{FF2B5EF4-FFF2-40B4-BE49-F238E27FC236}">
                    <a16:creationId xmlns:a16="http://schemas.microsoft.com/office/drawing/2014/main" id="{670D6953-340F-4102-9636-C41A57075DA9}"/>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24" name="Rectangle 3523">
                <a:extLst>
                  <a:ext uri="{FF2B5EF4-FFF2-40B4-BE49-F238E27FC236}">
                    <a16:creationId xmlns:a16="http://schemas.microsoft.com/office/drawing/2014/main" id="{FD6CDB63-531A-4B9A-8862-9946CA41C37A}"/>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02" name="Group 3501">
              <a:extLst>
                <a:ext uri="{FF2B5EF4-FFF2-40B4-BE49-F238E27FC236}">
                  <a16:creationId xmlns:a16="http://schemas.microsoft.com/office/drawing/2014/main" id="{13B2135F-1938-4752-A64C-CAB67B00DD94}"/>
                </a:ext>
              </a:extLst>
            </p:cNvPr>
            <p:cNvGrpSpPr/>
            <p:nvPr/>
          </p:nvGrpSpPr>
          <p:grpSpPr>
            <a:xfrm flipH="1">
              <a:off x="7486760" y="3557028"/>
              <a:ext cx="151920" cy="143170"/>
              <a:chOff x="8629196" y="2775642"/>
              <a:chExt cx="1130448" cy="1150187"/>
            </a:xfrm>
            <a:solidFill>
              <a:schemeClr val="bg1">
                <a:lumMod val="95000"/>
              </a:schemeClr>
            </a:solidFill>
          </p:grpSpPr>
          <p:sp>
            <p:nvSpPr>
              <p:cNvPr id="3519" name="Parallelogram 3518">
                <a:extLst>
                  <a:ext uri="{FF2B5EF4-FFF2-40B4-BE49-F238E27FC236}">
                    <a16:creationId xmlns:a16="http://schemas.microsoft.com/office/drawing/2014/main" id="{35C44530-5DFE-4085-909B-ECFB4ED2B33A}"/>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20" name="Parallelogram 3519">
                <a:extLst>
                  <a:ext uri="{FF2B5EF4-FFF2-40B4-BE49-F238E27FC236}">
                    <a16:creationId xmlns:a16="http://schemas.microsoft.com/office/drawing/2014/main" id="{1C263870-63B3-44E8-BFAA-849BBB9D060D}"/>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21" name="Rectangle 3520">
                <a:extLst>
                  <a:ext uri="{FF2B5EF4-FFF2-40B4-BE49-F238E27FC236}">
                    <a16:creationId xmlns:a16="http://schemas.microsoft.com/office/drawing/2014/main" id="{1512F1C7-DCB0-4E39-811E-C6CE97D0F98A}"/>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03" name="Group 3502">
              <a:extLst>
                <a:ext uri="{FF2B5EF4-FFF2-40B4-BE49-F238E27FC236}">
                  <a16:creationId xmlns:a16="http://schemas.microsoft.com/office/drawing/2014/main" id="{E45E28B4-1EDF-48DA-A1F5-09A5841825FF}"/>
                </a:ext>
              </a:extLst>
            </p:cNvPr>
            <p:cNvGrpSpPr/>
            <p:nvPr/>
          </p:nvGrpSpPr>
          <p:grpSpPr>
            <a:xfrm flipH="1">
              <a:off x="7370941" y="3557028"/>
              <a:ext cx="148717" cy="143170"/>
              <a:chOff x="8636176" y="2775642"/>
              <a:chExt cx="1106614" cy="1150187"/>
            </a:xfrm>
            <a:solidFill>
              <a:schemeClr val="bg1">
                <a:lumMod val="95000"/>
              </a:schemeClr>
            </a:solidFill>
          </p:grpSpPr>
          <p:sp>
            <p:nvSpPr>
              <p:cNvPr id="3516" name="Parallelogram 3515">
                <a:extLst>
                  <a:ext uri="{FF2B5EF4-FFF2-40B4-BE49-F238E27FC236}">
                    <a16:creationId xmlns:a16="http://schemas.microsoft.com/office/drawing/2014/main" id="{FD8EB59C-91DA-4C6F-BD34-3F03D937A581}"/>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17" name="Parallelogram 3516">
                <a:extLst>
                  <a:ext uri="{FF2B5EF4-FFF2-40B4-BE49-F238E27FC236}">
                    <a16:creationId xmlns:a16="http://schemas.microsoft.com/office/drawing/2014/main" id="{BFB391A4-00DF-4E4D-884B-43FFE21212CB}"/>
                  </a:ext>
                </a:extLst>
              </p:cNvPr>
              <p:cNvSpPr/>
              <p:nvPr/>
            </p:nvSpPr>
            <p:spPr bwMode="auto">
              <a:xfrm rot="16200000" flipH="1">
                <a:off x="9079251" y="3229815"/>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18" name="Rectangle 3517">
                <a:extLst>
                  <a:ext uri="{FF2B5EF4-FFF2-40B4-BE49-F238E27FC236}">
                    <a16:creationId xmlns:a16="http://schemas.microsoft.com/office/drawing/2014/main" id="{28E6FB2C-8125-4BCC-A27F-DCF49A172238}"/>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04" name="Group 3503">
              <a:extLst>
                <a:ext uri="{FF2B5EF4-FFF2-40B4-BE49-F238E27FC236}">
                  <a16:creationId xmlns:a16="http://schemas.microsoft.com/office/drawing/2014/main" id="{B9580BF6-98B1-489C-924E-8F95846642E1}"/>
                </a:ext>
              </a:extLst>
            </p:cNvPr>
            <p:cNvGrpSpPr/>
            <p:nvPr/>
          </p:nvGrpSpPr>
          <p:grpSpPr>
            <a:xfrm flipH="1">
              <a:off x="7660579" y="3441791"/>
              <a:ext cx="150982" cy="143170"/>
              <a:chOff x="8636176" y="2775642"/>
              <a:chExt cx="1123468" cy="1150187"/>
            </a:xfrm>
            <a:solidFill>
              <a:schemeClr val="bg1">
                <a:lumMod val="95000"/>
              </a:schemeClr>
            </a:solidFill>
          </p:grpSpPr>
          <p:sp>
            <p:nvSpPr>
              <p:cNvPr id="3513" name="Parallelogram 3512">
                <a:extLst>
                  <a:ext uri="{FF2B5EF4-FFF2-40B4-BE49-F238E27FC236}">
                    <a16:creationId xmlns:a16="http://schemas.microsoft.com/office/drawing/2014/main" id="{9B8FB951-6086-4F81-9D91-94D80B0C8EFC}"/>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14" name="Parallelogram 3513">
                <a:extLst>
                  <a:ext uri="{FF2B5EF4-FFF2-40B4-BE49-F238E27FC236}">
                    <a16:creationId xmlns:a16="http://schemas.microsoft.com/office/drawing/2014/main" id="{CDD81898-4D0E-4041-A1C6-D637C5124435}"/>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15" name="Rectangle 3514">
                <a:extLst>
                  <a:ext uri="{FF2B5EF4-FFF2-40B4-BE49-F238E27FC236}">
                    <a16:creationId xmlns:a16="http://schemas.microsoft.com/office/drawing/2014/main" id="{4D966555-64D8-43A7-BC9C-FF332F8BD9B2}"/>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05" name="Group 3504">
              <a:extLst>
                <a:ext uri="{FF2B5EF4-FFF2-40B4-BE49-F238E27FC236}">
                  <a16:creationId xmlns:a16="http://schemas.microsoft.com/office/drawing/2014/main" id="{94DEFC94-4485-4534-945C-C605698C0D9C}"/>
                </a:ext>
              </a:extLst>
            </p:cNvPr>
            <p:cNvGrpSpPr/>
            <p:nvPr/>
          </p:nvGrpSpPr>
          <p:grpSpPr>
            <a:xfrm flipH="1">
              <a:off x="7546643" y="3441791"/>
              <a:ext cx="151920" cy="143170"/>
              <a:chOff x="8629196" y="2775642"/>
              <a:chExt cx="1130448" cy="1150187"/>
            </a:xfrm>
            <a:solidFill>
              <a:schemeClr val="bg1">
                <a:lumMod val="95000"/>
              </a:schemeClr>
            </a:solidFill>
          </p:grpSpPr>
          <p:sp>
            <p:nvSpPr>
              <p:cNvPr id="3510" name="Parallelogram 3509">
                <a:extLst>
                  <a:ext uri="{FF2B5EF4-FFF2-40B4-BE49-F238E27FC236}">
                    <a16:creationId xmlns:a16="http://schemas.microsoft.com/office/drawing/2014/main" id="{9AC0F2CB-1499-4B48-8A5D-84719A6D607B}"/>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11" name="Parallelogram 3510">
                <a:extLst>
                  <a:ext uri="{FF2B5EF4-FFF2-40B4-BE49-F238E27FC236}">
                    <a16:creationId xmlns:a16="http://schemas.microsoft.com/office/drawing/2014/main" id="{A2A415B1-3D57-4E1C-AF34-4F1DC48BC542}"/>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12" name="Rectangle 3511">
                <a:extLst>
                  <a:ext uri="{FF2B5EF4-FFF2-40B4-BE49-F238E27FC236}">
                    <a16:creationId xmlns:a16="http://schemas.microsoft.com/office/drawing/2014/main" id="{FE8656DC-B250-407A-A02D-4A8642FD91A1}"/>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06" name="Group 3505">
              <a:extLst>
                <a:ext uri="{FF2B5EF4-FFF2-40B4-BE49-F238E27FC236}">
                  <a16:creationId xmlns:a16="http://schemas.microsoft.com/office/drawing/2014/main" id="{D92B2D9E-7496-432F-83E9-0A915EF446BB}"/>
                </a:ext>
              </a:extLst>
            </p:cNvPr>
            <p:cNvGrpSpPr/>
            <p:nvPr/>
          </p:nvGrpSpPr>
          <p:grpSpPr>
            <a:xfrm flipH="1">
              <a:off x="7431194" y="3441791"/>
              <a:ext cx="148897" cy="143170"/>
              <a:chOff x="8636176" y="2775642"/>
              <a:chExt cx="1107958" cy="1150187"/>
            </a:xfrm>
            <a:solidFill>
              <a:schemeClr val="bg1">
                <a:lumMod val="95000"/>
              </a:schemeClr>
            </a:solidFill>
          </p:grpSpPr>
          <p:sp>
            <p:nvSpPr>
              <p:cNvPr id="3507" name="Parallelogram 3506">
                <a:extLst>
                  <a:ext uri="{FF2B5EF4-FFF2-40B4-BE49-F238E27FC236}">
                    <a16:creationId xmlns:a16="http://schemas.microsoft.com/office/drawing/2014/main" id="{74F711F5-A944-41A4-93B2-B0B00CA2D01B}"/>
                  </a:ext>
                </a:extLst>
              </p:cNvPr>
              <p:cNvSpPr/>
              <p:nvPr/>
            </p:nvSpPr>
            <p:spPr bwMode="auto">
              <a:xfrm>
                <a:off x="8646050"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08" name="Parallelogram 3507">
                <a:extLst>
                  <a:ext uri="{FF2B5EF4-FFF2-40B4-BE49-F238E27FC236}">
                    <a16:creationId xmlns:a16="http://schemas.microsoft.com/office/drawing/2014/main" id="{B7C89E18-A00E-45F9-8782-5A8D640CA472}"/>
                  </a:ext>
                </a:extLst>
              </p:cNvPr>
              <p:cNvSpPr/>
              <p:nvPr/>
            </p:nvSpPr>
            <p:spPr bwMode="auto">
              <a:xfrm rot="16200000" flipH="1">
                <a:off x="9079251" y="3221388"/>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09" name="Rectangle 3508">
                <a:extLst>
                  <a:ext uri="{FF2B5EF4-FFF2-40B4-BE49-F238E27FC236}">
                    <a16:creationId xmlns:a16="http://schemas.microsoft.com/office/drawing/2014/main" id="{58751BCD-A38E-4EA6-94D5-362FDB90E93A}"/>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564" name="Group 3563">
            <a:extLst>
              <a:ext uri="{FF2B5EF4-FFF2-40B4-BE49-F238E27FC236}">
                <a16:creationId xmlns:a16="http://schemas.microsoft.com/office/drawing/2014/main" id="{8156221F-8B9F-4CEE-A8A1-0A2D03DD2234}"/>
              </a:ext>
            </a:extLst>
          </p:cNvPr>
          <p:cNvGrpSpPr/>
          <p:nvPr/>
        </p:nvGrpSpPr>
        <p:grpSpPr>
          <a:xfrm>
            <a:off x="4008466" y="3907588"/>
            <a:ext cx="921522" cy="757761"/>
            <a:chOff x="1584983" y="2684261"/>
            <a:chExt cx="685020" cy="563286"/>
          </a:xfrm>
        </p:grpSpPr>
        <p:sp>
          <p:nvSpPr>
            <p:cNvPr id="3565" name="Rectangle 3564">
              <a:extLst>
                <a:ext uri="{FF2B5EF4-FFF2-40B4-BE49-F238E27FC236}">
                  <a16:creationId xmlns:a16="http://schemas.microsoft.com/office/drawing/2014/main" id="{6B1857D9-E638-43BC-8BB3-F10581A3B8E8}"/>
                </a:ext>
              </a:extLst>
            </p:cNvPr>
            <p:cNvSpPr/>
            <p:nvPr/>
          </p:nvSpPr>
          <p:spPr bwMode="auto">
            <a:xfrm rot="2366189">
              <a:off x="2009645" y="3010801"/>
              <a:ext cx="82484" cy="156469"/>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66" name="Rectangle 21">
              <a:extLst>
                <a:ext uri="{FF2B5EF4-FFF2-40B4-BE49-F238E27FC236}">
                  <a16:creationId xmlns:a16="http://schemas.microsoft.com/office/drawing/2014/main" id="{6F437DCC-2F18-4266-AC79-B8C8491FB3C9}"/>
                </a:ext>
              </a:extLst>
            </p:cNvPr>
            <p:cNvSpPr/>
            <p:nvPr/>
          </p:nvSpPr>
          <p:spPr bwMode="auto">
            <a:xfrm rot="19936818">
              <a:off x="1991676" y="2736193"/>
              <a:ext cx="87992" cy="2360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67" name="Rectangle 29">
              <a:extLst>
                <a:ext uri="{FF2B5EF4-FFF2-40B4-BE49-F238E27FC236}">
                  <a16:creationId xmlns:a16="http://schemas.microsoft.com/office/drawing/2014/main" id="{FD9647C5-E118-4546-BC8B-43F3700F9E69}"/>
                </a:ext>
              </a:extLst>
            </p:cNvPr>
            <p:cNvSpPr/>
            <p:nvPr/>
          </p:nvSpPr>
          <p:spPr bwMode="auto">
            <a:xfrm rot="15300000">
              <a:off x="1790684" y="2668102"/>
              <a:ext cx="67579" cy="22831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68" name="Oval 3567">
              <a:extLst>
                <a:ext uri="{FF2B5EF4-FFF2-40B4-BE49-F238E27FC236}">
                  <a16:creationId xmlns:a16="http://schemas.microsoft.com/office/drawing/2014/main" id="{E3250907-56BC-4F3A-A121-401135EBC74C}"/>
                </a:ext>
              </a:extLst>
            </p:cNvPr>
            <p:cNvSpPr/>
            <p:nvPr/>
          </p:nvSpPr>
          <p:spPr bwMode="auto">
            <a:xfrm>
              <a:off x="1999737" y="2920754"/>
              <a:ext cx="160529" cy="162391"/>
            </a:xfrm>
            <a:prstGeom prst="ellipse">
              <a:avLst/>
            </a:prstGeom>
            <a:solidFill>
              <a:srgbClr val="BFBFBF"/>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69" name="Rectangle 3568">
              <a:extLst>
                <a:ext uri="{FF2B5EF4-FFF2-40B4-BE49-F238E27FC236}">
                  <a16:creationId xmlns:a16="http://schemas.microsoft.com/office/drawing/2014/main" id="{A641B8FA-F16C-48FE-83F1-6537BF3A6ADF}"/>
                </a:ext>
              </a:extLst>
            </p:cNvPr>
            <p:cNvSpPr/>
            <p:nvPr/>
          </p:nvSpPr>
          <p:spPr bwMode="auto">
            <a:xfrm rot="11618614">
              <a:off x="1660987" y="2854183"/>
              <a:ext cx="44082" cy="80125"/>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70" name="Oval 3569">
              <a:extLst>
                <a:ext uri="{FF2B5EF4-FFF2-40B4-BE49-F238E27FC236}">
                  <a16:creationId xmlns:a16="http://schemas.microsoft.com/office/drawing/2014/main" id="{DE179F2B-D4BE-49E3-8B54-76FEA3005363}"/>
                </a:ext>
              </a:extLst>
            </p:cNvPr>
            <p:cNvSpPr/>
            <p:nvPr/>
          </p:nvSpPr>
          <p:spPr bwMode="auto">
            <a:xfrm rot="11681175">
              <a:off x="1644543" y="2915902"/>
              <a:ext cx="50566" cy="51153"/>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571" name="Group 3570">
              <a:extLst>
                <a:ext uri="{FF2B5EF4-FFF2-40B4-BE49-F238E27FC236}">
                  <a16:creationId xmlns:a16="http://schemas.microsoft.com/office/drawing/2014/main" id="{35B492B0-14AB-47DC-BB0D-AB25503CA2D4}"/>
                </a:ext>
              </a:extLst>
            </p:cNvPr>
            <p:cNvGrpSpPr/>
            <p:nvPr/>
          </p:nvGrpSpPr>
          <p:grpSpPr>
            <a:xfrm rot="2114316">
              <a:off x="1584983" y="2906735"/>
              <a:ext cx="45201" cy="125794"/>
              <a:chOff x="5422401" y="1772114"/>
              <a:chExt cx="99173" cy="272833"/>
            </a:xfrm>
            <a:solidFill>
              <a:srgbClr val="505050">
                <a:lumMod val="40000"/>
                <a:lumOff val="60000"/>
              </a:srgbClr>
            </a:solidFill>
          </p:grpSpPr>
          <p:sp>
            <p:nvSpPr>
              <p:cNvPr id="3583" name="Rectangle 3582">
                <a:extLst>
                  <a:ext uri="{FF2B5EF4-FFF2-40B4-BE49-F238E27FC236}">
                    <a16:creationId xmlns:a16="http://schemas.microsoft.com/office/drawing/2014/main" id="{CEE100CC-DC26-4AF5-9AE8-BFAB05061518}"/>
                  </a:ext>
                </a:extLst>
              </p:cNvPr>
              <p:cNvSpPr/>
              <p:nvPr/>
            </p:nvSpPr>
            <p:spPr bwMode="auto">
              <a:xfrm rot="13260000" flipH="1">
                <a:off x="5460056" y="1772114"/>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84" name="Diagonal Stripe 3583">
                <a:extLst>
                  <a:ext uri="{FF2B5EF4-FFF2-40B4-BE49-F238E27FC236}">
                    <a16:creationId xmlns:a16="http://schemas.microsoft.com/office/drawing/2014/main" id="{E122C95C-ACD4-4388-AEE1-8C7504ECE3A0}"/>
                  </a:ext>
                </a:extLst>
              </p:cNvPr>
              <p:cNvSpPr/>
              <p:nvPr/>
            </p:nvSpPr>
            <p:spPr bwMode="auto">
              <a:xfrm rot="19432650">
                <a:off x="5422401" y="1862067"/>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572" name="Rounded Rectangle 1424">
              <a:extLst>
                <a:ext uri="{FF2B5EF4-FFF2-40B4-BE49-F238E27FC236}">
                  <a16:creationId xmlns:a16="http://schemas.microsoft.com/office/drawing/2014/main" id="{9CBF1174-49B8-4ECF-9706-947C525C88FB}"/>
                </a:ext>
              </a:extLst>
            </p:cNvPr>
            <p:cNvSpPr/>
            <p:nvPr/>
          </p:nvSpPr>
          <p:spPr bwMode="auto">
            <a:xfrm>
              <a:off x="1841087" y="3117009"/>
              <a:ext cx="385504" cy="122966"/>
            </a:xfrm>
            <a:prstGeom prst="round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73" name="Rounded Rectangle 1425">
              <a:extLst>
                <a:ext uri="{FF2B5EF4-FFF2-40B4-BE49-F238E27FC236}">
                  <a16:creationId xmlns:a16="http://schemas.microsoft.com/office/drawing/2014/main" id="{DD7EFD3E-D532-4042-9226-1BE51810823F}"/>
                </a:ext>
              </a:extLst>
            </p:cNvPr>
            <p:cNvSpPr/>
            <p:nvPr/>
          </p:nvSpPr>
          <p:spPr bwMode="auto">
            <a:xfrm>
              <a:off x="1797675" y="3178490"/>
              <a:ext cx="472328" cy="69057"/>
            </a:xfrm>
            <a:prstGeom prst="round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574" name="Group 3573">
              <a:extLst>
                <a:ext uri="{FF2B5EF4-FFF2-40B4-BE49-F238E27FC236}">
                  <a16:creationId xmlns:a16="http://schemas.microsoft.com/office/drawing/2014/main" id="{853DB6B0-6F33-492F-88DA-BC2F35D5ABDE}"/>
                </a:ext>
              </a:extLst>
            </p:cNvPr>
            <p:cNvGrpSpPr/>
            <p:nvPr/>
          </p:nvGrpSpPr>
          <p:grpSpPr>
            <a:xfrm flipH="1">
              <a:off x="1664084" y="2784794"/>
              <a:ext cx="81714" cy="82662"/>
              <a:chOff x="4394973" y="1762558"/>
              <a:chExt cx="352210" cy="352210"/>
            </a:xfrm>
            <a:solidFill>
              <a:srgbClr val="FFFFFF">
                <a:lumMod val="75000"/>
              </a:srgbClr>
            </a:solidFill>
          </p:grpSpPr>
          <p:grpSp>
            <p:nvGrpSpPr>
              <p:cNvPr id="3577" name="Group 3576">
                <a:extLst>
                  <a:ext uri="{FF2B5EF4-FFF2-40B4-BE49-F238E27FC236}">
                    <a16:creationId xmlns:a16="http://schemas.microsoft.com/office/drawing/2014/main" id="{B7737E00-4529-4367-A806-82267093CAB8}"/>
                  </a:ext>
                </a:extLst>
              </p:cNvPr>
              <p:cNvGrpSpPr/>
              <p:nvPr/>
            </p:nvGrpSpPr>
            <p:grpSpPr>
              <a:xfrm flipH="1">
                <a:off x="4394973" y="1762558"/>
                <a:ext cx="352210" cy="352210"/>
                <a:chOff x="5411363" y="1755522"/>
                <a:chExt cx="316187" cy="316187"/>
              </a:xfrm>
              <a:grpFill/>
            </p:grpSpPr>
            <p:sp>
              <p:nvSpPr>
                <p:cNvPr id="3580" name="Oval 3579">
                  <a:extLst>
                    <a:ext uri="{FF2B5EF4-FFF2-40B4-BE49-F238E27FC236}">
                      <a16:creationId xmlns:a16="http://schemas.microsoft.com/office/drawing/2014/main" id="{3DD7D310-E9EF-4366-AB01-BDAF8CA26DC6}"/>
                    </a:ext>
                  </a:extLst>
                </p:cNvPr>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81" name="Oval 3580">
                  <a:extLst>
                    <a:ext uri="{FF2B5EF4-FFF2-40B4-BE49-F238E27FC236}">
                      <a16:creationId xmlns:a16="http://schemas.microsoft.com/office/drawing/2014/main" id="{55EDBFBE-4E7A-4CDE-807B-41DB94DA95F4}"/>
                    </a:ext>
                  </a:extLst>
                </p:cNvPr>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82" name="Oval 3581">
                  <a:extLst>
                    <a:ext uri="{FF2B5EF4-FFF2-40B4-BE49-F238E27FC236}">
                      <a16:creationId xmlns:a16="http://schemas.microsoft.com/office/drawing/2014/main" id="{F6CF2879-6B0B-430B-B8B4-904D97AEC9B7}"/>
                    </a:ext>
                  </a:extLst>
                </p:cNvPr>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578" name="Rectangle 3577">
                <a:extLst>
                  <a:ext uri="{FF2B5EF4-FFF2-40B4-BE49-F238E27FC236}">
                    <a16:creationId xmlns:a16="http://schemas.microsoft.com/office/drawing/2014/main" id="{05E82792-DC33-4EC3-8FF0-D90B9C37FBA6}"/>
                  </a:ext>
                </a:extLst>
              </p:cNvPr>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79" name="Rectangle 3578">
                <a:extLst>
                  <a:ext uri="{FF2B5EF4-FFF2-40B4-BE49-F238E27FC236}">
                    <a16:creationId xmlns:a16="http://schemas.microsoft.com/office/drawing/2014/main" id="{13BE358B-86AF-4795-B1C4-783985987655}"/>
                  </a:ext>
                </a:extLst>
              </p:cNvPr>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575" name="Rectangle 3574">
              <a:extLst>
                <a:ext uri="{FF2B5EF4-FFF2-40B4-BE49-F238E27FC236}">
                  <a16:creationId xmlns:a16="http://schemas.microsoft.com/office/drawing/2014/main" id="{15FA4CB0-69D2-4F5D-BC44-A26425EA5F66}"/>
                </a:ext>
              </a:extLst>
            </p:cNvPr>
            <p:cNvSpPr/>
            <p:nvPr/>
          </p:nvSpPr>
          <p:spPr bwMode="auto">
            <a:xfrm rot="9158614">
              <a:off x="1688138" y="2948990"/>
              <a:ext cx="20838" cy="63238"/>
            </a:xfrm>
            <a:prstGeom prst="rect">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76" name="Oval 3575">
              <a:extLst>
                <a:ext uri="{FF2B5EF4-FFF2-40B4-BE49-F238E27FC236}">
                  <a16:creationId xmlns:a16="http://schemas.microsoft.com/office/drawing/2014/main" id="{764235D4-297E-432F-9AA1-2BBAF9C9F50C}"/>
                </a:ext>
              </a:extLst>
            </p:cNvPr>
            <p:cNvSpPr/>
            <p:nvPr/>
          </p:nvSpPr>
          <p:spPr bwMode="auto">
            <a:xfrm>
              <a:off x="1910473" y="2684261"/>
              <a:ext cx="116912" cy="118269"/>
            </a:xfrm>
            <a:prstGeom prst="ellipse">
              <a:avLst/>
            </a:prstGeom>
            <a:solidFill>
              <a:srgbClr val="6BC082"/>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85" name="Group 3584">
            <a:extLst>
              <a:ext uri="{FF2B5EF4-FFF2-40B4-BE49-F238E27FC236}">
                <a16:creationId xmlns:a16="http://schemas.microsoft.com/office/drawing/2014/main" id="{A54E0A83-6616-46F5-A47B-51A17F2D1D54}"/>
              </a:ext>
            </a:extLst>
          </p:cNvPr>
          <p:cNvGrpSpPr/>
          <p:nvPr/>
        </p:nvGrpSpPr>
        <p:grpSpPr>
          <a:xfrm>
            <a:off x="3611338" y="3569420"/>
            <a:ext cx="1585348" cy="171269"/>
            <a:chOff x="0" y="2988191"/>
            <a:chExt cx="10747584" cy="341137"/>
          </a:xfrm>
        </p:grpSpPr>
        <p:sp>
          <p:nvSpPr>
            <p:cNvPr id="3586" name="Rectangle 3585">
              <a:extLst>
                <a:ext uri="{FF2B5EF4-FFF2-40B4-BE49-F238E27FC236}">
                  <a16:creationId xmlns:a16="http://schemas.microsoft.com/office/drawing/2014/main" id="{0DB17BBD-344F-4E97-9212-C2088E3E9334}"/>
                </a:ext>
              </a:extLst>
            </p:cNvPr>
            <p:cNvSpPr/>
            <p:nvPr/>
          </p:nvSpPr>
          <p:spPr bwMode="auto">
            <a:xfrm>
              <a:off x="0" y="2988191"/>
              <a:ext cx="10747584" cy="289165"/>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87" name="Rectangle 3586">
              <a:extLst>
                <a:ext uri="{FF2B5EF4-FFF2-40B4-BE49-F238E27FC236}">
                  <a16:creationId xmlns:a16="http://schemas.microsoft.com/office/drawing/2014/main" id="{E926BF47-B683-4765-BEA1-B21A9295D287}"/>
                </a:ext>
              </a:extLst>
            </p:cNvPr>
            <p:cNvSpPr/>
            <p:nvPr/>
          </p:nvSpPr>
          <p:spPr bwMode="auto">
            <a:xfrm>
              <a:off x="0" y="3277355"/>
              <a:ext cx="10747584" cy="51973"/>
            </a:xfrm>
            <a:prstGeom prst="rect">
              <a:avLst/>
            </a:prstGeom>
            <a:solidFill>
              <a:srgbClr val="B4B4B4"/>
            </a:solidFill>
            <a:ln>
              <a:noFill/>
            </a:ln>
          </p:spPr>
          <p:txBody>
            <a:bodyPr vert="horz" wrap="square" lIns="119476" tIns="59738" rIns="119476" bIns="59738" numCol="1" anchor="t" anchorCtr="0" compatLnSpc="1">
              <a:prstTxWarp prst="textNoShape">
                <a:avLst/>
              </a:prstTxWarp>
            </a:bodyPr>
            <a:lstStyle/>
            <a:p>
              <a:pPr defTabSz="1194653">
                <a:defRPr/>
              </a:pPr>
              <a:endParaRPr lang="en-US" sz="2352" kern="0" dirty="0">
                <a:solidFill>
                  <a:srgbClr val="505050"/>
                </a:solidFill>
                <a:latin typeface="Arial"/>
              </a:endParaRPr>
            </a:p>
          </p:txBody>
        </p:sp>
      </p:grpSp>
      <p:grpSp>
        <p:nvGrpSpPr>
          <p:cNvPr id="3588" name="Group 3587">
            <a:extLst>
              <a:ext uri="{FF2B5EF4-FFF2-40B4-BE49-F238E27FC236}">
                <a16:creationId xmlns:a16="http://schemas.microsoft.com/office/drawing/2014/main" id="{73B474EA-F691-406E-B6B4-CE41693EC3F0}"/>
              </a:ext>
            </a:extLst>
          </p:cNvPr>
          <p:cNvGrpSpPr/>
          <p:nvPr/>
        </p:nvGrpSpPr>
        <p:grpSpPr>
          <a:xfrm>
            <a:off x="3054165" y="4355512"/>
            <a:ext cx="2142518" cy="186586"/>
            <a:chOff x="-454808" y="2988197"/>
            <a:chExt cx="11202377" cy="371643"/>
          </a:xfrm>
        </p:grpSpPr>
        <p:sp>
          <p:nvSpPr>
            <p:cNvPr id="3589" name="Rectangle 3048">
              <a:extLst>
                <a:ext uri="{FF2B5EF4-FFF2-40B4-BE49-F238E27FC236}">
                  <a16:creationId xmlns:a16="http://schemas.microsoft.com/office/drawing/2014/main" id="{EDCE6868-4E5D-4B5B-AD2C-28BA64737FEF}"/>
                </a:ext>
              </a:extLst>
            </p:cNvPr>
            <p:cNvSpPr/>
            <p:nvPr/>
          </p:nvSpPr>
          <p:spPr bwMode="auto">
            <a:xfrm>
              <a:off x="-454808" y="2988197"/>
              <a:ext cx="11202377" cy="289166"/>
            </a:xfrm>
            <a:custGeom>
              <a:avLst/>
              <a:gdLst>
                <a:gd name="connsiteX0" fmla="*/ 0 w 2070861"/>
                <a:gd name="connsiteY0" fmla="*/ 0 h 146259"/>
                <a:gd name="connsiteX1" fmla="*/ 2070861 w 2070861"/>
                <a:gd name="connsiteY1" fmla="*/ 0 h 146259"/>
                <a:gd name="connsiteX2" fmla="*/ 2070861 w 2070861"/>
                <a:gd name="connsiteY2" fmla="*/ 146259 h 146259"/>
                <a:gd name="connsiteX3" fmla="*/ 0 w 2070861"/>
                <a:gd name="connsiteY3" fmla="*/ 146259 h 146259"/>
                <a:gd name="connsiteX4" fmla="*/ 0 w 2070861"/>
                <a:gd name="connsiteY4" fmla="*/ 0 h 146259"/>
                <a:gd name="connsiteX0" fmla="*/ 68580 w 2139441"/>
                <a:gd name="connsiteY0" fmla="*/ 0 h 146259"/>
                <a:gd name="connsiteX1" fmla="*/ 2139441 w 2139441"/>
                <a:gd name="connsiteY1" fmla="*/ 0 h 146259"/>
                <a:gd name="connsiteX2" fmla="*/ 2139441 w 2139441"/>
                <a:gd name="connsiteY2" fmla="*/ 146259 h 146259"/>
                <a:gd name="connsiteX3" fmla="*/ 0 w 2139441"/>
                <a:gd name="connsiteY3" fmla="*/ 143719 h 146259"/>
                <a:gd name="connsiteX4" fmla="*/ 68580 w 2139441"/>
                <a:gd name="connsiteY4" fmla="*/ 0 h 146259"/>
                <a:gd name="connsiteX0" fmla="*/ 76200 w 2147061"/>
                <a:gd name="connsiteY0" fmla="*/ 0 h 146259"/>
                <a:gd name="connsiteX1" fmla="*/ 2147061 w 2147061"/>
                <a:gd name="connsiteY1" fmla="*/ 0 h 146259"/>
                <a:gd name="connsiteX2" fmla="*/ 2147061 w 2147061"/>
                <a:gd name="connsiteY2" fmla="*/ 146259 h 146259"/>
                <a:gd name="connsiteX3" fmla="*/ 0 w 2147061"/>
                <a:gd name="connsiteY3" fmla="*/ 143719 h 146259"/>
                <a:gd name="connsiteX4" fmla="*/ 76200 w 2147061"/>
                <a:gd name="connsiteY4" fmla="*/ 0 h 146259"/>
                <a:gd name="connsiteX0" fmla="*/ 87630 w 2158491"/>
                <a:gd name="connsiteY0" fmla="*/ 0 h 146259"/>
                <a:gd name="connsiteX1" fmla="*/ 2158491 w 2158491"/>
                <a:gd name="connsiteY1" fmla="*/ 0 h 146259"/>
                <a:gd name="connsiteX2" fmla="*/ 2158491 w 2158491"/>
                <a:gd name="connsiteY2" fmla="*/ 146259 h 146259"/>
                <a:gd name="connsiteX3" fmla="*/ 0 w 2158491"/>
                <a:gd name="connsiteY3" fmla="*/ 143719 h 146259"/>
                <a:gd name="connsiteX4" fmla="*/ 87630 w 2158491"/>
                <a:gd name="connsiteY4" fmla="*/ 0 h 146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8491" h="146259">
                  <a:moveTo>
                    <a:pt x="87630" y="0"/>
                  </a:moveTo>
                  <a:lnTo>
                    <a:pt x="2158491" y="0"/>
                  </a:lnTo>
                  <a:lnTo>
                    <a:pt x="2158491" y="146259"/>
                  </a:lnTo>
                  <a:lnTo>
                    <a:pt x="0" y="143719"/>
                  </a:lnTo>
                  <a:lnTo>
                    <a:pt x="87630" y="0"/>
                  </a:lnTo>
                  <a:close/>
                </a:path>
              </a:pathLst>
            </a:cu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90" name="Rectangle 3589">
              <a:extLst>
                <a:ext uri="{FF2B5EF4-FFF2-40B4-BE49-F238E27FC236}">
                  <a16:creationId xmlns:a16="http://schemas.microsoft.com/office/drawing/2014/main" id="{AE81041D-6C80-4965-9A8F-E044288E2C18}"/>
                </a:ext>
              </a:extLst>
            </p:cNvPr>
            <p:cNvSpPr/>
            <p:nvPr/>
          </p:nvSpPr>
          <p:spPr bwMode="auto">
            <a:xfrm>
              <a:off x="-430068" y="3257266"/>
              <a:ext cx="11164470" cy="102574"/>
            </a:xfrm>
            <a:prstGeom prst="rect">
              <a:avLst/>
            </a:prstGeom>
            <a:solidFill>
              <a:srgbClr val="B4B4B4"/>
            </a:solidFill>
            <a:ln>
              <a:noFill/>
            </a:ln>
          </p:spPr>
          <p:txBody>
            <a:bodyPr vert="horz" wrap="square" lIns="119476" tIns="59738" rIns="119476" bIns="59738" numCol="1" anchor="t" anchorCtr="0" compatLnSpc="1">
              <a:prstTxWarp prst="textNoShape">
                <a:avLst/>
              </a:prstTxWarp>
            </a:bodyPr>
            <a:lstStyle/>
            <a:p>
              <a:pPr defTabSz="1194653">
                <a:defRPr/>
              </a:pPr>
              <a:endParaRPr lang="en-US" sz="2352" kern="0" dirty="0">
                <a:solidFill>
                  <a:srgbClr val="505050"/>
                </a:solidFill>
                <a:latin typeface="Arial"/>
              </a:endParaRPr>
            </a:p>
          </p:txBody>
        </p:sp>
      </p:grpSp>
      <p:sp>
        <p:nvSpPr>
          <p:cNvPr id="3591" name="Diagonal Stripe 3590">
            <a:extLst>
              <a:ext uri="{FF2B5EF4-FFF2-40B4-BE49-F238E27FC236}">
                <a16:creationId xmlns:a16="http://schemas.microsoft.com/office/drawing/2014/main" id="{4D656FAE-43EC-4DD2-8958-30F28A48B482}"/>
              </a:ext>
            </a:extLst>
          </p:cNvPr>
          <p:cNvSpPr/>
          <p:nvPr/>
        </p:nvSpPr>
        <p:spPr bwMode="auto">
          <a:xfrm rot="2985964" flipH="1">
            <a:off x="4115577" y="4319806"/>
            <a:ext cx="61511" cy="112129"/>
          </a:xfrm>
          <a:prstGeom prst="diagStripe">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592" name="Group 3591">
            <a:extLst>
              <a:ext uri="{FF2B5EF4-FFF2-40B4-BE49-F238E27FC236}">
                <a16:creationId xmlns:a16="http://schemas.microsoft.com/office/drawing/2014/main" id="{57C3988D-D7BC-4601-879A-A78FAFFE31DF}"/>
              </a:ext>
            </a:extLst>
          </p:cNvPr>
          <p:cNvGrpSpPr/>
          <p:nvPr/>
        </p:nvGrpSpPr>
        <p:grpSpPr>
          <a:xfrm flipH="1">
            <a:off x="3900445" y="4267927"/>
            <a:ext cx="177806" cy="212865"/>
            <a:chOff x="6684433" y="2794000"/>
            <a:chExt cx="639233" cy="866932"/>
          </a:xfrm>
        </p:grpSpPr>
        <p:sp>
          <p:nvSpPr>
            <p:cNvPr id="3593" name="Freeform: Shape 162">
              <a:extLst>
                <a:ext uri="{FF2B5EF4-FFF2-40B4-BE49-F238E27FC236}">
                  <a16:creationId xmlns:a16="http://schemas.microsoft.com/office/drawing/2014/main" id="{08FDD568-F54D-48C3-B1ED-971C7A2A3BBE}"/>
                </a:ext>
              </a:extLst>
            </p:cNvPr>
            <p:cNvSpPr/>
            <p:nvPr/>
          </p:nvSpPr>
          <p:spPr bwMode="auto">
            <a:xfrm>
              <a:off x="6980587" y="2964019"/>
              <a:ext cx="341539" cy="696913"/>
            </a:xfrm>
            <a:custGeom>
              <a:avLst/>
              <a:gdLst>
                <a:gd name="connsiteX0" fmla="*/ 632522 w 632929"/>
                <a:gd name="connsiteY0" fmla="*/ 0 h 696913"/>
                <a:gd name="connsiteX1" fmla="*/ 632523 w 632929"/>
                <a:gd name="connsiteY1" fmla="*/ 502179 h 696913"/>
                <a:gd name="connsiteX2" fmla="*/ 291792 w 632929"/>
                <a:gd name="connsiteY2" fmla="*/ 696719 h 696913"/>
                <a:gd name="connsiteX3" fmla="*/ 291452 w 632929"/>
                <a:gd name="connsiteY3" fmla="*/ 696913 h 696913"/>
                <a:gd name="connsiteX4" fmla="*/ 1587 w 632929"/>
                <a:gd name="connsiteY4" fmla="*/ 518427 h 696913"/>
                <a:gd name="connsiteX5" fmla="*/ 0 w 632929"/>
                <a:gd name="connsiteY5" fmla="*/ 29477 h 696913"/>
                <a:gd name="connsiteX6" fmla="*/ 291792 w 632929"/>
                <a:gd name="connsiteY6" fmla="*/ 198606 h 696913"/>
                <a:gd name="connsiteX7" fmla="*/ 295157 w 632929"/>
                <a:gd name="connsiteY7" fmla="*/ 200556 h 696913"/>
                <a:gd name="connsiteX8" fmla="*/ 632522 w 632929"/>
                <a:gd name="connsiteY8" fmla="*/ 0 h 696913"/>
                <a:gd name="connsiteX0" fmla="*/ 630935 w 631342"/>
                <a:gd name="connsiteY0" fmla="*/ 0 h 696913"/>
                <a:gd name="connsiteX1" fmla="*/ 630936 w 631342"/>
                <a:gd name="connsiteY1" fmla="*/ 502179 h 696913"/>
                <a:gd name="connsiteX2" fmla="*/ 290205 w 631342"/>
                <a:gd name="connsiteY2" fmla="*/ 696719 h 696913"/>
                <a:gd name="connsiteX3" fmla="*/ 289865 w 631342"/>
                <a:gd name="connsiteY3" fmla="*/ 696913 h 696913"/>
                <a:gd name="connsiteX4" fmla="*/ 0 w 631342"/>
                <a:gd name="connsiteY4" fmla="*/ 518427 h 696913"/>
                <a:gd name="connsiteX5" fmla="*/ 290205 w 631342"/>
                <a:gd name="connsiteY5" fmla="*/ 198606 h 696913"/>
                <a:gd name="connsiteX6" fmla="*/ 293570 w 631342"/>
                <a:gd name="connsiteY6" fmla="*/ 200556 h 696913"/>
                <a:gd name="connsiteX7" fmla="*/ 630935 w 631342"/>
                <a:gd name="connsiteY7" fmla="*/ 0 h 696913"/>
                <a:gd name="connsiteX0" fmla="*/ 341132 w 341539"/>
                <a:gd name="connsiteY0" fmla="*/ 0 h 696913"/>
                <a:gd name="connsiteX1" fmla="*/ 341133 w 341539"/>
                <a:gd name="connsiteY1" fmla="*/ 502179 h 696913"/>
                <a:gd name="connsiteX2" fmla="*/ 402 w 341539"/>
                <a:gd name="connsiteY2" fmla="*/ 696719 h 696913"/>
                <a:gd name="connsiteX3" fmla="*/ 62 w 341539"/>
                <a:gd name="connsiteY3" fmla="*/ 696913 h 696913"/>
                <a:gd name="connsiteX4" fmla="*/ 402 w 341539"/>
                <a:gd name="connsiteY4" fmla="*/ 198606 h 696913"/>
                <a:gd name="connsiteX5" fmla="*/ 3767 w 341539"/>
                <a:gd name="connsiteY5" fmla="*/ 200556 h 696913"/>
                <a:gd name="connsiteX6" fmla="*/ 341132 w 341539"/>
                <a:gd name="connsiteY6" fmla="*/ 0 h 69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539" h="696913">
                  <a:moveTo>
                    <a:pt x="341132" y="0"/>
                  </a:moveTo>
                  <a:cubicBezTo>
                    <a:pt x="342543" y="197026"/>
                    <a:pt x="339722" y="305153"/>
                    <a:pt x="341133" y="502179"/>
                  </a:cubicBezTo>
                  <a:lnTo>
                    <a:pt x="402" y="696719"/>
                  </a:lnTo>
                  <a:lnTo>
                    <a:pt x="62" y="696913"/>
                  </a:lnTo>
                  <a:cubicBezTo>
                    <a:pt x="62" y="613894"/>
                    <a:pt x="-215" y="281332"/>
                    <a:pt x="402" y="198606"/>
                  </a:cubicBezTo>
                  <a:lnTo>
                    <a:pt x="3767" y="200556"/>
                  </a:lnTo>
                  <a:lnTo>
                    <a:pt x="341132" y="0"/>
                  </a:lnTo>
                  <a:close/>
                </a:path>
              </a:pathLst>
            </a:custGeom>
            <a:solidFill>
              <a:schemeClr val="bg1">
                <a:lumMod val="50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594" name="Freeform: Shape 163">
              <a:extLst>
                <a:ext uri="{FF2B5EF4-FFF2-40B4-BE49-F238E27FC236}">
                  <a16:creationId xmlns:a16="http://schemas.microsoft.com/office/drawing/2014/main" id="{B7BE28A7-10A9-4AEF-B3ED-06EC6F3FF6B8}"/>
                </a:ext>
              </a:extLst>
            </p:cNvPr>
            <p:cNvSpPr/>
            <p:nvPr/>
          </p:nvSpPr>
          <p:spPr bwMode="auto">
            <a:xfrm>
              <a:off x="6687608" y="2990319"/>
              <a:ext cx="295275" cy="670245"/>
            </a:xfrm>
            <a:custGeom>
              <a:avLst/>
              <a:gdLst>
                <a:gd name="connsiteX0" fmla="*/ 0 w 295275"/>
                <a:gd name="connsiteY0" fmla="*/ 0 h 666750"/>
                <a:gd name="connsiteX1" fmla="*/ 295275 w 295275"/>
                <a:gd name="connsiteY1" fmla="*/ 180975 h 666750"/>
                <a:gd name="connsiteX2" fmla="*/ 295275 w 295275"/>
                <a:gd name="connsiteY2" fmla="*/ 666750 h 666750"/>
                <a:gd name="connsiteX3" fmla="*/ 1588 w 295275"/>
                <a:gd name="connsiteY3" fmla="*/ 485775 h 666750"/>
                <a:gd name="connsiteX4" fmla="*/ 1588 w 295275"/>
                <a:gd name="connsiteY4" fmla="*/ 19050 h 666750"/>
                <a:gd name="connsiteX5" fmla="*/ 0 w 295275"/>
                <a:gd name="connsiteY5" fmla="*/ 0 h 666750"/>
                <a:gd name="connsiteX0" fmla="*/ 0 w 295275"/>
                <a:gd name="connsiteY0" fmla="*/ 0 h 666750"/>
                <a:gd name="connsiteX1" fmla="*/ 293687 w 295275"/>
                <a:gd name="connsiteY1" fmla="*/ 163603 h 666750"/>
                <a:gd name="connsiteX2" fmla="*/ 295275 w 295275"/>
                <a:gd name="connsiteY2" fmla="*/ 666750 h 666750"/>
                <a:gd name="connsiteX3" fmla="*/ 1588 w 295275"/>
                <a:gd name="connsiteY3" fmla="*/ 485775 h 666750"/>
                <a:gd name="connsiteX4" fmla="*/ 1588 w 295275"/>
                <a:gd name="connsiteY4" fmla="*/ 19050 h 666750"/>
                <a:gd name="connsiteX5" fmla="*/ 0 w 295275"/>
                <a:gd name="connsiteY5" fmla="*/ 0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275" h="666750">
                  <a:moveTo>
                    <a:pt x="0" y="0"/>
                  </a:moveTo>
                  <a:lnTo>
                    <a:pt x="293687" y="163603"/>
                  </a:lnTo>
                  <a:cubicBezTo>
                    <a:pt x="294216" y="331319"/>
                    <a:pt x="294746" y="499034"/>
                    <a:pt x="295275" y="666750"/>
                  </a:cubicBezTo>
                  <a:lnTo>
                    <a:pt x="1588" y="485775"/>
                  </a:lnTo>
                  <a:lnTo>
                    <a:pt x="1588" y="19050"/>
                  </a:lnTo>
                  <a:lnTo>
                    <a:pt x="0" y="0"/>
                  </a:lnTo>
                  <a:close/>
                </a:path>
              </a:pathLst>
            </a:cu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595" name="Freeform: Shape 164">
              <a:extLst>
                <a:ext uri="{FF2B5EF4-FFF2-40B4-BE49-F238E27FC236}">
                  <a16:creationId xmlns:a16="http://schemas.microsoft.com/office/drawing/2014/main" id="{9B99B34E-FB31-4381-AC01-5EF8BB04F637}"/>
                </a:ext>
              </a:extLst>
            </p:cNvPr>
            <p:cNvSpPr/>
            <p:nvPr/>
          </p:nvSpPr>
          <p:spPr bwMode="auto">
            <a:xfrm>
              <a:off x="6684433" y="2794000"/>
              <a:ext cx="639233" cy="376766"/>
            </a:xfrm>
            <a:custGeom>
              <a:avLst/>
              <a:gdLst>
                <a:gd name="connsiteX0" fmla="*/ 0 w 571500"/>
                <a:gd name="connsiteY0" fmla="*/ 194733 h 440267"/>
                <a:gd name="connsiteX1" fmla="*/ 245533 w 571500"/>
                <a:gd name="connsiteY1" fmla="*/ 440267 h 440267"/>
                <a:gd name="connsiteX2" fmla="*/ 571500 w 571500"/>
                <a:gd name="connsiteY2" fmla="*/ 232833 h 440267"/>
                <a:gd name="connsiteX3" fmla="*/ 347133 w 571500"/>
                <a:gd name="connsiteY3" fmla="*/ 0 h 440267"/>
                <a:gd name="connsiteX4" fmla="*/ 0 w 571500"/>
                <a:gd name="connsiteY4" fmla="*/ 194733 h 440267"/>
                <a:gd name="connsiteX0" fmla="*/ 0 w 639233"/>
                <a:gd name="connsiteY0" fmla="*/ 194733 h 440267"/>
                <a:gd name="connsiteX1" fmla="*/ 245533 w 639233"/>
                <a:gd name="connsiteY1" fmla="*/ 440267 h 440267"/>
                <a:gd name="connsiteX2" fmla="*/ 639233 w 639233"/>
                <a:gd name="connsiteY2" fmla="*/ 165099 h 440267"/>
                <a:gd name="connsiteX3" fmla="*/ 347133 w 639233"/>
                <a:gd name="connsiteY3" fmla="*/ 0 h 440267"/>
                <a:gd name="connsiteX4" fmla="*/ 0 w 639233"/>
                <a:gd name="connsiteY4" fmla="*/ 194733 h 440267"/>
                <a:gd name="connsiteX0" fmla="*/ 0 w 639233"/>
                <a:gd name="connsiteY0" fmla="*/ 198966 h 444500"/>
                <a:gd name="connsiteX1" fmla="*/ 245533 w 639233"/>
                <a:gd name="connsiteY1" fmla="*/ 444500 h 444500"/>
                <a:gd name="connsiteX2" fmla="*/ 639233 w 639233"/>
                <a:gd name="connsiteY2" fmla="*/ 169332 h 444500"/>
                <a:gd name="connsiteX3" fmla="*/ 334433 w 639233"/>
                <a:gd name="connsiteY3" fmla="*/ 0 h 444500"/>
                <a:gd name="connsiteX4" fmla="*/ 0 w 639233"/>
                <a:gd name="connsiteY4" fmla="*/ 198966 h 444500"/>
                <a:gd name="connsiteX0" fmla="*/ 0 w 639233"/>
                <a:gd name="connsiteY0" fmla="*/ 198966 h 389466"/>
                <a:gd name="connsiteX1" fmla="*/ 317499 w 639233"/>
                <a:gd name="connsiteY1" fmla="*/ 389466 h 389466"/>
                <a:gd name="connsiteX2" fmla="*/ 639233 w 639233"/>
                <a:gd name="connsiteY2" fmla="*/ 169332 h 389466"/>
                <a:gd name="connsiteX3" fmla="*/ 334433 w 639233"/>
                <a:gd name="connsiteY3" fmla="*/ 0 h 389466"/>
                <a:gd name="connsiteX4" fmla="*/ 0 w 639233"/>
                <a:gd name="connsiteY4" fmla="*/ 198966 h 389466"/>
                <a:gd name="connsiteX0" fmla="*/ 0 w 639233"/>
                <a:gd name="connsiteY0" fmla="*/ 198966 h 376766"/>
                <a:gd name="connsiteX1" fmla="*/ 296333 w 639233"/>
                <a:gd name="connsiteY1" fmla="*/ 376766 h 376766"/>
                <a:gd name="connsiteX2" fmla="*/ 639233 w 639233"/>
                <a:gd name="connsiteY2" fmla="*/ 169332 h 376766"/>
                <a:gd name="connsiteX3" fmla="*/ 334433 w 639233"/>
                <a:gd name="connsiteY3" fmla="*/ 0 h 376766"/>
                <a:gd name="connsiteX4" fmla="*/ 0 w 639233"/>
                <a:gd name="connsiteY4" fmla="*/ 198966 h 376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233" h="376766">
                  <a:moveTo>
                    <a:pt x="0" y="198966"/>
                  </a:moveTo>
                  <a:lnTo>
                    <a:pt x="296333" y="376766"/>
                  </a:lnTo>
                  <a:lnTo>
                    <a:pt x="639233" y="169332"/>
                  </a:lnTo>
                  <a:lnTo>
                    <a:pt x="334433" y="0"/>
                  </a:lnTo>
                  <a:lnTo>
                    <a:pt x="0" y="198966"/>
                  </a:lnTo>
                  <a:close/>
                </a:path>
              </a:pathLst>
            </a:custGeom>
            <a:solidFill>
              <a:schemeClr val="tx1"/>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3596" name="Group 3595">
            <a:extLst>
              <a:ext uri="{FF2B5EF4-FFF2-40B4-BE49-F238E27FC236}">
                <a16:creationId xmlns:a16="http://schemas.microsoft.com/office/drawing/2014/main" id="{E241ABB3-1B73-4458-AE82-C0A41234CE9E}"/>
              </a:ext>
            </a:extLst>
          </p:cNvPr>
          <p:cNvGrpSpPr/>
          <p:nvPr/>
        </p:nvGrpSpPr>
        <p:grpSpPr>
          <a:xfrm flipH="1">
            <a:off x="4508707" y="3463627"/>
            <a:ext cx="177806" cy="212865"/>
            <a:chOff x="6684433" y="2794000"/>
            <a:chExt cx="639233" cy="866932"/>
          </a:xfrm>
        </p:grpSpPr>
        <p:sp>
          <p:nvSpPr>
            <p:cNvPr id="3597" name="Freeform: Shape 162">
              <a:extLst>
                <a:ext uri="{FF2B5EF4-FFF2-40B4-BE49-F238E27FC236}">
                  <a16:creationId xmlns:a16="http://schemas.microsoft.com/office/drawing/2014/main" id="{23AE3302-C4DF-4C91-BE6A-21A4A4F34DD5}"/>
                </a:ext>
              </a:extLst>
            </p:cNvPr>
            <p:cNvSpPr/>
            <p:nvPr/>
          </p:nvSpPr>
          <p:spPr bwMode="auto">
            <a:xfrm>
              <a:off x="6980587" y="2964019"/>
              <a:ext cx="341539" cy="696913"/>
            </a:xfrm>
            <a:custGeom>
              <a:avLst/>
              <a:gdLst>
                <a:gd name="connsiteX0" fmla="*/ 632522 w 632929"/>
                <a:gd name="connsiteY0" fmla="*/ 0 h 696913"/>
                <a:gd name="connsiteX1" fmla="*/ 632523 w 632929"/>
                <a:gd name="connsiteY1" fmla="*/ 502179 h 696913"/>
                <a:gd name="connsiteX2" fmla="*/ 291792 w 632929"/>
                <a:gd name="connsiteY2" fmla="*/ 696719 h 696913"/>
                <a:gd name="connsiteX3" fmla="*/ 291452 w 632929"/>
                <a:gd name="connsiteY3" fmla="*/ 696913 h 696913"/>
                <a:gd name="connsiteX4" fmla="*/ 1587 w 632929"/>
                <a:gd name="connsiteY4" fmla="*/ 518427 h 696913"/>
                <a:gd name="connsiteX5" fmla="*/ 0 w 632929"/>
                <a:gd name="connsiteY5" fmla="*/ 29477 h 696913"/>
                <a:gd name="connsiteX6" fmla="*/ 291792 w 632929"/>
                <a:gd name="connsiteY6" fmla="*/ 198606 h 696913"/>
                <a:gd name="connsiteX7" fmla="*/ 295157 w 632929"/>
                <a:gd name="connsiteY7" fmla="*/ 200556 h 696913"/>
                <a:gd name="connsiteX8" fmla="*/ 632522 w 632929"/>
                <a:gd name="connsiteY8" fmla="*/ 0 h 696913"/>
                <a:gd name="connsiteX0" fmla="*/ 630935 w 631342"/>
                <a:gd name="connsiteY0" fmla="*/ 0 h 696913"/>
                <a:gd name="connsiteX1" fmla="*/ 630936 w 631342"/>
                <a:gd name="connsiteY1" fmla="*/ 502179 h 696913"/>
                <a:gd name="connsiteX2" fmla="*/ 290205 w 631342"/>
                <a:gd name="connsiteY2" fmla="*/ 696719 h 696913"/>
                <a:gd name="connsiteX3" fmla="*/ 289865 w 631342"/>
                <a:gd name="connsiteY3" fmla="*/ 696913 h 696913"/>
                <a:gd name="connsiteX4" fmla="*/ 0 w 631342"/>
                <a:gd name="connsiteY4" fmla="*/ 518427 h 696913"/>
                <a:gd name="connsiteX5" fmla="*/ 290205 w 631342"/>
                <a:gd name="connsiteY5" fmla="*/ 198606 h 696913"/>
                <a:gd name="connsiteX6" fmla="*/ 293570 w 631342"/>
                <a:gd name="connsiteY6" fmla="*/ 200556 h 696913"/>
                <a:gd name="connsiteX7" fmla="*/ 630935 w 631342"/>
                <a:gd name="connsiteY7" fmla="*/ 0 h 696913"/>
                <a:gd name="connsiteX0" fmla="*/ 341132 w 341539"/>
                <a:gd name="connsiteY0" fmla="*/ 0 h 696913"/>
                <a:gd name="connsiteX1" fmla="*/ 341133 w 341539"/>
                <a:gd name="connsiteY1" fmla="*/ 502179 h 696913"/>
                <a:gd name="connsiteX2" fmla="*/ 402 w 341539"/>
                <a:gd name="connsiteY2" fmla="*/ 696719 h 696913"/>
                <a:gd name="connsiteX3" fmla="*/ 62 w 341539"/>
                <a:gd name="connsiteY3" fmla="*/ 696913 h 696913"/>
                <a:gd name="connsiteX4" fmla="*/ 402 w 341539"/>
                <a:gd name="connsiteY4" fmla="*/ 198606 h 696913"/>
                <a:gd name="connsiteX5" fmla="*/ 3767 w 341539"/>
                <a:gd name="connsiteY5" fmla="*/ 200556 h 696913"/>
                <a:gd name="connsiteX6" fmla="*/ 341132 w 341539"/>
                <a:gd name="connsiteY6" fmla="*/ 0 h 69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539" h="696913">
                  <a:moveTo>
                    <a:pt x="341132" y="0"/>
                  </a:moveTo>
                  <a:cubicBezTo>
                    <a:pt x="342543" y="197026"/>
                    <a:pt x="339722" y="305153"/>
                    <a:pt x="341133" y="502179"/>
                  </a:cubicBezTo>
                  <a:lnTo>
                    <a:pt x="402" y="696719"/>
                  </a:lnTo>
                  <a:lnTo>
                    <a:pt x="62" y="696913"/>
                  </a:lnTo>
                  <a:cubicBezTo>
                    <a:pt x="62" y="613894"/>
                    <a:pt x="-215" y="281332"/>
                    <a:pt x="402" y="198606"/>
                  </a:cubicBezTo>
                  <a:lnTo>
                    <a:pt x="3767" y="200556"/>
                  </a:lnTo>
                  <a:lnTo>
                    <a:pt x="341132" y="0"/>
                  </a:lnTo>
                  <a:close/>
                </a:path>
              </a:pathLst>
            </a:custGeom>
            <a:solidFill>
              <a:schemeClr val="bg1">
                <a:lumMod val="50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598" name="Freeform: Shape 163">
              <a:extLst>
                <a:ext uri="{FF2B5EF4-FFF2-40B4-BE49-F238E27FC236}">
                  <a16:creationId xmlns:a16="http://schemas.microsoft.com/office/drawing/2014/main" id="{35BF7A11-905F-4FD3-8F6C-FECA3FDAD7E5}"/>
                </a:ext>
              </a:extLst>
            </p:cNvPr>
            <p:cNvSpPr/>
            <p:nvPr/>
          </p:nvSpPr>
          <p:spPr bwMode="auto">
            <a:xfrm>
              <a:off x="6687608" y="2990319"/>
              <a:ext cx="295275" cy="670245"/>
            </a:xfrm>
            <a:custGeom>
              <a:avLst/>
              <a:gdLst>
                <a:gd name="connsiteX0" fmla="*/ 0 w 295275"/>
                <a:gd name="connsiteY0" fmla="*/ 0 h 666750"/>
                <a:gd name="connsiteX1" fmla="*/ 295275 w 295275"/>
                <a:gd name="connsiteY1" fmla="*/ 180975 h 666750"/>
                <a:gd name="connsiteX2" fmla="*/ 295275 w 295275"/>
                <a:gd name="connsiteY2" fmla="*/ 666750 h 666750"/>
                <a:gd name="connsiteX3" fmla="*/ 1588 w 295275"/>
                <a:gd name="connsiteY3" fmla="*/ 485775 h 666750"/>
                <a:gd name="connsiteX4" fmla="*/ 1588 w 295275"/>
                <a:gd name="connsiteY4" fmla="*/ 19050 h 666750"/>
                <a:gd name="connsiteX5" fmla="*/ 0 w 295275"/>
                <a:gd name="connsiteY5" fmla="*/ 0 h 666750"/>
                <a:gd name="connsiteX0" fmla="*/ 0 w 295275"/>
                <a:gd name="connsiteY0" fmla="*/ 0 h 666750"/>
                <a:gd name="connsiteX1" fmla="*/ 293687 w 295275"/>
                <a:gd name="connsiteY1" fmla="*/ 163603 h 666750"/>
                <a:gd name="connsiteX2" fmla="*/ 295275 w 295275"/>
                <a:gd name="connsiteY2" fmla="*/ 666750 h 666750"/>
                <a:gd name="connsiteX3" fmla="*/ 1588 w 295275"/>
                <a:gd name="connsiteY3" fmla="*/ 485775 h 666750"/>
                <a:gd name="connsiteX4" fmla="*/ 1588 w 295275"/>
                <a:gd name="connsiteY4" fmla="*/ 19050 h 666750"/>
                <a:gd name="connsiteX5" fmla="*/ 0 w 295275"/>
                <a:gd name="connsiteY5" fmla="*/ 0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275" h="666750">
                  <a:moveTo>
                    <a:pt x="0" y="0"/>
                  </a:moveTo>
                  <a:lnTo>
                    <a:pt x="293687" y="163603"/>
                  </a:lnTo>
                  <a:cubicBezTo>
                    <a:pt x="294216" y="331319"/>
                    <a:pt x="294746" y="499034"/>
                    <a:pt x="295275" y="666750"/>
                  </a:cubicBezTo>
                  <a:lnTo>
                    <a:pt x="1588" y="485775"/>
                  </a:lnTo>
                  <a:lnTo>
                    <a:pt x="1588" y="19050"/>
                  </a:lnTo>
                  <a:lnTo>
                    <a:pt x="0" y="0"/>
                  </a:lnTo>
                  <a:close/>
                </a:path>
              </a:pathLst>
            </a:cu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599" name="Freeform: Shape 164">
              <a:extLst>
                <a:ext uri="{FF2B5EF4-FFF2-40B4-BE49-F238E27FC236}">
                  <a16:creationId xmlns:a16="http://schemas.microsoft.com/office/drawing/2014/main" id="{2330C829-716D-4C7D-A81A-4408298E8306}"/>
                </a:ext>
              </a:extLst>
            </p:cNvPr>
            <p:cNvSpPr/>
            <p:nvPr/>
          </p:nvSpPr>
          <p:spPr bwMode="auto">
            <a:xfrm>
              <a:off x="6684433" y="2794000"/>
              <a:ext cx="639233" cy="376766"/>
            </a:xfrm>
            <a:custGeom>
              <a:avLst/>
              <a:gdLst>
                <a:gd name="connsiteX0" fmla="*/ 0 w 571500"/>
                <a:gd name="connsiteY0" fmla="*/ 194733 h 440267"/>
                <a:gd name="connsiteX1" fmla="*/ 245533 w 571500"/>
                <a:gd name="connsiteY1" fmla="*/ 440267 h 440267"/>
                <a:gd name="connsiteX2" fmla="*/ 571500 w 571500"/>
                <a:gd name="connsiteY2" fmla="*/ 232833 h 440267"/>
                <a:gd name="connsiteX3" fmla="*/ 347133 w 571500"/>
                <a:gd name="connsiteY3" fmla="*/ 0 h 440267"/>
                <a:gd name="connsiteX4" fmla="*/ 0 w 571500"/>
                <a:gd name="connsiteY4" fmla="*/ 194733 h 440267"/>
                <a:gd name="connsiteX0" fmla="*/ 0 w 639233"/>
                <a:gd name="connsiteY0" fmla="*/ 194733 h 440267"/>
                <a:gd name="connsiteX1" fmla="*/ 245533 w 639233"/>
                <a:gd name="connsiteY1" fmla="*/ 440267 h 440267"/>
                <a:gd name="connsiteX2" fmla="*/ 639233 w 639233"/>
                <a:gd name="connsiteY2" fmla="*/ 165099 h 440267"/>
                <a:gd name="connsiteX3" fmla="*/ 347133 w 639233"/>
                <a:gd name="connsiteY3" fmla="*/ 0 h 440267"/>
                <a:gd name="connsiteX4" fmla="*/ 0 w 639233"/>
                <a:gd name="connsiteY4" fmla="*/ 194733 h 440267"/>
                <a:gd name="connsiteX0" fmla="*/ 0 w 639233"/>
                <a:gd name="connsiteY0" fmla="*/ 198966 h 444500"/>
                <a:gd name="connsiteX1" fmla="*/ 245533 w 639233"/>
                <a:gd name="connsiteY1" fmla="*/ 444500 h 444500"/>
                <a:gd name="connsiteX2" fmla="*/ 639233 w 639233"/>
                <a:gd name="connsiteY2" fmla="*/ 169332 h 444500"/>
                <a:gd name="connsiteX3" fmla="*/ 334433 w 639233"/>
                <a:gd name="connsiteY3" fmla="*/ 0 h 444500"/>
                <a:gd name="connsiteX4" fmla="*/ 0 w 639233"/>
                <a:gd name="connsiteY4" fmla="*/ 198966 h 444500"/>
                <a:gd name="connsiteX0" fmla="*/ 0 w 639233"/>
                <a:gd name="connsiteY0" fmla="*/ 198966 h 389466"/>
                <a:gd name="connsiteX1" fmla="*/ 317499 w 639233"/>
                <a:gd name="connsiteY1" fmla="*/ 389466 h 389466"/>
                <a:gd name="connsiteX2" fmla="*/ 639233 w 639233"/>
                <a:gd name="connsiteY2" fmla="*/ 169332 h 389466"/>
                <a:gd name="connsiteX3" fmla="*/ 334433 w 639233"/>
                <a:gd name="connsiteY3" fmla="*/ 0 h 389466"/>
                <a:gd name="connsiteX4" fmla="*/ 0 w 639233"/>
                <a:gd name="connsiteY4" fmla="*/ 198966 h 389466"/>
                <a:gd name="connsiteX0" fmla="*/ 0 w 639233"/>
                <a:gd name="connsiteY0" fmla="*/ 198966 h 376766"/>
                <a:gd name="connsiteX1" fmla="*/ 296333 w 639233"/>
                <a:gd name="connsiteY1" fmla="*/ 376766 h 376766"/>
                <a:gd name="connsiteX2" fmla="*/ 639233 w 639233"/>
                <a:gd name="connsiteY2" fmla="*/ 169332 h 376766"/>
                <a:gd name="connsiteX3" fmla="*/ 334433 w 639233"/>
                <a:gd name="connsiteY3" fmla="*/ 0 h 376766"/>
                <a:gd name="connsiteX4" fmla="*/ 0 w 639233"/>
                <a:gd name="connsiteY4" fmla="*/ 198966 h 376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233" h="376766">
                  <a:moveTo>
                    <a:pt x="0" y="198966"/>
                  </a:moveTo>
                  <a:lnTo>
                    <a:pt x="296333" y="376766"/>
                  </a:lnTo>
                  <a:lnTo>
                    <a:pt x="639233" y="169332"/>
                  </a:lnTo>
                  <a:lnTo>
                    <a:pt x="334433" y="0"/>
                  </a:lnTo>
                  <a:lnTo>
                    <a:pt x="0" y="198966"/>
                  </a:lnTo>
                  <a:close/>
                </a:path>
              </a:pathLst>
            </a:custGeom>
            <a:solidFill>
              <a:schemeClr val="tx1"/>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3600" name="Group 3599">
            <a:extLst>
              <a:ext uri="{FF2B5EF4-FFF2-40B4-BE49-F238E27FC236}">
                <a16:creationId xmlns:a16="http://schemas.microsoft.com/office/drawing/2014/main" id="{EDC044EC-B292-4671-ADCE-A0BC2ECD9CAF}"/>
              </a:ext>
            </a:extLst>
          </p:cNvPr>
          <p:cNvGrpSpPr/>
          <p:nvPr/>
        </p:nvGrpSpPr>
        <p:grpSpPr>
          <a:xfrm>
            <a:off x="3785473" y="3379883"/>
            <a:ext cx="324510" cy="565585"/>
            <a:chOff x="1603504" y="1038352"/>
            <a:chExt cx="1957573" cy="3683589"/>
          </a:xfrm>
        </p:grpSpPr>
        <p:sp>
          <p:nvSpPr>
            <p:cNvPr id="3601" name="Freeform: Shape 1873">
              <a:extLst>
                <a:ext uri="{FF2B5EF4-FFF2-40B4-BE49-F238E27FC236}">
                  <a16:creationId xmlns:a16="http://schemas.microsoft.com/office/drawing/2014/main" id="{D9BFAA6F-5B30-4F86-B3C8-8C3C65DA4E06}"/>
                </a:ext>
              </a:extLst>
            </p:cNvPr>
            <p:cNvSpPr/>
            <p:nvPr/>
          </p:nvSpPr>
          <p:spPr bwMode="auto">
            <a:xfrm>
              <a:off x="3267377" y="3381828"/>
              <a:ext cx="277191" cy="1336938"/>
            </a:xfrm>
            <a:custGeom>
              <a:avLst/>
              <a:gdLst>
                <a:gd name="connsiteX0" fmla="*/ 43543 w 464458"/>
                <a:gd name="connsiteY0" fmla="*/ 1393371 h 1393371"/>
                <a:gd name="connsiteX1" fmla="*/ 464458 w 464458"/>
                <a:gd name="connsiteY1" fmla="*/ 972456 h 1393371"/>
                <a:gd name="connsiteX2" fmla="*/ 464458 w 464458"/>
                <a:gd name="connsiteY2" fmla="*/ 0 h 1393371"/>
                <a:gd name="connsiteX3" fmla="*/ 0 w 464458"/>
                <a:gd name="connsiteY3" fmla="*/ 0 h 1393371"/>
                <a:gd name="connsiteX4" fmla="*/ 0 w 464458"/>
                <a:gd name="connsiteY4" fmla="*/ 1320800 h 1393371"/>
                <a:gd name="connsiteX5" fmla="*/ 72572 w 464458"/>
                <a:gd name="connsiteY5" fmla="*/ 1320800 h 1393371"/>
                <a:gd name="connsiteX6" fmla="*/ 43543 w 464458"/>
                <a:gd name="connsiteY6" fmla="*/ 1393371 h 1393371"/>
                <a:gd name="connsiteX0" fmla="*/ 72572 w 464458"/>
                <a:gd name="connsiteY0" fmla="*/ 1320800 h 1320800"/>
                <a:gd name="connsiteX1" fmla="*/ 464458 w 464458"/>
                <a:gd name="connsiteY1" fmla="*/ 972456 h 1320800"/>
                <a:gd name="connsiteX2" fmla="*/ 464458 w 464458"/>
                <a:gd name="connsiteY2" fmla="*/ 0 h 1320800"/>
                <a:gd name="connsiteX3" fmla="*/ 0 w 464458"/>
                <a:gd name="connsiteY3" fmla="*/ 0 h 1320800"/>
                <a:gd name="connsiteX4" fmla="*/ 0 w 464458"/>
                <a:gd name="connsiteY4" fmla="*/ 1320800 h 1320800"/>
                <a:gd name="connsiteX5" fmla="*/ 72572 w 464458"/>
                <a:gd name="connsiteY5" fmla="*/ 1320800 h 1320800"/>
                <a:gd name="connsiteX0" fmla="*/ 0 w 464458"/>
                <a:gd name="connsiteY0" fmla="*/ 1320800 h 1320800"/>
                <a:gd name="connsiteX1" fmla="*/ 464458 w 464458"/>
                <a:gd name="connsiteY1" fmla="*/ 972456 h 1320800"/>
                <a:gd name="connsiteX2" fmla="*/ 464458 w 464458"/>
                <a:gd name="connsiteY2" fmla="*/ 0 h 1320800"/>
                <a:gd name="connsiteX3" fmla="*/ 0 w 464458"/>
                <a:gd name="connsiteY3" fmla="*/ 0 h 1320800"/>
                <a:gd name="connsiteX4" fmla="*/ 0 w 464458"/>
                <a:gd name="connsiteY4" fmla="*/ 1320800 h 1320800"/>
                <a:gd name="connsiteX0" fmla="*/ 31750 w 464458"/>
                <a:gd name="connsiteY0" fmla="*/ 1339850 h 1339850"/>
                <a:gd name="connsiteX1" fmla="*/ 464458 w 464458"/>
                <a:gd name="connsiteY1" fmla="*/ 972456 h 1339850"/>
                <a:gd name="connsiteX2" fmla="*/ 464458 w 464458"/>
                <a:gd name="connsiteY2" fmla="*/ 0 h 1339850"/>
                <a:gd name="connsiteX3" fmla="*/ 0 w 464458"/>
                <a:gd name="connsiteY3" fmla="*/ 0 h 1339850"/>
                <a:gd name="connsiteX4" fmla="*/ 31750 w 464458"/>
                <a:gd name="connsiteY4" fmla="*/ 1339850 h 1339850"/>
                <a:gd name="connsiteX0" fmla="*/ 0 w 464641"/>
                <a:gd name="connsiteY0" fmla="*/ 1336676 h 1336676"/>
                <a:gd name="connsiteX1" fmla="*/ 464641 w 464641"/>
                <a:gd name="connsiteY1" fmla="*/ 972456 h 1336676"/>
                <a:gd name="connsiteX2" fmla="*/ 464641 w 464641"/>
                <a:gd name="connsiteY2" fmla="*/ 0 h 1336676"/>
                <a:gd name="connsiteX3" fmla="*/ 183 w 464641"/>
                <a:gd name="connsiteY3" fmla="*/ 0 h 1336676"/>
                <a:gd name="connsiteX4" fmla="*/ 0 w 464641"/>
                <a:gd name="connsiteY4" fmla="*/ 1336676 h 133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41" h="1336676">
                  <a:moveTo>
                    <a:pt x="0" y="1336676"/>
                  </a:moveTo>
                  <a:lnTo>
                    <a:pt x="464641" y="972456"/>
                  </a:lnTo>
                  <a:lnTo>
                    <a:pt x="464641" y="0"/>
                  </a:lnTo>
                  <a:lnTo>
                    <a:pt x="183" y="0"/>
                  </a:lnTo>
                  <a:lnTo>
                    <a:pt x="0" y="1336676"/>
                  </a:lnTo>
                  <a:close/>
                </a:path>
              </a:pathLst>
            </a:cu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02" name="Freeform: Shape 1874">
              <a:extLst>
                <a:ext uri="{FF2B5EF4-FFF2-40B4-BE49-F238E27FC236}">
                  <a16:creationId xmlns:a16="http://schemas.microsoft.com/office/drawing/2014/main" id="{9FF43E77-541B-44D7-93C1-991891E086DD}"/>
                </a:ext>
              </a:extLst>
            </p:cNvPr>
            <p:cNvSpPr/>
            <p:nvPr/>
          </p:nvSpPr>
          <p:spPr bwMode="auto">
            <a:xfrm>
              <a:off x="3201668" y="3161965"/>
              <a:ext cx="342900" cy="425450"/>
            </a:xfrm>
            <a:custGeom>
              <a:avLst/>
              <a:gdLst>
                <a:gd name="connsiteX0" fmla="*/ 31750 w 342900"/>
                <a:gd name="connsiteY0" fmla="*/ 0 h 425450"/>
                <a:gd name="connsiteX1" fmla="*/ 342900 w 342900"/>
                <a:gd name="connsiteY1" fmla="*/ 419100 h 425450"/>
                <a:gd name="connsiteX2" fmla="*/ 0 w 342900"/>
                <a:gd name="connsiteY2" fmla="*/ 425450 h 425450"/>
                <a:gd name="connsiteX3" fmla="*/ 31750 w 342900"/>
                <a:gd name="connsiteY3" fmla="*/ 0 h 425450"/>
              </a:gdLst>
              <a:ahLst/>
              <a:cxnLst>
                <a:cxn ang="0">
                  <a:pos x="connsiteX0" y="connsiteY0"/>
                </a:cxn>
                <a:cxn ang="0">
                  <a:pos x="connsiteX1" y="connsiteY1"/>
                </a:cxn>
                <a:cxn ang="0">
                  <a:pos x="connsiteX2" y="connsiteY2"/>
                </a:cxn>
                <a:cxn ang="0">
                  <a:pos x="connsiteX3" y="connsiteY3"/>
                </a:cxn>
              </a:cxnLst>
              <a:rect l="l" t="t" r="r" b="b"/>
              <a:pathLst>
                <a:path w="342900" h="425450">
                  <a:moveTo>
                    <a:pt x="31750" y="0"/>
                  </a:moveTo>
                  <a:lnTo>
                    <a:pt x="342900" y="419100"/>
                  </a:lnTo>
                  <a:lnTo>
                    <a:pt x="0" y="425450"/>
                  </a:lnTo>
                  <a:lnTo>
                    <a:pt x="31750" y="0"/>
                  </a:lnTo>
                  <a:close/>
                </a:path>
              </a:pathLst>
            </a:cu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03" name="Freeform: Shape 1875">
              <a:extLst>
                <a:ext uri="{FF2B5EF4-FFF2-40B4-BE49-F238E27FC236}">
                  <a16:creationId xmlns:a16="http://schemas.microsoft.com/office/drawing/2014/main" id="{9C419C07-2940-42BE-AB04-B8FFDB9A38DA}"/>
                </a:ext>
              </a:extLst>
            </p:cNvPr>
            <p:cNvSpPr/>
            <p:nvPr/>
          </p:nvSpPr>
          <p:spPr bwMode="auto">
            <a:xfrm>
              <a:off x="2847974" y="1041166"/>
              <a:ext cx="713103" cy="2285837"/>
            </a:xfrm>
            <a:custGeom>
              <a:avLst/>
              <a:gdLst>
                <a:gd name="connsiteX0" fmla="*/ 504825 w 657225"/>
                <a:gd name="connsiteY0" fmla="*/ 0 h 2009775"/>
                <a:gd name="connsiteX1" fmla="*/ 657225 w 657225"/>
                <a:gd name="connsiteY1" fmla="*/ 1257300 h 2009775"/>
                <a:gd name="connsiteX2" fmla="*/ 466725 w 657225"/>
                <a:gd name="connsiteY2" fmla="*/ 1219200 h 2009775"/>
                <a:gd name="connsiteX3" fmla="*/ 304800 w 657225"/>
                <a:gd name="connsiteY3" fmla="*/ 1543050 h 2009775"/>
                <a:gd name="connsiteX4" fmla="*/ 409575 w 657225"/>
                <a:gd name="connsiteY4" fmla="*/ 2009775 h 2009775"/>
                <a:gd name="connsiteX5" fmla="*/ 0 w 657225"/>
                <a:gd name="connsiteY5" fmla="*/ 1133475 h 2009775"/>
                <a:gd name="connsiteX6" fmla="*/ 361950 w 657225"/>
                <a:gd name="connsiteY6" fmla="*/ 38100 h 2009775"/>
                <a:gd name="connsiteX7" fmla="*/ 504825 w 657225"/>
                <a:gd name="connsiteY7" fmla="*/ 0 h 2009775"/>
                <a:gd name="connsiteX0" fmla="*/ 504825 w 657225"/>
                <a:gd name="connsiteY0" fmla="*/ 0 h 2009775"/>
                <a:gd name="connsiteX1" fmla="*/ 657225 w 657225"/>
                <a:gd name="connsiteY1" fmla="*/ 1257300 h 2009775"/>
                <a:gd name="connsiteX2" fmla="*/ 466725 w 657225"/>
                <a:gd name="connsiteY2" fmla="*/ 1219200 h 2009775"/>
                <a:gd name="connsiteX3" fmla="*/ 304800 w 657225"/>
                <a:gd name="connsiteY3" fmla="*/ 1543050 h 2009775"/>
                <a:gd name="connsiteX4" fmla="*/ 409575 w 657225"/>
                <a:gd name="connsiteY4" fmla="*/ 2009775 h 2009775"/>
                <a:gd name="connsiteX5" fmla="*/ 0 w 657225"/>
                <a:gd name="connsiteY5" fmla="*/ 1133475 h 2009775"/>
                <a:gd name="connsiteX6" fmla="*/ 361950 w 657225"/>
                <a:gd name="connsiteY6" fmla="*/ 38100 h 2009775"/>
                <a:gd name="connsiteX7" fmla="*/ 504825 w 657225"/>
                <a:gd name="connsiteY7" fmla="*/ 0 h 2009775"/>
                <a:gd name="connsiteX0" fmla="*/ 504825 w 672856"/>
                <a:gd name="connsiteY0" fmla="*/ 0 h 2009775"/>
                <a:gd name="connsiteX1" fmla="*/ 657225 w 672856"/>
                <a:gd name="connsiteY1" fmla="*/ 1257300 h 2009775"/>
                <a:gd name="connsiteX2" fmla="*/ 466725 w 672856"/>
                <a:gd name="connsiteY2" fmla="*/ 1219200 h 2009775"/>
                <a:gd name="connsiteX3" fmla="*/ 304800 w 672856"/>
                <a:gd name="connsiteY3" fmla="*/ 1543050 h 2009775"/>
                <a:gd name="connsiteX4" fmla="*/ 409575 w 672856"/>
                <a:gd name="connsiteY4" fmla="*/ 2009775 h 2009775"/>
                <a:gd name="connsiteX5" fmla="*/ 0 w 672856"/>
                <a:gd name="connsiteY5" fmla="*/ 1133475 h 2009775"/>
                <a:gd name="connsiteX6" fmla="*/ 361950 w 672856"/>
                <a:gd name="connsiteY6" fmla="*/ 38100 h 2009775"/>
                <a:gd name="connsiteX7" fmla="*/ 504825 w 672856"/>
                <a:gd name="connsiteY7" fmla="*/ 0 h 2009775"/>
                <a:gd name="connsiteX0" fmla="*/ 504825 w 676766"/>
                <a:gd name="connsiteY0" fmla="*/ 0 h 2009775"/>
                <a:gd name="connsiteX1" fmla="*/ 661987 w 676766"/>
                <a:gd name="connsiteY1" fmla="*/ 1233488 h 2009775"/>
                <a:gd name="connsiteX2" fmla="*/ 466725 w 676766"/>
                <a:gd name="connsiteY2" fmla="*/ 1219200 h 2009775"/>
                <a:gd name="connsiteX3" fmla="*/ 304800 w 676766"/>
                <a:gd name="connsiteY3" fmla="*/ 1543050 h 2009775"/>
                <a:gd name="connsiteX4" fmla="*/ 409575 w 676766"/>
                <a:gd name="connsiteY4" fmla="*/ 2009775 h 2009775"/>
                <a:gd name="connsiteX5" fmla="*/ 0 w 676766"/>
                <a:gd name="connsiteY5" fmla="*/ 1133475 h 2009775"/>
                <a:gd name="connsiteX6" fmla="*/ 361950 w 676766"/>
                <a:gd name="connsiteY6" fmla="*/ 38100 h 2009775"/>
                <a:gd name="connsiteX7" fmla="*/ 504825 w 676766"/>
                <a:gd name="connsiteY7" fmla="*/ 0 h 2009775"/>
                <a:gd name="connsiteX0" fmla="*/ 504825 w 691228"/>
                <a:gd name="connsiteY0" fmla="*/ 0 h 2009775"/>
                <a:gd name="connsiteX1" fmla="*/ 661987 w 691228"/>
                <a:gd name="connsiteY1" fmla="*/ 1233488 h 2009775"/>
                <a:gd name="connsiteX2" fmla="*/ 466725 w 691228"/>
                <a:gd name="connsiteY2" fmla="*/ 1219200 h 2009775"/>
                <a:gd name="connsiteX3" fmla="*/ 304800 w 691228"/>
                <a:gd name="connsiteY3" fmla="*/ 1543050 h 2009775"/>
                <a:gd name="connsiteX4" fmla="*/ 409575 w 691228"/>
                <a:gd name="connsiteY4" fmla="*/ 2009775 h 2009775"/>
                <a:gd name="connsiteX5" fmla="*/ 0 w 691228"/>
                <a:gd name="connsiteY5" fmla="*/ 1133475 h 2009775"/>
                <a:gd name="connsiteX6" fmla="*/ 361950 w 691228"/>
                <a:gd name="connsiteY6" fmla="*/ 38100 h 2009775"/>
                <a:gd name="connsiteX7" fmla="*/ 504825 w 691228"/>
                <a:gd name="connsiteY7" fmla="*/ 0 h 2009775"/>
                <a:gd name="connsiteX0" fmla="*/ 495300 w 689439"/>
                <a:gd name="connsiteY0" fmla="*/ 0 h 2019300"/>
                <a:gd name="connsiteX1" fmla="*/ 661987 w 689439"/>
                <a:gd name="connsiteY1" fmla="*/ 1243013 h 2019300"/>
                <a:gd name="connsiteX2" fmla="*/ 466725 w 689439"/>
                <a:gd name="connsiteY2" fmla="*/ 1228725 h 2019300"/>
                <a:gd name="connsiteX3" fmla="*/ 304800 w 689439"/>
                <a:gd name="connsiteY3" fmla="*/ 1552575 h 2019300"/>
                <a:gd name="connsiteX4" fmla="*/ 409575 w 689439"/>
                <a:gd name="connsiteY4" fmla="*/ 2019300 h 2019300"/>
                <a:gd name="connsiteX5" fmla="*/ 0 w 689439"/>
                <a:gd name="connsiteY5" fmla="*/ 1143000 h 2019300"/>
                <a:gd name="connsiteX6" fmla="*/ 361950 w 689439"/>
                <a:gd name="connsiteY6" fmla="*/ 47625 h 2019300"/>
                <a:gd name="connsiteX7" fmla="*/ 495300 w 689439"/>
                <a:gd name="connsiteY7" fmla="*/ 0 h 2019300"/>
                <a:gd name="connsiteX0" fmla="*/ 495300 w 689439"/>
                <a:gd name="connsiteY0" fmla="*/ 0 h 2019300"/>
                <a:gd name="connsiteX1" fmla="*/ 661987 w 689439"/>
                <a:gd name="connsiteY1" fmla="*/ 1243013 h 2019300"/>
                <a:gd name="connsiteX2" fmla="*/ 466725 w 689439"/>
                <a:gd name="connsiteY2" fmla="*/ 1228725 h 2019300"/>
                <a:gd name="connsiteX3" fmla="*/ 285750 w 689439"/>
                <a:gd name="connsiteY3" fmla="*/ 1628775 h 2019300"/>
                <a:gd name="connsiteX4" fmla="*/ 409575 w 689439"/>
                <a:gd name="connsiteY4" fmla="*/ 2019300 h 2019300"/>
                <a:gd name="connsiteX5" fmla="*/ 0 w 689439"/>
                <a:gd name="connsiteY5" fmla="*/ 1143000 h 2019300"/>
                <a:gd name="connsiteX6" fmla="*/ 361950 w 689439"/>
                <a:gd name="connsiteY6" fmla="*/ 47625 h 2019300"/>
                <a:gd name="connsiteX7" fmla="*/ 495300 w 689439"/>
                <a:gd name="connsiteY7" fmla="*/ 0 h 2019300"/>
                <a:gd name="connsiteX0" fmla="*/ 495300 w 689439"/>
                <a:gd name="connsiteY0" fmla="*/ 0 h 2019300"/>
                <a:gd name="connsiteX1" fmla="*/ 661987 w 689439"/>
                <a:gd name="connsiteY1" fmla="*/ 1243013 h 2019300"/>
                <a:gd name="connsiteX2" fmla="*/ 419100 w 689439"/>
                <a:gd name="connsiteY2" fmla="*/ 1247775 h 2019300"/>
                <a:gd name="connsiteX3" fmla="*/ 285750 w 689439"/>
                <a:gd name="connsiteY3" fmla="*/ 1628775 h 2019300"/>
                <a:gd name="connsiteX4" fmla="*/ 409575 w 689439"/>
                <a:gd name="connsiteY4" fmla="*/ 2019300 h 2019300"/>
                <a:gd name="connsiteX5" fmla="*/ 0 w 689439"/>
                <a:gd name="connsiteY5" fmla="*/ 1143000 h 2019300"/>
                <a:gd name="connsiteX6" fmla="*/ 361950 w 689439"/>
                <a:gd name="connsiteY6" fmla="*/ 47625 h 2019300"/>
                <a:gd name="connsiteX7" fmla="*/ 495300 w 689439"/>
                <a:gd name="connsiteY7" fmla="*/ 0 h 2019300"/>
                <a:gd name="connsiteX0" fmla="*/ 495300 w 693371"/>
                <a:gd name="connsiteY0" fmla="*/ 0 h 2019300"/>
                <a:gd name="connsiteX1" fmla="*/ 666750 w 693371"/>
                <a:gd name="connsiteY1" fmla="*/ 1238251 h 2019300"/>
                <a:gd name="connsiteX2" fmla="*/ 419100 w 693371"/>
                <a:gd name="connsiteY2" fmla="*/ 1247775 h 2019300"/>
                <a:gd name="connsiteX3" fmla="*/ 285750 w 693371"/>
                <a:gd name="connsiteY3" fmla="*/ 1628775 h 2019300"/>
                <a:gd name="connsiteX4" fmla="*/ 409575 w 693371"/>
                <a:gd name="connsiteY4" fmla="*/ 2019300 h 2019300"/>
                <a:gd name="connsiteX5" fmla="*/ 0 w 693371"/>
                <a:gd name="connsiteY5" fmla="*/ 1143000 h 2019300"/>
                <a:gd name="connsiteX6" fmla="*/ 361950 w 693371"/>
                <a:gd name="connsiteY6" fmla="*/ 47625 h 2019300"/>
                <a:gd name="connsiteX7" fmla="*/ 495300 w 693371"/>
                <a:gd name="connsiteY7" fmla="*/ 0 h 2019300"/>
                <a:gd name="connsiteX0" fmla="*/ 495300 w 693371"/>
                <a:gd name="connsiteY0" fmla="*/ 0 h 2019300"/>
                <a:gd name="connsiteX1" fmla="*/ 666750 w 693371"/>
                <a:gd name="connsiteY1" fmla="*/ 1238251 h 2019300"/>
                <a:gd name="connsiteX2" fmla="*/ 414337 w 693371"/>
                <a:gd name="connsiteY2" fmla="*/ 1238250 h 2019300"/>
                <a:gd name="connsiteX3" fmla="*/ 285750 w 693371"/>
                <a:gd name="connsiteY3" fmla="*/ 1628775 h 2019300"/>
                <a:gd name="connsiteX4" fmla="*/ 409575 w 693371"/>
                <a:gd name="connsiteY4" fmla="*/ 2019300 h 2019300"/>
                <a:gd name="connsiteX5" fmla="*/ 0 w 693371"/>
                <a:gd name="connsiteY5" fmla="*/ 1143000 h 2019300"/>
                <a:gd name="connsiteX6" fmla="*/ 361950 w 693371"/>
                <a:gd name="connsiteY6" fmla="*/ 47625 h 2019300"/>
                <a:gd name="connsiteX7" fmla="*/ 495300 w 693371"/>
                <a:gd name="connsiteY7" fmla="*/ 0 h 2019300"/>
                <a:gd name="connsiteX0" fmla="*/ 495300 w 693371"/>
                <a:gd name="connsiteY0" fmla="*/ 0 h 2019300"/>
                <a:gd name="connsiteX1" fmla="*/ 666750 w 693371"/>
                <a:gd name="connsiteY1" fmla="*/ 1238251 h 2019300"/>
                <a:gd name="connsiteX2" fmla="*/ 414337 w 693371"/>
                <a:gd name="connsiteY2" fmla="*/ 1238250 h 2019300"/>
                <a:gd name="connsiteX3" fmla="*/ 300037 w 693371"/>
                <a:gd name="connsiteY3" fmla="*/ 1652588 h 2019300"/>
                <a:gd name="connsiteX4" fmla="*/ 409575 w 693371"/>
                <a:gd name="connsiteY4" fmla="*/ 2019300 h 2019300"/>
                <a:gd name="connsiteX5" fmla="*/ 0 w 693371"/>
                <a:gd name="connsiteY5" fmla="*/ 1143000 h 2019300"/>
                <a:gd name="connsiteX6" fmla="*/ 361950 w 693371"/>
                <a:gd name="connsiteY6" fmla="*/ 47625 h 2019300"/>
                <a:gd name="connsiteX7" fmla="*/ 495300 w 693371"/>
                <a:gd name="connsiteY7" fmla="*/ 0 h 2019300"/>
                <a:gd name="connsiteX0" fmla="*/ 495300 w 693371"/>
                <a:gd name="connsiteY0" fmla="*/ 0 h 2028825"/>
                <a:gd name="connsiteX1" fmla="*/ 666750 w 693371"/>
                <a:gd name="connsiteY1" fmla="*/ 1238251 h 2028825"/>
                <a:gd name="connsiteX2" fmla="*/ 414337 w 693371"/>
                <a:gd name="connsiteY2" fmla="*/ 1238250 h 2028825"/>
                <a:gd name="connsiteX3" fmla="*/ 300037 w 693371"/>
                <a:gd name="connsiteY3" fmla="*/ 1652588 h 2028825"/>
                <a:gd name="connsiteX4" fmla="*/ 414337 w 693371"/>
                <a:gd name="connsiteY4" fmla="*/ 2028825 h 2028825"/>
                <a:gd name="connsiteX5" fmla="*/ 0 w 693371"/>
                <a:gd name="connsiteY5" fmla="*/ 1143000 h 2028825"/>
                <a:gd name="connsiteX6" fmla="*/ 361950 w 693371"/>
                <a:gd name="connsiteY6" fmla="*/ 47625 h 2028825"/>
                <a:gd name="connsiteX7" fmla="*/ 495300 w 693371"/>
                <a:gd name="connsiteY7" fmla="*/ 0 h 2028825"/>
                <a:gd name="connsiteX0" fmla="*/ 495300 w 693371"/>
                <a:gd name="connsiteY0" fmla="*/ 0 h 2028937"/>
                <a:gd name="connsiteX1" fmla="*/ 666750 w 693371"/>
                <a:gd name="connsiteY1" fmla="*/ 1238251 h 2028937"/>
                <a:gd name="connsiteX2" fmla="*/ 414337 w 693371"/>
                <a:gd name="connsiteY2" fmla="*/ 1238250 h 2028937"/>
                <a:gd name="connsiteX3" fmla="*/ 300037 w 693371"/>
                <a:gd name="connsiteY3" fmla="*/ 1652588 h 2028937"/>
                <a:gd name="connsiteX4" fmla="*/ 414337 w 693371"/>
                <a:gd name="connsiteY4" fmla="*/ 2028825 h 2028937"/>
                <a:gd name="connsiteX5" fmla="*/ 0 w 693371"/>
                <a:gd name="connsiteY5" fmla="*/ 1143000 h 2028937"/>
                <a:gd name="connsiteX6" fmla="*/ 361950 w 693371"/>
                <a:gd name="connsiteY6" fmla="*/ 47625 h 2028937"/>
                <a:gd name="connsiteX7" fmla="*/ 495300 w 693371"/>
                <a:gd name="connsiteY7" fmla="*/ 0 h 2028937"/>
                <a:gd name="connsiteX0" fmla="*/ 495300 w 714754"/>
                <a:gd name="connsiteY0" fmla="*/ 0 h 2028937"/>
                <a:gd name="connsiteX1" fmla="*/ 666750 w 714754"/>
                <a:gd name="connsiteY1" fmla="*/ 1238251 h 2028937"/>
                <a:gd name="connsiteX2" fmla="*/ 414337 w 714754"/>
                <a:gd name="connsiteY2" fmla="*/ 1238250 h 2028937"/>
                <a:gd name="connsiteX3" fmla="*/ 300037 w 714754"/>
                <a:gd name="connsiteY3" fmla="*/ 1652588 h 2028937"/>
                <a:gd name="connsiteX4" fmla="*/ 414337 w 714754"/>
                <a:gd name="connsiteY4" fmla="*/ 2028825 h 2028937"/>
                <a:gd name="connsiteX5" fmla="*/ 0 w 714754"/>
                <a:gd name="connsiteY5" fmla="*/ 1143000 h 2028937"/>
                <a:gd name="connsiteX6" fmla="*/ 361950 w 714754"/>
                <a:gd name="connsiteY6" fmla="*/ 47625 h 2028937"/>
                <a:gd name="connsiteX7" fmla="*/ 495300 w 714754"/>
                <a:gd name="connsiteY7" fmla="*/ 0 h 2028937"/>
                <a:gd name="connsiteX0" fmla="*/ 480060 w 709891"/>
                <a:gd name="connsiteY0" fmla="*/ 0 h 2051797"/>
                <a:gd name="connsiteX1" fmla="*/ 666750 w 709891"/>
                <a:gd name="connsiteY1" fmla="*/ 1261111 h 2051797"/>
                <a:gd name="connsiteX2" fmla="*/ 414337 w 709891"/>
                <a:gd name="connsiteY2" fmla="*/ 1261110 h 2051797"/>
                <a:gd name="connsiteX3" fmla="*/ 300037 w 709891"/>
                <a:gd name="connsiteY3" fmla="*/ 1675448 h 2051797"/>
                <a:gd name="connsiteX4" fmla="*/ 414337 w 709891"/>
                <a:gd name="connsiteY4" fmla="*/ 2051685 h 2051797"/>
                <a:gd name="connsiteX5" fmla="*/ 0 w 709891"/>
                <a:gd name="connsiteY5" fmla="*/ 1165860 h 2051797"/>
                <a:gd name="connsiteX6" fmla="*/ 361950 w 709891"/>
                <a:gd name="connsiteY6" fmla="*/ 70485 h 2051797"/>
                <a:gd name="connsiteX7" fmla="*/ 480060 w 709891"/>
                <a:gd name="connsiteY7" fmla="*/ 0 h 2051797"/>
                <a:gd name="connsiteX0" fmla="*/ 480060 w 709891"/>
                <a:gd name="connsiteY0" fmla="*/ 0 h 2197941"/>
                <a:gd name="connsiteX1" fmla="*/ 666750 w 709891"/>
                <a:gd name="connsiteY1" fmla="*/ 1261111 h 2197941"/>
                <a:gd name="connsiteX2" fmla="*/ 414337 w 709891"/>
                <a:gd name="connsiteY2" fmla="*/ 1261110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414337 w 709891"/>
                <a:gd name="connsiteY2" fmla="*/ 1261110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414337 w 709891"/>
                <a:gd name="connsiteY2" fmla="*/ 1246685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47687 w 709891"/>
                <a:gd name="connsiteY2" fmla="*/ 1256302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429577 w 709891"/>
                <a:gd name="connsiteY3" fmla="*/ 2197851 h 2197941"/>
                <a:gd name="connsiteX4" fmla="*/ 0 w 709891"/>
                <a:gd name="connsiteY4" fmla="*/ 1165860 h 2197941"/>
                <a:gd name="connsiteX5" fmla="*/ 361950 w 709891"/>
                <a:gd name="connsiteY5" fmla="*/ 70485 h 2197941"/>
                <a:gd name="connsiteX6" fmla="*/ 480060 w 709891"/>
                <a:gd name="connsiteY6"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280988 w 709891"/>
                <a:gd name="connsiteY3" fmla="*/ 1806473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280988 w 709891"/>
                <a:gd name="connsiteY3" fmla="*/ 1806473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280988 w 709891"/>
                <a:gd name="connsiteY3" fmla="*/ 1806473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366713 w 709891"/>
                <a:gd name="connsiteY3" fmla="*/ 1878594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28971"/>
                <a:gd name="connsiteY0" fmla="*/ 0 h 2197941"/>
                <a:gd name="connsiteX1" fmla="*/ 692944 w 728971"/>
                <a:gd name="connsiteY1" fmla="*/ 1246686 h 2197941"/>
                <a:gd name="connsiteX2" fmla="*/ 550068 w 728971"/>
                <a:gd name="connsiteY2" fmla="*/ 1249089 h 2197941"/>
                <a:gd name="connsiteX3" fmla="*/ 366713 w 728971"/>
                <a:gd name="connsiteY3" fmla="*/ 1878594 h 2197941"/>
                <a:gd name="connsiteX4" fmla="*/ 429577 w 728971"/>
                <a:gd name="connsiteY4" fmla="*/ 2197851 h 2197941"/>
                <a:gd name="connsiteX5" fmla="*/ 0 w 728971"/>
                <a:gd name="connsiteY5" fmla="*/ 1165860 h 2197941"/>
                <a:gd name="connsiteX6" fmla="*/ 361950 w 728971"/>
                <a:gd name="connsiteY6" fmla="*/ 70485 h 2197941"/>
                <a:gd name="connsiteX7" fmla="*/ 480060 w 728971"/>
                <a:gd name="connsiteY7" fmla="*/ 0 h 2197941"/>
                <a:gd name="connsiteX0" fmla="*/ 480060 w 719458"/>
                <a:gd name="connsiteY0" fmla="*/ 0 h 2197941"/>
                <a:gd name="connsiteX1" fmla="*/ 692944 w 719458"/>
                <a:gd name="connsiteY1" fmla="*/ 1246686 h 2197941"/>
                <a:gd name="connsiteX2" fmla="*/ 550068 w 719458"/>
                <a:gd name="connsiteY2" fmla="*/ 1249089 h 2197941"/>
                <a:gd name="connsiteX3" fmla="*/ 366713 w 719458"/>
                <a:gd name="connsiteY3" fmla="*/ 1878594 h 2197941"/>
                <a:gd name="connsiteX4" fmla="*/ 429577 w 719458"/>
                <a:gd name="connsiteY4" fmla="*/ 2197851 h 2197941"/>
                <a:gd name="connsiteX5" fmla="*/ 0 w 719458"/>
                <a:gd name="connsiteY5" fmla="*/ 1165860 h 2197941"/>
                <a:gd name="connsiteX6" fmla="*/ 361950 w 719458"/>
                <a:gd name="connsiteY6" fmla="*/ 70485 h 2197941"/>
                <a:gd name="connsiteX7" fmla="*/ 480060 w 719458"/>
                <a:gd name="connsiteY7" fmla="*/ 0 h 2197941"/>
                <a:gd name="connsiteX0" fmla="*/ 480060 w 715868"/>
                <a:gd name="connsiteY0" fmla="*/ 0 h 2197941"/>
                <a:gd name="connsiteX1" fmla="*/ 688182 w 715868"/>
                <a:gd name="connsiteY1" fmla="*/ 1246686 h 2197941"/>
                <a:gd name="connsiteX2" fmla="*/ 550068 w 715868"/>
                <a:gd name="connsiteY2" fmla="*/ 1249089 h 2197941"/>
                <a:gd name="connsiteX3" fmla="*/ 366713 w 715868"/>
                <a:gd name="connsiteY3" fmla="*/ 1878594 h 2197941"/>
                <a:gd name="connsiteX4" fmla="*/ 429577 w 715868"/>
                <a:gd name="connsiteY4" fmla="*/ 2197851 h 2197941"/>
                <a:gd name="connsiteX5" fmla="*/ 0 w 715868"/>
                <a:gd name="connsiteY5" fmla="*/ 1165860 h 2197941"/>
                <a:gd name="connsiteX6" fmla="*/ 361950 w 715868"/>
                <a:gd name="connsiteY6" fmla="*/ 70485 h 2197941"/>
                <a:gd name="connsiteX7" fmla="*/ 480060 w 715868"/>
                <a:gd name="connsiteY7" fmla="*/ 0 h 2197941"/>
                <a:gd name="connsiteX0" fmla="*/ 480060 w 715868"/>
                <a:gd name="connsiteY0" fmla="*/ 0 h 2368611"/>
                <a:gd name="connsiteX1" fmla="*/ 688182 w 715868"/>
                <a:gd name="connsiteY1" fmla="*/ 1246686 h 2368611"/>
                <a:gd name="connsiteX2" fmla="*/ 550068 w 715868"/>
                <a:gd name="connsiteY2" fmla="*/ 1249089 h 2368611"/>
                <a:gd name="connsiteX3" fmla="*/ 366713 w 715868"/>
                <a:gd name="connsiteY3" fmla="*/ 1878594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68611"/>
                <a:gd name="connsiteX1" fmla="*/ 688182 w 715868"/>
                <a:gd name="connsiteY1" fmla="*/ 1246686 h 2368611"/>
                <a:gd name="connsiteX2" fmla="*/ 550068 w 715868"/>
                <a:gd name="connsiteY2" fmla="*/ 1249089 h 2368611"/>
                <a:gd name="connsiteX3" fmla="*/ 433388 w 715868"/>
                <a:gd name="connsiteY3" fmla="*/ 1905039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68611"/>
                <a:gd name="connsiteX1" fmla="*/ 688182 w 715868"/>
                <a:gd name="connsiteY1" fmla="*/ 1246686 h 2368611"/>
                <a:gd name="connsiteX2" fmla="*/ 626268 w 715868"/>
                <a:gd name="connsiteY2" fmla="*/ 1256301 h 2368611"/>
                <a:gd name="connsiteX3" fmla="*/ 433388 w 715868"/>
                <a:gd name="connsiteY3" fmla="*/ 1905039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68611"/>
                <a:gd name="connsiteX1" fmla="*/ 688182 w 715868"/>
                <a:gd name="connsiteY1" fmla="*/ 1246686 h 2368611"/>
                <a:gd name="connsiteX2" fmla="*/ 626268 w 715868"/>
                <a:gd name="connsiteY2" fmla="*/ 1256301 h 2368611"/>
                <a:gd name="connsiteX3" fmla="*/ 369888 w 715868"/>
                <a:gd name="connsiteY3" fmla="*/ 2074925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04510"/>
                <a:gd name="connsiteX1" fmla="*/ 688182 w 715868"/>
                <a:gd name="connsiteY1" fmla="*/ 1246686 h 2304510"/>
                <a:gd name="connsiteX2" fmla="*/ 626268 w 715868"/>
                <a:gd name="connsiteY2" fmla="*/ 1256301 h 2304510"/>
                <a:gd name="connsiteX3" fmla="*/ 369888 w 715868"/>
                <a:gd name="connsiteY3" fmla="*/ 2074925 h 2304510"/>
                <a:gd name="connsiteX4" fmla="*/ 454183 w 715868"/>
                <a:gd name="connsiteY4" fmla="*/ 2304431 h 2304510"/>
                <a:gd name="connsiteX5" fmla="*/ 0 w 715868"/>
                <a:gd name="connsiteY5" fmla="*/ 1165860 h 2304510"/>
                <a:gd name="connsiteX6" fmla="*/ 361950 w 715868"/>
                <a:gd name="connsiteY6" fmla="*/ 70485 h 2304510"/>
                <a:gd name="connsiteX7" fmla="*/ 480060 w 715868"/>
                <a:gd name="connsiteY7" fmla="*/ 0 h 2304510"/>
                <a:gd name="connsiteX0" fmla="*/ 480060 w 715868"/>
                <a:gd name="connsiteY0" fmla="*/ 0 h 2304510"/>
                <a:gd name="connsiteX1" fmla="*/ 688182 w 715868"/>
                <a:gd name="connsiteY1" fmla="*/ 1246686 h 2304510"/>
                <a:gd name="connsiteX2" fmla="*/ 626268 w 715868"/>
                <a:gd name="connsiteY2" fmla="*/ 1256301 h 2304510"/>
                <a:gd name="connsiteX3" fmla="*/ 369888 w 715868"/>
                <a:gd name="connsiteY3" fmla="*/ 2074925 h 2304510"/>
                <a:gd name="connsiteX4" fmla="*/ 454183 w 715868"/>
                <a:gd name="connsiteY4" fmla="*/ 2304431 h 2304510"/>
                <a:gd name="connsiteX5" fmla="*/ 0 w 715868"/>
                <a:gd name="connsiteY5" fmla="*/ 1165860 h 2304510"/>
                <a:gd name="connsiteX6" fmla="*/ 361950 w 715868"/>
                <a:gd name="connsiteY6" fmla="*/ 70485 h 2304510"/>
                <a:gd name="connsiteX7" fmla="*/ 480060 w 715868"/>
                <a:gd name="connsiteY7" fmla="*/ 0 h 2304510"/>
                <a:gd name="connsiteX0" fmla="*/ 480060 w 702325"/>
                <a:gd name="connsiteY0" fmla="*/ 0 h 2304510"/>
                <a:gd name="connsiteX1" fmla="*/ 688182 w 702325"/>
                <a:gd name="connsiteY1" fmla="*/ 1246686 h 2304510"/>
                <a:gd name="connsiteX2" fmla="*/ 626268 w 702325"/>
                <a:gd name="connsiteY2" fmla="*/ 1256301 h 2304510"/>
                <a:gd name="connsiteX3" fmla="*/ 369888 w 702325"/>
                <a:gd name="connsiteY3" fmla="*/ 2074925 h 2304510"/>
                <a:gd name="connsiteX4" fmla="*/ 454183 w 702325"/>
                <a:gd name="connsiteY4" fmla="*/ 2304431 h 2304510"/>
                <a:gd name="connsiteX5" fmla="*/ 0 w 702325"/>
                <a:gd name="connsiteY5" fmla="*/ 1165860 h 2304510"/>
                <a:gd name="connsiteX6" fmla="*/ 361950 w 702325"/>
                <a:gd name="connsiteY6" fmla="*/ 70485 h 2304510"/>
                <a:gd name="connsiteX7" fmla="*/ 480060 w 702325"/>
                <a:gd name="connsiteY7" fmla="*/ 0 h 2304510"/>
                <a:gd name="connsiteX0" fmla="*/ 480060 w 714166"/>
                <a:gd name="connsiteY0" fmla="*/ 0 h 2304510"/>
                <a:gd name="connsiteX1" fmla="*/ 703422 w 714166"/>
                <a:gd name="connsiteY1" fmla="*/ 1238993 h 2304510"/>
                <a:gd name="connsiteX2" fmla="*/ 626268 w 714166"/>
                <a:gd name="connsiteY2" fmla="*/ 1256301 h 2304510"/>
                <a:gd name="connsiteX3" fmla="*/ 369888 w 714166"/>
                <a:gd name="connsiteY3" fmla="*/ 2074925 h 2304510"/>
                <a:gd name="connsiteX4" fmla="*/ 454183 w 714166"/>
                <a:gd name="connsiteY4" fmla="*/ 2304431 h 2304510"/>
                <a:gd name="connsiteX5" fmla="*/ 0 w 714166"/>
                <a:gd name="connsiteY5" fmla="*/ 1165860 h 2304510"/>
                <a:gd name="connsiteX6" fmla="*/ 361950 w 714166"/>
                <a:gd name="connsiteY6" fmla="*/ 70485 h 2304510"/>
                <a:gd name="connsiteX7" fmla="*/ 480060 w 714166"/>
                <a:gd name="connsiteY7" fmla="*/ 0 h 2304510"/>
                <a:gd name="connsiteX0" fmla="*/ 480060 w 704269"/>
                <a:gd name="connsiteY0" fmla="*/ 0 h 2304510"/>
                <a:gd name="connsiteX1" fmla="*/ 703422 w 704269"/>
                <a:gd name="connsiteY1" fmla="*/ 1238993 h 2304510"/>
                <a:gd name="connsiteX2" fmla="*/ 626268 w 704269"/>
                <a:gd name="connsiteY2" fmla="*/ 1256301 h 2304510"/>
                <a:gd name="connsiteX3" fmla="*/ 369888 w 704269"/>
                <a:gd name="connsiteY3" fmla="*/ 2074925 h 2304510"/>
                <a:gd name="connsiteX4" fmla="*/ 454183 w 704269"/>
                <a:gd name="connsiteY4" fmla="*/ 2304431 h 2304510"/>
                <a:gd name="connsiteX5" fmla="*/ 0 w 704269"/>
                <a:gd name="connsiteY5" fmla="*/ 1165860 h 2304510"/>
                <a:gd name="connsiteX6" fmla="*/ 361950 w 704269"/>
                <a:gd name="connsiteY6" fmla="*/ 70485 h 2304510"/>
                <a:gd name="connsiteX7" fmla="*/ 480060 w 704269"/>
                <a:gd name="connsiteY7" fmla="*/ 0 h 2304510"/>
                <a:gd name="connsiteX0" fmla="*/ 502285 w 709242"/>
                <a:gd name="connsiteY0" fmla="*/ 0 h 2307715"/>
                <a:gd name="connsiteX1" fmla="*/ 703422 w 709242"/>
                <a:gd name="connsiteY1" fmla="*/ 1242198 h 2307715"/>
                <a:gd name="connsiteX2" fmla="*/ 626268 w 709242"/>
                <a:gd name="connsiteY2" fmla="*/ 1259506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58225 h 2307715"/>
                <a:gd name="connsiteX2" fmla="*/ 626268 w 709242"/>
                <a:gd name="connsiteY2" fmla="*/ 1259506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58225 h 2307715"/>
                <a:gd name="connsiteX2" fmla="*/ 629443 w 709242"/>
                <a:gd name="connsiteY2" fmla="*/ 1253095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45404 h 2307715"/>
                <a:gd name="connsiteX2" fmla="*/ 629443 w 709242"/>
                <a:gd name="connsiteY2" fmla="*/ 1253095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51815 h 2307715"/>
                <a:gd name="connsiteX2" fmla="*/ 629443 w 709242"/>
                <a:gd name="connsiteY2" fmla="*/ 1253095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16328"/>
                <a:gd name="connsiteY0" fmla="*/ 0 h 2307715"/>
                <a:gd name="connsiteX1" fmla="*/ 712947 w 716328"/>
                <a:gd name="connsiteY1" fmla="*/ 1255020 h 2307715"/>
                <a:gd name="connsiteX2" fmla="*/ 629443 w 716328"/>
                <a:gd name="connsiteY2" fmla="*/ 1253095 h 2307715"/>
                <a:gd name="connsiteX3" fmla="*/ 369888 w 716328"/>
                <a:gd name="connsiteY3" fmla="*/ 2078130 h 2307715"/>
                <a:gd name="connsiteX4" fmla="*/ 454183 w 716328"/>
                <a:gd name="connsiteY4" fmla="*/ 2307636 h 2307715"/>
                <a:gd name="connsiteX5" fmla="*/ 0 w 716328"/>
                <a:gd name="connsiteY5" fmla="*/ 1169065 h 2307715"/>
                <a:gd name="connsiteX6" fmla="*/ 361950 w 716328"/>
                <a:gd name="connsiteY6" fmla="*/ 73690 h 2307715"/>
                <a:gd name="connsiteX7" fmla="*/ 502285 w 716328"/>
                <a:gd name="connsiteY7" fmla="*/ 0 h 2307715"/>
                <a:gd name="connsiteX0" fmla="*/ 502285 w 713542"/>
                <a:gd name="connsiteY0" fmla="*/ 0 h 2307715"/>
                <a:gd name="connsiteX1" fmla="*/ 712947 w 713542"/>
                <a:gd name="connsiteY1" fmla="*/ 1255020 h 2307715"/>
                <a:gd name="connsiteX2" fmla="*/ 629443 w 713542"/>
                <a:gd name="connsiteY2" fmla="*/ 1253095 h 2307715"/>
                <a:gd name="connsiteX3" fmla="*/ 369888 w 713542"/>
                <a:gd name="connsiteY3" fmla="*/ 2078130 h 2307715"/>
                <a:gd name="connsiteX4" fmla="*/ 454183 w 713542"/>
                <a:gd name="connsiteY4" fmla="*/ 2307636 h 2307715"/>
                <a:gd name="connsiteX5" fmla="*/ 0 w 713542"/>
                <a:gd name="connsiteY5" fmla="*/ 1169065 h 2307715"/>
                <a:gd name="connsiteX6" fmla="*/ 361950 w 713542"/>
                <a:gd name="connsiteY6" fmla="*/ 73690 h 2307715"/>
                <a:gd name="connsiteX7" fmla="*/ 502285 w 713542"/>
                <a:gd name="connsiteY7" fmla="*/ 0 h 2307715"/>
                <a:gd name="connsiteX0" fmla="*/ 502285 w 713103"/>
                <a:gd name="connsiteY0" fmla="*/ 0 h 2307715"/>
                <a:gd name="connsiteX1" fmla="*/ 712947 w 713103"/>
                <a:gd name="connsiteY1" fmla="*/ 1255020 h 2307715"/>
                <a:gd name="connsiteX2" fmla="*/ 629443 w 713103"/>
                <a:gd name="connsiteY2" fmla="*/ 1253095 h 2307715"/>
                <a:gd name="connsiteX3" fmla="*/ 369888 w 713103"/>
                <a:gd name="connsiteY3" fmla="*/ 2078130 h 2307715"/>
                <a:gd name="connsiteX4" fmla="*/ 454183 w 713103"/>
                <a:gd name="connsiteY4" fmla="*/ 2307636 h 2307715"/>
                <a:gd name="connsiteX5" fmla="*/ 0 w 713103"/>
                <a:gd name="connsiteY5" fmla="*/ 1169065 h 2307715"/>
                <a:gd name="connsiteX6" fmla="*/ 361950 w 713103"/>
                <a:gd name="connsiteY6" fmla="*/ 73690 h 2307715"/>
                <a:gd name="connsiteX7" fmla="*/ 502285 w 713103"/>
                <a:gd name="connsiteY7" fmla="*/ 0 h 230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3103" h="2307715">
                  <a:moveTo>
                    <a:pt x="502285" y="0"/>
                  </a:moveTo>
                  <a:cubicBezTo>
                    <a:pt x="756920" y="73417"/>
                    <a:pt x="706439" y="673630"/>
                    <a:pt x="712947" y="1255020"/>
                  </a:cubicBezTo>
                  <a:lnTo>
                    <a:pt x="629443" y="1253095"/>
                  </a:lnTo>
                  <a:lnTo>
                    <a:pt x="369888" y="2078130"/>
                  </a:lnTo>
                  <a:lnTo>
                    <a:pt x="454183" y="2307636"/>
                  </a:lnTo>
                  <a:cubicBezTo>
                    <a:pt x="130334" y="2317161"/>
                    <a:pt x="138112" y="1464340"/>
                    <a:pt x="0" y="1169065"/>
                  </a:cubicBezTo>
                  <a:lnTo>
                    <a:pt x="361950" y="73690"/>
                  </a:lnTo>
                  <a:lnTo>
                    <a:pt x="502285" y="0"/>
                  </a:lnTo>
                  <a:close/>
                </a:path>
              </a:pathLst>
            </a:cu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04" name="Rectangle 3603">
              <a:extLst>
                <a:ext uri="{FF2B5EF4-FFF2-40B4-BE49-F238E27FC236}">
                  <a16:creationId xmlns:a16="http://schemas.microsoft.com/office/drawing/2014/main" id="{AE6DD9B8-E1BB-4AB3-9DBF-D49AB6CD468A}"/>
                </a:ext>
              </a:extLst>
            </p:cNvPr>
            <p:cNvSpPr/>
            <p:nvPr/>
          </p:nvSpPr>
          <p:spPr bwMode="auto">
            <a:xfrm>
              <a:off x="1847875" y="3396788"/>
              <a:ext cx="1419638" cy="13251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05" name="Parallelogram 172">
              <a:extLst>
                <a:ext uri="{FF2B5EF4-FFF2-40B4-BE49-F238E27FC236}">
                  <a16:creationId xmlns:a16="http://schemas.microsoft.com/office/drawing/2014/main" id="{2A7E09A8-E6A4-4900-B4F8-57B670CE464B}"/>
                </a:ext>
              </a:extLst>
            </p:cNvPr>
            <p:cNvSpPr/>
            <p:nvPr/>
          </p:nvSpPr>
          <p:spPr bwMode="auto">
            <a:xfrm>
              <a:off x="1603504" y="1038352"/>
              <a:ext cx="1751202" cy="2371645"/>
            </a:xfrm>
            <a:custGeom>
              <a:avLst/>
              <a:gdLst>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251435 w 2699002"/>
                <a:gd name="connsiteY0" fmla="*/ 2045549 h 2045549"/>
                <a:gd name="connsiteX1" fmla="*/ 762822 w 2699002"/>
                <a:gd name="connsiteY1" fmla="*/ 0 h 2045549"/>
                <a:gd name="connsiteX2" fmla="*/ 2699002 w 2699002"/>
                <a:gd name="connsiteY2" fmla="*/ 0 h 2045549"/>
                <a:gd name="connsiteX3" fmla="*/ 2187615 w 2699002"/>
                <a:gd name="connsiteY3" fmla="*/ 2045549 h 2045549"/>
                <a:gd name="connsiteX4" fmla="*/ 251435 w 2699002"/>
                <a:gd name="connsiteY4" fmla="*/ 2045549 h 2045549"/>
                <a:gd name="connsiteX0" fmla="*/ 301141 w 2748708"/>
                <a:gd name="connsiteY0" fmla="*/ 2045549 h 2045549"/>
                <a:gd name="connsiteX1" fmla="*/ 812528 w 2748708"/>
                <a:gd name="connsiteY1" fmla="*/ 0 h 2045549"/>
                <a:gd name="connsiteX2" fmla="*/ 2748708 w 2748708"/>
                <a:gd name="connsiteY2" fmla="*/ 0 h 2045549"/>
                <a:gd name="connsiteX3" fmla="*/ 2237321 w 2748708"/>
                <a:gd name="connsiteY3" fmla="*/ 2045549 h 2045549"/>
                <a:gd name="connsiteX4" fmla="*/ 301141 w 2748708"/>
                <a:gd name="connsiteY4" fmla="*/ 2045549 h 2045549"/>
                <a:gd name="connsiteX0" fmla="*/ 312138 w 2759705"/>
                <a:gd name="connsiteY0" fmla="*/ 2045549 h 2045549"/>
                <a:gd name="connsiteX1" fmla="*/ 823525 w 2759705"/>
                <a:gd name="connsiteY1" fmla="*/ 0 h 2045549"/>
                <a:gd name="connsiteX2" fmla="*/ 2759705 w 2759705"/>
                <a:gd name="connsiteY2" fmla="*/ 0 h 2045549"/>
                <a:gd name="connsiteX3" fmla="*/ 2248318 w 2759705"/>
                <a:gd name="connsiteY3" fmla="*/ 2045549 h 2045549"/>
                <a:gd name="connsiteX4" fmla="*/ 312138 w 2759705"/>
                <a:gd name="connsiteY4" fmla="*/ 2045549 h 2045549"/>
                <a:gd name="connsiteX0" fmla="*/ 312138 w 2759705"/>
                <a:gd name="connsiteY0" fmla="*/ 2045549 h 2045549"/>
                <a:gd name="connsiteX1" fmla="*/ 823525 w 2759705"/>
                <a:gd name="connsiteY1" fmla="*/ 0 h 2045549"/>
                <a:gd name="connsiteX2" fmla="*/ 2759705 w 2759705"/>
                <a:gd name="connsiteY2" fmla="*/ 0 h 2045549"/>
                <a:gd name="connsiteX3" fmla="*/ 2248318 w 2759705"/>
                <a:gd name="connsiteY3" fmla="*/ 2045549 h 2045549"/>
                <a:gd name="connsiteX4" fmla="*/ 312138 w 2759705"/>
                <a:gd name="connsiteY4" fmla="*/ 2045549 h 2045549"/>
                <a:gd name="connsiteX0" fmla="*/ 312138 w 2759705"/>
                <a:gd name="connsiteY0" fmla="*/ 2045549 h 2045549"/>
                <a:gd name="connsiteX1" fmla="*/ 823525 w 2759705"/>
                <a:gd name="connsiteY1" fmla="*/ 0 h 2045549"/>
                <a:gd name="connsiteX2" fmla="*/ 2759705 w 2759705"/>
                <a:gd name="connsiteY2" fmla="*/ 0 h 2045549"/>
                <a:gd name="connsiteX3" fmla="*/ 2248318 w 2759705"/>
                <a:gd name="connsiteY3" fmla="*/ 2045549 h 2045549"/>
                <a:gd name="connsiteX4" fmla="*/ 312138 w 2759705"/>
                <a:gd name="connsiteY4" fmla="*/ 2045549 h 2045549"/>
                <a:gd name="connsiteX0" fmla="*/ 312138 w 2759705"/>
                <a:gd name="connsiteY0" fmla="*/ 2045549 h 2045549"/>
                <a:gd name="connsiteX1" fmla="*/ 823525 w 2759705"/>
                <a:gd name="connsiteY1" fmla="*/ 0 h 2045549"/>
                <a:gd name="connsiteX2" fmla="*/ 2759705 w 2759705"/>
                <a:gd name="connsiteY2" fmla="*/ 0 h 2045549"/>
                <a:gd name="connsiteX3" fmla="*/ 2248318 w 2759705"/>
                <a:gd name="connsiteY3" fmla="*/ 2045549 h 2045549"/>
                <a:gd name="connsiteX4" fmla="*/ 312138 w 2759705"/>
                <a:gd name="connsiteY4" fmla="*/ 2045549 h 2045549"/>
                <a:gd name="connsiteX0" fmla="*/ 266984 w 2714551"/>
                <a:gd name="connsiteY0" fmla="*/ 2045549 h 2045549"/>
                <a:gd name="connsiteX1" fmla="*/ 778371 w 2714551"/>
                <a:gd name="connsiteY1" fmla="*/ 0 h 2045549"/>
                <a:gd name="connsiteX2" fmla="*/ 2714551 w 2714551"/>
                <a:gd name="connsiteY2" fmla="*/ 0 h 2045549"/>
                <a:gd name="connsiteX3" fmla="*/ 2203164 w 2714551"/>
                <a:gd name="connsiteY3" fmla="*/ 2045549 h 2045549"/>
                <a:gd name="connsiteX4" fmla="*/ 266984 w 2714551"/>
                <a:gd name="connsiteY4" fmla="*/ 2045549 h 2045549"/>
                <a:gd name="connsiteX0" fmla="*/ 266984 w 2714551"/>
                <a:gd name="connsiteY0" fmla="*/ 2045549 h 2045549"/>
                <a:gd name="connsiteX1" fmla="*/ 778371 w 2714551"/>
                <a:gd name="connsiteY1" fmla="*/ 0 h 2045549"/>
                <a:gd name="connsiteX2" fmla="*/ 2714551 w 2714551"/>
                <a:gd name="connsiteY2" fmla="*/ 0 h 2045549"/>
                <a:gd name="connsiteX3" fmla="*/ 2203164 w 2714551"/>
                <a:gd name="connsiteY3" fmla="*/ 2045549 h 2045549"/>
                <a:gd name="connsiteX4" fmla="*/ 266984 w 2714551"/>
                <a:gd name="connsiteY4" fmla="*/ 2045549 h 2045549"/>
                <a:gd name="connsiteX0" fmla="*/ 266984 w 2714551"/>
                <a:gd name="connsiteY0" fmla="*/ 2045549 h 2045549"/>
                <a:gd name="connsiteX1" fmla="*/ 778371 w 2714551"/>
                <a:gd name="connsiteY1" fmla="*/ 0 h 2045549"/>
                <a:gd name="connsiteX2" fmla="*/ 2714551 w 2714551"/>
                <a:gd name="connsiteY2" fmla="*/ 0 h 2045549"/>
                <a:gd name="connsiteX3" fmla="*/ 2203164 w 2714551"/>
                <a:gd name="connsiteY3" fmla="*/ 2045549 h 2045549"/>
                <a:gd name="connsiteX4" fmla="*/ 266984 w 2714551"/>
                <a:gd name="connsiteY4" fmla="*/ 2045549 h 2045549"/>
                <a:gd name="connsiteX0" fmla="*/ 454471 w 2902038"/>
                <a:gd name="connsiteY0" fmla="*/ 2045549 h 2045549"/>
                <a:gd name="connsiteX1" fmla="*/ 475120 w 2902038"/>
                <a:gd name="connsiteY1" fmla="*/ 28575 h 2045549"/>
                <a:gd name="connsiteX2" fmla="*/ 2902038 w 2902038"/>
                <a:gd name="connsiteY2" fmla="*/ 0 h 2045549"/>
                <a:gd name="connsiteX3" fmla="*/ 2390651 w 2902038"/>
                <a:gd name="connsiteY3" fmla="*/ 2045549 h 2045549"/>
                <a:gd name="connsiteX4" fmla="*/ 454471 w 2902038"/>
                <a:gd name="connsiteY4" fmla="*/ 2045549 h 2045549"/>
                <a:gd name="connsiteX0" fmla="*/ 409632 w 2857199"/>
                <a:gd name="connsiteY0" fmla="*/ 2045549 h 2045549"/>
                <a:gd name="connsiteX1" fmla="*/ 520679 w 2857199"/>
                <a:gd name="connsiteY1" fmla="*/ 38100 h 2045549"/>
                <a:gd name="connsiteX2" fmla="*/ 2857199 w 2857199"/>
                <a:gd name="connsiteY2" fmla="*/ 0 h 2045549"/>
                <a:gd name="connsiteX3" fmla="*/ 2345812 w 2857199"/>
                <a:gd name="connsiteY3" fmla="*/ 2045549 h 2045549"/>
                <a:gd name="connsiteX4" fmla="*/ 409632 w 2857199"/>
                <a:gd name="connsiteY4" fmla="*/ 2045549 h 2045549"/>
                <a:gd name="connsiteX0" fmla="*/ 409632 w 2456861"/>
                <a:gd name="connsiteY0" fmla="*/ 2045549 h 2045549"/>
                <a:gd name="connsiteX1" fmla="*/ 520679 w 2456861"/>
                <a:gd name="connsiteY1" fmla="*/ 38100 h 2045549"/>
                <a:gd name="connsiteX2" fmla="*/ 2456861 w 2456861"/>
                <a:gd name="connsiteY2" fmla="*/ 0 h 2045549"/>
                <a:gd name="connsiteX3" fmla="*/ 2345812 w 2456861"/>
                <a:gd name="connsiteY3" fmla="*/ 2045549 h 2045549"/>
                <a:gd name="connsiteX4" fmla="*/ 409632 w 2456861"/>
                <a:gd name="connsiteY4" fmla="*/ 2045549 h 2045549"/>
                <a:gd name="connsiteX0" fmla="*/ 335846 w 2383075"/>
                <a:gd name="connsiteY0" fmla="*/ 2045549 h 2045549"/>
                <a:gd name="connsiteX1" fmla="*/ 446893 w 2383075"/>
                <a:gd name="connsiteY1" fmla="*/ 38100 h 2045549"/>
                <a:gd name="connsiteX2" fmla="*/ 2383075 w 2383075"/>
                <a:gd name="connsiteY2" fmla="*/ 0 h 2045549"/>
                <a:gd name="connsiteX3" fmla="*/ 2272026 w 2383075"/>
                <a:gd name="connsiteY3" fmla="*/ 2045549 h 2045549"/>
                <a:gd name="connsiteX4" fmla="*/ 335846 w 2383075"/>
                <a:gd name="connsiteY4" fmla="*/ 2045549 h 2045549"/>
                <a:gd name="connsiteX0" fmla="*/ 339875 w 2387104"/>
                <a:gd name="connsiteY0" fmla="*/ 2045549 h 2045549"/>
                <a:gd name="connsiteX1" fmla="*/ 450922 w 2387104"/>
                <a:gd name="connsiteY1" fmla="*/ 38100 h 2045549"/>
                <a:gd name="connsiteX2" fmla="*/ 2387104 w 2387104"/>
                <a:gd name="connsiteY2" fmla="*/ 0 h 2045549"/>
                <a:gd name="connsiteX3" fmla="*/ 2276055 w 2387104"/>
                <a:gd name="connsiteY3" fmla="*/ 2045549 h 2045549"/>
                <a:gd name="connsiteX4" fmla="*/ 339875 w 2387104"/>
                <a:gd name="connsiteY4" fmla="*/ 2045549 h 2045549"/>
                <a:gd name="connsiteX0" fmla="*/ 339875 w 2387104"/>
                <a:gd name="connsiteY0" fmla="*/ 2045549 h 2045549"/>
                <a:gd name="connsiteX1" fmla="*/ 450922 w 2387104"/>
                <a:gd name="connsiteY1" fmla="*/ 38100 h 2045549"/>
                <a:gd name="connsiteX2" fmla="*/ 2387104 w 2387104"/>
                <a:gd name="connsiteY2" fmla="*/ 0 h 2045549"/>
                <a:gd name="connsiteX3" fmla="*/ 2276055 w 2387104"/>
                <a:gd name="connsiteY3" fmla="*/ 2045549 h 2045549"/>
                <a:gd name="connsiteX4" fmla="*/ 339875 w 2387104"/>
                <a:gd name="connsiteY4" fmla="*/ 2045549 h 2045549"/>
                <a:gd name="connsiteX0" fmla="*/ 339875 w 2387104"/>
                <a:gd name="connsiteY0" fmla="*/ 2045549 h 2045549"/>
                <a:gd name="connsiteX1" fmla="*/ 450922 w 2387104"/>
                <a:gd name="connsiteY1" fmla="*/ 38100 h 2045549"/>
                <a:gd name="connsiteX2" fmla="*/ 2387104 w 2387104"/>
                <a:gd name="connsiteY2" fmla="*/ 0 h 2045549"/>
                <a:gd name="connsiteX3" fmla="*/ 2276055 w 2387104"/>
                <a:gd name="connsiteY3" fmla="*/ 2045549 h 2045549"/>
                <a:gd name="connsiteX4" fmla="*/ 339875 w 2387104"/>
                <a:gd name="connsiteY4" fmla="*/ 2045549 h 2045549"/>
                <a:gd name="connsiteX0" fmla="*/ 339875 w 2387104"/>
                <a:gd name="connsiteY0" fmla="*/ 2045549 h 2045549"/>
                <a:gd name="connsiteX1" fmla="*/ 450922 w 2387104"/>
                <a:gd name="connsiteY1" fmla="*/ 38100 h 2045549"/>
                <a:gd name="connsiteX2" fmla="*/ 2387104 w 2387104"/>
                <a:gd name="connsiteY2" fmla="*/ 0 h 2045549"/>
                <a:gd name="connsiteX3" fmla="*/ 2276055 w 2387104"/>
                <a:gd name="connsiteY3" fmla="*/ 2045549 h 2045549"/>
                <a:gd name="connsiteX4" fmla="*/ 339875 w 2387104"/>
                <a:gd name="connsiteY4" fmla="*/ 2045549 h 2045549"/>
                <a:gd name="connsiteX0" fmla="*/ 317419 w 2364648"/>
                <a:gd name="connsiteY0" fmla="*/ 2045549 h 2045549"/>
                <a:gd name="connsiteX1" fmla="*/ 488732 w 2364648"/>
                <a:gd name="connsiteY1" fmla="*/ 15169 h 2045549"/>
                <a:gd name="connsiteX2" fmla="*/ 2364648 w 2364648"/>
                <a:gd name="connsiteY2" fmla="*/ 0 h 2045549"/>
                <a:gd name="connsiteX3" fmla="*/ 2253599 w 2364648"/>
                <a:gd name="connsiteY3" fmla="*/ 2045549 h 2045549"/>
                <a:gd name="connsiteX4" fmla="*/ 317419 w 2364648"/>
                <a:gd name="connsiteY4" fmla="*/ 2045549 h 2045549"/>
                <a:gd name="connsiteX0" fmla="*/ 312897 w 2360126"/>
                <a:gd name="connsiteY0" fmla="*/ 2045549 h 2045549"/>
                <a:gd name="connsiteX1" fmla="*/ 497124 w 2360126"/>
                <a:gd name="connsiteY1" fmla="*/ 4978 h 2045549"/>
                <a:gd name="connsiteX2" fmla="*/ 2360126 w 2360126"/>
                <a:gd name="connsiteY2" fmla="*/ 0 h 2045549"/>
                <a:gd name="connsiteX3" fmla="*/ 2249077 w 2360126"/>
                <a:gd name="connsiteY3" fmla="*/ 2045549 h 2045549"/>
                <a:gd name="connsiteX4" fmla="*/ 312897 w 2360126"/>
                <a:gd name="connsiteY4" fmla="*/ 2045549 h 2045549"/>
                <a:gd name="connsiteX0" fmla="*/ 325373 w 2372602"/>
                <a:gd name="connsiteY0" fmla="*/ 2045549 h 2045549"/>
                <a:gd name="connsiteX1" fmla="*/ 509600 w 2372602"/>
                <a:gd name="connsiteY1" fmla="*/ 4978 h 2045549"/>
                <a:gd name="connsiteX2" fmla="*/ 2372602 w 2372602"/>
                <a:gd name="connsiteY2" fmla="*/ 0 h 2045549"/>
                <a:gd name="connsiteX3" fmla="*/ 2261553 w 2372602"/>
                <a:gd name="connsiteY3" fmla="*/ 2045549 h 2045549"/>
                <a:gd name="connsiteX4" fmla="*/ 325373 w 2372602"/>
                <a:gd name="connsiteY4" fmla="*/ 2045549 h 2045549"/>
                <a:gd name="connsiteX0" fmla="*/ 333090 w 2380319"/>
                <a:gd name="connsiteY0" fmla="*/ 2045549 h 2045549"/>
                <a:gd name="connsiteX1" fmla="*/ 517317 w 2380319"/>
                <a:gd name="connsiteY1" fmla="*/ 4978 h 2045549"/>
                <a:gd name="connsiteX2" fmla="*/ 2380319 w 2380319"/>
                <a:gd name="connsiteY2" fmla="*/ 0 h 2045549"/>
                <a:gd name="connsiteX3" fmla="*/ 2269270 w 2380319"/>
                <a:gd name="connsiteY3" fmla="*/ 2045549 h 2045549"/>
                <a:gd name="connsiteX4" fmla="*/ 333090 w 2380319"/>
                <a:gd name="connsiteY4" fmla="*/ 2045549 h 2045549"/>
                <a:gd name="connsiteX0" fmla="*/ 333090 w 2380319"/>
                <a:gd name="connsiteY0" fmla="*/ 2045549 h 2045549"/>
                <a:gd name="connsiteX1" fmla="*/ 517317 w 2380319"/>
                <a:gd name="connsiteY1" fmla="*/ 4978 h 2045549"/>
                <a:gd name="connsiteX2" fmla="*/ 2380319 w 2380319"/>
                <a:gd name="connsiteY2" fmla="*/ 0 h 2045549"/>
                <a:gd name="connsiteX3" fmla="*/ 2249899 w 2380319"/>
                <a:gd name="connsiteY3" fmla="*/ 1762738 h 2045549"/>
                <a:gd name="connsiteX4" fmla="*/ 333090 w 2380319"/>
                <a:gd name="connsiteY4" fmla="*/ 2045549 h 2045549"/>
                <a:gd name="connsiteX0" fmla="*/ 333090 w 2380319"/>
                <a:gd name="connsiteY0" fmla="*/ 2045549 h 2045549"/>
                <a:gd name="connsiteX1" fmla="*/ 517317 w 2380319"/>
                <a:gd name="connsiteY1" fmla="*/ 4978 h 2045549"/>
                <a:gd name="connsiteX2" fmla="*/ 2380319 w 2380319"/>
                <a:gd name="connsiteY2" fmla="*/ 0 h 2045549"/>
                <a:gd name="connsiteX3" fmla="*/ 2249899 w 2380319"/>
                <a:gd name="connsiteY3" fmla="*/ 1762738 h 2045549"/>
                <a:gd name="connsiteX4" fmla="*/ 333090 w 2380319"/>
                <a:gd name="connsiteY4" fmla="*/ 2045549 h 2045549"/>
                <a:gd name="connsiteX0" fmla="*/ 324016 w 2396040"/>
                <a:gd name="connsiteY0" fmla="*/ 1854766 h 1854766"/>
                <a:gd name="connsiteX1" fmla="*/ 533038 w 2396040"/>
                <a:gd name="connsiteY1" fmla="*/ 4978 h 1854766"/>
                <a:gd name="connsiteX2" fmla="*/ 2396040 w 2396040"/>
                <a:gd name="connsiteY2" fmla="*/ 0 h 1854766"/>
                <a:gd name="connsiteX3" fmla="*/ 2265620 w 2396040"/>
                <a:gd name="connsiteY3" fmla="*/ 1762738 h 1854766"/>
                <a:gd name="connsiteX4" fmla="*/ 324016 w 2396040"/>
                <a:gd name="connsiteY4" fmla="*/ 1854766 h 1854766"/>
                <a:gd name="connsiteX0" fmla="*/ 336720 w 2374306"/>
                <a:gd name="connsiteY0" fmla="*/ 1783426 h 1783426"/>
                <a:gd name="connsiteX1" fmla="*/ 511304 w 2374306"/>
                <a:gd name="connsiteY1" fmla="*/ 4978 h 1783426"/>
                <a:gd name="connsiteX2" fmla="*/ 2374306 w 2374306"/>
                <a:gd name="connsiteY2" fmla="*/ 0 h 1783426"/>
                <a:gd name="connsiteX3" fmla="*/ 2243886 w 2374306"/>
                <a:gd name="connsiteY3" fmla="*/ 1762738 h 1783426"/>
                <a:gd name="connsiteX4" fmla="*/ 336720 w 2374306"/>
                <a:gd name="connsiteY4" fmla="*/ 1783426 h 1783426"/>
                <a:gd name="connsiteX0" fmla="*/ 336720 w 2374305"/>
                <a:gd name="connsiteY0" fmla="*/ 1755400 h 1762738"/>
                <a:gd name="connsiteX1" fmla="*/ 511303 w 2374305"/>
                <a:gd name="connsiteY1" fmla="*/ 4978 h 1762738"/>
                <a:gd name="connsiteX2" fmla="*/ 2374305 w 2374305"/>
                <a:gd name="connsiteY2" fmla="*/ 0 h 1762738"/>
                <a:gd name="connsiteX3" fmla="*/ 2243885 w 2374305"/>
                <a:gd name="connsiteY3" fmla="*/ 1762738 h 1762738"/>
                <a:gd name="connsiteX4" fmla="*/ 336720 w 2374305"/>
                <a:gd name="connsiteY4" fmla="*/ 1755400 h 1762738"/>
                <a:gd name="connsiteX0" fmla="*/ 336721 w 2374305"/>
                <a:gd name="connsiteY0" fmla="*/ 1903175 h 1903175"/>
                <a:gd name="connsiteX1" fmla="*/ 511303 w 2374305"/>
                <a:gd name="connsiteY1" fmla="*/ 4978 h 1903175"/>
                <a:gd name="connsiteX2" fmla="*/ 2374305 w 2374305"/>
                <a:gd name="connsiteY2" fmla="*/ 0 h 1903175"/>
                <a:gd name="connsiteX3" fmla="*/ 2243885 w 2374305"/>
                <a:gd name="connsiteY3" fmla="*/ 1762738 h 1903175"/>
                <a:gd name="connsiteX4" fmla="*/ 336721 w 2374305"/>
                <a:gd name="connsiteY4" fmla="*/ 1903175 h 1903175"/>
                <a:gd name="connsiteX0" fmla="*/ 336721 w 2374305"/>
                <a:gd name="connsiteY0" fmla="*/ 1903175 h 1903175"/>
                <a:gd name="connsiteX1" fmla="*/ 511303 w 2374305"/>
                <a:gd name="connsiteY1" fmla="*/ 4978 h 1903175"/>
                <a:gd name="connsiteX2" fmla="*/ 2374305 w 2374305"/>
                <a:gd name="connsiteY2" fmla="*/ 0 h 1903175"/>
                <a:gd name="connsiteX3" fmla="*/ 2286932 w 2374305"/>
                <a:gd name="connsiteY3" fmla="*/ 1895226 h 1903175"/>
                <a:gd name="connsiteX4" fmla="*/ 336721 w 2374305"/>
                <a:gd name="connsiteY4" fmla="*/ 1903175 h 1903175"/>
                <a:gd name="connsiteX0" fmla="*/ 336721 w 2374305"/>
                <a:gd name="connsiteY0" fmla="*/ 1903175 h 1903175"/>
                <a:gd name="connsiteX1" fmla="*/ 511303 w 2374305"/>
                <a:gd name="connsiteY1" fmla="*/ 4978 h 1903175"/>
                <a:gd name="connsiteX2" fmla="*/ 2374305 w 2374305"/>
                <a:gd name="connsiteY2" fmla="*/ 0 h 1903175"/>
                <a:gd name="connsiteX3" fmla="*/ 2264332 w 2374305"/>
                <a:gd name="connsiteY3" fmla="*/ 1895226 h 1903175"/>
                <a:gd name="connsiteX4" fmla="*/ 336721 w 2374305"/>
                <a:gd name="connsiteY4" fmla="*/ 1903175 h 190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4305" h="1903175">
                  <a:moveTo>
                    <a:pt x="336721" y="1903175"/>
                  </a:moveTo>
                  <a:cubicBezTo>
                    <a:pt x="-223067" y="1119725"/>
                    <a:pt x="-29408" y="446351"/>
                    <a:pt x="511303" y="4978"/>
                  </a:cubicBezTo>
                  <a:lnTo>
                    <a:pt x="2374305" y="0"/>
                  </a:lnTo>
                  <a:cubicBezTo>
                    <a:pt x="1491004" y="1173975"/>
                    <a:pt x="2054437" y="1627243"/>
                    <a:pt x="2264332" y="1895226"/>
                  </a:cubicBezTo>
                  <a:lnTo>
                    <a:pt x="336721" y="1903175"/>
                  </a:lnTo>
                  <a:close/>
                </a:path>
              </a:pathLst>
            </a:cu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06" name="Oval 3605">
              <a:extLst>
                <a:ext uri="{FF2B5EF4-FFF2-40B4-BE49-F238E27FC236}">
                  <a16:creationId xmlns:a16="http://schemas.microsoft.com/office/drawing/2014/main" id="{23B84411-37D0-4818-AA36-C30648EE2A54}"/>
                </a:ext>
              </a:extLst>
            </p:cNvPr>
            <p:cNvSpPr/>
            <p:nvPr/>
          </p:nvSpPr>
          <p:spPr bwMode="auto">
            <a:xfrm rot="505191">
              <a:off x="1847849" y="1417947"/>
              <a:ext cx="964409" cy="1440568"/>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07" name="Freeform: Shape 1879">
              <a:extLst>
                <a:ext uri="{FF2B5EF4-FFF2-40B4-BE49-F238E27FC236}">
                  <a16:creationId xmlns:a16="http://schemas.microsoft.com/office/drawing/2014/main" id="{EAC59242-02AD-4097-B3E2-17230644DC33}"/>
                </a:ext>
              </a:extLst>
            </p:cNvPr>
            <p:cNvSpPr/>
            <p:nvPr/>
          </p:nvSpPr>
          <p:spPr bwMode="auto">
            <a:xfrm>
              <a:off x="3212305" y="1539083"/>
              <a:ext cx="266700" cy="1563687"/>
            </a:xfrm>
            <a:custGeom>
              <a:avLst/>
              <a:gdLst>
                <a:gd name="connsiteX0" fmla="*/ 278606 w 278606"/>
                <a:gd name="connsiteY0" fmla="*/ 540544 h 973931"/>
                <a:gd name="connsiteX1" fmla="*/ 278606 w 278606"/>
                <a:gd name="connsiteY1" fmla="*/ 0 h 973931"/>
                <a:gd name="connsiteX2" fmla="*/ 0 w 278606"/>
                <a:gd name="connsiteY2" fmla="*/ 278606 h 973931"/>
                <a:gd name="connsiteX3" fmla="*/ 0 w 278606"/>
                <a:gd name="connsiteY3" fmla="*/ 973931 h 973931"/>
                <a:gd name="connsiteX4" fmla="*/ 278606 w 278606"/>
                <a:gd name="connsiteY4" fmla="*/ 540544 h 973931"/>
                <a:gd name="connsiteX0" fmla="*/ 278606 w 278606"/>
                <a:gd name="connsiteY0" fmla="*/ 540544 h 957262"/>
                <a:gd name="connsiteX1" fmla="*/ 278606 w 278606"/>
                <a:gd name="connsiteY1" fmla="*/ 0 h 957262"/>
                <a:gd name="connsiteX2" fmla="*/ 0 w 278606"/>
                <a:gd name="connsiteY2" fmla="*/ 278606 h 957262"/>
                <a:gd name="connsiteX3" fmla="*/ 21431 w 278606"/>
                <a:gd name="connsiteY3" fmla="*/ 957262 h 957262"/>
                <a:gd name="connsiteX4" fmla="*/ 278606 w 278606"/>
                <a:gd name="connsiteY4" fmla="*/ 540544 h 957262"/>
                <a:gd name="connsiteX0" fmla="*/ 278606 w 278606"/>
                <a:gd name="connsiteY0" fmla="*/ 540544 h 1085849"/>
                <a:gd name="connsiteX1" fmla="*/ 278606 w 278606"/>
                <a:gd name="connsiteY1" fmla="*/ 0 h 1085849"/>
                <a:gd name="connsiteX2" fmla="*/ 0 w 278606"/>
                <a:gd name="connsiteY2" fmla="*/ 278606 h 1085849"/>
                <a:gd name="connsiteX3" fmla="*/ 11906 w 278606"/>
                <a:gd name="connsiteY3" fmla="*/ 1085849 h 1085849"/>
                <a:gd name="connsiteX4" fmla="*/ 278606 w 278606"/>
                <a:gd name="connsiteY4" fmla="*/ 540544 h 1085849"/>
                <a:gd name="connsiteX0" fmla="*/ 297656 w 319704"/>
                <a:gd name="connsiteY0" fmla="*/ 545330 h 1090635"/>
                <a:gd name="connsiteX1" fmla="*/ 297656 w 319704"/>
                <a:gd name="connsiteY1" fmla="*/ 4786 h 1090635"/>
                <a:gd name="connsiteX2" fmla="*/ 0 w 319704"/>
                <a:gd name="connsiteY2" fmla="*/ 297679 h 1090635"/>
                <a:gd name="connsiteX3" fmla="*/ 30956 w 319704"/>
                <a:gd name="connsiteY3" fmla="*/ 1090635 h 1090635"/>
                <a:gd name="connsiteX4" fmla="*/ 297656 w 319704"/>
                <a:gd name="connsiteY4" fmla="*/ 545330 h 1090635"/>
                <a:gd name="connsiteX0" fmla="*/ 297656 w 297656"/>
                <a:gd name="connsiteY0" fmla="*/ 545330 h 1090635"/>
                <a:gd name="connsiteX1" fmla="*/ 297656 w 297656"/>
                <a:gd name="connsiteY1" fmla="*/ 4786 h 1090635"/>
                <a:gd name="connsiteX2" fmla="*/ 0 w 297656"/>
                <a:gd name="connsiteY2" fmla="*/ 297679 h 1090635"/>
                <a:gd name="connsiteX3" fmla="*/ 30956 w 297656"/>
                <a:gd name="connsiteY3" fmla="*/ 1090635 h 1090635"/>
                <a:gd name="connsiteX4" fmla="*/ 297656 w 297656"/>
                <a:gd name="connsiteY4" fmla="*/ 545330 h 1090635"/>
                <a:gd name="connsiteX0" fmla="*/ 297656 w 297656"/>
                <a:gd name="connsiteY0" fmla="*/ 540544 h 1085849"/>
                <a:gd name="connsiteX1" fmla="*/ 297656 w 297656"/>
                <a:gd name="connsiteY1" fmla="*/ 0 h 1085849"/>
                <a:gd name="connsiteX2" fmla="*/ 0 w 297656"/>
                <a:gd name="connsiteY2" fmla="*/ 292893 h 1085849"/>
                <a:gd name="connsiteX3" fmla="*/ 30956 w 297656"/>
                <a:gd name="connsiteY3" fmla="*/ 1085849 h 1085849"/>
                <a:gd name="connsiteX4" fmla="*/ 297656 w 297656"/>
                <a:gd name="connsiteY4" fmla="*/ 540544 h 1085849"/>
                <a:gd name="connsiteX0" fmla="*/ 297656 w 297656"/>
                <a:gd name="connsiteY0" fmla="*/ 540544 h 1081087"/>
                <a:gd name="connsiteX1" fmla="*/ 297656 w 297656"/>
                <a:gd name="connsiteY1" fmla="*/ 0 h 1081087"/>
                <a:gd name="connsiteX2" fmla="*/ 0 w 297656"/>
                <a:gd name="connsiteY2" fmla="*/ 292893 h 1081087"/>
                <a:gd name="connsiteX3" fmla="*/ 16668 w 297656"/>
                <a:gd name="connsiteY3" fmla="*/ 1081087 h 1081087"/>
                <a:gd name="connsiteX4" fmla="*/ 297656 w 297656"/>
                <a:gd name="connsiteY4" fmla="*/ 540544 h 1081087"/>
                <a:gd name="connsiteX0" fmla="*/ 297656 w 297656"/>
                <a:gd name="connsiteY0" fmla="*/ 540544 h 1162050"/>
                <a:gd name="connsiteX1" fmla="*/ 297656 w 297656"/>
                <a:gd name="connsiteY1" fmla="*/ 0 h 1162050"/>
                <a:gd name="connsiteX2" fmla="*/ 0 w 297656"/>
                <a:gd name="connsiteY2" fmla="*/ 292893 h 1162050"/>
                <a:gd name="connsiteX3" fmla="*/ 107156 w 297656"/>
                <a:gd name="connsiteY3" fmla="*/ 1162050 h 1162050"/>
                <a:gd name="connsiteX4" fmla="*/ 297656 w 297656"/>
                <a:gd name="connsiteY4" fmla="*/ 540544 h 1162050"/>
                <a:gd name="connsiteX0" fmla="*/ 240506 w 240506"/>
                <a:gd name="connsiteY0" fmla="*/ 540544 h 1162050"/>
                <a:gd name="connsiteX1" fmla="*/ 240506 w 240506"/>
                <a:gd name="connsiteY1" fmla="*/ 0 h 1162050"/>
                <a:gd name="connsiteX2" fmla="*/ 0 w 240506"/>
                <a:gd name="connsiteY2" fmla="*/ 242887 h 1162050"/>
                <a:gd name="connsiteX3" fmla="*/ 50006 w 240506"/>
                <a:gd name="connsiteY3" fmla="*/ 1162050 h 1162050"/>
                <a:gd name="connsiteX4" fmla="*/ 240506 w 240506"/>
                <a:gd name="connsiteY4" fmla="*/ 540544 h 1162050"/>
                <a:gd name="connsiteX0" fmla="*/ 195262 w 195262"/>
                <a:gd name="connsiteY0" fmla="*/ 540544 h 1162050"/>
                <a:gd name="connsiteX1" fmla="*/ 195262 w 195262"/>
                <a:gd name="connsiteY1" fmla="*/ 0 h 1162050"/>
                <a:gd name="connsiteX2" fmla="*/ 0 w 195262"/>
                <a:gd name="connsiteY2" fmla="*/ 197643 h 1162050"/>
                <a:gd name="connsiteX3" fmla="*/ 4762 w 195262"/>
                <a:gd name="connsiteY3" fmla="*/ 1162050 h 1162050"/>
                <a:gd name="connsiteX4" fmla="*/ 195262 w 195262"/>
                <a:gd name="connsiteY4" fmla="*/ 540544 h 1162050"/>
                <a:gd name="connsiteX0" fmla="*/ 209549 w 209549"/>
                <a:gd name="connsiteY0" fmla="*/ 540544 h 1162050"/>
                <a:gd name="connsiteX1" fmla="*/ 209549 w 209549"/>
                <a:gd name="connsiteY1" fmla="*/ 0 h 1162050"/>
                <a:gd name="connsiteX2" fmla="*/ 0 w 209549"/>
                <a:gd name="connsiteY2" fmla="*/ 197643 h 1162050"/>
                <a:gd name="connsiteX3" fmla="*/ 19049 w 209549"/>
                <a:gd name="connsiteY3" fmla="*/ 1162050 h 1162050"/>
                <a:gd name="connsiteX4" fmla="*/ 209549 w 209549"/>
                <a:gd name="connsiteY4" fmla="*/ 540544 h 1162050"/>
                <a:gd name="connsiteX0" fmla="*/ 209549 w 209549"/>
                <a:gd name="connsiteY0" fmla="*/ 540544 h 1419225"/>
                <a:gd name="connsiteX1" fmla="*/ 209549 w 209549"/>
                <a:gd name="connsiteY1" fmla="*/ 0 h 1419225"/>
                <a:gd name="connsiteX2" fmla="*/ 0 w 209549"/>
                <a:gd name="connsiteY2" fmla="*/ 197643 h 1419225"/>
                <a:gd name="connsiteX3" fmla="*/ 14287 w 209549"/>
                <a:gd name="connsiteY3" fmla="*/ 1419225 h 1419225"/>
                <a:gd name="connsiteX4" fmla="*/ 209549 w 209549"/>
                <a:gd name="connsiteY4" fmla="*/ 540544 h 1419225"/>
                <a:gd name="connsiteX0" fmla="*/ 252412 w 252412"/>
                <a:gd name="connsiteY0" fmla="*/ 540544 h 1419225"/>
                <a:gd name="connsiteX1" fmla="*/ 252412 w 252412"/>
                <a:gd name="connsiteY1" fmla="*/ 0 h 1419225"/>
                <a:gd name="connsiteX2" fmla="*/ 0 w 252412"/>
                <a:gd name="connsiteY2" fmla="*/ 683418 h 1419225"/>
                <a:gd name="connsiteX3" fmla="*/ 57150 w 252412"/>
                <a:gd name="connsiteY3" fmla="*/ 1419225 h 1419225"/>
                <a:gd name="connsiteX4" fmla="*/ 252412 w 252412"/>
                <a:gd name="connsiteY4" fmla="*/ 540544 h 1419225"/>
                <a:gd name="connsiteX0" fmla="*/ 252412 w 252412"/>
                <a:gd name="connsiteY0" fmla="*/ 540544 h 1419225"/>
                <a:gd name="connsiteX1" fmla="*/ 252412 w 252412"/>
                <a:gd name="connsiteY1" fmla="*/ 0 h 1419225"/>
                <a:gd name="connsiteX2" fmla="*/ 0 w 252412"/>
                <a:gd name="connsiteY2" fmla="*/ 683418 h 1419225"/>
                <a:gd name="connsiteX3" fmla="*/ 57150 w 252412"/>
                <a:gd name="connsiteY3" fmla="*/ 1419225 h 1419225"/>
                <a:gd name="connsiteX4" fmla="*/ 252412 w 252412"/>
                <a:gd name="connsiteY4" fmla="*/ 540544 h 1419225"/>
                <a:gd name="connsiteX0" fmla="*/ 252412 w 252412"/>
                <a:gd name="connsiteY0" fmla="*/ 540544 h 1419225"/>
                <a:gd name="connsiteX1" fmla="*/ 252412 w 252412"/>
                <a:gd name="connsiteY1" fmla="*/ 0 h 1419225"/>
                <a:gd name="connsiteX2" fmla="*/ 0 w 252412"/>
                <a:gd name="connsiteY2" fmla="*/ 683418 h 1419225"/>
                <a:gd name="connsiteX3" fmla="*/ 57150 w 252412"/>
                <a:gd name="connsiteY3" fmla="*/ 1419225 h 1419225"/>
                <a:gd name="connsiteX4" fmla="*/ 252412 w 252412"/>
                <a:gd name="connsiteY4" fmla="*/ 540544 h 1419225"/>
                <a:gd name="connsiteX0" fmla="*/ 295275 w 295275"/>
                <a:gd name="connsiteY0" fmla="*/ 540544 h 1419225"/>
                <a:gd name="connsiteX1" fmla="*/ 295275 w 295275"/>
                <a:gd name="connsiteY1" fmla="*/ 0 h 1419225"/>
                <a:gd name="connsiteX2" fmla="*/ 0 w 295275"/>
                <a:gd name="connsiteY2" fmla="*/ 431005 h 1419225"/>
                <a:gd name="connsiteX3" fmla="*/ 100013 w 295275"/>
                <a:gd name="connsiteY3" fmla="*/ 1419225 h 1419225"/>
                <a:gd name="connsiteX4" fmla="*/ 295275 w 295275"/>
                <a:gd name="connsiteY4" fmla="*/ 540544 h 1419225"/>
                <a:gd name="connsiteX0" fmla="*/ 295275 w 295275"/>
                <a:gd name="connsiteY0" fmla="*/ 754856 h 1633537"/>
                <a:gd name="connsiteX1" fmla="*/ 290512 w 295275"/>
                <a:gd name="connsiteY1" fmla="*/ 0 h 1633537"/>
                <a:gd name="connsiteX2" fmla="*/ 0 w 295275"/>
                <a:gd name="connsiteY2" fmla="*/ 645317 h 1633537"/>
                <a:gd name="connsiteX3" fmla="*/ 100013 w 295275"/>
                <a:gd name="connsiteY3" fmla="*/ 1633537 h 1633537"/>
                <a:gd name="connsiteX4" fmla="*/ 295275 w 295275"/>
                <a:gd name="connsiteY4" fmla="*/ 754856 h 1633537"/>
                <a:gd name="connsiteX0" fmla="*/ 242887 w 242887"/>
                <a:gd name="connsiteY0" fmla="*/ 754856 h 1633537"/>
                <a:gd name="connsiteX1" fmla="*/ 238124 w 242887"/>
                <a:gd name="connsiteY1" fmla="*/ 0 h 1633537"/>
                <a:gd name="connsiteX2" fmla="*/ 0 w 242887"/>
                <a:gd name="connsiteY2" fmla="*/ 631030 h 1633537"/>
                <a:gd name="connsiteX3" fmla="*/ 47625 w 242887"/>
                <a:gd name="connsiteY3" fmla="*/ 1633537 h 1633537"/>
                <a:gd name="connsiteX4" fmla="*/ 242887 w 242887"/>
                <a:gd name="connsiteY4" fmla="*/ 754856 h 1633537"/>
                <a:gd name="connsiteX0" fmla="*/ 266700 w 266700"/>
                <a:gd name="connsiteY0" fmla="*/ 754856 h 1633537"/>
                <a:gd name="connsiteX1" fmla="*/ 261937 w 266700"/>
                <a:gd name="connsiteY1" fmla="*/ 0 h 1633537"/>
                <a:gd name="connsiteX2" fmla="*/ 0 w 266700"/>
                <a:gd name="connsiteY2" fmla="*/ 635793 h 1633537"/>
                <a:gd name="connsiteX3" fmla="*/ 71438 w 266700"/>
                <a:gd name="connsiteY3" fmla="*/ 1633537 h 1633537"/>
                <a:gd name="connsiteX4" fmla="*/ 266700 w 266700"/>
                <a:gd name="connsiteY4" fmla="*/ 754856 h 1633537"/>
                <a:gd name="connsiteX0" fmla="*/ 266700 w 266700"/>
                <a:gd name="connsiteY0" fmla="*/ 745331 h 1624012"/>
                <a:gd name="connsiteX1" fmla="*/ 238125 w 266700"/>
                <a:gd name="connsiteY1" fmla="*/ 0 h 1624012"/>
                <a:gd name="connsiteX2" fmla="*/ 0 w 266700"/>
                <a:gd name="connsiteY2" fmla="*/ 626268 h 1624012"/>
                <a:gd name="connsiteX3" fmla="*/ 71438 w 266700"/>
                <a:gd name="connsiteY3" fmla="*/ 1624012 h 1624012"/>
                <a:gd name="connsiteX4" fmla="*/ 266700 w 266700"/>
                <a:gd name="connsiteY4" fmla="*/ 745331 h 1624012"/>
                <a:gd name="connsiteX0" fmla="*/ 266700 w 266700"/>
                <a:gd name="connsiteY0" fmla="*/ 735806 h 1614487"/>
                <a:gd name="connsiteX1" fmla="*/ 242887 w 266700"/>
                <a:gd name="connsiteY1" fmla="*/ 0 h 1614487"/>
                <a:gd name="connsiteX2" fmla="*/ 0 w 266700"/>
                <a:gd name="connsiteY2" fmla="*/ 616743 h 1614487"/>
                <a:gd name="connsiteX3" fmla="*/ 71438 w 266700"/>
                <a:gd name="connsiteY3" fmla="*/ 1614487 h 1614487"/>
                <a:gd name="connsiteX4" fmla="*/ 266700 w 266700"/>
                <a:gd name="connsiteY4" fmla="*/ 735806 h 1614487"/>
                <a:gd name="connsiteX0" fmla="*/ 266700 w 266700"/>
                <a:gd name="connsiteY0" fmla="*/ 726281 h 1604962"/>
                <a:gd name="connsiteX1" fmla="*/ 257175 w 266700"/>
                <a:gd name="connsiteY1" fmla="*/ 0 h 1604962"/>
                <a:gd name="connsiteX2" fmla="*/ 0 w 266700"/>
                <a:gd name="connsiteY2" fmla="*/ 607218 h 1604962"/>
                <a:gd name="connsiteX3" fmla="*/ 71438 w 266700"/>
                <a:gd name="connsiteY3" fmla="*/ 1604962 h 1604962"/>
                <a:gd name="connsiteX4" fmla="*/ 266700 w 266700"/>
                <a:gd name="connsiteY4" fmla="*/ 726281 h 1604962"/>
                <a:gd name="connsiteX0" fmla="*/ 266700 w 266700"/>
                <a:gd name="connsiteY0" fmla="*/ 726281 h 1573212"/>
                <a:gd name="connsiteX1" fmla="*/ 257175 w 266700"/>
                <a:gd name="connsiteY1" fmla="*/ 0 h 1573212"/>
                <a:gd name="connsiteX2" fmla="*/ 0 w 266700"/>
                <a:gd name="connsiteY2" fmla="*/ 607218 h 1573212"/>
                <a:gd name="connsiteX3" fmla="*/ 61913 w 266700"/>
                <a:gd name="connsiteY3" fmla="*/ 1573212 h 1573212"/>
                <a:gd name="connsiteX4" fmla="*/ 266700 w 266700"/>
                <a:gd name="connsiteY4" fmla="*/ 726281 h 1573212"/>
                <a:gd name="connsiteX0" fmla="*/ 266700 w 266700"/>
                <a:gd name="connsiteY0" fmla="*/ 726281 h 1554162"/>
                <a:gd name="connsiteX1" fmla="*/ 257175 w 266700"/>
                <a:gd name="connsiteY1" fmla="*/ 0 h 1554162"/>
                <a:gd name="connsiteX2" fmla="*/ 0 w 266700"/>
                <a:gd name="connsiteY2" fmla="*/ 607218 h 1554162"/>
                <a:gd name="connsiteX3" fmla="*/ 49213 w 266700"/>
                <a:gd name="connsiteY3" fmla="*/ 1554162 h 1554162"/>
                <a:gd name="connsiteX4" fmla="*/ 266700 w 266700"/>
                <a:gd name="connsiteY4" fmla="*/ 726281 h 1554162"/>
                <a:gd name="connsiteX0" fmla="*/ 266700 w 266700"/>
                <a:gd name="connsiteY0" fmla="*/ 726281 h 1554162"/>
                <a:gd name="connsiteX1" fmla="*/ 257175 w 266700"/>
                <a:gd name="connsiteY1" fmla="*/ 0 h 1554162"/>
                <a:gd name="connsiteX2" fmla="*/ 0 w 266700"/>
                <a:gd name="connsiteY2" fmla="*/ 607218 h 1554162"/>
                <a:gd name="connsiteX3" fmla="*/ 52388 w 266700"/>
                <a:gd name="connsiteY3" fmla="*/ 1554162 h 1554162"/>
                <a:gd name="connsiteX4" fmla="*/ 266700 w 266700"/>
                <a:gd name="connsiteY4" fmla="*/ 726281 h 1554162"/>
                <a:gd name="connsiteX0" fmla="*/ 266700 w 266700"/>
                <a:gd name="connsiteY0" fmla="*/ 726281 h 1550987"/>
                <a:gd name="connsiteX1" fmla="*/ 257175 w 266700"/>
                <a:gd name="connsiteY1" fmla="*/ 0 h 1550987"/>
                <a:gd name="connsiteX2" fmla="*/ 0 w 266700"/>
                <a:gd name="connsiteY2" fmla="*/ 607218 h 1550987"/>
                <a:gd name="connsiteX3" fmla="*/ 4286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365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492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492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1746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20638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20638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23813 w 266700"/>
                <a:gd name="connsiteY3" fmla="*/ 1550987 h 1550987"/>
                <a:gd name="connsiteX4" fmla="*/ 266700 w 266700"/>
                <a:gd name="connsiteY4" fmla="*/ 726281 h 1550987"/>
                <a:gd name="connsiteX0" fmla="*/ 266700 w 266700"/>
                <a:gd name="connsiteY0" fmla="*/ 726281 h 1547812"/>
                <a:gd name="connsiteX1" fmla="*/ 257175 w 266700"/>
                <a:gd name="connsiteY1" fmla="*/ 0 h 1547812"/>
                <a:gd name="connsiteX2" fmla="*/ 0 w 266700"/>
                <a:gd name="connsiteY2" fmla="*/ 607218 h 1547812"/>
                <a:gd name="connsiteX3" fmla="*/ 17463 w 266700"/>
                <a:gd name="connsiteY3" fmla="*/ 1547812 h 1547812"/>
                <a:gd name="connsiteX4" fmla="*/ 266700 w 266700"/>
                <a:gd name="connsiteY4" fmla="*/ 726281 h 1547812"/>
                <a:gd name="connsiteX0" fmla="*/ 266700 w 266700"/>
                <a:gd name="connsiteY0" fmla="*/ 726281 h 1547812"/>
                <a:gd name="connsiteX1" fmla="*/ 257175 w 266700"/>
                <a:gd name="connsiteY1" fmla="*/ 0 h 1547812"/>
                <a:gd name="connsiteX2" fmla="*/ 0 w 266700"/>
                <a:gd name="connsiteY2" fmla="*/ 607218 h 1547812"/>
                <a:gd name="connsiteX3" fmla="*/ 7938 w 266700"/>
                <a:gd name="connsiteY3" fmla="*/ 1547812 h 1547812"/>
                <a:gd name="connsiteX4" fmla="*/ 266700 w 266700"/>
                <a:gd name="connsiteY4" fmla="*/ 726281 h 1547812"/>
                <a:gd name="connsiteX0" fmla="*/ 266700 w 266700"/>
                <a:gd name="connsiteY0" fmla="*/ 726281 h 1547812"/>
                <a:gd name="connsiteX1" fmla="*/ 257175 w 266700"/>
                <a:gd name="connsiteY1" fmla="*/ 0 h 1547812"/>
                <a:gd name="connsiteX2" fmla="*/ 0 w 266700"/>
                <a:gd name="connsiteY2" fmla="*/ 607218 h 1547812"/>
                <a:gd name="connsiteX3" fmla="*/ 17463 w 266700"/>
                <a:gd name="connsiteY3" fmla="*/ 1547812 h 1547812"/>
                <a:gd name="connsiteX4" fmla="*/ 266700 w 266700"/>
                <a:gd name="connsiteY4" fmla="*/ 726281 h 1547812"/>
                <a:gd name="connsiteX0" fmla="*/ 266700 w 266700"/>
                <a:gd name="connsiteY0" fmla="*/ 726281 h 1550987"/>
                <a:gd name="connsiteX1" fmla="*/ 257175 w 266700"/>
                <a:gd name="connsiteY1" fmla="*/ 0 h 1550987"/>
                <a:gd name="connsiteX2" fmla="*/ 0 w 266700"/>
                <a:gd name="connsiteY2" fmla="*/ 607218 h 1550987"/>
                <a:gd name="connsiteX3" fmla="*/ 238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14288 w 266700"/>
                <a:gd name="connsiteY3" fmla="*/ 1550987 h 1550987"/>
                <a:gd name="connsiteX4" fmla="*/ 266700 w 266700"/>
                <a:gd name="connsiteY4" fmla="*/ 726281 h 1550987"/>
                <a:gd name="connsiteX0" fmla="*/ 266700 w 266700"/>
                <a:gd name="connsiteY0" fmla="*/ 726281 h 1547812"/>
                <a:gd name="connsiteX1" fmla="*/ 257175 w 266700"/>
                <a:gd name="connsiteY1" fmla="*/ 0 h 1547812"/>
                <a:gd name="connsiteX2" fmla="*/ 0 w 266700"/>
                <a:gd name="connsiteY2" fmla="*/ 607218 h 1547812"/>
                <a:gd name="connsiteX3" fmla="*/ 4763 w 266700"/>
                <a:gd name="connsiteY3" fmla="*/ 1547812 h 1547812"/>
                <a:gd name="connsiteX4" fmla="*/ 266700 w 266700"/>
                <a:gd name="connsiteY4" fmla="*/ 726281 h 1547812"/>
                <a:gd name="connsiteX0" fmla="*/ 266700 w 266700"/>
                <a:gd name="connsiteY0" fmla="*/ 726281 h 1547812"/>
                <a:gd name="connsiteX1" fmla="*/ 257175 w 266700"/>
                <a:gd name="connsiteY1" fmla="*/ 0 h 1547812"/>
                <a:gd name="connsiteX2" fmla="*/ 0 w 266700"/>
                <a:gd name="connsiteY2" fmla="*/ 607218 h 1547812"/>
                <a:gd name="connsiteX3" fmla="*/ 4763 w 266700"/>
                <a:gd name="connsiteY3" fmla="*/ 1547812 h 1547812"/>
                <a:gd name="connsiteX4" fmla="*/ 266700 w 266700"/>
                <a:gd name="connsiteY4" fmla="*/ 726281 h 1547812"/>
                <a:gd name="connsiteX0" fmla="*/ 266700 w 266700"/>
                <a:gd name="connsiteY0" fmla="*/ 742156 h 1563687"/>
                <a:gd name="connsiteX1" fmla="*/ 263525 w 266700"/>
                <a:gd name="connsiteY1" fmla="*/ 0 h 1563687"/>
                <a:gd name="connsiteX2" fmla="*/ 0 w 266700"/>
                <a:gd name="connsiteY2" fmla="*/ 623093 h 1563687"/>
                <a:gd name="connsiteX3" fmla="*/ 4763 w 266700"/>
                <a:gd name="connsiteY3" fmla="*/ 1563687 h 1563687"/>
                <a:gd name="connsiteX4" fmla="*/ 266700 w 266700"/>
                <a:gd name="connsiteY4" fmla="*/ 742156 h 1563687"/>
                <a:gd name="connsiteX0" fmla="*/ 266700 w 266700"/>
                <a:gd name="connsiteY0" fmla="*/ 742156 h 1563687"/>
                <a:gd name="connsiteX1" fmla="*/ 263525 w 266700"/>
                <a:gd name="connsiteY1" fmla="*/ 0 h 1563687"/>
                <a:gd name="connsiteX2" fmla="*/ 0 w 266700"/>
                <a:gd name="connsiteY2" fmla="*/ 623093 h 1563687"/>
                <a:gd name="connsiteX3" fmla="*/ 1588 w 266700"/>
                <a:gd name="connsiteY3" fmla="*/ 1563687 h 1563687"/>
                <a:gd name="connsiteX4" fmla="*/ 266700 w 266700"/>
                <a:gd name="connsiteY4" fmla="*/ 742156 h 1563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563687">
                  <a:moveTo>
                    <a:pt x="266700" y="742156"/>
                  </a:moveTo>
                  <a:cubicBezTo>
                    <a:pt x="265112" y="490537"/>
                    <a:pt x="265113" y="251619"/>
                    <a:pt x="263525" y="0"/>
                  </a:cubicBezTo>
                  <a:lnTo>
                    <a:pt x="0" y="623093"/>
                  </a:lnTo>
                  <a:cubicBezTo>
                    <a:pt x="1588" y="936624"/>
                    <a:pt x="0" y="1250156"/>
                    <a:pt x="1588" y="1563687"/>
                  </a:cubicBezTo>
                  <a:lnTo>
                    <a:pt x="266700" y="742156"/>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08" name="Group 3607">
            <a:extLst>
              <a:ext uri="{FF2B5EF4-FFF2-40B4-BE49-F238E27FC236}">
                <a16:creationId xmlns:a16="http://schemas.microsoft.com/office/drawing/2014/main" id="{0303C977-DFF1-48BA-8086-E6A84E0F40E3}"/>
              </a:ext>
            </a:extLst>
          </p:cNvPr>
          <p:cNvGrpSpPr/>
          <p:nvPr/>
        </p:nvGrpSpPr>
        <p:grpSpPr>
          <a:xfrm>
            <a:off x="4814157" y="3378398"/>
            <a:ext cx="324510" cy="565585"/>
            <a:chOff x="22967231" y="-560439"/>
            <a:chExt cx="2807219" cy="5282380"/>
          </a:xfrm>
        </p:grpSpPr>
        <p:sp>
          <p:nvSpPr>
            <p:cNvPr id="3609" name="Freeform: Shape 2142">
              <a:extLst>
                <a:ext uri="{FF2B5EF4-FFF2-40B4-BE49-F238E27FC236}">
                  <a16:creationId xmlns:a16="http://schemas.microsoft.com/office/drawing/2014/main" id="{BBA2607A-351C-4C25-BFF6-BB6E97B204F3}"/>
                </a:ext>
              </a:extLst>
            </p:cNvPr>
            <p:cNvSpPr/>
            <p:nvPr/>
          </p:nvSpPr>
          <p:spPr bwMode="auto">
            <a:xfrm>
              <a:off x="25353275" y="2800178"/>
              <a:ext cx="397500" cy="1917210"/>
            </a:xfrm>
            <a:custGeom>
              <a:avLst/>
              <a:gdLst>
                <a:gd name="connsiteX0" fmla="*/ 43543 w 464458"/>
                <a:gd name="connsiteY0" fmla="*/ 1393371 h 1393371"/>
                <a:gd name="connsiteX1" fmla="*/ 464458 w 464458"/>
                <a:gd name="connsiteY1" fmla="*/ 972456 h 1393371"/>
                <a:gd name="connsiteX2" fmla="*/ 464458 w 464458"/>
                <a:gd name="connsiteY2" fmla="*/ 0 h 1393371"/>
                <a:gd name="connsiteX3" fmla="*/ 0 w 464458"/>
                <a:gd name="connsiteY3" fmla="*/ 0 h 1393371"/>
                <a:gd name="connsiteX4" fmla="*/ 0 w 464458"/>
                <a:gd name="connsiteY4" fmla="*/ 1320800 h 1393371"/>
                <a:gd name="connsiteX5" fmla="*/ 72572 w 464458"/>
                <a:gd name="connsiteY5" fmla="*/ 1320800 h 1393371"/>
                <a:gd name="connsiteX6" fmla="*/ 43543 w 464458"/>
                <a:gd name="connsiteY6" fmla="*/ 1393371 h 1393371"/>
                <a:gd name="connsiteX0" fmla="*/ 72572 w 464458"/>
                <a:gd name="connsiteY0" fmla="*/ 1320800 h 1320800"/>
                <a:gd name="connsiteX1" fmla="*/ 464458 w 464458"/>
                <a:gd name="connsiteY1" fmla="*/ 972456 h 1320800"/>
                <a:gd name="connsiteX2" fmla="*/ 464458 w 464458"/>
                <a:gd name="connsiteY2" fmla="*/ 0 h 1320800"/>
                <a:gd name="connsiteX3" fmla="*/ 0 w 464458"/>
                <a:gd name="connsiteY3" fmla="*/ 0 h 1320800"/>
                <a:gd name="connsiteX4" fmla="*/ 0 w 464458"/>
                <a:gd name="connsiteY4" fmla="*/ 1320800 h 1320800"/>
                <a:gd name="connsiteX5" fmla="*/ 72572 w 464458"/>
                <a:gd name="connsiteY5" fmla="*/ 1320800 h 1320800"/>
                <a:gd name="connsiteX0" fmla="*/ 0 w 464458"/>
                <a:gd name="connsiteY0" fmla="*/ 1320800 h 1320800"/>
                <a:gd name="connsiteX1" fmla="*/ 464458 w 464458"/>
                <a:gd name="connsiteY1" fmla="*/ 972456 h 1320800"/>
                <a:gd name="connsiteX2" fmla="*/ 464458 w 464458"/>
                <a:gd name="connsiteY2" fmla="*/ 0 h 1320800"/>
                <a:gd name="connsiteX3" fmla="*/ 0 w 464458"/>
                <a:gd name="connsiteY3" fmla="*/ 0 h 1320800"/>
                <a:gd name="connsiteX4" fmla="*/ 0 w 464458"/>
                <a:gd name="connsiteY4" fmla="*/ 1320800 h 1320800"/>
                <a:gd name="connsiteX0" fmla="*/ 31750 w 464458"/>
                <a:gd name="connsiteY0" fmla="*/ 1339850 h 1339850"/>
                <a:gd name="connsiteX1" fmla="*/ 464458 w 464458"/>
                <a:gd name="connsiteY1" fmla="*/ 972456 h 1339850"/>
                <a:gd name="connsiteX2" fmla="*/ 464458 w 464458"/>
                <a:gd name="connsiteY2" fmla="*/ 0 h 1339850"/>
                <a:gd name="connsiteX3" fmla="*/ 0 w 464458"/>
                <a:gd name="connsiteY3" fmla="*/ 0 h 1339850"/>
                <a:gd name="connsiteX4" fmla="*/ 31750 w 464458"/>
                <a:gd name="connsiteY4" fmla="*/ 1339850 h 1339850"/>
                <a:gd name="connsiteX0" fmla="*/ 0 w 464641"/>
                <a:gd name="connsiteY0" fmla="*/ 1336676 h 1336676"/>
                <a:gd name="connsiteX1" fmla="*/ 464641 w 464641"/>
                <a:gd name="connsiteY1" fmla="*/ 972456 h 1336676"/>
                <a:gd name="connsiteX2" fmla="*/ 464641 w 464641"/>
                <a:gd name="connsiteY2" fmla="*/ 0 h 1336676"/>
                <a:gd name="connsiteX3" fmla="*/ 183 w 464641"/>
                <a:gd name="connsiteY3" fmla="*/ 0 h 1336676"/>
                <a:gd name="connsiteX4" fmla="*/ 0 w 464641"/>
                <a:gd name="connsiteY4" fmla="*/ 1336676 h 133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41" h="1336676">
                  <a:moveTo>
                    <a:pt x="0" y="1336676"/>
                  </a:moveTo>
                  <a:lnTo>
                    <a:pt x="464641" y="972456"/>
                  </a:lnTo>
                  <a:lnTo>
                    <a:pt x="464641" y="0"/>
                  </a:lnTo>
                  <a:lnTo>
                    <a:pt x="183" y="0"/>
                  </a:lnTo>
                  <a:lnTo>
                    <a:pt x="0" y="1336676"/>
                  </a:lnTo>
                  <a:close/>
                </a:path>
              </a:pathLst>
            </a:cu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10" name="Freeform: Shape 2143">
              <a:extLst>
                <a:ext uri="{FF2B5EF4-FFF2-40B4-BE49-F238E27FC236}">
                  <a16:creationId xmlns:a16="http://schemas.microsoft.com/office/drawing/2014/main" id="{E24174AA-3526-4590-94A1-B4EAB47C4015}"/>
                </a:ext>
              </a:extLst>
            </p:cNvPr>
            <p:cNvSpPr/>
            <p:nvPr/>
          </p:nvSpPr>
          <p:spPr bwMode="auto">
            <a:xfrm>
              <a:off x="25259047" y="2484887"/>
              <a:ext cx="491729" cy="610108"/>
            </a:xfrm>
            <a:custGeom>
              <a:avLst/>
              <a:gdLst>
                <a:gd name="connsiteX0" fmla="*/ 31750 w 342900"/>
                <a:gd name="connsiteY0" fmla="*/ 0 h 425450"/>
                <a:gd name="connsiteX1" fmla="*/ 342900 w 342900"/>
                <a:gd name="connsiteY1" fmla="*/ 419100 h 425450"/>
                <a:gd name="connsiteX2" fmla="*/ 0 w 342900"/>
                <a:gd name="connsiteY2" fmla="*/ 425450 h 425450"/>
                <a:gd name="connsiteX3" fmla="*/ 31750 w 342900"/>
                <a:gd name="connsiteY3" fmla="*/ 0 h 425450"/>
              </a:gdLst>
              <a:ahLst/>
              <a:cxnLst>
                <a:cxn ang="0">
                  <a:pos x="connsiteX0" y="connsiteY0"/>
                </a:cxn>
                <a:cxn ang="0">
                  <a:pos x="connsiteX1" y="connsiteY1"/>
                </a:cxn>
                <a:cxn ang="0">
                  <a:pos x="connsiteX2" y="connsiteY2"/>
                </a:cxn>
                <a:cxn ang="0">
                  <a:pos x="connsiteX3" y="connsiteY3"/>
                </a:cxn>
              </a:cxnLst>
              <a:rect l="l" t="t" r="r" b="b"/>
              <a:pathLst>
                <a:path w="342900" h="425450">
                  <a:moveTo>
                    <a:pt x="31750" y="0"/>
                  </a:moveTo>
                  <a:lnTo>
                    <a:pt x="342900" y="419100"/>
                  </a:lnTo>
                  <a:lnTo>
                    <a:pt x="0" y="425450"/>
                  </a:lnTo>
                  <a:lnTo>
                    <a:pt x="31750" y="0"/>
                  </a:lnTo>
                  <a:close/>
                </a:path>
              </a:pathLst>
            </a:cu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11" name="Freeform: Shape 2144">
              <a:extLst>
                <a:ext uri="{FF2B5EF4-FFF2-40B4-BE49-F238E27FC236}">
                  <a16:creationId xmlns:a16="http://schemas.microsoft.com/office/drawing/2014/main" id="{629B5C8D-CFBA-4317-A9B4-433166C11EC6}"/>
                </a:ext>
              </a:extLst>
            </p:cNvPr>
            <p:cNvSpPr/>
            <p:nvPr/>
          </p:nvSpPr>
          <p:spPr bwMode="auto">
            <a:xfrm>
              <a:off x="24751839" y="-556404"/>
              <a:ext cx="1022611" cy="3277961"/>
            </a:xfrm>
            <a:custGeom>
              <a:avLst/>
              <a:gdLst>
                <a:gd name="connsiteX0" fmla="*/ 504825 w 657225"/>
                <a:gd name="connsiteY0" fmla="*/ 0 h 2009775"/>
                <a:gd name="connsiteX1" fmla="*/ 657225 w 657225"/>
                <a:gd name="connsiteY1" fmla="*/ 1257300 h 2009775"/>
                <a:gd name="connsiteX2" fmla="*/ 466725 w 657225"/>
                <a:gd name="connsiteY2" fmla="*/ 1219200 h 2009775"/>
                <a:gd name="connsiteX3" fmla="*/ 304800 w 657225"/>
                <a:gd name="connsiteY3" fmla="*/ 1543050 h 2009775"/>
                <a:gd name="connsiteX4" fmla="*/ 409575 w 657225"/>
                <a:gd name="connsiteY4" fmla="*/ 2009775 h 2009775"/>
                <a:gd name="connsiteX5" fmla="*/ 0 w 657225"/>
                <a:gd name="connsiteY5" fmla="*/ 1133475 h 2009775"/>
                <a:gd name="connsiteX6" fmla="*/ 361950 w 657225"/>
                <a:gd name="connsiteY6" fmla="*/ 38100 h 2009775"/>
                <a:gd name="connsiteX7" fmla="*/ 504825 w 657225"/>
                <a:gd name="connsiteY7" fmla="*/ 0 h 2009775"/>
                <a:gd name="connsiteX0" fmla="*/ 504825 w 657225"/>
                <a:gd name="connsiteY0" fmla="*/ 0 h 2009775"/>
                <a:gd name="connsiteX1" fmla="*/ 657225 w 657225"/>
                <a:gd name="connsiteY1" fmla="*/ 1257300 h 2009775"/>
                <a:gd name="connsiteX2" fmla="*/ 466725 w 657225"/>
                <a:gd name="connsiteY2" fmla="*/ 1219200 h 2009775"/>
                <a:gd name="connsiteX3" fmla="*/ 304800 w 657225"/>
                <a:gd name="connsiteY3" fmla="*/ 1543050 h 2009775"/>
                <a:gd name="connsiteX4" fmla="*/ 409575 w 657225"/>
                <a:gd name="connsiteY4" fmla="*/ 2009775 h 2009775"/>
                <a:gd name="connsiteX5" fmla="*/ 0 w 657225"/>
                <a:gd name="connsiteY5" fmla="*/ 1133475 h 2009775"/>
                <a:gd name="connsiteX6" fmla="*/ 361950 w 657225"/>
                <a:gd name="connsiteY6" fmla="*/ 38100 h 2009775"/>
                <a:gd name="connsiteX7" fmla="*/ 504825 w 657225"/>
                <a:gd name="connsiteY7" fmla="*/ 0 h 2009775"/>
                <a:gd name="connsiteX0" fmla="*/ 504825 w 672856"/>
                <a:gd name="connsiteY0" fmla="*/ 0 h 2009775"/>
                <a:gd name="connsiteX1" fmla="*/ 657225 w 672856"/>
                <a:gd name="connsiteY1" fmla="*/ 1257300 h 2009775"/>
                <a:gd name="connsiteX2" fmla="*/ 466725 w 672856"/>
                <a:gd name="connsiteY2" fmla="*/ 1219200 h 2009775"/>
                <a:gd name="connsiteX3" fmla="*/ 304800 w 672856"/>
                <a:gd name="connsiteY3" fmla="*/ 1543050 h 2009775"/>
                <a:gd name="connsiteX4" fmla="*/ 409575 w 672856"/>
                <a:gd name="connsiteY4" fmla="*/ 2009775 h 2009775"/>
                <a:gd name="connsiteX5" fmla="*/ 0 w 672856"/>
                <a:gd name="connsiteY5" fmla="*/ 1133475 h 2009775"/>
                <a:gd name="connsiteX6" fmla="*/ 361950 w 672856"/>
                <a:gd name="connsiteY6" fmla="*/ 38100 h 2009775"/>
                <a:gd name="connsiteX7" fmla="*/ 504825 w 672856"/>
                <a:gd name="connsiteY7" fmla="*/ 0 h 2009775"/>
                <a:gd name="connsiteX0" fmla="*/ 504825 w 676766"/>
                <a:gd name="connsiteY0" fmla="*/ 0 h 2009775"/>
                <a:gd name="connsiteX1" fmla="*/ 661987 w 676766"/>
                <a:gd name="connsiteY1" fmla="*/ 1233488 h 2009775"/>
                <a:gd name="connsiteX2" fmla="*/ 466725 w 676766"/>
                <a:gd name="connsiteY2" fmla="*/ 1219200 h 2009775"/>
                <a:gd name="connsiteX3" fmla="*/ 304800 w 676766"/>
                <a:gd name="connsiteY3" fmla="*/ 1543050 h 2009775"/>
                <a:gd name="connsiteX4" fmla="*/ 409575 w 676766"/>
                <a:gd name="connsiteY4" fmla="*/ 2009775 h 2009775"/>
                <a:gd name="connsiteX5" fmla="*/ 0 w 676766"/>
                <a:gd name="connsiteY5" fmla="*/ 1133475 h 2009775"/>
                <a:gd name="connsiteX6" fmla="*/ 361950 w 676766"/>
                <a:gd name="connsiteY6" fmla="*/ 38100 h 2009775"/>
                <a:gd name="connsiteX7" fmla="*/ 504825 w 676766"/>
                <a:gd name="connsiteY7" fmla="*/ 0 h 2009775"/>
                <a:gd name="connsiteX0" fmla="*/ 504825 w 691228"/>
                <a:gd name="connsiteY0" fmla="*/ 0 h 2009775"/>
                <a:gd name="connsiteX1" fmla="*/ 661987 w 691228"/>
                <a:gd name="connsiteY1" fmla="*/ 1233488 h 2009775"/>
                <a:gd name="connsiteX2" fmla="*/ 466725 w 691228"/>
                <a:gd name="connsiteY2" fmla="*/ 1219200 h 2009775"/>
                <a:gd name="connsiteX3" fmla="*/ 304800 w 691228"/>
                <a:gd name="connsiteY3" fmla="*/ 1543050 h 2009775"/>
                <a:gd name="connsiteX4" fmla="*/ 409575 w 691228"/>
                <a:gd name="connsiteY4" fmla="*/ 2009775 h 2009775"/>
                <a:gd name="connsiteX5" fmla="*/ 0 w 691228"/>
                <a:gd name="connsiteY5" fmla="*/ 1133475 h 2009775"/>
                <a:gd name="connsiteX6" fmla="*/ 361950 w 691228"/>
                <a:gd name="connsiteY6" fmla="*/ 38100 h 2009775"/>
                <a:gd name="connsiteX7" fmla="*/ 504825 w 691228"/>
                <a:gd name="connsiteY7" fmla="*/ 0 h 2009775"/>
                <a:gd name="connsiteX0" fmla="*/ 495300 w 689439"/>
                <a:gd name="connsiteY0" fmla="*/ 0 h 2019300"/>
                <a:gd name="connsiteX1" fmla="*/ 661987 w 689439"/>
                <a:gd name="connsiteY1" fmla="*/ 1243013 h 2019300"/>
                <a:gd name="connsiteX2" fmla="*/ 466725 w 689439"/>
                <a:gd name="connsiteY2" fmla="*/ 1228725 h 2019300"/>
                <a:gd name="connsiteX3" fmla="*/ 304800 w 689439"/>
                <a:gd name="connsiteY3" fmla="*/ 1552575 h 2019300"/>
                <a:gd name="connsiteX4" fmla="*/ 409575 w 689439"/>
                <a:gd name="connsiteY4" fmla="*/ 2019300 h 2019300"/>
                <a:gd name="connsiteX5" fmla="*/ 0 w 689439"/>
                <a:gd name="connsiteY5" fmla="*/ 1143000 h 2019300"/>
                <a:gd name="connsiteX6" fmla="*/ 361950 w 689439"/>
                <a:gd name="connsiteY6" fmla="*/ 47625 h 2019300"/>
                <a:gd name="connsiteX7" fmla="*/ 495300 w 689439"/>
                <a:gd name="connsiteY7" fmla="*/ 0 h 2019300"/>
                <a:gd name="connsiteX0" fmla="*/ 495300 w 689439"/>
                <a:gd name="connsiteY0" fmla="*/ 0 h 2019300"/>
                <a:gd name="connsiteX1" fmla="*/ 661987 w 689439"/>
                <a:gd name="connsiteY1" fmla="*/ 1243013 h 2019300"/>
                <a:gd name="connsiteX2" fmla="*/ 466725 w 689439"/>
                <a:gd name="connsiteY2" fmla="*/ 1228725 h 2019300"/>
                <a:gd name="connsiteX3" fmla="*/ 285750 w 689439"/>
                <a:gd name="connsiteY3" fmla="*/ 1628775 h 2019300"/>
                <a:gd name="connsiteX4" fmla="*/ 409575 w 689439"/>
                <a:gd name="connsiteY4" fmla="*/ 2019300 h 2019300"/>
                <a:gd name="connsiteX5" fmla="*/ 0 w 689439"/>
                <a:gd name="connsiteY5" fmla="*/ 1143000 h 2019300"/>
                <a:gd name="connsiteX6" fmla="*/ 361950 w 689439"/>
                <a:gd name="connsiteY6" fmla="*/ 47625 h 2019300"/>
                <a:gd name="connsiteX7" fmla="*/ 495300 w 689439"/>
                <a:gd name="connsiteY7" fmla="*/ 0 h 2019300"/>
                <a:gd name="connsiteX0" fmla="*/ 495300 w 689439"/>
                <a:gd name="connsiteY0" fmla="*/ 0 h 2019300"/>
                <a:gd name="connsiteX1" fmla="*/ 661987 w 689439"/>
                <a:gd name="connsiteY1" fmla="*/ 1243013 h 2019300"/>
                <a:gd name="connsiteX2" fmla="*/ 419100 w 689439"/>
                <a:gd name="connsiteY2" fmla="*/ 1247775 h 2019300"/>
                <a:gd name="connsiteX3" fmla="*/ 285750 w 689439"/>
                <a:gd name="connsiteY3" fmla="*/ 1628775 h 2019300"/>
                <a:gd name="connsiteX4" fmla="*/ 409575 w 689439"/>
                <a:gd name="connsiteY4" fmla="*/ 2019300 h 2019300"/>
                <a:gd name="connsiteX5" fmla="*/ 0 w 689439"/>
                <a:gd name="connsiteY5" fmla="*/ 1143000 h 2019300"/>
                <a:gd name="connsiteX6" fmla="*/ 361950 w 689439"/>
                <a:gd name="connsiteY6" fmla="*/ 47625 h 2019300"/>
                <a:gd name="connsiteX7" fmla="*/ 495300 w 689439"/>
                <a:gd name="connsiteY7" fmla="*/ 0 h 2019300"/>
                <a:gd name="connsiteX0" fmla="*/ 495300 w 693371"/>
                <a:gd name="connsiteY0" fmla="*/ 0 h 2019300"/>
                <a:gd name="connsiteX1" fmla="*/ 666750 w 693371"/>
                <a:gd name="connsiteY1" fmla="*/ 1238251 h 2019300"/>
                <a:gd name="connsiteX2" fmla="*/ 419100 w 693371"/>
                <a:gd name="connsiteY2" fmla="*/ 1247775 h 2019300"/>
                <a:gd name="connsiteX3" fmla="*/ 285750 w 693371"/>
                <a:gd name="connsiteY3" fmla="*/ 1628775 h 2019300"/>
                <a:gd name="connsiteX4" fmla="*/ 409575 w 693371"/>
                <a:gd name="connsiteY4" fmla="*/ 2019300 h 2019300"/>
                <a:gd name="connsiteX5" fmla="*/ 0 w 693371"/>
                <a:gd name="connsiteY5" fmla="*/ 1143000 h 2019300"/>
                <a:gd name="connsiteX6" fmla="*/ 361950 w 693371"/>
                <a:gd name="connsiteY6" fmla="*/ 47625 h 2019300"/>
                <a:gd name="connsiteX7" fmla="*/ 495300 w 693371"/>
                <a:gd name="connsiteY7" fmla="*/ 0 h 2019300"/>
                <a:gd name="connsiteX0" fmla="*/ 495300 w 693371"/>
                <a:gd name="connsiteY0" fmla="*/ 0 h 2019300"/>
                <a:gd name="connsiteX1" fmla="*/ 666750 w 693371"/>
                <a:gd name="connsiteY1" fmla="*/ 1238251 h 2019300"/>
                <a:gd name="connsiteX2" fmla="*/ 414337 w 693371"/>
                <a:gd name="connsiteY2" fmla="*/ 1238250 h 2019300"/>
                <a:gd name="connsiteX3" fmla="*/ 285750 w 693371"/>
                <a:gd name="connsiteY3" fmla="*/ 1628775 h 2019300"/>
                <a:gd name="connsiteX4" fmla="*/ 409575 w 693371"/>
                <a:gd name="connsiteY4" fmla="*/ 2019300 h 2019300"/>
                <a:gd name="connsiteX5" fmla="*/ 0 w 693371"/>
                <a:gd name="connsiteY5" fmla="*/ 1143000 h 2019300"/>
                <a:gd name="connsiteX6" fmla="*/ 361950 w 693371"/>
                <a:gd name="connsiteY6" fmla="*/ 47625 h 2019300"/>
                <a:gd name="connsiteX7" fmla="*/ 495300 w 693371"/>
                <a:gd name="connsiteY7" fmla="*/ 0 h 2019300"/>
                <a:gd name="connsiteX0" fmla="*/ 495300 w 693371"/>
                <a:gd name="connsiteY0" fmla="*/ 0 h 2019300"/>
                <a:gd name="connsiteX1" fmla="*/ 666750 w 693371"/>
                <a:gd name="connsiteY1" fmla="*/ 1238251 h 2019300"/>
                <a:gd name="connsiteX2" fmla="*/ 414337 w 693371"/>
                <a:gd name="connsiteY2" fmla="*/ 1238250 h 2019300"/>
                <a:gd name="connsiteX3" fmla="*/ 300037 w 693371"/>
                <a:gd name="connsiteY3" fmla="*/ 1652588 h 2019300"/>
                <a:gd name="connsiteX4" fmla="*/ 409575 w 693371"/>
                <a:gd name="connsiteY4" fmla="*/ 2019300 h 2019300"/>
                <a:gd name="connsiteX5" fmla="*/ 0 w 693371"/>
                <a:gd name="connsiteY5" fmla="*/ 1143000 h 2019300"/>
                <a:gd name="connsiteX6" fmla="*/ 361950 w 693371"/>
                <a:gd name="connsiteY6" fmla="*/ 47625 h 2019300"/>
                <a:gd name="connsiteX7" fmla="*/ 495300 w 693371"/>
                <a:gd name="connsiteY7" fmla="*/ 0 h 2019300"/>
                <a:gd name="connsiteX0" fmla="*/ 495300 w 693371"/>
                <a:gd name="connsiteY0" fmla="*/ 0 h 2028825"/>
                <a:gd name="connsiteX1" fmla="*/ 666750 w 693371"/>
                <a:gd name="connsiteY1" fmla="*/ 1238251 h 2028825"/>
                <a:gd name="connsiteX2" fmla="*/ 414337 w 693371"/>
                <a:gd name="connsiteY2" fmla="*/ 1238250 h 2028825"/>
                <a:gd name="connsiteX3" fmla="*/ 300037 w 693371"/>
                <a:gd name="connsiteY3" fmla="*/ 1652588 h 2028825"/>
                <a:gd name="connsiteX4" fmla="*/ 414337 w 693371"/>
                <a:gd name="connsiteY4" fmla="*/ 2028825 h 2028825"/>
                <a:gd name="connsiteX5" fmla="*/ 0 w 693371"/>
                <a:gd name="connsiteY5" fmla="*/ 1143000 h 2028825"/>
                <a:gd name="connsiteX6" fmla="*/ 361950 w 693371"/>
                <a:gd name="connsiteY6" fmla="*/ 47625 h 2028825"/>
                <a:gd name="connsiteX7" fmla="*/ 495300 w 693371"/>
                <a:gd name="connsiteY7" fmla="*/ 0 h 2028825"/>
                <a:gd name="connsiteX0" fmla="*/ 495300 w 693371"/>
                <a:gd name="connsiteY0" fmla="*/ 0 h 2028937"/>
                <a:gd name="connsiteX1" fmla="*/ 666750 w 693371"/>
                <a:gd name="connsiteY1" fmla="*/ 1238251 h 2028937"/>
                <a:gd name="connsiteX2" fmla="*/ 414337 w 693371"/>
                <a:gd name="connsiteY2" fmla="*/ 1238250 h 2028937"/>
                <a:gd name="connsiteX3" fmla="*/ 300037 w 693371"/>
                <a:gd name="connsiteY3" fmla="*/ 1652588 h 2028937"/>
                <a:gd name="connsiteX4" fmla="*/ 414337 w 693371"/>
                <a:gd name="connsiteY4" fmla="*/ 2028825 h 2028937"/>
                <a:gd name="connsiteX5" fmla="*/ 0 w 693371"/>
                <a:gd name="connsiteY5" fmla="*/ 1143000 h 2028937"/>
                <a:gd name="connsiteX6" fmla="*/ 361950 w 693371"/>
                <a:gd name="connsiteY6" fmla="*/ 47625 h 2028937"/>
                <a:gd name="connsiteX7" fmla="*/ 495300 w 693371"/>
                <a:gd name="connsiteY7" fmla="*/ 0 h 2028937"/>
                <a:gd name="connsiteX0" fmla="*/ 495300 w 714754"/>
                <a:gd name="connsiteY0" fmla="*/ 0 h 2028937"/>
                <a:gd name="connsiteX1" fmla="*/ 666750 w 714754"/>
                <a:gd name="connsiteY1" fmla="*/ 1238251 h 2028937"/>
                <a:gd name="connsiteX2" fmla="*/ 414337 w 714754"/>
                <a:gd name="connsiteY2" fmla="*/ 1238250 h 2028937"/>
                <a:gd name="connsiteX3" fmla="*/ 300037 w 714754"/>
                <a:gd name="connsiteY3" fmla="*/ 1652588 h 2028937"/>
                <a:gd name="connsiteX4" fmla="*/ 414337 w 714754"/>
                <a:gd name="connsiteY4" fmla="*/ 2028825 h 2028937"/>
                <a:gd name="connsiteX5" fmla="*/ 0 w 714754"/>
                <a:gd name="connsiteY5" fmla="*/ 1143000 h 2028937"/>
                <a:gd name="connsiteX6" fmla="*/ 361950 w 714754"/>
                <a:gd name="connsiteY6" fmla="*/ 47625 h 2028937"/>
                <a:gd name="connsiteX7" fmla="*/ 495300 w 714754"/>
                <a:gd name="connsiteY7" fmla="*/ 0 h 2028937"/>
                <a:gd name="connsiteX0" fmla="*/ 480060 w 709891"/>
                <a:gd name="connsiteY0" fmla="*/ 0 h 2051797"/>
                <a:gd name="connsiteX1" fmla="*/ 666750 w 709891"/>
                <a:gd name="connsiteY1" fmla="*/ 1261111 h 2051797"/>
                <a:gd name="connsiteX2" fmla="*/ 414337 w 709891"/>
                <a:gd name="connsiteY2" fmla="*/ 1261110 h 2051797"/>
                <a:gd name="connsiteX3" fmla="*/ 300037 w 709891"/>
                <a:gd name="connsiteY3" fmla="*/ 1675448 h 2051797"/>
                <a:gd name="connsiteX4" fmla="*/ 414337 w 709891"/>
                <a:gd name="connsiteY4" fmla="*/ 2051685 h 2051797"/>
                <a:gd name="connsiteX5" fmla="*/ 0 w 709891"/>
                <a:gd name="connsiteY5" fmla="*/ 1165860 h 2051797"/>
                <a:gd name="connsiteX6" fmla="*/ 361950 w 709891"/>
                <a:gd name="connsiteY6" fmla="*/ 70485 h 2051797"/>
                <a:gd name="connsiteX7" fmla="*/ 480060 w 709891"/>
                <a:gd name="connsiteY7" fmla="*/ 0 h 2051797"/>
                <a:gd name="connsiteX0" fmla="*/ 480060 w 709891"/>
                <a:gd name="connsiteY0" fmla="*/ 0 h 2197941"/>
                <a:gd name="connsiteX1" fmla="*/ 666750 w 709891"/>
                <a:gd name="connsiteY1" fmla="*/ 1261111 h 2197941"/>
                <a:gd name="connsiteX2" fmla="*/ 414337 w 709891"/>
                <a:gd name="connsiteY2" fmla="*/ 1261110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414337 w 709891"/>
                <a:gd name="connsiteY2" fmla="*/ 1261110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414337 w 709891"/>
                <a:gd name="connsiteY2" fmla="*/ 1246685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47687 w 709891"/>
                <a:gd name="connsiteY2" fmla="*/ 1256302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300037 w 709891"/>
                <a:gd name="connsiteY3" fmla="*/ 1675448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429577 w 709891"/>
                <a:gd name="connsiteY3" fmla="*/ 2197851 h 2197941"/>
                <a:gd name="connsiteX4" fmla="*/ 0 w 709891"/>
                <a:gd name="connsiteY4" fmla="*/ 1165860 h 2197941"/>
                <a:gd name="connsiteX5" fmla="*/ 361950 w 709891"/>
                <a:gd name="connsiteY5" fmla="*/ 70485 h 2197941"/>
                <a:gd name="connsiteX6" fmla="*/ 480060 w 709891"/>
                <a:gd name="connsiteY6"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280988 w 709891"/>
                <a:gd name="connsiteY3" fmla="*/ 1806473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280988 w 709891"/>
                <a:gd name="connsiteY3" fmla="*/ 1806473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280988 w 709891"/>
                <a:gd name="connsiteY3" fmla="*/ 1806473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09891"/>
                <a:gd name="connsiteY0" fmla="*/ 0 h 2197941"/>
                <a:gd name="connsiteX1" fmla="*/ 666750 w 709891"/>
                <a:gd name="connsiteY1" fmla="*/ 1246686 h 2197941"/>
                <a:gd name="connsiteX2" fmla="*/ 550068 w 709891"/>
                <a:gd name="connsiteY2" fmla="*/ 1249089 h 2197941"/>
                <a:gd name="connsiteX3" fmla="*/ 366713 w 709891"/>
                <a:gd name="connsiteY3" fmla="*/ 1878594 h 2197941"/>
                <a:gd name="connsiteX4" fmla="*/ 429577 w 709891"/>
                <a:gd name="connsiteY4" fmla="*/ 2197851 h 2197941"/>
                <a:gd name="connsiteX5" fmla="*/ 0 w 709891"/>
                <a:gd name="connsiteY5" fmla="*/ 1165860 h 2197941"/>
                <a:gd name="connsiteX6" fmla="*/ 361950 w 709891"/>
                <a:gd name="connsiteY6" fmla="*/ 70485 h 2197941"/>
                <a:gd name="connsiteX7" fmla="*/ 480060 w 709891"/>
                <a:gd name="connsiteY7" fmla="*/ 0 h 2197941"/>
                <a:gd name="connsiteX0" fmla="*/ 480060 w 728971"/>
                <a:gd name="connsiteY0" fmla="*/ 0 h 2197941"/>
                <a:gd name="connsiteX1" fmla="*/ 692944 w 728971"/>
                <a:gd name="connsiteY1" fmla="*/ 1246686 h 2197941"/>
                <a:gd name="connsiteX2" fmla="*/ 550068 w 728971"/>
                <a:gd name="connsiteY2" fmla="*/ 1249089 h 2197941"/>
                <a:gd name="connsiteX3" fmla="*/ 366713 w 728971"/>
                <a:gd name="connsiteY3" fmla="*/ 1878594 h 2197941"/>
                <a:gd name="connsiteX4" fmla="*/ 429577 w 728971"/>
                <a:gd name="connsiteY4" fmla="*/ 2197851 h 2197941"/>
                <a:gd name="connsiteX5" fmla="*/ 0 w 728971"/>
                <a:gd name="connsiteY5" fmla="*/ 1165860 h 2197941"/>
                <a:gd name="connsiteX6" fmla="*/ 361950 w 728971"/>
                <a:gd name="connsiteY6" fmla="*/ 70485 h 2197941"/>
                <a:gd name="connsiteX7" fmla="*/ 480060 w 728971"/>
                <a:gd name="connsiteY7" fmla="*/ 0 h 2197941"/>
                <a:gd name="connsiteX0" fmla="*/ 480060 w 719458"/>
                <a:gd name="connsiteY0" fmla="*/ 0 h 2197941"/>
                <a:gd name="connsiteX1" fmla="*/ 692944 w 719458"/>
                <a:gd name="connsiteY1" fmla="*/ 1246686 h 2197941"/>
                <a:gd name="connsiteX2" fmla="*/ 550068 w 719458"/>
                <a:gd name="connsiteY2" fmla="*/ 1249089 h 2197941"/>
                <a:gd name="connsiteX3" fmla="*/ 366713 w 719458"/>
                <a:gd name="connsiteY3" fmla="*/ 1878594 h 2197941"/>
                <a:gd name="connsiteX4" fmla="*/ 429577 w 719458"/>
                <a:gd name="connsiteY4" fmla="*/ 2197851 h 2197941"/>
                <a:gd name="connsiteX5" fmla="*/ 0 w 719458"/>
                <a:gd name="connsiteY5" fmla="*/ 1165860 h 2197941"/>
                <a:gd name="connsiteX6" fmla="*/ 361950 w 719458"/>
                <a:gd name="connsiteY6" fmla="*/ 70485 h 2197941"/>
                <a:gd name="connsiteX7" fmla="*/ 480060 w 719458"/>
                <a:gd name="connsiteY7" fmla="*/ 0 h 2197941"/>
                <a:gd name="connsiteX0" fmla="*/ 480060 w 715868"/>
                <a:gd name="connsiteY0" fmla="*/ 0 h 2197941"/>
                <a:gd name="connsiteX1" fmla="*/ 688182 w 715868"/>
                <a:gd name="connsiteY1" fmla="*/ 1246686 h 2197941"/>
                <a:gd name="connsiteX2" fmla="*/ 550068 w 715868"/>
                <a:gd name="connsiteY2" fmla="*/ 1249089 h 2197941"/>
                <a:gd name="connsiteX3" fmla="*/ 366713 w 715868"/>
                <a:gd name="connsiteY3" fmla="*/ 1878594 h 2197941"/>
                <a:gd name="connsiteX4" fmla="*/ 429577 w 715868"/>
                <a:gd name="connsiteY4" fmla="*/ 2197851 h 2197941"/>
                <a:gd name="connsiteX5" fmla="*/ 0 w 715868"/>
                <a:gd name="connsiteY5" fmla="*/ 1165860 h 2197941"/>
                <a:gd name="connsiteX6" fmla="*/ 361950 w 715868"/>
                <a:gd name="connsiteY6" fmla="*/ 70485 h 2197941"/>
                <a:gd name="connsiteX7" fmla="*/ 480060 w 715868"/>
                <a:gd name="connsiteY7" fmla="*/ 0 h 2197941"/>
                <a:gd name="connsiteX0" fmla="*/ 480060 w 715868"/>
                <a:gd name="connsiteY0" fmla="*/ 0 h 2368611"/>
                <a:gd name="connsiteX1" fmla="*/ 688182 w 715868"/>
                <a:gd name="connsiteY1" fmla="*/ 1246686 h 2368611"/>
                <a:gd name="connsiteX2" fmla="*/ 550068 w 715868"/>
                <a:gd name="connsiteY2" fmla="*/ 1249089 h 2368611"/>
                <a:gd name="connsiteX3" fmla="*/ 366713 w 715868"/>
                <a:gd name="connsiteY3" fmla="*/ 1878594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68611"/>
                <a:gd name="connsiteX1" fmla="*/ 688182 w 715868"/>
                <a:gd name="connsiteY1" fmla="*/ 1246686 h 2368611"/>
                <a:gd name="connsiteX2" fmla="*/ 550068 w 715868"/>
                <a:gd name="connsiteY2" fmla="*/ 1249089 h 2368611"/>
                <a:gd name="connsiteX3" fmla="*/ 433388 w 715868"/>
                <a:gd name="connsiteY3" fmla="*/ 1905039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68611"/>
                <a:gd name="connsiteX1" fmla="*/ 688182 w 715868"/>
                <a:gd name="connsiteY1" fmla="*/ 1246686 h 2368611"/>
                <a:gd name="connsiteX2" fmla="*/ 626268 w 715868"/>
                <a:gd name="connsiteY2" fmla="*/ 1256301 h 2368611"/>
                <a:gd name="connsiteX3" fmla="*/ 433388 w 715868"/>
                <a:gd name="connsiteY3" fmla="*/ 1905039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68611"/>
                <a:gd name="connsiteX1" fmla="*/ 688182 w 715868"/>
                <a:gd name="connsiteY1" fmla="*/ 1246686 h 2368611"/>
                <a:gd name="connsiteX2" fmla="*/ 626268 w 715868"/>
                <a:gd name="connsiteY2" fmla="*/ 1256301 h 2368611"/>
                <a:gd name="connsiteX3" fmla="*/ 369888 w 715868"/>
                <a:gd name="connsiteY3" fmla="*/ 2074925 h 2368611"/>
                <a:gd name="connsiteX4" fmla="*/ 441483 w 715868"/>
                <a:gd name="connsiteY4" fmla="*/ 2368538 h 2368611"/>
                <a:gd name="connsiteX5" fmla="*/ 0 w 715868"/>
                <a:gd name="connsiteY5" fmla="*/ 1165860 h 2368611"/>
                <a:gd name="connsiteX6" fmla="*/ 361950 w 715868"/>
                <a:gd name="connsiteY6" fmla="*/ 70485 h 2368611"/>
                <a:gd name="connsiteX7" fmla="*/ 480060 w 715868"/>
                <a:gd name="connsiteY7" fmla="*/ 0 h 2368611"/>
                <a:gd name="connsiteX0" fmla="*/ 480060 w 715868"/>
                <a:gd name="connsiteY0" fmla="*/ 0 h 2304510"/>
                <a:gd name="connsiteX1" fmla="*/ 688182 w 715868"/>
                <a:gd name="connsiteY1" fmla="*/ 1246686 h 2304510"/>
                <a:gd name="connsiteX2" fmla="*/ 626268 w 715868"/>
                <a:gd name="connsiteY2" fmla="*/ 1256301 h 2304510"/>
                <a:gd name="connsiteX3" fmla="*/ 369888 w 715868"/>
                <a:gd name="connsiteY3" fmla="*/ 2074925 h 2304510"/>
                <a:gd name="connsiteX4" fmla="*/ 454183 w 715868"/>
                <a:gd name="connsiteY4" fmla="*/ 2304431 h 2304510"/>
                <a:gd name="connsiteX5" fmla="*/ 0 w 715868"/>
                <a:gd name="connsiteY5" fmla="*/ 1165860 h 2304510"/>
                <a:gd name="connsiteX6" fmla="*/ 361950 w 715868"/>
                <a:gd name="connsiteY6" fmla="*/ 70485 h 2304510"/>
                <a:gd name="connsiteX7" fmla="*/ 480060 w 715868"/>
                <a:gd name="connsiteY7" fmla="*/ 0 h 2304510"/>
                <a:gd name="connsiteX0" fmla="*/ 480060 w 715868"/>
                <a:gd name="connsiteY0" fmla="*/ 0 h 2304510"/>
                <a:gd name="connsiteX1" fmla="*/ 688182 w 715868"/>
                <a:gd name="connsiteY1" fmla="*/ 1246686 h 2304510"/>
                <a:gd name="connsiteX2" fmla="*/ 626268 w 715868"/>
                <a:gd name="connsiteY2" fmla="*/ 1256301 h 2304510"/>
                <a:gd name="connsiteX3" fmla="*/ 369888 w 715868"/>
                <a:gd name="connsiteY3" fmla="*/ 2074925 h 2304510"/>
                <a:gd name="connsiteX4" fmla="*/ 454183 w 715868"/>
                <a:gd name="connsiteY4" fmla="*/ 2304431 h 2304510"/>
                <a:gd name="connsiteX5" fmla="*/ 0 w 715868"/>
                <a:gd name="connsiteY5" fmla="*/ 1165860 h 2304510"/>
                <a:gd name="connsiteX6" fmla="*/ 361950 w 715868"/>
                <a:gd name="connsiteY6" fmla="*/ 70485 h 2304510"/>
                <a:gd name="connsiteX7" fmla="*/ 480060 w 715868"/>
                <a:gd name="connsiteY7" fmla="*/ 0 h 2304510"/>
                <a:gd name="connsiteX0" fmla="*/ 480060 w 702325"/>
                <a:gd name="connsiteY0" fmla="*/ 0 h 2304510"/>
                <a:gd name="connsiteX1" fmla="*/ 688182 w 702325"/>
                <a:gd name="connsiteY1" fmla="*/ 1246686 h 2304510"/>
                <a:gd name="connsiteX2" fmla="*/ 626268 w 702325"/>
                <a:gd name="connsiteY2" fmla="*/ 1256301 h 2304510"/>
                <a:gd name="connsiteX3" fmla="*/ 369888 w 702325"/>
                <a:gd name="connsiteY3" fmla="*/ 2074925 h 2304510"/>
                <a:gd name="connsiteX4" fmla="*/ 454183 w 702325"/>
                <a:gd name="connsiteY4" fmla="*/ 2304431 h 2304510"/>
                <a:gd name="connsiteX5" fmla="*/ 0 w 702325"/>
                <a:gd name="connsiteY5" fmla="*/ 1165860 h 2304510"/>
                <a:gd name="connsiteX6" fmla="*/ 361950 w 702325"/>
                <a:gd name="connsiteY6" fmla="*/ 70485 h 2304510"/>
                <a:gd name="connsiteX7" fmla="*/ 480060 w 702325"/>
                <a:gd name="connsiteY7" fmla="*/ 0 h 2304510"/>
                <a:gd name="connsiteX0" fmla="*/ 480060 w 714166"/>
                <a:gd name="connsiteY0" fmla="*/ 0 h 2304510"/>
                <a:gd name="connsiteX1" fmla="*/ 703422 w 714166"/>
                <a:gd name="connsiteY1" fmla="*/ 1238993 h 2304510"/>
                <a:gd name="connsiteX2" fmla="*/ 626268 w 714166"/>
                <a:gd name="connsiteY2" fmla="*/ 1256301 h 2304510"/>
                <a:gd name="connsiteX3" fmla="*/ 369888 w 714166"/>
                <a:gd name="connsiteY3" fmla="*/ 2074925 h 2304510"/>
                <a:gd name="connsiteX4" fmla="*/ 454183 w 714166"/>
                <a:gd name="connsiteY4" fmla="*/ 2304431 h 2304510"/>
                <a:gd name="connsiteX5" fmla="*/ 0 w 714166"/>
                <a:gd name="connsiteY5" fmla="*/ 1165860 h 2304510"/>
                <a:gd name="connsiteX6" fmla="*/ 361950 w 714166"/>
                <a:gd name="connsiteY6" fmla="*/ 70485 h 2304510"/>
                <a:gd name="connsiteX7" fmla="*/ 480060 w 714166"/>
                <a:gd name="connsiteY7" fmla="*/ 0 h 2304510"/>
                <a:gd name="connsiteX0" fmla="*/ 480060 w 704269"/>
                <a:gd name="connsiteY0" fmla="*/ 0 h 2304510"/>
                <a:gd name="connsiteX1" fmla="*/ 703422 w 704269"/>
                <a:gd name="connsiteY1" fmla="*/ 1238993 h 2304510"/>
                <a:gd name="connsiteX2" fmla="*/ 626268 w 704269"/>
                <a:gd name="connsiteY2" fmla="*/ 1256301 h 2304510"/>
                <a:gd name="connsiteX3" fmla="*/ 369888 w 704269"/>
                <a:gd name="connsiteY3" fmla="*/ 2074925 h 2304510"/>
                <a:gd name="connsiteX4" fmla="*/ 454183 w 704269"/>
                <a:gd name="connsiteY4" fmla="*/ 2304431 h 2304510"/>
                <a:gd name="connsiteX5" fmla="*/ 0 w 704269"/>
                <a:gd name="connsiteY5" fmla="*/ 1165860 h 2304510"/>
                <a:gd name="connsiteX6" fmla="*/ 361950 w 704269"/>
                <a:gd name="connsiteY6" fmla="*/ 70485 h 2304510"/>
                <a:gd name="connsiteX7" fmla="*/ 480060 w 704269"/>
                <a:gd name="connsiteY7" fmla="*/ 0 h 2304510"/>
                <a:gd name="connsiteX0" fmla="*/ 502285 w 709242"/>
                <a:gd name="connsiteY0" fmla="*/ 0 h 2307715"/>
                <a:gd name="connsiteX1" fmla="*/ 703422 w 709242"/>
                <a:gd name="connsiteY1" fmla="*/ 1242198 h 2307715"/>
                <a:gd name="connsiteX2" fmla="*/ 626268 w 709242"/>
                <a:gd name="connsiteY2" fmla="*/ 1259506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58225 h 2307715"/>
                <a:gd name="connsiteX2" fmla="*/ 626268 w 709242"/>
                <a:gd name="connsiteY2" fmla="*/ 1259506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58225 h 2307715"/>
                <a:gd name="connsiteX2" fmla="*/ 629443 w 709242"/>
                <a:gd name="connsiteY2" fmla="*/ 1253095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45404 h 2307715"/>
                <a:gd name="connsiteX2" fmla="*/ 629443 w 709242"/>
                <a:gd name="connsiteY2" fmla="*/ 1253095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09242"/>
                <a:gd name="connsiteY0" fmla="*/ 0 h 2307715"/>
                <a:gd name="connsiteX1" fmla="*/ 703422 w 709242"/>
                <a:gd name="connsiteY1" fmla="*/ 1251815 h 2307715"/>
                <a:gd name="connsiteX2" fmla="*/ 629443 w 709242"/>
                <a:gd name="connsiteY2" fmla="*/ 1253095 h 2307715"/>
                <a:gd name="connsiteX3" fmla="*/ 369888 w 709242"/>
                <a:gd name="connsiteY3" fmla="*/ 2078130 h 2307715"/>
                <a:gd name="connsiteX4" fmla="*/ 454183 w 709242"/>
                <a:gd name="connsiteY4" fmla="*/ 2307636 h 2307715"/>
                <a:gd name="connsiteX5" fmla="*/ 0 w 709242"/>
                <a:gd name="connsiteY5" fmla="*/ 1169065 h 2307715"/>
                <a:gd name="connsiteX6" fmla="*/ 361950 w 709242"/>
                <a:gd name="connsiteY6" fmla="*/ 73690 h 2307715"/>
                <a:gd name="connsiteX7" fmla="*/ 502285 w 709242"/>
                <a:gd name="connsiteY7" fmla="*/ 0 h 2307715"/>
                <a:gd name="connsiteX0" fmla="*/ 502285 w 716328"/>
                <a:gd name="connsiteY0" fmla="*/ 0 h 2307715"/>
                <a:gd name="connsiteX1" fmla="*/ 712947 w 716328"/>
                <a:gd name="connsiteY1" fmla="*/ 1255020 h 2307715"/>
                <a:gd name="connsiteX2" fmla="*/ 629443 w 716328"/>
                <a:gd name="connsiteY2" fmla="*/ 1253095 h 2307715"/>
                <a:gd name="connsiteX3" fmla="*/ 369888 w 716328"/>
                <a:gd name="connsiteY3" fmla="*/ 2078130 h 2307715"/>
                <a:gd name="connsiteX4" fmla="*/ 454183 w 716328"/>
                <a:gd name="connsiteY4" fmla="*/ 2307636 h 2307715"/>
                <a:gd name="connsiteX5" fmla="*/ 0 w 716328"/>
                <a:gd name="connsiteY5" fmla="*/ 1169065 h 2307715"/>
                <a:gd name="connsiteX6" fmla="*/ 361950 w 716328"/>
                <a:gd name="connsiteY6" fmla="*/ 73690 h 2307715"/>
                <a:gd name="connsiteX7" fmla="*/ 502285 w 716328"/>
                <a:gd name="connsiteY7" fmla="*/ 0 h 2307715"/>
                <a:gd name="connsiteX0" fmla="*/ 502285 w 713542"/>
                <a:gd name="connsiteY0" fmla="*/ 0 h 2307715"/>
                <a:gd name="connsiteX1" fmla="*/ 712947 w 713542"/>
                <a:gd name="connsiteY1" fmla="*/ 1255020 h 2307715"/>
                <a:gd name="connsiteX2" fmla="*/ 629443 w 713542"/>
                <a:gd name="connsiteY2" fmla="*/ 1253095 h 2307715"/>
                <a:gd name="connsiteX3" fmla="*/ 369888 w 713542"/>
                <a:gd name="connsiteY3" fmla="*/ 2078130 h 2307715"/>
                <a:gd name="connsiteX4" fmla="*/ 454183 w 713542"/>
                <a:gd name="connsiteY4" fmla="*/ 2307636 h 2307715"/>
                <a:gd name="connsiteX5" fmla="*/ 0 w 713542"/>
                <a:gd name="connsiteY5" fmla="*/ 1169065 h 2307715"/>
                <a:gd name="connsiteX6" fmla="*/ 361950 w 713542"/>
                <a:gd name="connsiteY6" fmla="*/ 73690 h 2307715"/>
                <a:gd name="connsiteX7" fmla="*/ 502285 w 713542"/>
                <a:gd name="connsiteY7" fmla="*/ 0 h 2307715"/>
                <a:gd name="connsiteX0" fmla="*/ 502285 w 713103"/>
                <a:gd name="connsiteY0" fmla="*/ 0 h 2307715"/>
                <a:gd name="connsiteX1" fmla="*/ 712947 w 713103"/>
                <a:gd name="connsiteY1" fmla="*/ 1255020 h 2307715"/>
                <a:gd name="connsiteX2" fmla="*/ 629443 w 713103"/>
                <a:gd name="connsiteY2" fmla="*/ 1253095 h 2307715"/>
                <a:gd name="connsiteX3" fmla="*/ 369888 w 713103"/>
                <a:gd name="connsiteY3" fmla="*/ 2078130 h 2307715"/>
                <a:gd name="connsiteX4" fmla="*/ 454183 w 713103"/>
                <a:gd name="connsiteY4" fmla="*/ 2307636 h 2307715"/>
                <a:gd name="connsiteX5" fmla="*/ 0 w 713103"/>
                <a:gd name="connsiteY5" fmla="*/ 1169065 h 2307715"/>
                <a:gd name="connsiteX6" fmla="*/ 361950 w 713103"/>
                <a:gd name="connsiteY6" fmla="*/ 73690 h 2307715"/>
                <a:gd name="connsiteX7" fmla="*/ 502285 w 713103"/>
                <a:gd name="connsiteY7" fmla="*/ 0 h 230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3103" h="2307715">
                  <a:moveTo>
                    <a:pt x="502285" y="0"/>
                  </a:moveTo>
                  <a:cubicBezTo>
                    <a:pt x="756920" y="73417"/>
                    <a:pt x="706439" y="673630"/>
                    <a:pt x="712947" y="1255020"/>
                  </a:cubicBezTo>
                  <a:lnTo>
                    <a:pt x="629443" y="1253095"/>
                  </a:lnTo>
                  <a:lnTo>
                    <a:pt x="369888" y="2078130"/>
                  </a:lnTo>
                  <a:lnTo>
                    <a:pt x="454183" y="2307636"/>
                  </a:lnTo>
                  <a:cubicBezTo>
                    <a:pt x="130334" y="2317161"/>
                    <a:pt x="138112" y="1464340"/>
                    <a:pt x="0" y="1169065"/>
                  </a:cubicBezTo>
                  <a:lnTo>
                    <a:pt x="361950" y="73690"/>
                  </a:lnTo>
                  <a:lnTo>
                    <a:pt x="502285" y="0"/>
                  </a:lnTo>
                  <a:close/>
                </a:path>
              </a:pathLst>
            </a:cu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12" name="Rectangle 3611">
              <a:extLst>
                <a:ext uri="{FF2B5EF4-FFF2-40B4-BE49-F238E27FC236}">
                  <a16:creationId xmlns:a16="http://schemas.microsoft.com/office/drawing/2014/main" id="{578E42C3-69FD-4B01-A166-CD27D640ACA0}"/>
                </a:ext>
              </a:extLst>
            </p:cNvPr>
            <p:cNvSpPr/>
            <p:nvPr/>
          </p:nvSpPr>
          <p:spPr bwMode="auto">
            <a:xfrm>
              <a:off x="23317631" y="2821634"/>
              <a:ext cx="2035802" cy="190030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13" name="Parallelogram 172">
              <a:extLst>
                <a:ext uri="{FF2B5EF4-FFF2-40B4-BE49-F238E27FC236}">
                  <a16:creationId xmlns:a16="http://schemas.microsoft.com/office/drawing/2014/main" id="{F266D581-39C8-44F4-B0BC-CEA686C2DD14}"/>
                </a:ext>
              </a:extLst>
            </p:cNvPr>
            <p:cNvSpPr/>
            <p:nvPr/>
          </p:nvSpPr>
          <p:spPr bwMode="auto">
            <a:xfrm>
              <a:off x="22967231" y="-560439"/>
              <a:ext cx="2511277" cy="3401012"/>
            </a:xfrm>
            <a:custGeom>
              <a:avLst/>
              <a:gdLst>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0 w 2447567"/>
                <a:gd name="connsiteY0" fmla="*/ 2045549 h 2045549"/>
                <a:gd name="connsiteX1" fmla="*/ 511387 w 2447567"/>
                <a:gd name="connsiteY1" fmla="*/ 0 h 2045549"/>
                <a:gd name="connsiteX2" fmla="*/ 2447567 w 2447567"/>
                <a:gd name="connsiteY2" fmla="*/ 0 h 2045549"/>
                <a:gd name="connsiteX3" fmla="*/ 1936180 w 2447567"/>
                <a:gd name="connsiteY3" fmla="*/ 2045549 h 2045549"/>
                <a:gd name="connsiteX4" fmla="*/ 0 w 2447567"/>
                <a:gd name="connsiteY4" fmla="*/ 2045549 h 2045549"/>
                <a:gd name="connsiteX0" fmla="*/ 251435 w 2699002"/>
                <a:gd name="connsiteY0" fmla="*/ 2045549 h 2045549"/>
                <a:gd name="connsiteX1" fmla="*/ 762822 w 2699002"/>
                <a:gd name="connsiteY1" fmla="*/ 0 h 2045549"/>
                <a:gd name="connsiteX2" fmla="*/ 2699002 w 2699002"/>
                <a:gd name="connsiteY2" fmla="*/ 0 h 2045549"/>
                <a:gd name="connsiteX3" fmla="*/ 2187615 w 2699002"/>
                <a:gd name="connsiteY3" fmla="*/ 2045549 h 2045549"/>
                <a:gd name="connsiteX4" fmla="*/ 251435 w 2699002"/>
                <a:gd name="connsiteY4" fmla="*/ 2045549 h 2045549"/>
                <a:gd name="connsiteX0" fmla="*/ 301141 w 2748708"/>
                <a:gd name="connsiteY0" fmla="*/ 2045549 h 2045549"/>
                <a:gd name="connsiteX1" fmla="*/ 812528 w 2748708"/>
                <a:gd name="connsiteY1" fmla="*/ 0 h 2045549"/>
                <a:gd name="connsiteX2" fmla="*/ 2748708 w 2748708"/>
                <a:gd name="connsiteY2" fmla="*/ 0 h 2045549"/>
                <a:gd name="connsiteX3" fmla="*/ 2237321 w 2748708"/>
                <a:gd name="connsiteY3" fmla="*/ 2045549 h 2045549"/>
                <a:gd name="connsiteX4" fmla="*/ 301141 w 2748708"/>
                <a:gd name="connsiteY4" fmla="*/ 2045549 h 2045549"/>
                <a:gd name="connsiteX0" fmla="*/ 312138 w 2759705"/>
                <a:gd name="connsiteY0" fmla="*/ 2045549 h 2045549"/>
                <a:gd name="connsiteX1" fmla="*/ 823525 w 2759705"/>
                <a:gd name="connsiteY1" fmla="*/ 0 h 2045549"/>
                <a:gd name="connsiteX2" fmla="*/ 2759705 w 2759705"/>
                <a:gd name="connsiteY2" fmla="*/ 0 h 2045549"/>
                <a:gd name="connsiteX3" fmla="*/ 2248318 w 2759705"/>
                <a:gd name="connsiteY3" fmla="*/ 2045549 h 2045549"/>
                <a:gd name="connsiteX4" fmla="*/ 312138 w 2759705"/>
                <a:gd name="connsiteY4" fmla="*/ 2045549 h 2045549"/>
                <a:gd name="connsiteX0" fmla="*/ 312138 w 2759705"/>
                <a:gd name="connsiteY0" fmla="*/ 2045549 h 2045549"/>
                <a:gd name="connsiteX1" fmla="*/ 823525 w 2759705"/>
                <a:gd name="connsiteY1" fmla="*/ 0 h 2045549"/>
                <a:gd name="connsiteX2" fmla="*/ 2759705 w 2759705"/>
                <a:gd name="connsiteY2" fmla="*/ 0 h 2045549"/>
                <a:gd name="connsiteX3" fmla="*/ 2248318 w 2759705"/>
                <a:gd name="connsiteY3" fmla="*/ 2045549 h 2045549"/>
                <a:gd name="connsiteX4" fmla="*/ 312138 w 2759705"/>
                <a:gd name="connsiteY4" fmla="*/ 2045549 h 2045549"/>
                <a:gd name="connsiteX0" fmla="*/ 312138 w 2759705"/>
                <a:gd name="connsiteY0" fmla="*/ 2045549 h 2045549"/>
                <a:gd name="connsiteX1" fmla="*/ 823525 w 2759705"/>
                <a:gd name="connsiteY1" fmla="*/ 0 h 2045549"/>
                <a:gd name="connsiteX2" fmla="*/ 2759705 w 2759705"/>
                <a:gd name="connsiteY2" fmla="*/ 0 h 2045549"/>
                <a:gd name="connsiteX3" fmla="*/ 2248318 w 2759705"/>
                <a:gd name="connsiteY3" fmla="*/ 2045549 h 2045549"/>
                <a:gd name="connsiteX4" fmla="*/ 312138 w 2759705"/>
                <a:gd name="connsiteY4" fmla="*/ 2045549 h 2045549"/>
                <a:gd name="connsiteX0" fmla="*/ 312138 w 2759705"/>
                <a:gd name="connsiteY0" fmla="*/ 2045549 h 2045549"/>
                <a:gd name="connsiteX1" fmla="*/ 823525 w 2759705"/>
                <a:gd name="connsiteY1" fmla="*/ 0 h 2045549"/>
                <a:gd name="connsiteX2" fmla="*/ 2759705 w 2759705"/>
                <a:gd name="connsiteY2" fmla="*/ 0 h 2045549"/>
                <a:gd name="connsiteX3" fmla="*/ 2248318 w 2759705"/>
                <a:gd name="connsiteY3" fmla="*/ 2045549 h 2045549"/>
                <a:gd name="connsiteX4" fmla="*/ 312138 w 2759705"/>
                <a:gd name="connsiteY4" fmla="*/ 2045549 h 2045549"/>
                <a:gd name="connsiteX0" fmla="*/ 266984 w 2714551"/>
                <a:gd name="connsiteY0" fmla="*/ 2045549 h 2045549"/>
                <a:gd name="connsiteX1" fmla="*/ 778371 w 2714551"/>
                <a:gd name="connsiteY1" fmla="*/ 0 h 2045549"/>
                <a:gd name="connsiteX2" fmla="*/ 2714551 w 2714551"/>
                <a:gd name="connsiteY2" fmla="*/ 0 h 2045549"/>
                <a:gd name="connsiteX3" fmla="*/ 2203164 w 2714551"/>
                <a:gd name="connsiteY3" fmla="*/ 2045549 h 2045549"/>
                <a:gd name="connsiteX4" fmla="*/ 266984 w 2714551"/>
                <a:gd name="connsiteY4" fmla="*/ 2045549 h 2045549"/>
                <a:gd name="connsiteX0" fmla="*/ 266984 w 2714551"/>
                <a:gd name="connsiteY0" fmla="*/ 2045549 h 2045549"/>
                <a:gd name="connsiteX1" fmla="*/ 778371 w 2714551"/>
                <a:gd name="connsiteY1" fmla="*/ 0 h 2045549"/>
                <a:gd name="connsiteX2" fmla="*/ 2714551 w 2714551"/>
                <a:gd name="connsiteY2" fmla="*/ 0 h 2045549"/>
                <a:gd name="connsiteX3" fmla="*/ 2203164 w 2714551"/>
                <a:gd name="connsiteY3" fmla="*/ 2045549 h 2045549"/>
                <a:gd name="connsiteX4" fmla="*/ 266984 w 2714551"/>
                <a:gd name="connsiteY4" fmla="*/ 2045549 h 2045549"/>
                <a:gd name="connsiteX0" fmla="*/ 266984 w 2714551"/>
                <a:gd name="connsiteY0" fmla="*/ 2045549 h 2045549"/>
                <a:gd name="connsiteX1" fmla="*/ 778371 w 2714551"/>
                <a:gd name="connsiteY1" fmla="*/ 0 h 2045549"/>
                <a:gd name="connsiteX2" fmla="*/ 2714551 w 2714551"/>
                <a:gd name="connsiteY2" fmla="*/ 0 h 2045549"/>
                <a:gd name="connsiteX3" fmla="*/ 2203164 w 2714551"/>
                <a:gd name="connsiteY3" fmla="*/ 2045549 h 2045549"/>
                <a:gd name="connsiteX4" fmla="*/ 266984 w 2714551"/>
                <a:gd name="connsiteY4" fmla="*/ 2045549 h 2045549"/>
                <a:gd name="connsiteX0" fmla="*/ 454471 w 2902038"/>
                <a:gd name="connsiteY0" fmla="*/ 2045549 h 2045549"/>
                <a:gd name="connsiteX1" fmla="*/ 475120 w 2902038"/>
                <a:gd name="connsiteY1" fmla="*/ 28575 h 2045549"/>
                <a:gd name="connsiteX2" fmla="*/ 2902038 w 2902038"/>
                <a:gd name="connsiteY2" fmla="*/ 0 h 2045549"/>
                <a:gd name="connsiteX3" fmla="*/ 2390651 w 2902038"/>
                <a:gd name="connsiteY3" fmla="*/ 2045549 h 2045549"/>
                <a:gd name="connsiteX4" fmla="*/ 454471 w 2902038"/>
                <a:gd name="connsiteY4" fmla="*/ 2045549 h 2045549"/>
                <a:gd name="connsiteX0" fmla="*/ 409632 w 2857199"/>
                <a:gd name="connsiteY0" fmla="*/ 2045549 h 2045549"/>
                <a:gd name="connsiteX1" fmla="*/ 520679 w 2857199"/>
                <a:gd name="connsiteY1" fmla="*/ 38100 h 2045549"/>
                <a:gd name="connsiteX2" fmla="*/ 2857199 w 2857199"/>
                <a:gd name="connsiteY2" fmla="*/ 0 h 2045549"/>
                <a:gd name="connsiteX3" fmla="*/ 2345812 w 2857199"/>
                <a:gd name="connsiteY3" fmla="*/ 2045549 h 2045549"/>
                <a:gd name="connsiteX4" fmla="*/ 409632 w 2857199"/>
                <a:gd name="connsiteY4" fmla="*/ 2045549 h 2045549"/>
                <a:gd name="connsiteX0" fmla="*/ 409632 w 2456861"/>
                <a:gd name="connsiteY0" fmla="*/ 2045549 h 2045549"/>
                <a:gd name="connsiteX1" fmla="*/ 520679 w 2456861"/>
                <a:gd name="connsiteY1" fmla="*/ 38100 h 2045549"/>
                <a:gd name="connsiteX2" fmla="*/ 2456861 w 2456861"/>
                <a:gd name="connsiteY2" fmla="*/ 0 h 2045549"/>
                <a:gd name="connsiteX3" fmla="*/ 2345812 w 2456861"/>
                <a:gd name="connsiteY3" fmla="*/ 2045549 h 2045549"/>
                <a:gd name="connsiteX4" fmla="*/ 409632 w 2456861"/>
                <a:gd name="connsiteY4" fmla="*/ 2045549 h 2045549"/>
                <a:gd name="connsiteX0" fmla="*/ 335846 w 2383075"/>
                <a:gd name="connsiteY0" fmla="*/ 2045549 h 2045549"/>
                <a:gd name="connsiteX1" fmla="*/ 446893 w 2383075"/>
                <a:gd name="connsiteY1" fmla="*/ 38100 h 2045549"/>
                <a:gd name="connsiteX2" fmla="*/ 2383075 w 2383075"/>
                <a:gd name="connsiteY2" fmla="*/ 0 h 2045549"/>
                <a:gd name="connsiteX3" fmla="*/ 2272026 w 2383075"/>
                <a:gd name="connsiteY3" fmla="*/ 2045549 h 2045549"/>
                <a:gd name="connsiteX4" fmla="*/ 335846 w 2383075"/>
                <a:gd name="connsiteY4" fmla="*/ 2045549 h 2045549"/>
                <a:gd name="connsiteX0" fmla="*/ 339875 w 2387104"/>
                <a:gd name="connsiteY0" fmla="*/ 2045549 h 2045549"/>
                <a:gd name="connsiteX1" fmla="*/ 450922 w 2387104"/>
                <a:gd name="connsiteY1" fmla="*/ 38100 h 2045549"/>
                <a:gd name="connsiteX2" fmla="*/ 2387104 w 2387104"/>
                <a:gd name="connsiteY2" fmla="*/ 0 h 2045549"/>
                <a:gd name="connsiteX3" fmla="*/ 2276055 w 2387104"/>
                <a:gd name="connsiteY3" fmla="*/ 2045549 h 2045549"/>
                <a:gd name="connsiteX4" fmla="*/ 339875 w 2387104"/>
                <a:gd name="connsiteY4" fmla="*/ 2045549 h 2045549"/>
                <a:gd name="connsiteX0" fmla="*/ 339875 w 2387104"/>
                <a:gd name="connsiteY0" fmla="*/ 2045549 h 2045549"/>
                <a:gd name="connsiteX1" fmla="*/ 450922 w 2387104"/>
                <a:gd name="connsiteY1" fmla="*/ 38100 h 2045549"/>
                <a:gd name="connsiteX2" fmla="*/ 2387104 w 2387104"/>
                <a:gd name="connsiteY2" fmla="*/ 0 h 2045549"/>
                <a:gd name="connsiteX3" fmla="*/ 2276055 w 2387104"/>
                <a:gd name="connsiteY3" fmla="*/ 2045549 h 2045549"/>
                <a:gd name="connsiteX4" fmla="*/ 339875 w 2387104"/>
                <a:gd name="connsiteY4" fmla="*/ 2045549 h 2045549"/>
                <a:gd name="connsiteX0" fmla="*/ 339875 w 2387104"/>
                <a:gd name="connsiteY0" fmla="*/ 2045549 h 2045549"/>
                <a:gd name="connsiteX1" fmla="*/ 450922 w 2387104"/>
                <a:gd name="connsiteY1" fmla="*/ 38100 h 2045549"/>
                <a:gd name="connsiteX2" fmla="*/ 2387104 w 2387104"/>
                <a:gd name="connsiteY2" fmla="*/ 0 h 2045549"/>
                <a:gd name="connsiteX3" fmla="*/ 2276055 w 2387104"/>
                <a:gd name="connsiteY3" fmla="*/ 2045549 h 2045549"/>
                <a:gd name="connsiteX4" fmla="*/ 339875 w 2387104"/>
                <a:gd name="connsiteY4" fmla="*/ 2045549 h 2045549"/>
                <a:gd name="connsiteX0" fmla="*/ 339875 w 2387104"/>
                <a:gd name="connsiteY0" fmla="*/ 2045549 h 2045549"/>
                <a:gd name="connsiteX1" fmla="*/ 450922 w 2387104"/>
                <a:gd name="connsiteY1" fmla="*/ 38100 h 2045549"/>
                <a:gd name="connsiteX2" fmla="*/ 2387104 w 2387104"/>
                <a:gd name="connsiteY2" fmla="*/ 0 h 2045549"/>
                <a:gd name="connsiteX3" fmla="*/ 2276055 w 2387104"/>
                <a:gd name="connsiteY3" fmla="*/ 2045549 h 2045549"/>
                <a:gd name="connsiteX4" fmla="*/ 339875 w 2387104"/>
                <a:gd name="connsiteY4" fmla="*/ 2045549 h 2045549"/>
                <a:gd name="connsiteX0" fmla="*/ 317419 w 2364648"/>
                <a:gd name="connsiteY0" fmla="*/ 2045549 h 2045549"/>
                <a:gd name="connsiteX1" fmla="*/ 488732 w 2364648"/>
                <a:gd name="connsiteY1" fmla="*/ 15169 h 2045549"/>
                <a:gd name="connsiteX2" fmla="*/ 2364648 w 2364648"/>
                <a:gd name="connsiteY2" fmla="*/ 0 h 2045549"/>
                <a:gd name="connsiteX3" fmla="*/ 2253599 w 2364648"/>
                <a:gd name="connsiteY3" fmla="*/ 2045549 h 2045549"/>
                <a:gd name="connsiteX4" fmla="*/ 317419 w 2364648"/>
                <a:gd name="connsiteY4" fmla="*/ 2045549 h 2045549"/>
                <a:gd name="connsiteX0" fmla="*/ 312897 w 2360126"/>
                <a:gd name="connsiteY0" fmla="*/ 2045549 h 2045549"/>
                <a:gd name="connsiteX1" fmla="*/ 497124 w 2360126"/>
                <a:gd name="connsiteY1" fmla="*/ 4978 h 2045549"/>
                <a:gd name="connsiteX2" fmla="*/ 2360126 w 2360126"/>
                <a:gd name="connsiteY2" fmla="*/ 0 h 2045549"/>
                <a:gd name="connsiteX3" fmla="*/ 2249077 w 2360126"/>
                <a:gd name="connsiteY3" fmla="*/ 2045549 h 2045549"/>
                <a:gd name="connsiteX4" fmla="*/ 312897 w 2360126"/>
                <a:gd name="connsiteY4" fmla="*/ 2045549 h 2045549"/>
                <a:gd name="connsiteX0" fmla="*/ 325373 w 2372602"/>
                <a:gd name="connsiteY0" fmla="*/ 2045549 h 2045549"/>
                <a:gd name="connsiteX1" fmla="*/ 509600 w 2372602"/>
                <a:gd name="connsiteY1" fmla="*/ 4978 h 2045549"/>
                <a:gd name="connsiteX2" fmla="*/ 2372602 w 2372602"/>
                <a:gd name="connsiteY2" fmla="*/ 0 h 2045549"/>
                <a:gd name="connsiteX3" fmla="*/ 2261553 w 2372602"/>
                <a:gd name="connsiteY3" fmla="*/ 2045549 h 2045549"/>
                <a:gd name="connsiteX4" fmla="*/ 325373 w 2372602"/>
                <a:gd name="connsiteY4" fmla="*/ 2045549 h 2045549"/>
                <a:gd name="connsiteX0" fmla="*/ 333090 w 2380319"/>
                <a:gd name="connsiteY0" fmla="*/ 2045549 h 2045549"/>
                <a:gd name="connsiteX1" fmla="*/ 517317 w 2380319"/>
                <a:gd name="connsiteY1" fmla="*/ 4978 h 2045549"/>
                <a:gd name="connsiteX2" fmla="*/ 2380319 w 2380319"/>
                <a:gd name="connsiteY2" fmla="*/ 0 h 2045549"/>
                <a:gd name="connsiteX3" fmla="*/ 2269270 w 2380319"/>
                <a:gd name="connsiteY3" fmla="*/ 2045549 h 2045549"/>
                <a:gd name="connsiteX4" fmla="*/ 333090 w 2380319"/>
                <a:gd name="connsiteY4" fmla="*/ 2045549 h 2045549"/>
                <a:gd name="connsiteX0" fmla="*/ 333090 w 2380319"/>
                <a:gd name="connsiteY0" fmla="*/ 2045549 h 2045549"/>
                <a:gd name="connsiteX1" fmla="*/ 517317 w 2380319"/>
                <a:gd name="connsiteY1" fmla="*/ 4978 h 2045549"/>
                <a:gd name="connsiteX2" fmla="*/ 2380319 w 2380319"/>
                <a:gd name="connsiteY2" fmla="*/ 0 h 2045549"/>
                <a:gd name="connsiteX3" fmla="*/ 2249899 w 2380319"/>
                <a:gd name="connsiteY3" fmla="*/ 1762738 h 2045549"/>
                <a:gd name="connsiteX4" fmla="*/ 333090 w 2380319"/>
                <a:gd name="connsiteY4" fmla="*/ 2045549 h 2045549"/>
                <a:gd name="connsiteX0" fmla="*/ 333090 w 2380319"/>
                <a:gd name="connsiteY0" fmla="*/ 2045549 h 2045549"/>
                <a:gd name="connsiteX1" fmla="*/ 517317 w 2380319"/>
                <a:gd name="connsiteY1" fmla="*/ 4978 h 2045549"/>
                <a:gd name="connsiteX2" fmla="*/ 2380319 w 2380319"/>
                <a:gd name="connsiteY2" fmla="*/ 0 h 2045549"/>
                <a:gd name="connsiteX3" fmla="*/ 2249899 w 2380319"/>
                <a:gd name="connsiteY3" fmla="*/ 1762738 h 2045549"/>
                <a:gd name="connsiteX4" fmla="*/ 333090 w 2380319"/>
                <a:gd name="connsiteY4" fmla="*/ 2045549 h 2045549"/>
                <a:gd name="connsiteX0" fmla="*/ 324016 w 2396040"/>
                <a:gd name="connsiteY0" fmla="*/ 1854766 h 1854766"/>
                <a:gd name="connsiteX1" fmla="*/ 533038 w 2396040"/>
                <a:gd name="connsiteY1" fmla="*/ 4978 h 1854766"/>
                <a:gd name="connsiteX2" fmla="*/ 2396040 w 2396040"/>
                <a:gd name="connsiteY2" fmla="*/ 0 h 1854766"/>
                <a:gd name="connsiteX3" fmla="*/ 2265620 w 2396040"/>
                <a:gd name="connsiteY3" fmla="*/ 1762738 h 1854766"/>
                <a:gd name="connsiteX4" fmla="*/ 324016 w 2396040"/>
                <a:gd name="connsiteY4" fmla="*/ 1854766 h 1854766"/>
                <a:gd name="connsiteX0" fmla="*/ 336720 w 2374306"/>
                <a:gd name="connsiteY0" fmla="*/ 1783426 h 1783426"/>
                <a:gd name="connsiteX1" fmla="*/ 511304 w 2374306"/>
                <a:gd name="connsiteY1" fmla="*/ 4978 h 1783426"/>
                <a:gd name="connsiteX2" fmla="*/ 2374306 w 2374306"/>
                <a:gd name="connsiteY2" fmla="*/ 0 h 1783426"/>
                <a:gd name="connsiteX3" fmla="*/ 2243886 w 2374306"/>
                <a:gd name="connsiteY3" fmla="*/ 1762738 h 1783426"/>
                <a:gd name="connsiteX4" fmla="*/ 336720 w 2374306"/>
                <a:gd name="connsiteY4" fmla="*/ 1783426 h 1783426"/>
                <a:gd name="connsiteX0" fmla="*/ 336720 w 2374305"/>
                <a:gd name="connsiteY0" fmla="*/ 1755400 h 1762738"/>
                <a:gd name="connsiteX1" fmla="*/ 511303 w 2374305"/>
                <a:gd name="connsiteY1" fmla="*/ 4978 h 1762738"/>
                <a:gd name="connsiteX2" fmla="*/ 2374305 w 2374305"/>
                <a:gd name="connsiteY2" fmla="*/ 0 h 1762738"/>
                <a:gd name="connsiteX3" fmla="*/ 2243885 w 2374305"/>
                <a:gd name="connsiteY3" fmla="*/ 1762738 h 1762738"/>
                <a:gd name="connsiteX4" fmla="*/ 336720 w 2374305"/>
                <a:gd name="connsiteY4" fmla="*/ 1755400 h 1762738"/>
                <a:gd name="connsiteX0" fmla="*/ 336721 w 2374305"/>
                <a:gd name="connsiteY0" fmla="*/ 1903175 h 1903175"/>
                <a:gd name="connsiteX1" fmla="*/ 511303 w 2374305"/>
                <a:gd name="connsiteY1" fmla="*/ 4978 h 1903175"/>
                <a:gd name="connsiteX2" fmla="*/ 2374305 w 2374305"/>
                <a:gd name="connsiteY2" fmla="*/ 0 h 1903175"/>
                <a:gd name="connsiteX3" fmla="*/ 2243885 w 2374305"/>
                <a:gd name="connsiteY3" fmla="*/ 1762738 h 1903175"/>
                <a:gd name="connsiteX4" fmla="*/ 336721 w 2374305"/>
                <a:gd name="connsiteY4" fmla="*/ 1903175 h 1903175"/>
                <a:gd name="connsiteX0" fmla="*/ 336721 w 2374305"/>
                <a:gd name="connsiteY0" fmla="*/ 1903175 h 1903175"/>
                <a:gd name="connsiteX1" fmla="*/ 511303 w 2374305"/>
                <a:gd name="connsiteY1" fmla="*/ 4978 h 1903175"/>
                <a:gd name="connsiteX2" fmla="*/ 2374305 w 2374305"/>
                <a:gd name="connsiteY2" fmla="*/ 0 h 1903175"/>
                <a:gd name="connsiteX3" fmla="*/ 2286932 w 2374305"/>
                <a:gd name="connsiteY3" fmla="*/ 1895226 h 1903175"/>
                <a:gd name="connsiteX4" fmla="*/ 336721 w 2374305"/>
                <a:gd name="connsiteY4" fmla="*/ 1903175 h 1903175"/>
                <a:gd name="connsiteX0" fmla="*/ 336721 w 2374305"/>
                <a:gd name="connsiteY0" fmla="*/ 1903175 h 1903175"/>
                <a:gd name="connsiteX1" fmla="*/ 511303 w 2374305"/>
                <a:gd name="connsiteY1" fmla="*/ 4978 h 1903175"/>
                <a:gd name="connsiteX2" fmla="*/ 2374305 w 2374305"/>
                <a:gd name="connsiteY2" fmla="*/ 0 h 1903175"/>
                <a:gd name="connsiteX3" fmla="*/ 2264332 w 2374305"/>
                <a:gd name="connsiteY3" fmla="*/ 1895226 h 1903175"/>
                <a:gd name="connsiteX4" fmla="*/ 336721 w 2374305"/>
                <a:gd name="connsiteY4" fmla="*/ 1903175 h 190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4305" h="1903175">
                  <a:moveTo>
                    <a:pt x="336721" y="1903175"/>
                  </a:moveTo>
                  <a:cubicBezTo>
                    <a:pt x="-223067" y="1119725"/>
                    <a:pt x="-29408" y="446351"/>
                    <a:pt x="511303" y="4978"/>
                  </a:cubicBezTo>
                  <a:lnTo>
                    <a:pt x="2374305" y="0"/>
                  </a:lnTo>
                  <a:cubicBezTo>
                    <a:pt x="1491004" y="1173975"/>
                    <a:pt x="2054437" y="1627243"/>
                    <a:pt x="2264332" y="1895226"/>
                  </a:cubicBezTo>
                  <a:lnTo>
                    <a:pt x="336721" y="1903175"/>
                  </a:lnTo>
                  <a:close/>
                </a:path>
              </a:pathLst>
            </a:cu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14" name="Freeform: Shape 2147">
              <a:extLst>
                <a:ext uri="{FF2B5EF4-FFF2-40B4-BE49-F238E27FC236}">
                  <a16:creationId xmlns:a16="http://schemas.microsoft.com/office/drawing/2014/main" id="{2B4FC78C-5730-48DE-BA51-F1A4F7EB96FA}"/>
                </a:ext>
              </a:extLst>
            </p:cNvPr>
            <p:cNvSpPr/>
            <p:nvPr/>
          </p:nvSpPr>
          <p:spPr bwMode="auto">
            <a:xfrm>
              <a:off x="25274300" y="157625"/>
              <a:ext cx="382456" cy="2242375"/>
            </a:xfrm>
            <a:custGeom>
              <a:avLst/>
              <a:gdLst>
                <a:gd name="connsiteX0" fmla="*/ 278606 w 278606"/>
                <a:gd name="connsiteY0" fmla="*/ 540544 h 973931"/>
                <a:gd name="connsiteX1" fmla="*/ 278606 w 278606"/>
                <a:gd name="connsiteY1" fmla="*/ 0 h 973931"/>
                <a:gd name="connsiteX2" fmla="*/ 0 w 278606"/>
                <a:gd name="connsiteY2" fmla="*/ 278606 h 973931"/>
                <a:gd name="connsiteX3" fmla="*/ 0 w 278606"/>
                <a:gd name="connsiteY3" fmla="*/ 973931 h 973931"/>
                <a:gd name="connsiteX4" fmla="*/ 278606 w 278606"/>
                <a:gd name="connsiteY4" fmla="*/ 540544 h 973931"/>
                <a:gd name="connsiteX0" fmla="*/ 278606 w 278606"/>
                <a:gd name="connsiteY0" fmla="*/ 540544 h 957262"/>
                <a:gd name="connsiteX1" fmla="*/ 278606 w 278606"/>
                <a:gd name="connsiteY1" fmla="*/ 0 h 957262"/>
                <a:gd name="connsiteX2" fmla="*/ 0 w 278606"/>
                <a:gd name="connsiteY2" fmla="*/ 278606 h 957262"/>
                <a:gd name="connsiteX3" fmla="*/ 21431 w 278606"/>
                <a:gd name="connsiteY3" fmla="*/ 957262 h 957262"/>
                <a:gd name="connsiteX4" fmla="*/ 278606 w 278606"/>
                <a:gd name="connsiteY4" fmla="*/ 540544 h 957262"/>
                <a:gd name="connsiteX0" fmla="*/ 278606 w 278606"/>
                <a:gd name="connsiteY0" fmla="*/ 540544 h 1085849"/>
                <a:gd name="connsiteX1" fmla="*/ 278606 w 278606"/>
                <a:gd name="connsiteY1" fmla="*/ 0 h 1085849"/>
                <a:gd name="connsiteX2" fmla="*/ 0 w 278606"/>
                <a:gd name="connsiteY2" fmla="*/ 278606 h 1085849"/>
                <a:gd name="connsiteX3" fmla="*/ 11906 w 278606"/>
                <a:gd name="connsiteY3" fmla="*/ 1085849 h 1085849"/>
                <a:gd name="connsiteX4" fmla="*/ 278606 w 278606"/>
                <a:gd name="connsiteY4" fmla="*/ 540544 h 1085849"/>
                <a:gd name="connsiteX0" fmla="*/ 297656 w 319704"/>
                <a:gd name="connsiteY0" fmla="*/ 545330 h 1090635"/>
                <a:gd name="connsiteX1" fmla="*/ 297656 w 319704"/>
                <a:gd name="connsiteY1" fmla="*/ 4786 h 1090635"/>
                <a:gd name="connsiteX2" fmla="*/ 0 w 319704"/>
                <a:gd name="connsiteY2" fmla="*/ 297679 h 1090635"/>
                <a:gd name="connsiteX3" fmla="*/ 30956 w 319704"/>
                <a:gd name="connsiteY3" fmla="*/ 1090635 h 1090635"/>
                <a:gd name="connsiteX4" fmla="*/ 297656 w 319704"/>
                <a:gd name="connsiteY4" fmla="*/ 545330 h 1090635"/>
                <a:gd name="connsiteX0" fmla="*/ 297656 w 297656"/>
                <a:gd name="connsiteY0" fmla="*/ 545330 h 1090635"/>
                <a:gd name="connsiteX1" fmla="*/ 297656 w 297656"/>
                <a:gd name="connsiteY1" fmla="*/ 4786 h 1090635"/>
                <a:gd name="connsiteX2" fmla="*/ 0 w 297656"/>
                <a:gd name="connsiteY2" fmla="*/ 297679 h 1090635"/>
                <a:gd name="connsiteX3" fmla="*/ 30956 w 297656"/>
                <a:gd name="connsiteY3" fmla="*/ 1090635 h 1090635"/>
                <a:gd name="connsiteX4" fmla="*/ 297656 w 297656"/>
                <a:gd name="connsiteY4" fmla="*/ 545330 h 1090635"/>
                <a:gd name="connsiteX0" fmla="*/ 297656 w 297656"/>
                <a:gd name="connsiteY0" fmla="*/ 540544 h 1085849"/>
                <a:gd name="connsiteX1" fmla="*/ 297656 w 297656"/>
                <a:gd name="connsiteY1" fmla="*/ 0 h 1085849"/>
                <a:gd name="connsiteX2" fmla="*/ 0 w 297656"/>
                <a:gd name="connsiteY2" fmla="*/ 292893 h 1085849"/>
                <a:gd name="connsiteX3" fmla="*/ 30956 w 297656"/>
                <a:gd name="connsiteY3" fmla="*/ 1085849 h 1085849"/>
                <a:gd name="connsiteX4" fmla="*/ 297656 w 297656"/>
                <a:gd name="connsiteY4" fmla="*/ 540544 h 1085849"/>
                <a:gd name="connsiteX0" fmla="*/ 297656 w 297656"/>
                <a:gd name="connsiteY0" fmla="*/ 540544 h 1081087"/>
                <a:gd name="connsiteX1" fmla="*/ 297656 w 297656"/>
                <a:gd name="connsiteY1" fmla="*/ 0 h 1081087"/>
                <a:gd name="connsiteX2" fmla="*/ 0 w 297656"/>
                <a:gd name="connsiteY2" fmla="*/ 292893 h 1081087"/>
                <a:gd name="connsiteX3" fmla="*/ 16668 w 297656"/>
                <a:gd name="connsiteY3" fmla="*/ 1081087 h 1081087"/>
                <a:gd name="connsiteX4" fmla="*/ 297656 w 297656"/>
                <a:gd name="connsiteY4" fmla="*/ 540544 h 1081087"/>
                <a:gd name="connsiteX0" fmla="*/ 297656 w 297656"/>
                <a:gd name="connsiteY0" fmla="*/ 540544 h 1162050"/>
                <a:gd name="connsiteX1" fmla="*/ 297656 w 297656"/>
                <a:gd name="connsiteY1" fmla="*/ 0 h 1162050"/>
                <a:gd name="connsiteX2" fmla="*/ 0 w 297656"/>
                <a:gd name="connsiteY2" fmla="*/ 292893 h 1162050"/>
                <a:gd name="connsiteX3" fmla="*/ 107156 w 297656"/>
                <a:gd name="connsiteY3" fmla="*/ 1162050 h 1162050"/>
                <a:gd name="connsiteX4" fmla="*/ 297656 w 297656"/>
                <a:gd name="connsiteY4" fmla="*/ 540544 h 1162050"/>
                <a:gd name="connsiteX0" fmla="*/ 240506 w 240506"/>
                <a:gd name="connsiteY0" fmla="*/ 540544 h 1162050"/>
                <a:gd name="connsiteX1" fmla="*/ 240506 w 240506"/>
                <a:gd name="connsiteY1" fmla="*/ 0 h 1162050"/>
                <a:gd name="connsiteX2" fmla="*/ 0 w 240506"/>
                <a:gd name="connsiteY2" fmla="*/ 242887 h 1162050"/>
                <a:gd name="connsiteX3" fmla="*/ 50006 w 240506"/>
                <a:gd name="connsiteY3" fmla="*/ 1162050 h 1162050"/>
                <a:gd name="connsiteX4" fmla="*/ 240506 w 240506"/>
                <a:gd name="connsiteY4" fmla="*/ 540544 h 1162050"/>
                <a:gd name="connsiteX0" fmla="*/ 195262 w 195262"/>
                <a:gd name="connsiteY0" fmla="*/ 540544 h 1162050"/>
                <a:gd name="connsiteX1" fmla="*/ 195262 w 195262"/>
                <a:gd name="connsiteY1" fmla="*/ 0 h 1162050"/>
                <a:gd name="connsiteX2" fmla="*/ 0 w 195262"/>
                <a:gd name="connsiteY2" fmla="*/ 197643 h 1162050"/>
                <a:gd name="connsiteX3" fmla="*/ 4762 w 195262"/>
                <a:gd name="connsiteY3" fmla="*/ 1162050 h 1162050"/>
                <a:gd name="connsiteX4" fmla="*/ 195262 w 195262"/>
                <a:gd name="connsiteY4" fmla="*/ 540544 h 1162050"/>
                <a:gd name="connsiteX0" fmla="*/ 209549 w 209549"/>
                <a:gd name="connsiteY0" fmla="*/ 540544 h 1162050"/>
                <a:gd name="connsiteX1" fmla="*/ 209549 w 209549"/>
                <a:gd name="connsiteY1" fmla="*/ 0 h 1162050"/>
                <a:gd name="connsiteX2" fmla="*/ 0 w 209549"/>
                <a:gd name="connsiteY2" fmla="*/ 197643 h 1162050"/>
                <a:gd name="connsiteX3" fmla="*/ 19049 w 209549"/>
                <a:gd name="connsiteY3" fmla="*/ 1162050 h 1162050"/>
                <a:gd name="connsiteX4" fmla="*/ 209549 w 209549"/>
                <a:gd name="connsiteY4" fmla="*/ 540544 h 1162050"/>
                <a:gd name="connsiteX0" fmla="*/ 209549 w 209549"/>
                <a:gd name="connsiteY0" fmla="*/ 540544 h 1419225"/>
                <a:gd name="connsiteX1" fmla="*/ 209549 w 209549"/>
                <a:gd name="connsiteY1" fmla="*/ 0 h 1419225"/>
                <a:gd name="connsiteX2" fmla="*/ 0 w 209549"/>
                <a:gd name="connsiteY2" fmla="*/ 197643 h 1419225"/>
                <a:gd name="connsiteX3" fmla="*/ 14287 w 209549"/>
                <a:gd name="connsiteY3" fmla="*/ 1419225 h 1419225"/>
                <a:gd name="connsiteX4" fmla="*/ 209549 w 209549"/>
                <a:gd name="connsiteY4" fmla="*/ 540544 h 1419225"/>
                <a:gd name="connsiteX0" fmla="*/ 252412 w 252412"/>
                <a:gd name="connsiteY0" fmla="*/ 540544 h 1419225"/>
                <a:gd name="connsiteX1" fmla="*/ 252412 w 252412"/>
                <a:gd name="connsiteY1" fmla="*/ 0 h 1419225"/>
                <a:gd name="connsiteX2" fmla="*/ 0 w 252412"/>
                <a:gd name="connsiteY2" fmla="*/ 683418 h 1419225"/>
                <a:gd name="connsiteX3" fmla="*/ 57150 w 252412"/>
                <a:gd name="connsiteY3" fmla="*/ 1419225 h 1419225"/>
                <a:gd name="connsiteX4" fmla="*/ 252412 w 252412"/>
                <a:gd name="connsiteY4" fmla="*/ 540544 h 1419225"/>
                <a:gd name="connsiteX0" fmla="*/ 252412 w 252412"/>
                <a:gd name="connsiteY0" fmla="*/ 540544 h 1419225"/>
                <a:gd name="connsiteX1" fmla="*/ 252412 w 252412"/>
                <a:gd name="connsiteY1" fmla="*/ 0 h 1419225"/>
                <a:gd name="connsiteX2" fmla="*/ 0 w 252412"/>
                <a:gd name="connsiteY2" fmla="*/ 683418 h 1419225"/>
                <a:gd name="connsiteX3" fmla="*/ 57150 w 252412"/>
                <a:gd name="connsiteY3" fmla="*/ 1419225 h 1419225"/>
                <a:gd name="connsiteX4" fmla="*/ 252412 w 252412"/>
                <a:gd name="connsiteY4" fmla="*/ 540544 h 1419225"/>
                <a:gd name="connsiteX0" fmla="*/ 252412 w 252412"/>
                <a:gd name="connsiteY0" fmla="*/ 540544 h 1419225"/>
                <a:gd name="connsiteX1" fmla="*/ 252412 w 252412"/>
                <a:gd name="connsiteY1" fmla="*/ 0 h 1419225"/>
                <a:gd name="connsiteX2" fmla="*/ 0 w 252412"/>
                <a:gd name="connsiteY2" fmla="*/ 683418 h 1419225"/>
                <a:gd name="connsiteX3" fmla="*/ 57150 w 252412"/>
                <a:gd name="connsiteY3" fmla="*/ 1419225 h 1419225"/>
                <a:gd name="connsiteX4" fmla="*/ 252412 w 252412"/>
                <a:gd name="connsiteY4" fmla="*/ 540544 h 1419225"/>
                <a:gd name="connsiteX0" fmla="*/ 295275 w 295275"/>
                <a:gd name="connsiteY0" fmla="*/ 540544 h 1419225"/>
                <a:gd name="connsiteX1" fmla="*/ 295275 w 295275"/>
                <a:gd name="connsiteY1" fmla="*/ 0 h 1419225"/>
                <a:gd name="connsiteX2" fmla="*/ 0 w 295275"/>
                <a:gd name="connsiteY2" fmla="*/ 431005 h 1419225"/>
                <a:gd name="connsiteX3" fmla="*/ 100013 w 295275"/>
                <a:gd name="connsiteY3" fmla="*/ 1419225 h 1419225"/>
                <a:gd name="connsiteX4" fmla="*/ 295275 w 295275"/>
                <a:gd name="connsiteY4" fmla="*/ 540544 h 1419225"/>
                <a:gd name="connsiteX0" fmla="*/ 295275 w 295275"/>
                <a:gd name="connsiteY0" fmla="*/ 754856 h 1633537"/>
                <a:gd name="connsiteX1" fmla="*/ 290512 w 295275"/>
                <a:gd name="connsiteY1" fmla="*/ 0 h 1633537"/>
                <a:gd name="connsiteX2" fmla="*/ 0 w 295275"/>
                <a:gd name="connsiteY2" fmla="*/ 645317 h 1633537"/>
                <a:gd name="connsiteX3" fmla="*/ 100013 w 295275"/>
                <a:gd name="connsiteY3" fmla="*/ 1633537 h 1633537"/>
                <a:gd name="connsiteX4" fmla="*/ 295275 w 295275"/>
                <a:gd name="connsiteY4" fmla="*/ 754856 h 1633537"/>
                <a:gd name="connsiteX0" fmla="*/ 242887 w 242887"/>
                <a:gd name="connsiteY0" fmla="*/ 754856 h 1633537"/>
                <a:gd name="connsiteX1" fmla="*/ 238124 w 242887"/>
                <a:gd name="connsiteY1" fmla="*/ 0 h 1633537"/>
                <a:gd name="connsiteX2" fmla="*/ 0 w 242887"/>
                <a:gd name="connsiteY2" fmla="*/ 631030 h 1633537"/>
                <a:gd name="connsiteX3" fmla="*/ 47625 w 242887"/>
                <a:gd name="connsiteY3" fmla="*/ 1633537 h 1633537"/>
                <a:gd name="connsiteX4" fmla="*/ 242887 w 242887"/>
                <a:gd name="connsiteY4" fmla="*/ 754856 h 1633537"/>
                <a:gd name="connsiteX0" fmla="*/ 266700 w 266700"/>
                <a:gd name="connsiteY0" fmla="*/ 754856 h 1633537"/>
                <a:gd name="connsiteX1" fmla="*/ 261937 w 266700"/>
                <a:gd name="connsiteY1" fmla="*/ 0 h 1633537"/>
                <a:gd name="connsiteX2" fmla="*/ 0 w 266700"/>
                <a:gd name="connsiteY2" fmla="*/ 635793 h 1633537"/>
                <a:gd name="connsiteX3" fmla="*/ 71438 w 266700"/>
                <a:gd name="connsiteY3" fmla="*/ 1633537 h 1633537"/>
                <a:gd name="connsiteX4" fmla="*/ 266700 w 266700"/>
                <a:gd name="connsiteY4" fmla="*/ 754856 h 1633537"/>
                <a:gd name="connsiteX0" fmla="*/ 266700 w 266700"/>
                <a:gd name="connsiteY0" fmla="*/ 745331 h 1624012"/>
                <a:gd name="connsiteX1" fmla="*/ 238125 w 266700"/>
                <a:gd name="connsiteY1" fmla="*/ 0 h 1624012"/>
                <a:gd name="connsiteX2" fmla="*/ 0 w 266700"/>
                <a:gd name="connsiteY2" fmla="*/ 626268 h 1624012"/>
                <a:gd name="connsiteX3" fmla="*/ 71438 w 266700"/>
                <a:gd name="connsiteY3" fmla="*/ 1624012 h 1624012"/>
                <a:gd name="connsiteX4" fmla="*/ 266700 w 266700"/>
                <a:gd name="connsiteY4" fmla="*/ 745331 h 1624012"/>
                <a:gd name="connsiteX0" fmla="*/ 266700 w 266700"/>
                <a:gd name="connsiteY0" fmla="*/ 735806 h 1614487"/>
                <a:gd name="connsiteX1" fmla="*/ 242887 w 266700"/>
                <a:gd name="connsiteY1" fmla="*/ 0 h 1614487"/>
                <a:gd name="connsiteX2" fmla="*/ 0 w 266700"/>
                <a:gd name="connsiteY2" fmla="*/ 616743 h 1614487"/>
                <a:gd name="connsiteX3" fmla="*/ 71438 w 266700"/>
                <a:gd name="connsiteY3" fmla="*/ 1614487 h 1614487"/>
                <a:gd name="connsiteX4" fmla="*/ 266700 w 266700"/>
                <a:gd name="connsiteY4" fmla="*/ 735806 h 1614487"/>
                <a:gd name="connsiteX0" fmla="*/ 266700 w 266700"/>
                <a:gd name="connsiteY0" fmla="*/ 726281 h 1604962"/>
                <a:gd name="connsiteX1" fmla="*/ 257175 w 266700"/>
                <a:gd name="connsiteY1" fmla="*/ 0 h 1604962"/>
                <a:gd name="connsiteX2" fmla="*/ 0 w 266700"/>
                <a:gd name="connsiteY2" fmla="*/ 607218 h 1604962"/>
                <a:gd name="connsiteX3" fmla="*/ 71438 w 266700"/>
                <a:gd name="connsiteY3" fmla="*/ 1604962 h 1604962"/>
                <a:gd name="connsiteX4" fmla="*/ 266700 w 266700"/>
                <a:gd name="connsiteY4" fmla="*/ 726281 h 1604962"/>
                <a:gd name="connsiteX0" fmla="*/ 266700 w 266700"/>
                <a:gd name="connsiteY0" fmla="*/ 726281 h 1573212"/>
                <a:gd name="connsiteX1" fmla="*/ 257175 w 266700"/>
                <a:gd name="connsiteY1" fmla="*/ 0 h 1573212"/>
                <a:gd name="connsiteX2" fmla="*/ 0 w 266700"/>
                <a:gd name="connsiteY2" fmla="*/ 607218 h 1573212"/>
                <a:gd name="connsiteX3" fmla="*/ 61913 w 266700"/>
                <a:gd name="connsiteY3" fmla="*/ 1573212 h 1573212"/>
                <a:gd name="connsiteX4" fmla="*/ 266700 w 266700"/>
                <a:gd name="connsiteY4" fmla="*/ 726281 h 1573212"/>
                <a:gd name="connsiteX0" fmla="*/ 266700 w 266700"/>
                <a:gd name="connsiteY0" fmla="*/ 726281 h 1554162"/>
                <a:gd name="connsiteX1" fmla="*/ 257175 w 266700"/>
                <a:gd name="connsiteY1" fmla="*/ 0 h 1554162"/>
                <a:gd name="connsiteX2" fmla="*/ 0 w 266700"/>
                <a:gd name="connsiteY2" fmla="*/ 607218 h 1554162"/>
                <a:gd name="connsiteX3" fmla="*/ 49213 w 266700"/>
                <a:gd name="connsiteY3" fmla="*/ 1554162 h 1554162"/>
                <a:gd name="connsiteX4" fmla="*/ 266700 w 266700"/>
                <a:gd name="connsiteY4" fmla="*/ 726281 h 1554162"/>
                <a:gd name="connsiteX0" fmla="*/ 266700 w 266700"/>
                <a:gd name="connsiteY0" fmla="*/ 726281 h 1554162"/>
                <a:gd name="connsiteX1" fmla="*/ 257175 w 266700"/>
                <a:gd name="connsiteY1" fmla="*/ 0 h 1554162"/>
                <a:gd name="connsiteX2" fmla="*/ 0 w 266700"/>
                <a:gd name="connsiteY2" fmla="*/ 607218 h 1554162"/>
                <a:gd name="connsiteX3" fmla="*/ 52388 w 266700"/>
                <a:gd name="connsiteY3" fmla="*/ 1554162 h 1554162"/>
                <a:gd name="connsiteX4" fmla="*/ 266700 w 266700"/>
                <a:gd name="connsiteY4" fmla="*/ 726281 h 1554162"/>
                <a:gd name="connsiteX0" fmla="*/ 266700 w 266700"/>
                <a:gd name="connsiteY0" fmla="*/ 726281 h 1550987"/>
                <a:gd name="connsiteX1" fmla="*/ 257175 w 266700"/>
                <a:gd name="connsiteY1" fmla="*/ 0 h 1550987"/>
                <a:gd name="connsiteX2" fmla="*/ 0 w 266700"/>
                <a:gd name="connsiteY2" fmla="*/ 607218 h 1550987"/>
                <a:gd name="connsiteX3" fmla="*/ 4286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365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492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492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1746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20638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20638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23813 w 266700"/>
                <a:gd name="connsiteY3" fmla="*/ 1550987 h 1550987"/>
                <a:gd name="connsiteX4" fmla="*/ 266700 w 266700"/>
                <a:gd name="connsiteY4" fmla="*/ 726281 h 1550987"/>
                <a:gd name="connsiteX0" fmla="*/ 266700 w 266700"/>
                <a:gd name="connsiteY0" fmla="*/ 726281 h 1547812"/>
                <a:gd name="connsiteX1" fmla="*/ 257175 w 266700"/>
                <a:gd name="connsiteY1" fmla="*/ 0 h 1547812"/>
                <a:gd name="connsiteX2" fmla="*/ 0 w 266700"/>
                <a:gd name="connsiteY2" fmla="*/ 607218 h 1547812"/>
                <a:gd name="connsiteX3" fmla="*/ 17463 w 266700"/>
                <a:gd name="connsiteY3" fmla="*/ 1547812 h 1547812"/>
                <a:gd name="connsiteX4" fmla="*/ 266700 w 266700"/>
                <a:gd name="connsiteY4" fmla="*/ 726281 h 1547812"/>
                <a:gd name="connsiteX0" fmla="*/ 266700 w 266700"/>
                <a:gd name="connsiteY0" fmla="*/ 726281 h 1547812"/>
                <a:gd name="connsiteX1" fmla="*/ 257175 w 266700"/>
                <a:gd name="connsiteY1" fmla="*/ 0 h 1547812"/>
                <a:gd name="connsiteX2" fmla="*/ 0 w 266700"/>
                <a:gd name="connsiteY2" fmla="*/ 607218 h 1547812"/>
                <a:gd name="connsiteX3" fmla="*/ 7938 w 266700"/>
                <a:gd name="connsiteY3" fmla="*/ 1547812 h 1547812"/>
                <a:gd name="connsiteX4" fmla="*/ 266700 w 266700"/>
                <a:gd name="connsiteY4" fmla="*/ 726281 h 1547812"/>
                <a:gd name="connsiteX0" fmla="*/ 266700 w 266700"/>
                <a:gd name="connsiteY0" fmla="*/ 726281 h 1547812"/>
                <a:gd name="connsiteX1" fmla="*/ 257175 w 266700"/>
                <a:gd name="connsiteY1" fmla="*/ 0 h 1547812"/>
                <a:gd name="connsiteX2" fmla="*/ 0 w 266700"/>
                <a:gd name="connsiteY2" fmla="*/ 607218 h 1547812"/>
                <a:gd name="connsiteX3" fmla="*/ 17463 w 266700"/>
                <a:gd name="connsiteY3" fmla="*/ 1547812 h 1547812"/>
                <a:gd name="connsiteX4" fmla="*/ 266700 w 266700"/>
                <a:gd name="connsiteY4" fmla="*/ 726281 h 1547812"/>
                <a:gd name="connsiteX0" fmla="*/ 266700 w 266700"/>
                <a:gd name="connsiteY0" fmla="*/ 726281 h 1550987"/>
                <a:gd name="connsiteX1" fmla="*/ 257175 w 266700"/>
                <a:gd name="connsiteY1" fmla="*/ 0 h 1550987"/>
                <a:gd name="connsiteX2" fmla="*/ 0 w 266700"/>
                <a:gd name="connsiteY2" fmla="*/ 607218 h 1550987"/>
                <a:gd name="connsiteX3" fmla="*/ 23813 w 266700"/>
                <a:gd name="connsiteY3" fmla="*/ 1550987 h 1550987"/>
                <a:gd name="connsiteX4" fmla="*/ 266700 w 266700"/>
                <a:gd name="connsiteY4" fmla="*/ 726281 h 1550987"/>
                <a:gd name="connsiteX0" fmla="*/ 266700 w 266700"/>
                <a:gd name="connsiteY0" fmla="*/ 726281 h 1550987"/>
                <a:gd name="connsiteX1" fmla="*/ 257175 w 266700"/>
                <a:gd name="connsiteY1" fmla="*/ 0 h 1550987"/>
                <a:gd name="connsiteX2" fmla="*/ 0 w 266700"/>
                <a:gd name="connsiteY2" fmla="*/ 607218 h 1550987"/>
                <a:gd name="connsiteX3" fmla="*/ 14288 w 266700"/>
                <a:gd name="connsiteY3" fmla="*/ 1550987 h 1550987"/>
                <a:gd name="connsiteX4" fmla="*/ 266700 w 266700"/>
                <a:gd name="connsiteY4" fmla="*/ 726281 h 1550987"/>
                <a:gd name="connsiteX0" fmla="*/ 266700 w 266700"/>
                <a:gd name="connsiteY0" fmla="*/ 726281 h 1547812"/>
                <a:gd name="connsiteX1" fmla="*/ 257175 w 266700"/>
                <a:gd name="connsiteY1" fmla="*/ 0 h 1547812"/>
                <a:gd name="connsiteX2" fmla="*/ 0 w 266700"/>
                <a:gd name="connsiteY2" fmla="*/ 607218 h 1547812"/>
                <a:gd name="connsiteX3" fmla="*/ 4763 w 266700"/>
                <a:gd name="connsiteY3" fmla="*/ 1547812 h 1547812"/>
                <a:gd name="connsiteX4" fmla="*/ 266700 w 266700"/>
                <a:gd name="connsiteY4" fmla="*/ 726281 h 1547812"/>
                <a:gd name="connsiteX0" fmla="*/ 266700 w 266700"/>
                <a:gd name="connsiteY0" fmla="*/ 726281 h 1547812"/>
                <a:gd name="connsiteX1" fmla="*/ 257175 w 266700"/>
                <a:gd name="connsiteY1" fmla="*/ 0 h 1547812"/>
                <a:gd name="connsiteX2" fmla="*/ 0 w 266700"/>
                <a:gd name="connsiteY2" fmla="*/ 607218 h 1547812"/>
                <a:gd name="connsiteX3" fmla="*/ 4763 w 266700"/>
                <a:gd name="connsiteY3" fmla="*/ 1547812 h 1547812"/>
                <a:gd name="connsiteX4" fmla="*/ 266700 w 266700"/>
                <a:gd name="connsiteY4" fmla="*/ 726281 h 1547812"/>
                <a:gd name="connsiteX0" fmla="*/ 266700 w 266700"/>
                <a:gd name="connsiteY0" fmla="*/ 742156 h 1563687"/>
                <a:gd name="connsiteX1" fmla="*/ 263525 w 266700"/>
                <a:gd name="connsiteY1" fmla="*/ 0 h 1563687"/>
                <a:gd name="connsiteX2" fmla="*/ 0 w 266700"/>
                <a:gd name="connsiteY2" fmla="*/ 623093 h 1563687"/>
                <a:gd name="connsiteX3" fmla="*/ 4763 w 266700"/>
                <a:gd name="connsiteY3" fmla="*/ 1563687 h 1563687"/>
                <a:gd name="connsiteX4" fmla="*/ 266700 w 266700"/>
                <a:gd name="connsiteY4" fmla="*/ 742156 h 1563687"/>
                <a:gd name="connsiteX0" fmla="*/ 266700 w 266700"/>
                <a:gd name="connsiteY0" fmla="*/ 742156 h 1563687"/>
                <a:gd name="connsiteX1" fmla="*/ 263525 w 266700"/>
                <a:gd name="connsiteY1" fmla="*/ 0 h 1563687"/>
                <a:gd name="connsiteX2" fmla="*/ 0 w 266700"/>
                <a:gd name="connsiteY2" fmla="*/ 623093 h 1563687"/>
                <a:gd name="connsiteX3" fmla="*/ 1588 w 266700"/>
                <a:gd name="connsiteY3" fmla="*/ 1563687 h 1563687"/>
                <a:gd name="connsiteX4" fmla="*/ 266700 w 266700"/>
                <a:gd name="connsiteY4" fmla="*/ 742156 h 1563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563687">
                  <a:moveTo>
                    <a:pt x="266700" y="742156"/>
                  </a:moveTo>
                  <a:cubicBezTo>
                    <a:pt x="265112" y="490537"/>
                    <a:pt x="265113" y="251619"/>
                    <a:pt x="263525" y="0"/>
                  </a:cubicBezTo>
                  <a:lnTo>
                    <a:pt x="0" y="623093"/>
                  </a:lnTo>
                  <a:cubicBezTo>
                    <a:pt x="1588" y="936624"/>
                    <a:pt x="0" y="1250156"/>
                    <a:pt x="1588" y="1563687"/>
                  </a:cubicBezTo>
                  <a:lnTo>
                    <a:pt x="266700" y="742156"/>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15" name="Rectangle 1780">
              <a:extLst>
                <a:ext uri="{FF2B5EF4-FFF2-40B4-BE49-F238E27FC236}">
                  <a16:creationId xmlns:a16="http://schemas.microsoft.com/office/drawing/2014/main" id="{31F82485-D5B7-4F42-8EA9-88C9B1686860}"/>
                </a:ext>
              </a:extLst>
            </p:cNvPr>
            <p:cNvSpPr/>
            <p:nvPr/>
          </p:nvSpPr>
          <p:spPr bwMode="auto">
            <a:xfrm>
              <a:off x="23235241" y="2007667"/>
              <a:ext cx="1743117" cy="316556"/>
            </a:xfrm>
            <a:custGeom>
              <a:avLst/>
              <a:gdLst>
                <a:gd name="connsiteX0" fmla="*/ 0 w 1533094"/>
                <a:gd name="connsiteY0" fmla="*/ 0 h 561425"/>
                <a:gd name="connsiteX1" fmla="*/ 1533094 w 1533094"/>
                <a:gd name="connsiteY1" fmla="*/ 0 h 561425"/>
                <a:gd name="connsiteX2" fmla="*/ 1533094 w 1533094"/>
                <a:gd name="connsiteY2" fmla="*/ 561425 h 561425"/>
                <a:gd name="connsiteX3" fmla="*/ 0 w 1533094"/>
                <a:gd name="connsiteY3" fmla="*/ 561425 h 561425"/>
                <a:gd name="connsiteX4" fmla="*/ 0 w 1533094"/>
                <a:gd name="connsiteY4" fmla="*/ 0 h 561425"/>
                <a:gd name="connsiteX0" fmla="*/ 304800 w 1533094"/>
                <a:gd name="connsiteY0" fmla="*/ 0 h 561425"/>
                <a:gd name="connsiteX1" fmla="*/ 1533094 w 1533094"/>
                <a:gd name="connsiteY1" fmla="*/ 0 h 561425"/>
                <a:gd name="connsiteX2" fmla="*/ 1533094 w 1533094"/>
                <a:gd name="connsiteY2" fmla="*/ 561425 h 561425"/>
                <a:gd name="connsiteX3" fmla="*/ 0 w 1533094"/>
                <a:gd name="connsiteY3" fmla="*/ 561425 h 561425"/>
                <a:gd name="connsiteX4" fmla="*/ 304800 w 1533094"/>
                <a:gd name="connsiteY4" fmla="*/ 0 h 561425"/>
                <a:gd name="connsiteX0" fmla="*/ 304800 w 1533094"/>
                <a:gd name="connsiteY0" fmla="*/ 0 h 561425"/>
                <a:gd name="connsiteX1" fmla="*/ 1399744 w 1533094"/>
                <a:gd name="connsiteY1" fmla="*/ 9525 h 561425"/>
                <a:gd name="connsiteX2" fmla="*/ 1533094 w 1533094"/>
                <a:gd name="connsiteY2" fmla="*/ 561425 h 561425"/>
                <a:gd name="connsiteX3" fmla="*/ 0 w 1533094"/>
                <a:gd name="connsiteY3" fmla="*/ 561425 h 561425"/>
                <a:gd name="connsiteX4" fmla="*/ 304800 w 1533094"/>
                <a:gd name="connsiteY4" fmla="*/ 0 h 561425"/>
                <a:gd name="connsiteX0" fmla="*/ 304800 w 1533094"/>
                <a:gd name="connsiteY0" fmla="*/ 12437 h 573862"/>
                <a:gd name="connsiteX1" fmla="*/ 1399744 w 1533094"/>
                <a:gd name="connsiteY1" fmla="*/ 0 h 573862"/>
                <a:gd name="connsiteX2" fmla="*/ 1533094 w 1533094"/>
                <a:gd name="connsiteY2" fmla="*/ 573862 h 573862"/>
                <a:gd name="connsiteX3" fmla="*/ 0 w 1533094"/>
                <a:gd name="connsiteY3" fmla="*/ 573862 h 573862"/>
                <a:gd name="connsiteX4" fmla="*/ 304800 w 1533094"/>
                <a:gd name="connsiteY4" fmla="*/ 12437 h 573862"/>
                <a:gd name="connsiteX0" fmla="*/ 234033 w 1533094"/>
                <a:gd name="connsiteY0" fmla="*/ 69436 h 573862"/>
                <a:gd name="connsiteX1" fmla="*/ 1399744 w 1533094"/>
                <a:gd name="connsiteY1" fmla="*/ 0 h 573862"/>
                <a:gd name="connsiteX2" fmla="*/ 1533094 w 1533094"/>
                <a:gd name="connsiteY2" fmla="*/ 573862 h 573862"/>
                <a:gd name="connsiteX3" fmla="*/ 0 w 1533094"/>
                <a:gd name="connsiteY3" fmla="*/ 573862 h 573862"/>
                <a:gd name="connsiteX4" fmla="*/ 234033 w 1533094"/>
                <a:gd name="connsiteY4" fmla="*/ 69436 h 573862"/>
                <a:gd name="connsiteX0" fmla="*/ 234033 w 1533094"/>
                <a:gd name="connsiteY0" fmla="*/ 0 h 504426"/>
                <a:gd name="connsiteX1" fmla="*/ 1410631 w 1533094"/>
                <a:gd name="connsiteY1" fmla="*/ 5101 h 504426"/>
                <a:gd name="connsiteX2" fmla="*/ 1533094 w 1533094"/>
                <a:gd name="connsiteY2" fmla="*/ 504426 h 504426"/>
                <a:gd name="connsiteX3" fmla="*/ 0 w 1533094"/>
                <a:gd name="connsiteY3" fmla="*/ 504426 h 504426"/>
                <a:gd name="connsiteX4" fmla="*/ 234033 w 1533094"/>
                <a:gd name="connsiteY4" fmla="*/ 0 h 504426"/>
                <a:gd name="connsiteX0" fmla="*/ 195248 w 1494309"/>
                <a:gd name="connsiteY0" fmla="*/ 0 h 508220"/>
                <a:gd name="connsiteX1" fmla="*/ 1371846 w 1494309"/>
                <a:gd name="connsiteY1" fmla="*/ 5101 h 508220"/>
                <a:gd name="connsiteX2" fmla="*/ 1494309 w 1494309"/>
                <a:gd name="connsiteY2" fmla="*/ 504426 h 508220"/>
                <a:gd name="connsiteX3" fmla="*/ 0 w 1494309"/>
                <a:gd name="connsiteY3" fmla="*/ 508220 h 508220"/>
                <a:gd name="connsiteX4" fmla="*/ 195248 w 1494309"/>
                <a:gd name="connsiteY4" fmla="*/ 0 h 508220"/>
                <a:gd name="connsiteX0" fmla="*/ 195248 w 1494309"/>
                <a:gd name="connsiteY0" fmla="*/ 0 h 504426"/>
                <a:gd name="connsiteX1" fmla="*/ 1371846 w 1494309"/>
                <a:gd name="connsiteY1" fmla="*/ 5101 h 504426"/>
                <a:gd name="connsiteX2" fmla="*/ 1494309 w 1494309"/>
                <a:gd name="connsiteY2" fmla="*/ 504426 h 504426"/>
                <a:gd name="connsiteX3" fmla="*/ 0 w 1494309"/>
                <a:gd name="connsiteY3" fmla="*/ 504426 h 504426"/>
                <a:gd name="connsiteX4" fmla="*/ 195248 w 1494309"/>
                <a:gd name="connsiteY4" fmla="*/ 0 h 504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309" h="504426">
                  <a:moveTo>
                    <a:pt x="195248" y="0"/>
                  </a:moveTo>
                  <a:lnTo>
                    <a:pt x="1371846" y="5101"/>
                  </a:lnTo>
                  <a:lnTo>
                    <a:pt x="1494309" y="504426"/>
                  </a:lnTo>
                  <a:lnTo>
                    <a:pt x="0" y="504426"/>
                  </a:lnTo>
                  <a:lnTo>
                    <a:pt x="195248" y="0"/>
                  </a:lnTo>
                  <a:close/>
                </a:path>
              </a:pathLst>
            </a:custGeom>
            <a:solidFill>
              <a:schemeClr val="bg1">
                <a:lumMod val="50000"/>
              </a:schemeClr>
            </a:solidFill>
            <a:ln>
              <a:noFill/>
            </a:ln>
          </p:spPr>
          <p:txBody>
            <a:bodyPr vert="horz" wrap="square" lIns="119476" tIns="59738" rIns="119476" bIns="59738" numCol="1" anchor="t" anchorCtr="0" compatLnSpc="1">
              <a:prstTxWarp prst="textNoShape">
                <a:avLst/>
              </a:prstTxWarp>
            </a:bodyPr>
            <a:lstStyle/>
            <a:p>
              <a:pPr defTabSz="1194653">
                <a:defRPr/>
              </a:pPr>
              <a:endParaRPr lang="en-US" sz="2352" kern="0" dirty="0">
                <a:solidFill>
                  <a:srgbClr val="505050"/>
                </a:solidFill>
                <a:latin typeface="Arial"/>
              </a:endParaRPr>
            </a:p>
          </p:txBody>
        </p:sp>
        <p:sp>
          <p:nvSpPr>
            <p:cNvPr id="3616" name="Rectangle 3615">
              <a:extLst>
                <a:ext uri="{FF2B5EF4-FFF2-40B4-BE49-F238E27FC236}">
                  <a16:creationId xmlns:a16="http://schemas.microsoft.com/office/drawing/2014/main" id="{46FB3995-951C-497A-9305-2504CCE7A44E}"/>
                </a:ext>
              </a:extLst>
            </p:cNvPr>
            <p:cNvSpPr/>
            <p:nvPr/>
          </p:nvSpPr>
          <p:spPr bwMode="auto">
            <a:xfrm>
              <a:off x="23364825" y="628650"/>
              <a:ext cx="1457325" cy="137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617" name="Group 3616">
              <a:extLst>
                <a:ext uri="{FF2B5EF4-FFF2-40B4-BE49-F238E27FC236}">
                  <a16:creationId xmlns:a16="http://schemas.microsoft.com/office/drawing/2014/main" id="{4C4EA595-24D0-4B69-8A96-4B618CE86B0D}"/>
                </a:ext>
              </a:extLst>
            </p:cNvPr>
            <p:cNvGrpSpPr/>
            <p:nvPr/>
          </p:nvGrpSpPr>
          <p:grpSpPr>
            <a:xfrm>
              <a:off x="23552087" y="969808"/>
              <a:ext cx="1081930" cy="895725"/>
              <a:chOff x="7333166" y="1813561"/>
              <a:chExt cx="1061534" cy="878839"/>
            </a:xfrm>
          </p:grpSpPr>
          <p:sp>
            <p:nvSpPr>
              <p:cNvPr id="3622" name="Rectangle: Rounded Corners 2155">
                <a:extLst>
                  <a:ext uri="{FF2B5EF4-FFF2-40B4-BE49-F238E27FC236}">
                    <a16:creationId xmlns:a16="http://schemas.microsoft.com/office/drawing/2014/main" id="{82C6BFFE-FCA9-4085-9F97-50FD9FE2C261}"/>
                  </a:ext>
                </a:extLst>
              </p:cNvPr>
              <p:cNvSpPr/>
              <p:nvPr/>
            </p:nvSpPr>
            <p:spPr bwMode="auto">
              <a:xfrm>
                <a:off x="7333166" y="1813561"/>
                <a:ext cx="1061534" cy="878839"/>
              </a:xfrm>
              <a:prstGeom prst="roundRect">
                <a:avLst>
                  <a:gd name="adj" fmla="val 4384"/>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23" name="Rectangle: Rounded Corners 2156">
                <a:extLst>
                  <a:ext uri="{FF2B5EF4-FFF2-40B4-BE49-F238E27FC236}">
                    <a16:creationId xmlns:a16="http://schemas.microsoft.com/office/drawing/2014/main" id="{F345BD37-4FBA-40E8-9DC3-9DDDF8AD3C4A}"/>
                  </a:ext>
                </a:extLst>
              </p:cNvPr>
              <p:cNvSpPr/>
              <p:nvPr/>
            </p:nvSpPr>
            <p:spPr bwMode="auto">
              <a:xfrm>
                <a:off x="7378158" y="1860551"/>
                <a:ext cx="971550" cy="723900"/>
              </a:xfrm>
              <a:prstGeom prst="roundRect">
                <a:avLst>
                  <a:gd name="adj" fmla="val 438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618" name="Trapezoid 3617">
              <a:extLst>
                <a:ext uri="{FF2B5EF4-FFF2-40B4-BE49-F238E27FC236}">
                  <a16:creationId xmlns:a16="http://schemas.microsoft.com/office/drawing/2014/main" id="{55123108-BD3F-47D6-914C-DCBD45E03C78}"/>
                </a:ext>
              </a:extLst>
            </p:cNvPr>
            <p:cNvSpPr/>
            <p:nvPr/>
          </p:nvSpPr>
          <p:spPr bwMode="auto">
            <a:xfrm>
              <a:off x="23419228" y="2078854"/>
              <a:ext cx="1396210" cy="163922"/>
            </a:xfrm>
            <a:prstGeom prst="trapezoid">
              <a:avLst>
                <a:gd name="adj" fmla="val 55009"/>
              </a:avLst>
            </a:prstGeom>
            <a:solidFill>
              <a:srgbClr val="D9D9D9"/>
            </a:solidFill>
            <a:ln>
              <a:noFill/>
              <a:headEnd type="none" w="med" len="med"/>
              <a:tailEnd type="none" w="med" len="med"/>
            </a:ln>
            <a:effectLst/>
            <a:scene3d>
              <a:camera prst="perspective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19" name="Freeform: Shape 2152">
              <a:extLst>
                <a:ext uri="{FF2B5EF4-FFF2-40B4-BE49-F238E27FC236}">
                  <a16:creationId xmlns:a16="http://schemas.microsoft.com/office/drawing/2014/main" id="{B774E5AE-C34A-4718-85A8-3535B5B11053}"/>
                </a:ext>
              </a:extLst>
            </p:cNvPr>
            <p:cNvSpPr/>
            <p:nvPr/>
          </p:nvSpPr>
          <p:spPr bwMode="auto">
            <a:xfrm>
              <a:off x="23084356" y="516252"/>
              <a:ext cx="381162" cy="1809063"/>
            </a:xfrm>
            <a:custGeom>
              <a:avLst/>
              <a:gdLst>
                <a:gd name="connsiteX0" fmla="*/ 0 w 275670"/>
                <a:gd name="connsiteY0" fmla="*/ 0 h 1856688"/>
                <a:gd name="connsiteX1" fmla="*/ 275212 w 275670"/>
                <a:gd name="connsiteY1" fmla="*/ 108387 h 1856688"/>
                <a:gd name="connsiteX2" fmla="*/ 275212 w 275670"/>
                <a:gd name="connsiteY2" fmla="*/ 729324 h 1856688"/>
                <a:gd name="connsiteX3" fmla="*/ 275212 w 275670"/>
                <a:gd name="connsiteY3" fmla="*/ 1490573 h 1856688"/>
                <a:gd name="connsiteX4" fmla="*/ 0 w 275670"/>
                <a:gd name="connsiteY4" fmla="*/ 1856688 h 1856688"/>
                <a:gd name="connsiteX0" fmla="*/ 71120 w 346790"/>
                <a:gd name="connsiteY0" fmla="*/ 0 h 1856688"/>
                <a:gd name="connsiteX1" fmla="*/ 346332 w 346790"/>
                <a:gd name="connsiteY1" fmla="*/ 108387 h 1856688"/>
                <a:gd name="connsiteX2" fmla="*/ 346332 w 346790"/>
                <a:gd name="connsiteY2" fmla="*/ 729324 h 1856688"/>
                <a:gd name="connsiteX3" fmla="*/ 346332 w 346790"/>
                <a:gd name="connsiteY3" fmla="*/ 1490573 h 1856688"/>
                <a:gd name="connsiteX4" fmla="*/ 71120 w 346790"/>
                <a:gd name="connsiteY4" fmla="*/ 1856688 h 1856688"/>
                <a:gd name="connsiteX5" fmla="*/ 71120 w 346790"/>
                <a:gd name="connsiteY5" fmla="*/ 0 h 1856688"/>
                <a:gd name="connsiteX0" fmla="*/ 114835 w 390505"/>
                <a:gd name="connsiteY0" fmla="*/ 0 h 1856688"/>
                <a:gd name="connsiteX1" fmla="*/ 390047 w 390505"/>
                <a:gd name="connsiteY1" fmla="*/ 108387 h 1856688"/>
                <a:gd name="connsiteX2" fmla="*/ 390047 w 390505"/>
                <a:gd name="connsiteY2" fmla="*/ 729324 h 1856688"/>
                <a:gd name="connsiteX3" fmla="*/ 390047 w 390505"/>
                <a:gd name="connsiteY3" fmla="*/ 1490573 h 1856688"/>
                <a:gd name="connsiteX4" fmla="*/ 114835 w 390505"/>
                <a:gd name="connsiteY4" fmla="*/ 1856688 h 1856688"/>
                <a:gd name="connsiteX5" fmla="*/ 114835 w 390505"/>
                <a:gd name="connsiteY5" fmla="*/ 0 h 1856688"/>
                <a:gd name="connsiteX0" fmla="*/ 114835 w 390047"/>
                <a:gd name="connsiteY0" fmla="*/ 0 h 1856688"/>
                <a:gd name="connsiteX1" fmla="*/ 390047 w 390047"/>
                <a:gd name="connsiteY1" fmla="*/ 108387 h 1856688"/>
                <a:gd name="connsiteX2" fmla="*/ 390047 w 390047"/>
                <a:gd name="connsiteY2" fmla="*/ 729324 h 1856688"/>
                <a:gd name="connsiteX3" fmla="*/ 390047 w 390047"/>
                <a:gd name="connsiteY3" fmla="*/ 1490573 h 1856688"/>
                <a:gd name="connsiteX4" fmla="*/ 114835 w 390047"/>
                <a:gd name="connsiteY4" fmla="*/ 1856688 h 1856688"/>
                <a:gd name="connsiteX5" fmla="*/ 114835 w 390047"/>
                <a:gd name="connsiteY5" fmla="*/ 0 h 1856688"/>
                <a:gd name="connsiteX0" fmla="*/ 114835 w 390047"/>
                <a:gd name="connsiteY0" fmla="*/ 0 h 1856688"/>
                <a:gd name="connsiteX1" fmla="*/ 390047 w 390047"/>
                <a:gd name="connsiteY1" fmla="*/ 108387 h 1856688"/>
                <a:gd name="connsiteX2" fmla="*/ 390047 w 390047"/>
                <a:gd name="connsiteY2" fmla="*/ 1490573 h 1856688"/>
                <a:gd name="connsiteX3" fmla="*/ 114835 w 390047"/>
                <a:gd name="connsiteY3" fmla="*/ 1856688 h 1856688"/>
                <a:gd name="connsiteX4" fmla="*/ 114835 w 390047"/>
                <a:gd name="connsiteY4" fmla="*/ 0 h 1856688"/>
                <a:gd name="connsiteX0" fmla="*/ 114835 w 390047"/>
                <a:gd name="connsiteY0" fmla="*/ 0 h 1856688"/>
                <a:gd name="connsiteX1" fmla="*/ 390047 w 390047"/>
                <a:gd name="connsiteY1" fmla="*/ 108387 h 1856688"/>
                <a:gd name="connsiteX2" fmla="*/ 390047 w 390047"/>
                <a:gd name="connsiteY2" fmla="*/ 1490573 h 1856688"/>
                <a:gd name="connsiteX3" fmla="*/ 114835 w 390047"/>
                <a:gd name="connsiteY3" fmla="*/ 1856688 h 1856688"/>
                <a:gd name="connsiteX4" fmla="*/ 114835 w 390047"/>
                <a:gd name="connsiteY4" fmla="*/ 0 h 1856688"/>
                <a:gd name="connsiteX0" fmla="*/ 114835 w 390047"/>
                <a:gd name="connsiteY0" fmla="*/ 0 h 1856688"/>
                <a:gd name="connsiteX1" fmla="*/ 390047 w 390047"/>
                <a:gd name="connsiteY1" fmla="*/ 108387 h 1856688"/>
                <a:gd name="connsiteX2" fmla="*/ 390047 w 390047"/>
                <a:gd name="connsiteY2" fmla="*/ 1490573 h 1856688"/>
                <a:gd name="connsiteX3" fmla="*/ 114835 w 390047"/>
                <a:gd name="connsiteY3" fmla="*/ 1856688 h 1856688"/>
                <a:gd name="connsiteX4" fmla="*/ 114835 w 390047"/>
                <a:gd name="connsiteY4" fmla="*/ 0 h 1856688"/>
                <a:gd name="connsiteX0" fmla="*/ 114835 w 390047"/>
                <a:gd name="connsiteY0" fmla="*/ 0 h 1856688"/>
                <a:gd name="connsiteX1" fmla="*/ 390047 w 390047"/>
                <a:gd name="connsiteY1" fmla="*/ 108387 h 1856688"/>
                <a:gd name="connsiteX2" fmla="*/ 390047 w 390047"/>
                <a:gd name="connsiteY2" fmla="*/ 1490573 h 1856688"/>
                <a:gd name="connsiteX3" fmla="*/ 114835 w 390047"/>
                <a:gd name="connsiteY3" fmla="*/ 1856688 h 1856688"/>
                <a:gd name="connsiteX4" fmla="*/ 114835 w 390047"/>
                <a:gd name="connsiteY4" fmla="*/ 0 h 1856688"/>
                <a:gd name="connsiteX0" fmla="*/ 114835 w 390047"/>
                <a:gd name="connsiteY0" fmla="*/ 0 h 1856688"/>
                <a:gd name="connsiteX1" fmla="*/ 390047 w 390047"/>
                <a:gd name="connsiteY1" fmla="*/ 108387 h 1856688"/>
                <a:gd name="connsiteX2" fmla="*/ 390047 w 390047"/>
                <a:gd name="connsiteY2" fmla="*/ 1490573 h 1856688"/>
                <a:gd name="connsiteX3" fmla="*/ 114835 w 390047"/>
                <a:gd name="connsiteY3" fmla="*/ 1856688 h 1856688"/>
                <a:gd name="connsiteX4" fmla="*/ 114835 w 390047"/>
                <a:gd name="connsiteY4" fmla="*/ 0 h 1856688"/>
                <a:gd name="connsiteX0" fmla="*/ 114835 w 390047"/>
                <a:gd name="connsiteY0" fmla="*/ 0 h 1856688"/>
                <a:gd name="connsiteX1" fmla="*/ 390047 w 390047"/>
                <a:gd name="connsiteY1" fmla="*/ 108387 h 1856688"/>
                <a:gd name="connsiteX2" fmla="*/ 390047 w 390047"/>
                <a:gd name="connsiteY2" fmla="*/ 1490573 h 1856688"/>
                <a:gd name="connsiteX3" fmla="*/ 114835 w 390047"/>
                <a:gd name="connsiteY3" fmla="*/ 1856688 h 1856688"/>
                <a:gd name="connsiteX4" fmla="*/ 114835 w 390047"/>
                <a:gd name="connsiteY4" fmla="*/ 0 h 1856688"/>
                <a:gd name="connsiteX0" fmla="*/ 94914 w 370126"/>
                <a:gd name="connsiteY0" fmla="*/ 0 h 1809063"/>
                <a:gd name="connsiteX1" fmla="*/ 370126 w 370126"/>
                <a:gd name="connsiteY1" fmla="*/ 108387 h 1809063"/>
                <a:gd name="connsiteX2" fmla="*/ 370126 w 370126"/>
                <a:gd name="connsiteY2" fmla="*/ 1490573 h 1809063"/>
                <a:gd name="connsiteX3" fmla="*/ 137777 w 370126"/>
                <a:gd name="connsiteY3" fmla="*/ 1809063 h 1809063"/>
                <a:gd name="connsiteX4" fmla="*/ 94914 w 370126"/>
                <a:gd name="connsiteY4" fmla="*/ 0 h 1809063"/>
                <a:gd name="connsiteX0" fmla="*/ 104584 w 379796"/>
                <a:gd name="connsiteY0" fmla="*/ 0 h 1809063"/>
                <a:gd name="connsiteX1" fmla="*/ 379796 w 379796"/>
                <a:gd name="connsiteY1" fmla="*/ 108387 h 1809063"/>
                <a:gd name="connsiteX2" fmla="*/ 379796 w 379796"/>
                <a:gd name="connsiteY2" fmla="*/ 1490573 h 1809063"/>
                <a:gd name="connsiteX3" fmla="*/ 147447 w 379796"/>
                <a:gd name="connsiteY3" fmla="*/ 1809063 h 1809063"/>
                <a:gd name="connsiteX4" fmla="*/ 104584 w 379796"/>
                <a:gd name="connsiteY4" fmla="*/ 0 h 1809063"/>
                <a:gd name="connsiteX0" fmla="*/ 95245 w 370457"/>
                <a:gd name="connsiteY0" fmla="*/ 0 h 1809063"/>
                <a:gd name="connsiteX1" fmla="*/ 370457 w 370457"/>
                <a:gd name="connsiteY1" fmla="*/ 108387 h 1809063"/>
                <a:gd name="connsiteX2" fmla="*/ 370457 w 370457"/>
                <a:gd name="connsiteY2" fmla="*/ 1490573 h 1809063"/>
                <a:gd name="connsiteX3" fmla="*/ 138108 w 370457"/>
                <a:gd name="connsiteY3" fmla="*/ 1809063 h 1809063"/>
                <a:gd name="connsiteX4" fmla="*/ 95245 w 370457"/>
                <a:gd name="connsiteY4" fmla="*/ 0 h 1809063"/>
                <a:gd name="connsiteX0" fmla="*/ 100816 w 376028"/>
                <a:gd name="connsiteY0" fmla="*/ 0 h 1809063"/>
                <a:gd name="connsiteX1" fmla="*/ 376028 w 376028"/>
                <a:gd name="connsiteY1" fmla="*/ 108387 h 1809063"/>
                <a:gd name="connsiteX2" fmla="*/ 376028 w 376028"/>
                <a:gd name="connsiteY2" fmla="*/ 1490573 h 1809063"/>
                <a:gd name="connsiteX3" fmla="*/ 143679 w 376028"/>
                <a:gd name="connsiteY3" fmla="*/ 1809063 h 1809063"/>
                <a:gd name="connsiteX4" fmla="*/ 100816 w 376028"/>
                <a:gd name="connsiteY4" fmla="*/ 0 h 1809063"/>
                <a:gd name="connsiteX0" fmla="*/ 105950 w 381162"/>
                <a:gd name="connsiteY0" fmla="*/ 0 h 1809063"/>
                <a:gd name="connsiteX1" fmla="*/ 381162 w 381162"/>
                <a:gd name="connsiteY1" fmla="*/ 108387 h 1809063"/>
                <a:gd name="connsiteX2" fmla="*/ 381162 w 381162"/>
                <a:gd name="connsiteY2" fmla="*/ 1490573 h 1809063"/>
                <a:gd name="connsiteX3" fmla="*/ 148813 w 381162"/>
                <a:gd name="connsiteY3" fmla="*/ 1809063 h 1809063"/>
                <a:gd name="connsiteX4" fmla="*/ 105950 w 381162"/>
                <a:gd name="connsiteY4" fmla="*/ 0 h 1809063"/>
                <a:gd name="connsiteX0" fmla="*/ 105950 w 381162"/>
                <a:gd name="connsiteY0" fmla="*/ 0 h 1809063"/>
                <a:gd name="connsiteX1" fmla="*/ 381162 w 381162"/>
                <a:gd name="connsiteY1" fmla="*/ 108387 h 1809063"/>
                <a:gd name="connsiteX2" fmla="*/ 381162 w 381162"/>
                <a:gd name="connsiteY2" fmla="*/ 1490573 h 1809063"/>
                <a:gd name="connsiteX3" fmla="*/ 148813 w 381162"/>
                <a:gd name="connsiteY3" fmla="*/ 1809063 h 1809063"/>
                <a:gd name="connsiteX4" fmla="*/ 105950 w 381162"/>
                <a:gd name="connsiteY4" fmla="*/ 0 h 1809063"/>
                <a:gd name="connsiteX0" fmla="*/ 105950 w 381162"/>
                <a:gd name="connsiteY0" fmla="*/ 0 h 1809063"/>
                <a:gd name="connsiteX1" fmla="*/ 381162 w 381162"/>
                <a:gd name="connsiteY1" fmla="*/ 108387 h 1809063"/>
                <a:gd name="connsiteX2" fmla="*/ 381162 w 381162"/>
                <a:gd name="connsiteY2" fmla="*/ 1490573 h 1809063"/>
                <a:gd name="connsiteX3" fmla="*/ 148813 w 381162"/>
                <a:gd name="connsiteY3" fmla="*/ 1809063 h 1809063"/>
                <a:gd name="connsiteX4" fmla="*/ 105950 w 381162"/>
                <a:gd name="connsiteY4" fmla="*/ 0 h 1809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162" h="1809063">
                  <a:moveTo>
                    <a:pt x="105950" y="0"/>
                  </a:moveTo>
                  <a:lnTo>
                    <a:pt x="381162" y="108387"/>
                  </a:lnTo>
                  <a:cubicBezTo>
                    <a:pt x="284324" y="550860"/>
                    <a:pt x="261306" y="785369"/>
                    <a:pt x="381162" y="1490573"/>
                  </a:cubicBezTo>
                  <a:lnTo>
                    <a:pt x="148813" y="1809063"/>
                  </a:lnTo>
                  <a:cubicBezTo>
                    <a:pt x="-54070" y="968711"/>
                    <a:pt x="-30576" y="392678"/>
                    <a:pt x="105950"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20" name="Trapezoid 293">
              <a:extLst>
                <a:ext uri="{FF2B5EF4-FFF2-40B4-BE49-F238E27FC236}">
                  <a16:creationId xmlns:a16="http://schemas.microsoft.com/office/drawing/2014/main" id="{7FEC2F92-646C-48C2-B454-E6B4BFF54234}"/>
                </a:ext>
              </a:extLst>
            </p:cNvPr>
            <p:cNvSpPr/>
            <p:nvPr/>
          </p:nvSpPr>
          <p:spPr bwMode="auto">
            <a:xfrm flipV="1">
              <a:off x="23183956" y="521223"/>
              <a:ext cx="1771544" cy="106053"/>
            </a:xfrm>
            <a:custGeom>
              <a:avLst/>
              <a:gdLst>
                <a:gd name="connsiteX0" fmla="*/ 0 w 1927119"/>
                <a:gd name="connsiteY0" fmla="*/ 106053 h 106053"/>
                <a:gd name="connsiteX1" fmla="*/ 280685 w 1927119"/>
                <a:gd name="connsiteY1" fmla="*/ 0 h 106053"/>
                <a:gd name="connsiteX2" fmla="*/ 1646434 w 1927119"/>
                <a:gd name="connsiteY2" fmla="*/ 0 h 106053"/>
                <a:gd name="connsiteX3" fmla="*/ 1927119 w 1927119"/>
                <a:gd name="connsiteY3" fmla="*/ 106053 h 106053"/>
                <a:gd name="connsiteX4" fmla="*/ 0 w 1927119"/>
                <a:gd name="connsiteY4" fmla="*/ 106053 h 106053"/>
                <a:gd name="connsiteX0" fmla="*/ 0 w 1771544"/>
                <a:gd name="connsiteY0" fmla="*/ 106053 h 106053"/>
                <a:gd name="connsiteX1" fmla="*/ 280685 w 1771544"/>
                <a:gd name="connsiteY1" fmla="*/ 0 h 106053"/>
                <a:gd name="connsiteX2" fmla="*/ 1646434 w 1771544"/>
                <a:gd name="connsiteY2" fmla="*/ 0 h 106053"/>
                <a:gd name="connsiteX3" fmla="*/ 1771544 w 1771544"/>
                <a:gd name="connsiteY3" fmla="*/ 106053 h 106053"/>
                <a:gd name="connsiteX4" fmla="*/ 0 w 1771544"/>
                <a:gd name="connsiteY4" fmla="*/ 106053 h 106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544" h="106053">
                  <a:moveTo>
                    <a:pt x="0" y="106053"/>
                  </a:moveTo>
                  <a:lnTo>
                    <a:pt x="280685" y="0"/>
                  </a:lnTo>
                  <a:lnTo>
                    <a:pt x="1646434" y="0"/>
                  </a:lnTo>
                  <a:lnTo>
                    <a:pt x="1771544" y="106053"/>
                  </a:lnTo>
                  <a:lnTo>
                    <a:pt x="0" y="106053"/>
                  </a:lnTo>
                  <a:close/>
                </a:path>
              </a:pathLst>
            </a:custGeom>
            <a:solidFill>
              <a:schemeClr val="bg1">
                <a:lumMod val="50000"/>
              </a:schemeClr>
            </a:solidFill>
            <a:ln>
              <a:noFill/>
            </a:ln>
          </p:spPr>
          <p:txBody>
            <a:bodyPr vert="horz" wrap="square" lIns="119476" tIns="59738" rIns="119476" bIns="59738" numCol="1" anchor="t" anchorCtr="0" compatLnSpc="1">
              <a:prstTxWarp prst="textNoShape">
                <a:avLst/>
              </a:prstTxWarp>
            </a:bodyPr>
            <a:lstStyle/>
            <a:p>
              <a:pPr defTabSz="1194653">
                <a:defRPr/>
              </a:pPr>
              <a:endParaRPr lang="en-US" sz="2352" kern="0" dirty="0">
                <a:solidFill>
                  <a:srgbClr val="505050"/>
                </a:solidFill>
                <a:latin typeface="Arial"/>
              </a:endParaRPr>
            </a:p>
          </p:txBody>
        </p:sp>
        <p:sp>
          <p:nvSpPr>
            <p:cNvPr id="3621" name="Freeform: Shape 2154">
              <a:extLst>
                <a:ext uri="{FF2B5EF4-FFF2-40B4-BE49-F238E27FC236}">
                  <a16:creationId xmlns:a16="http://schemas.microsoft.com/office/drawing/2014/main" id="{E8054632-8234-4922-B29F-92C472F32F9F}"/>
                </a:ext>
              </a:extLst>
            </p:cNvPr>
            <p:cNvSpPr/>
            <p:nvPr/>
          </p:nvSpPr>
          <p:spPr bwMode="auto">
            <a:xfrm flipH="1">
              <a:off x="24736712" y="520910"/>
              <a:ext cx="240503" cy="1806365"/>
            </a:xfrm>
            <a:custGeom>
              <a:avLst/>
              <a:gdLst>
                <a:gd name="connsiteX0" fmla="*/ 0 w 73602"/>
                <a:gd name="connsiteY0" fmla="*/ 0 h 1416050"/>
                <a:gd name="connsiteX1" fmla="*/ 3175 w 73602"/>
                <a:gd name="connsiteY1" fmla="*/ 1416050 h 1416050"/>
                <a:gd name="connsiteX2" fmla="*/ 73602 w 73602"/>
                <a:gd name="connsiteY2" fmla="*/ 1226626 h 1416050"/>
                <a:gd name="connsiteX3" fmla="*/ 73602 w 73602"/>
                <a:gd name="connsiteY3" fmla="*/ 65716 h 1416050"/>
                <a:gd name="connsiteX0" fmla="*/ 305 w 73907"/>
                <a:gd name="connsiteY0" fmla="*/ 0 h 1416050"/>
                <a:gd name="connsiteX1" fmla="*/ 305 w 73907"/>
                <a:gd name="connsiteY1" fmla="*/ 1416050 h 1416050"/>
                <a:gd name="connsiteX2" fmla="*/ 73907 w 73907"/>
                <a:gd name="connsiteY2" fmla="*/ 1226626 h 1416050"/>
                <a:gd name="connsiteX3" fmla="*/ 73907 w 73907"/>
                <a:gd name="connsiteY3" fmla="*/ 65716 h 1416050"/>
                <a:gd name="connsiteX4" fmla="*/ 305 w 73907"/>
                <a:gd name="connsiteY4" fmla="*/ 0 h 1416050"/>
                <a:gd name="connsiteX0" fmla="*/ 305 w 73907"/>
                <a:gd name="connsiteY0" fmla="*/ 0 h 1416050"/>
                <a:gd name="connsiteX1" fmla="*/ 305 w 73907"/>
                <a:gd name="connsiteY1" fmla="*/ 1416050 h 1416050"/>
                <a:gd name="connsiteX2" fmla="*/ 73907 w 73907"/>
                <a:gd name="connsiteY2" fmla="*/ 1159951 h 1416050"/>
                <a:gd name="connsiteX3" fmla="*/ 73907 w 73907"/>
                <a:gd name="connsiteY3" fmla="*/ 65716 h 1416050"/>
                <a:gd name="connsiteX4" fmla="*/ 305 w 73907"/>
                <a:gd name="connsiteY4" fmla="*/ 0 h 1416050"/>
                <a:gd name="connsiteX0" fmla="*/ 305 w 73907"/>
                <a:gd name="connsiteY0" fmla="*/ 0 h 1416050"/>
                <a:gd name="connsiteX1" fmla="*/ 305 w 73907"/>
                <a:gd name="connsiteY1" fmla="*/ 1416050 h 1416050"/>
                <a:gd name="connsiteX2" fmla="*/ 73907 w 73907"/>
                <a:gd name="connsiteY2" fmla="*/ 1159951 h 1416050"/>
                <a:gd name="connsiteX3" fmla="*/ 73907 w 73907"/>
                <a:gd name="connsiteY3" fmla="*/ 103816 h 1416050"/>
                <a:gd name="connsiteX4" fmla="*/ 305 w 73907"/>
                <a:gd name="connsiteY4" fmla="*/ 0 h 1416050"/>
                <a:gd name="connsiteX0" fmla="*/ 13317 w 86919"/>
                <a:gd name="connsiteY0" fmla="*/ 0 h 1428430"/>
                <a:gd name="connsiteX1" fmla="*/ 52 w 86919"/>
                <a:gd name="connsiteY1" fmla="*/ 1428430 h 1428430"/>
                <a:gd name="connsiteX2" fmla="*/ 86919 w 86919"/>
                <a:gd name="connsiteY2" fmla="*/ 1159951 h 1428430"/>
                <a:gd name="connsiteX3" fmla="*/ 86919 w 86919"/>
                <a:gd name="connsiteY3" fmla="*/ 103816 h 1428430"/>
                <a:gd name="connsiteX4" fmla="*/ 13317 w 86919"/>
                <a:gd name="connsiteY4" fmla="*/ 0 h 1428430"/>
                <a:gd name="connsiteX0" fmla="*/ 13265 w 86867"/>
                <a:gd name="connsiteY0" fmla="*/ 0 h 1428430"/>
                <a:gd name="connsiteX1" fmla="*/ 0 w 86867"/>
                <a:gd name="connsiteY1" fmla="*/ 1428430 h 1428430"/>
                <a:gd name="connsiteX2" fmla="*/ 86867 w 86867"/>
                <a:gd name="connsiteY2" fmla="*/ 1159951 h 1428430"/>
                <a:gd name="connsiteX3" fmla="*/ 86867 w 86867"/>
                <a:gd name="connsiteY3" fmla="*/ 103816 h 1428430"/>
                <a:gd name="connsiteX4" fmla="*/ 13265 w 86867"/>
                <a:gd name="connsiteY4" fmla="*/ 0 h 1428430"/>
                <a:gd name="connsiteX0" fmla="*/ 13265 w 86867"/>
                <a:gd name="connsiteY0" fmla="*/ 0 h 1438334"/>
                <a:gd name="connsiteX1" fmla="*/ 0 w 86867"/>
                <a:gd name="connsiteY1" fmla="*/ 1438334 h 1438334"/>
                <a:gd name="connsiteX2" fmla="*/ 86867 w 86867"/>
                <a:gd name="connsiteY2" fmla="*/ 1169855 h 1438334"/>
                <a:gd name="connsiteX3" fmla="*/ 86867 w 86867"/>
                <a:gd name="connsiteY3" fmla="*/ 113720 h 1438334"/>
                <a:gd name="connsiteX4" fmla="*/ 13265 w 86867"/>
                <a:gd name="connsiteY4" fmla="*/ 0 h 1438334"/>
                <a:gd name="connsiteX0" fmla="*/ 13265 w 86867"/>
                <a:gd name="connsiteY0" fmla="*/ 0 h 1438334"/>
                <a:gd name="connsiteX1" fmla="*/ 0 w 86867"/>
                <a:gd name="connsiteY1" fmla="*/ 1438334 h 1438334"/>
                <a:gd name="connsiteX2" fmla="*/ 86867 w 86867"/>
                <a:gd name="connsiteY2" fmla="*/ 1169855 h 1438334"/>
                <a:gd name="connsiteX3" fmla="*/ 86867 w 86867"/>
                <a:gd name="connsiteY3" fmla="*/ 113720 h 1438334"/>
                <a:gd name="connsiteX4" fmla="*/ 13265 w 86867"/>
                <a:gd name="connsiteY4" fmla="*/ 0 h 1438334"/>
                <a:gd name="connsiteX0" fmla="*/ 13265 w 86867"/>
                <a:gd name="connsiteY0" fmla="*/ 0 h 1438334"/>
                <a:gd name="connsiteX1" fmla="*/ 0 w 86867"/>
                <a:gd name="connsiteY1" fmla="*/ 1438334 h 1438334"/>
                <a:gd name="connsiteX2" fmla="*/ 86867 w 86867"/>
                <a:gd name="connsiteY2" fmla="*/ 1169855 h 1438334"/>
                <a:gd name="connsiteX3" fmla="*/ 86867 w 86867"/>
                <a:gd name="connsiteY3" fmla="*/ 91437 h 1438334"/>
                <a:gd name="connsiteX4" fmla="*/ 13265 w 86867"/>
                <a:gd name="connsiteY4" fmla="*/ 0 h 1438334"/>
                <a:gd name="connsiteX0" fmla="*/ 13265 w 102869"/>
                <a:gd name="connsiteY0" fmla="*/ 0 h 1438334"/>
                <a:gd name="connsiteX1" fmla="*/ 0 w 102869"/>
                <a:gd name="connsiteY1" fmla="*/ 1438334 h 1438334"/>
                <a:gd name="connsiteX2" fmla="*/ 86867 w 102869"/>
                <a:gd name="connsiteY2" fmla="*/ 1169855 h 1438334"/>
                <a:gd name="connsiteX3" fmla="*/ 86867 w 102869"/>
                <a:gd name="connsiteY3" fmla="*/ 91437 h 1438334"/>
                <a:gd name="connsiteX4" fmla="*/ 13265 w 102869"/>
                <a:gd name="connsiteY4" fmla="*/ 0 h 1438334"/>
                <a:gd name="connsiteX0" fmla="*/ 13265 w 111785"/>
                <a:gd name="connsiteY0" fmla="*/ 0 h 1438334"/>
                <a:gd name="connsiteX1" fmla="*/ 0 w 111785"/>
                <a:gd name="connsiteY1" fmla="*/ 1438334 h 1438334"/>
                <a:gd name="connsiteX2" fmla="*/ 86867 w 111785"/>
                <a:gd name="connsiteY2" fmla="*/ 1169855 h 1438334"/>
                <a:gd name="connsiteX3" fmla="*/ 86867 w 111785"/>
                <a:gd name="connsiteY3" fmla="*/ 91437 h 1438334"/>
                <a:gd name="connsiteX4" fmla="*/ 13265 w 111785"/>
                <a:gd name="connsiteY4" fmla="*/ 0 h 1438334"/>
                <a:gd name="connsiteX0" fmla="*/ 13265 w 111785"/>
                <a:gd name="connsiteY0" fmla="*/ 0 h 1438334"/>
                <a:gd name="connsiteX1" fmla="*/ 0 w 111785"/>
                <a:gd name="connsiteY1" fmla="*/ 1438334 h 1438334"/>
                <a:gd name="connsiteX2" fmla="*/ 86867 w 111785"/>
                <a:gd name="connsiteY2" fmla="*/ 1169855 h 1438334"/>
                <a:gd name="connsiteX3" fmla="*/ 86867 w 111785"/>
                <a:gd name="connsiteY3" fmla="*/ 91437 h 1438334"/>
                <a:gd name="connsiteX4" fmla="*/ 13265 w 111785"/>
                <a:gd name="connsiteY4" fmla="*/ 0 h 1438334"/>
                <a:gd name="connsiteX0" fmla="*/ 18950 w 117470"/>
                <a:gd name="connsiteY0" fmla="*/ 0 h 1438334"/>
                <a:gd name="connsiteX1" fmla="*/ 0 w 117470"/>
                <a:gd name="connsiteY1" fmla="*/ 1438334 h 1438334"/>
                <a:gd name="connsiteX2" fmla="*/ 92552 w 117470"/>
                <a:gd name="connsiteY2" fmla="*/ 1169855 h 1438334"/>
                <a:gd name="connsiteX3" fmla="*/ 92552 w 117470"/>
                <a:gd name="connsiteY3" fmla="*/ 91437 h 1438334"/>
                <a:gd name="connsiteX4" fmla="*/ 18950 w 117470"/>
                <a:gd name="connsiteY4" fmla="*/ 0 h 1438334"/>
                <a:gd name="connsiteX0" fmla="*/ 18950 w 117470"/>
                <a:gd name="connsiteY0" fmla="*/ 0 h 1408623"/>
                <a:gd name="connsiteX1" fmla="*/ 0 w 117470"/>
                <a:gd name="connsiteY1" fmla="*/ 1408623 h 1408623"/>
                <a:gd name="connsiteX2" fmla="*/ 92552 w 117470"/>
                <a:gd name="connsiteY2" fmla="*/ 1169855 h 1408623"/>
                <a:gd name="connsiteX3" fmla="*/ 92552 w 117470"/>
                <a:gd name="connsiteY3" fmla="*/ 91437 h 1408623"/>
                <a:gd name="connsiteX4" fmla="*/ 18950 w 117470"/>
                <a:gd name="connsiteY4" fmla="*/ 0 h 1408623"/>
                <a:gd name="connsiteX0" fmla="*/ 18950 w 123964"/>
                <a:gd name="connsiteY0" fmla="*/ 0 h 1408623"/>
                <a:gd name="connsiteX1" fmla="*/ 0 w 123964"/>
                <a:gd name="connsiteY1" fmla="*/ 1408623 h 1408623"/>
                <a:gd name="connsiteX2" fmla="*/ 92552 w 123964"/>
                <a:gd name="connsiteY2" fmla="*/ 1169855 h 1408623"/>
                <a:gd name="connsiteX3" fmla="*/ 92552 w 123964"/>
                <a:gd name="connsiteY3" fmla="*/ 91437 h 1408623"/>
                <a:gd name="connsiteX4" fmla="*/ 18950 w 123964"/>
                <a:gd name="connsiteY4" fmla="*/ 0 h 1408623"/>
                <a:gd name="connsiteX0" fmla="*/ 18950 w 120647"/>
                <a:gd name="connsiteY0" fmla="*/ 0 h 1408623"/>
                <a:gd name="connsiteX1" fmla="*/ 0 w 120647"/>
                <a:gd name="connsiteY1" fmla="*/ 1408623 h 1408623"/>
                <a:gd name="connsiteX2" fmla="*/ 92552 w 120647"/>
                <a:gd name="connsiteY2" fmla="*/ 1169855 h 1408623"/>
                <a:gd name="connsiteX3" fmla="*/ 92552 w 120647"/>
                <a:gd name="connsiteY3" fmla="*/ 91437 h 1408623"/>
                <a:gd name="connsiteX4" fmla="*/ 18950 w 120647"/>
                <a:gd name="connsiteY4" fmla="*/ 0 h 1408623"/>
                <a:gd name="connsiteX0" fmla="*/ 18950 w 120090"/>
                <a:gd name="connsiteY0" fmla="*/ 0 h 1408623"/>
                <a:gd name="connsiteX1" fmla="*/ 0 w 120090"/>
                <a:gd name="connsiteY1" fmla="*/ 1408623 h 1408623"/>
                <a:gd name="connsiteX2" fmla="*/ 92552 w 120090"/>
                <a:gd name="connsiteY2" fmla="*/ 1169855 h 1408623"/>
                <a:gd name="connsiteX3" fmla="*/ 91130 w 120090"/>
                <a:gd name="connsiteY3" fmla="*/ 82152 h 1408623"/>
                <a:gd name="connsiteX4" fmla="*/ 18950 w 120090"/>
                <a:gd name="connsiteY4" fmla="*/ 0 h 1408623"/>
                <a:gd name="connsiteX0" fmla="*/ 18950 w 120090"/>
                <a:gd name="connsiteY0" fmla="*/ 0 h 1408623"/>
                <a:gd name="connsiteX1" fmla="*/ 0 w 120090"/>
                <a:gd name="connsiteY1" fmla="*/ 1408623 h 1408623"/>
                <a:gd name="connsiteX2" fmla="*/ 92552 w 120090"/>
                <a:gd name="connsiteY2" fmla="*/ 1169855 h 1408623"/>
                <a:gd name="connsiteX3" fmla="*/ 91130 w 120090"/>
                <a:gd name="connsiteY3" fmla="*/ 82152 h 1408623"/>
                <a:gd name="connsiteX4" fmla="*/ 18950 w 120090"/>
                <a:gd name="connsiteY4" fmla="*/ 0 h 1408623"/>
                <a:gd name="connsiteX0" fmla="*/ 18950 w 120090"/>
                <a:gd name="connsiteY0" fmla="*/ 0 h 1408623"/>
                <a:gd name="connsiteX1" fmla="*/ 0 w 120090"/>
                <a:gd name="connsiteY1" fmla="*/ 1408623 h 1408623"/>
                <a:gd name="connsiteX2" fmla="*/ 92552 w 120090"/>
                <a:gd name="connsiteY2" fmla="*/ 1169855 h 1408623"/>
                <a:gd name="connsiteX3" fmla="*/ 91130 w 120090"/>
                <a:gd name="connsiteY3" fmla="*/ 82152 h 1408623"/>
                <a:gd name="connsiteX4" fmla="*/ 18950 w 120090"/>
                <a:gd name="connsiteY4" fmla="*/ 0 h 1408623"/>
                <a:gd name="connsiteX0" fmla="*/ 18950 w 120090"/>
                <a:gd name="connsiteY0" fmla="*/ 0 h 1408623"/>
                <a:gd name="connsiteX1" fmla="*/ 0 w 120090"/>
                <a:gd name="connsiteY1" fmla="*/ 1408623 h 1408623"/>
                <a:gd name="connsiteX2" fmla="*/ 92552 w 120090"/>
                <a:gd name="connsiteY2" fmla="*/ 1169855 h 1408623"/>
                <a:gd name="connsiteX3" fmla="*/ 91130 w 120090"/>
                <a:gd name="connsiteY3" fmla="*/ 82152 h 1408623"/>
                <a:gd name="connsiteX4" fmla="*/ 18950 w 120090"/>
                <a:gd name="connsiteY4" fmla="*/ 0 h 1408623"/>
                <a:gd name="connsiteX0" fmla="*/ 18950 w 120090"/>
                <a:gd name="connsiteY0" fmla="*/ 0 h 1408623"/>
                <a:gd name="connsiteX1" fmla="*/ 0 w 120090"/>
                <a:gd name="connsiteY1" fmla="*/ 1408623 h 1408623"/>
                <a:gd name="connsiteX2" fmla="*/ 92552 w 120090"/>
                <a:gd name="connsiteY2" fmla="*/ 1169855 h 1408623"/>
                <a:gd name="connsiteX3" fmla="*/ 91130 w 120090"/>
                <a:gd name="connsiteY3" fmla="*/ 82152 h 1408623"/>
                <a:gd name="connsiteX4" fmla="*/ 18950 w 120090"/>
                <a:gd name="connsiteY4" fmla="*/ 0 h 1408623"/>
                <a:gd name="connsiteX0" fmla="*/ 18950 w 120090"/>
                <a:gd name="connsiteY0" fmla="*/ 0 h 1408623"/>
                <a:gd name="connsiteX1" fmla="*/ 0 w 120090"/>
                <a:gd name="connsiteY1" fmla="*/ 1408623 h 1408623"/>
                <a:gd name="connsiteX2" fmla="*/ 92552 w 120090"/>
                <a:gd name="connsiteY2" fmla="*/ 1169855 h 1408623"/>
                <a:gd name="connsiteX3" fmla="*/ 91130 w 120090"/>
                <a:gd name="connsiteY3" fmla="*/ 82152 h 1408623"/>
                <a:gd name="connsiteX4" fmla="*/ 18950 w 120090"/>
                <a:gd name="connsiteY4" fmla="*/ 0 h 1408623"/>
                <a:gd name="connsiteX0" fmla="*/ 18950 w 120090"/>
                <a:gd name="connsiteY0" fmla="*/ 0 h 1408623"/>
                <a:gd name="connsiteX1" fmla="*/ 0 w 120090"/>
                <a:gd name="connsiteY1" fmla="*/ 1408623 h 1408623"/>
                <a:gd name="connsiteX2" fmla="*/ 92552 w 120090"/>
                <a:gd name="connsiteY2" fmla="*/ 1169855 h 1408623"/>
                <a:gd name="connsiteX3" fmla="*/ 91130 w 120090"/>
                <a:gd name="connsiteY3" fmla="*/ 82152 h 1408623"/>
                <a:gd name="connsiteX4" fmla="*/ 18950 w 120090"/>
                <a:gd name="connsiteY4" fmla="*/ 0 h 1408623"/>
                <a:gd name="connsiteX0" fmla="*/ 18950 w 129512"/>
                <a:gd name="connsiteY0" fmla="*/ 0 h 1408623"/>
                <a:gd name="connsiteX1" fmla="*/ 0 w 129512"/>
                <a:gd name="connsiteY1" fmla="*/ 1408623 h 1408623"/>
                <a:gd name="connsiteX2" fmla="*/ 92552 w 129512"/>
                <a:gd name="connsiteY2" fmla="*/ 1169855 h 1408623"/>
                <a:gd name="connsiteX3" fmla="*/ 91130 w 129512"/>
                <a:gd name="connsiteY3" fmla="*/ 82152 h 1408623"/>
                <a:gd name="connsiteX4" fmla="*/ 18950 w 129512"/>
                <a:gd name="connsiteY4" fmla="*/ 0 h 1408623"/>
                <a:gd name="connsiteX0" fmla="*/ 18950 w 143547"/>
                <a:gd name="connsiteY0" fmla="*/ 0 h 1408623"/>
                <a:gd name="connsiteX1" fmla="*/ 0 w 143547"/>
                <a:gd name="connsiteY1" fmla="*/ 1408623 h 1408623"/>
                <a:gd name="connsiteX2" fmla="*/ 92552 w 143547"/>
                <a:gd name="connsiteY2" fmla="*/ 1169855 h 1408623"/>
                <a:gd name="connsiteX3" fmla="*/ 91130 w 143547"/>
                <a:gd name="connsiteY3" fmla="*/ 82152 h 1408623"/>
                <a:gd name="connsiteX4" fmla="*/ 18950 w 143547"/>
                <a:gd name="connsiteY4" fmla="*/ 0 h 1408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547" h="1408623">
                  <a:moveTo>
                    <a:pt x="18950" y="0"/>
                  </a:moveTo>
                  <a:cubicBezTo>
                    <a:pt x="56487" y="322844"/>
                    <a:pt x="124017" y="578839"/>
                    <a:pt x="0" y="1408623"/>
                  </a:cubicBezTo>
                  <a:lnTo>
                    <a:pt x="92552" y="1169855"/>
                  </a:lnTo>
                  <a:cubicBezTo>
                    <a:pt x="175460" y="645116"/>
                    <a:pt x="144191" y="324020"/>
                    <a:pt x="91130" y="82152"/>
                  </a:cubicBezTo>
                  <a:lnTo>
                    <a:pt x="18950" y="0"/>
                  </a:ln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624" name="Diagonal Stripe 2903">
            <a:extLst>
              <a:ext uri="{FF2B5EF4-FFF2-40B4-BE49-F238E27FC236}">
                <a16:creationId xmlns:a16="http://schemas.microsoft.com/office/drawing/2014/main" id="{4B789C12-CB84-42A3-A159-DE467E702159}"/>
              </a:ext>
            </a:extLst>
          </p:cNvPr>
          <p:cNvSpPr/>
          <p:nvPr/>
        </p:nvSpPr>
        <p:spPr bwMode="auto">
          <a:xfrm rot="5400000" flipH="1">
            <a:off x="3030523" y="3673296"/>
            <a:ext cx="797844" cy="580897"/>
          </a:xfrm>
          <a:custGeom>
            <a:avLst/>
            <a:gdLst>
              <a:gd name="connsiteX0" fmla="*/ 0 w 593081"/>
              <a:gd name="connsiteY0" fmla="*/ 273756 h 354092"/>
              <a:gd name="connsiteX1" fmla="*/ 458523 w 593081"/>
              <a:gd name="connsiteY1" fmla="*/ 0 h 354092"/>
              <a:gd name="connsiteX2" fmla="*/ 593081 w 593081"/>
              <a:gd name="connsiteY2" fmla="*/ 0 h 354092"/>
              <a:gd name="connsiteX3" fmla="*/ 0 w 593081"/>
              <a:gd name="connsiteY3" fmla="*/ 354092 h 354092"/>
              <a:gd name="connsiteX4" fmla="*/ 0 w 593081"/>
              <a:gd name="connsiteY4" fmla="*/ 273756 h 354092"/>
              <a:gd name="connsiteX0" fmla="*/ 0 w 593081"/>
              <a:gd name="connsiteY0" fmla="*/ 331665 h 412001"/>
              <a:gd name="connsiteX1" fmla="*/ 455475 w 593081"/>
              <a:gd name="connsiteY1" fmla="*/ 0 h 412001"/>
              <a:gd name="connsiteX2" fmla="*/ 593081 w 593081"/>
              <a:gd name="connsiteY2" fmla="*/ 57909 h 412001"/>
              <a:gd name="connsiteX3" fmla="*/ 0 w 593081"/>
              <a:gd name="connsiteY3" fmla="*/ 412001 h 412001"/>
              <a:gd name="connsiteX4" fmla="*/ 0 w 593081"/>
              <a:gd name="connsiteY4" fmla="*/ 331665 h 412001"/>
              <a:gd name="connsiteX0" fmla="*/ 3048 w 593081"/>
              <a:gd name="connsiteY0" fmla="*/ 252417 h 412001"/>
              <a:gd name="connsiteX1" fmla="*/ 455475 w 593081"/>
              <a:gd name="connsiteY1" fmla="*/ 0 h 412001"/>
              <a:gd name="connsiteX2" fmla="*/ 593081 w 593081"/>
              <a:gd name="connsiteY2" fmla="*/ 57909 h 412001"/>
              <a:gd name="connsiteX3" fmla="*/ 0 w 593081"/>
              <a:gd name="connsiteY3" fmla="*/ 412001 h 412001"/>
              <a:gd name="connsiteX4" fmla="*/ 3048 w 593081"/>
              <a:gd name="connsiteY4" fmla="*/ 252417 h 412001"/>
              <a:gd name="connsiteX0" fmla="*/ 3048 w 593081"/>
              <a:gd name="connsiteY0" fmla="*/ 272229 h 431813"/>
              <a:gd name="connsiteX1" fmla="*/ 485955 w 593081"/>
              <a:gd name="connsiteY1" fmla="*/ 0 h 431813"/>
              <a:gd name="connsiteX2" fmla="*/ 593081 w 593081"/>
              <a:gd name="connsiteY2" fmla="*/ 77721 h 431813"/>
              <a:gd name="connsiteX3" fmla="*/ 0 w 593081"/>
              <a:gd name="connsiteY3" fmla="*/ 431813 h 431813"/>
              <a:gd name="connsiteX4" fmla="*/ 3048 w 593081"/>
              <a:gd name="connsiteY4" fmla="*/ 272229 h 431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81" h="431813">
                <a:moveTo>
                  <a:pt x="3048" y="272229"/>
                </a:moveTo>
                <a:lnTo>
                  <a:pt x="485955" y="0"/>
                </a:lnTo>
                <a:lnTo>
                  <a:pt x="593081" y="77721"/>
                </a:lnTo>
                <a:lnTo>
                  <a:pt x="0" y="431813"/>
                </a:lnTo>
                <a:lnTo>
                  <a:pt x="3048" y="272229"/>
                </a:lnTo>
                <a:close/>
              </a:path>
            </a:pathLst>
          </a:cu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43" tIns="194995" rIns="243743" bIns="194995" numCol="1" spcCol="0" rtlCol="0" fromWordArt="0" anchor="t" anchorCtr="0" forceAA="0" compatLnSpc="1">
            <a:prstTxWarp prst="textNoShape">
              <a:avLst/>
            </a:prstTxWarp>
            <a:noAutofit/>
          </a:bodyPr>
          <a:lstStyle/>
          <a:p>
            <a:pPr algn="ctr" defTabSz="1242747" fontAlgn="base">
              <a:spcBef>
                <a:spcPct val="0"/>
              </a:spcBef>
              <a:spcAft>
                <a:spcPct val="0"/>
              </a:spcAft>
              <a:defRPr/>
            </a:pPr>
            <a:endParaRPr lang="en-US" sz="3200" kern="0" dirty="0">
              <a:gradFill>
                <a:gsLst>
                  <a:gs pos="0">
                    <a:srgbClr val="FFFFFF"/>
                  </a:gs>
                  <a:gs pos="100000">
                    <a:srgbClr val="FFFFFF"/>
                  </a:gs>
                </a:gsLst>
                <a:lin ang="5400000" scaled="0"/>
              </a:gradFill>
              <a:latin typeface="Segoe UI"/>
              <a:cs typeface="Segoe UI" pitchFamily="34" charset="0"/>
            </a:endParaRPr>
          </a:p>
        </p:txBody>
      </p:sp>
      <p:grpSp>
        <p:nvGrpSpPr>
          <p:cNvPr id="3625" name="Group 3624">
            <a:extLst>
              <a:ext uri="{FF2B5EF4-FFF2-40B4-BE49-F238E27FC236}">
                <a16:creationId xmlns:a16="http://schemas.microsoft.com/office/drawing/2014/main" id="{F6C92874-4A70-4007-AAB6-65E4094FD58A}"/>
              </a:ext>
            </a:extLst>
          </p:cNvPr>
          <p:cNvGrpSpPr/>
          <p:nvPr/>
        </p:nvGrpSpPr>
        <p:grpSpPr>
          <a:xfrm flipH="1">
            <a:off x="3405721" y="3810104"/>
            <a:ext cx="177806" cy="212865"/>
            <a:chOff x="6684433" y="2794000"/>
            <a:chExt cx="639233" cy="866932"/>
          </a:xfrm>
        </p:grpSpPr>
        <p:sp>
          <p:nvSpPr>
            <p:cNvPr id="3626" name="Freeform: Shape 162">
              <a:extLst>
                <a:ext uri="{FF2B5EF4-FFF2-40B4-BE49-F238E27FC236}">
                  <a16:creationId xmlns:a16="http://schemas.microsoft.com/office/drawing/2014/main" id="{AFE93FEB-A6A9-4A89-B661-89C317EC9576}"/>
                </a:ext>
              </a:extLst>
            </p:cNvPr>
            <p:cNvSpPr/>
            <p:nvPr/>
          </p:nvSpPr>
          <p:spPr bwMode="auto">
            <a:xfrm>
              <a:off x="6980587" y="2964019"/>
              <a:ext cx="341539" cy="696913"/>
            </a:xfrm>
            <a:custGeom>
              <a:avLst/>
              <a:gdLst>
                <a:gd name="connsiteX0" fmla="*/ 632522 w 632929"/>
                <a:gd name="connsiteY0" fmla="*/ 0 h 696913"/>
                <a:gd name="connsiteX1" fmla="*/ 632523 w 632929"/>
                <a:gd name="connsiteY1" fmla="*/ 502179 h 696913"/>
                <a:gd name="connsiteX2" fmla="*/ 291792 w 632929"/>
                <a:gd name="connsiteY2" fmla="*/ 696719 h 696913"/>
                <a:gd name="connsiteX3" fmla="*/ 291452 w 632929"/>
                <a:gd name="connsiteY3" fmla="*/ 696913 h 696913"/>
                <a:gd name="connsiteX4" fmla="*/ 1587 w 632929"/>
                <a:gd name="connsiteY4" fmla="*/ 518427 h 696913"/>
                <a:gd name="connsiteX5" fmla="*/ 0 w 632929"/>
                <a:gd name="connsiteY5" fmla="*/ 29477 h 696913"/>
                <a:gd name="connsiteX6" fmla="*/ 291792 w 632929"/>
                <a:gd name="connsiteY6" fmla="*/ 198606 h 696913"/>
                <a:gd name="connsiteX7" fmla="*/ 295157 w 632929"/>
                <a:gd name="connsiteY7" fmla="*/ 200556 h 696913"/>
                <a:gd name="connsiteX8" fmla="*/ 632522 w 632929"/>
                <a:gd name="connsiteY8" fmla="*/ 0 h 696913"/>
                <a:gd name="connsiteX0" fmla="*/ 630935 w 631342"/>
                <a:gd name="connsiteY0" fmla="*/ 0 h 696913"/>
                <a:gd name="connsiteX1" fmla="*/ 630936 w 631342"/>
                <a:gd name="connsiteY1" fmla="*/ 502179 h 696913"/>
                <a:gd name="connsiteX2" fmla="*/ 290205 w 631342"/>
                <a:gd name="connsiteY2" fmla="*/ 696719 h 696913"/>
                <a:gd name="connsiteX3" fmla="*/ 289865 w 631342"/>
                <a:gd name="connsiteY3" fmla="*/ 696913 h 696913"/>
                <a:gd name="connsiteX4" fmla="*/ 0 w 631342"/>
                <a:gd name="connsiteY4" fmla="*/ 518427 h 696913"/>
                <a:gd name="connsiteX5" fmla="*/ 290205 w 631342"/>
                <a:gd name="connsiteY5" fmla="*/ 198606 h 696913"/>
                <a:gd name="connsiteX6" fmla="*/ 293570 w 631342"/>
                <a:gd name="connsiteY6" fmla="*/ 200556 h 696913"/>
                <a:gd name="connsiteX7" fmla="*/ 630935 w 631342"/>
                <a:gd name="connsiteY7" fmla="*/ 0 h 696913"/>
                <a:gd name="connsiteX0" fmla="*/ 341132 w 341539"/>
                <a:gd name="connsiteY0" fmla="*/ 0 h 696913"/>
                <a:gd name="connsiteX1" fmla="*/ 341133 w 341539"/>
                <a:gd name="connsiteY1" fmla="*/ 502179 h 696913"/>
                <a:gd name="connsiteX2" fmla="*/ 402 w 341539"/>
                <a:gd name="connsiteY2" fmla="*/ 696719 h 696913"/>
                <a:gd name="connsiteX3" fmla="*/ 62 w 341539"/>
                <a:gd name="connsiteY3" fmla="*/ 696913 h 696913"/>
                <a:gd name="connsiteX4" fmla="*/ 402 w 341539"/>
                <a:gd name="connsiteY4" fmla="*/ 198606 h 696913"/>
                <a:gd name="connsiteX5" fmla="*/ 3767 w 341539"/>
                <a:gd name="connsiteY5" fmla="*/ 200556 h 696913"/>
                <a:gd name="connsiteX6" fmla="*/ 341132 w 341539"/>
                <a:gd name="connsiteY6" fmla="*/ 0 h 69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539" h="696913">
                  <a:moveTo>
                    <a:pt x="341132" y="0"/>
                  </a:moveTo>
                  <a:cubicBezTo>
                    <a:pt x="342543" y="197026"/>
                    <a:pt x="339722" y="305153"/>
                    <a:pt x="341133" y="502179"/>
                  </a:cubicBezTo>
                  <a:lnTo>
                    <a:pt x="402" y="696719"/>
                  </a:lnTo>
                  <a:lnTo>
                    <a:pt x="62" y="696913"/>
                  </a:lnTo>
                  <a:cubicBezTo>
                    <a:pt x="62" y="613894"/>
                    <a:pt x="-215" y="281332"/>
                    <a:pt x="402" y="198606"/>
                  </a:cubicBezTo>
                  <a:lnTo>
                    <a:pt x="3767" y="200556"/>
                  </a:lnTo>
                  <a:lnTo>
                    <a:pt x="341132" y="0"/>
                  </a:lnTo>
                  <a:close/>
                </a:path>
              </a:pathLst>
            </a:custGeom>
            <a:solidFill>
              <a:schemeClr val="bg1">
                <a:lumMod val="50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627" name="Freeform: Shape 163">
              <a:extLst>
                <a:ext uri="{FF2B5EF4-FFF2-40B4-BE49-F238E27FC236}">
                  <a16:creationId xmlns:a16="http://schemas.microsoft.com/office/drawing/2014/main" id="{208D2970-A7EC-462E-AFE8-405AC2BB1BD1}"/>
                </a:ext>
              </a:extLst>
            </p:cNvPr>
            <p:cNvSpPr/>
            <p:nvPr/>
          </p:nvSpPr>
          <p:spPr bwMode="auto">
            <a:xfrm>
              <a:off x="6687608" y="2990319"/>
              <a:ext cx="295275" cy="670245"/>
            </a:xfrm>
            <a:custGeom>
              <a:avLst/>
              <a:gdLst>
                <a:gd name="connsiteX0" fmla="*/ 0 w 295275"/>
                <a:gd name="connsiteY0" fmla="*/ 0 h 666750"/>
                <a:gd name="connsiteX1" fmla="*/ 295275 w 295275"/>
                <a:gd name="connsiteY1" fmla="*/ 180975 h 666750"/>
                <a:gd name="connsiteX2" fmla="*/ 295275 w 295275"/>
                <a:gd name="connsiteY2" fmla="*/ 666750 h 666750"/>
                <a:gd name="connsiteX3" fmla="*/ 1588 w 295275"/>
                <a:gd name="connsiteY3" fmla="*/ 485775 h 666750"/>
                <a:gd name="connsiteX4" fmla="*/ 1588 w 295275"/>
                <a:gd name="connsiteY4" fmla="*/ 19050 h 666750"/>
                <a:gd name="connsiteX5" fmla="*/ 0 w 295275"/>
                <a:gd name="connsiteY5" fmla="*/ 0 h 666750"/>
                <a:gd name="connsiteX0" fmla="*/ 0 w 295275"/>
                <a:gd name="connsiteY0" fmla="*/ 0 h 666750"/>
                <a:gd name="connsiteX1" fmla="*/ 293687 w 295275"/>
                <a:gd name="connsiteY1" fmla="*/ 163603 h 666750"/>
                <a:gd name="connsiteX2" fmla="*/ 295275 w 295275"/>
                <a:gd name="connsiteY2" fmla="*/ 666750 h 666750"/>
                <a:gd name="connsiteX3" fmla="*/ 1588 w 295275"/>
                <a:gd name="connsiteY3" fmla="*/ 485775 h 666750"/>
                <a:gd name="connsiteX4" fmla="*/ 1588 w 295275"/>
                <a:gd name="connsiteY4" fmla="*/ 19050 h 666750"/>
                <a:gd name="connsiteX5" fmla="*/ 0 w 295275"/>
                <a:gd name="connsiteY5" fmla="*/ 0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275" h="666750">
                  <a:moveTo>
                    <a:pt x="0" y="0"/>
                  </a:moveTo>
                  <a:lnTo>
                    <a:pt x="293687" y="163603"/>
                  </a:lnTo>
                  <a:cubicBezTo>
                    <a:pt x="294216" y="331319"/>
                    <a:pt x="294746" y="499034"/>
                    <a:pt x="295275" y="666750"/>
                  </a:cubicBezTo>
                  <a:lnTo>
                    <a:pt x="1588" y="485775"/>
                  </a:lnTo>
                  <a:lnTo>
                    <a:pt x="1588" y="19050"/>
                  </a:lnTo>
                  <a:lnTo>
                    <a:pt x="0" y="0"/>
                  </a:lnTo>
                  <a:close/>
                </a:path>
              </a:pathLst>
            </a:cu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628" name="Freeform: Shape 164">
              <a:extLst>
                <a:ext uri="{FF2B5EF4-FFF2-40B4-BE49-F238E27FC236}">
                  <a16:creationId xmlns:a16="http://schemas.microsoft.com/office/drawing/2014/main" id="{4BD4ABDB-AD26-4452-ABCB-AA7B56141D5A}"/>
                </a:ext>
              </a:extLst>
            </p:cNvPr>
            <p:cNvSpPr/>
            <p:nvPr/>
          </p:nvSpPr>
          <p:spPr bwMode="auto">
            <a:xfrm>
              <a:off x="6684433" y="2794000"/>
              <a:ext cx="639233" cy="376766"/>
            </a:xfrm>
            <a:custGeom>
              <a:avLst/>
              <a:gdLst>
                <a:gd name="connsiteX0" fmla="*/ 0 w 571500"/>
                <a:gd name="connsiteY0" fmla="*/ 194733 h 440267"/>
                <a:gd name="connsiteX1" fmla="*/ 245533 w 571500"/>
                <a:gd name="connsiteY1" fmla="*/ 440267 h 440267"/>
                <a:gd name="connsiteX2" fmla="*/ 571500 w 571500"/>
                <a:gd name="connsiteY2" fmla="*/ 232833 h 440267"/>
                <a:gd name="connsiteX3" fmla="*/ 347133 w 571500"/>
                <a:gd name="connsiteY3" fmla="*/ 0 h 440267"/>
                <a:gd name="connsiteX4" fmla="*/ 0 w 571500"/>
                <a:gd name="connsiteY4" fmla="*/ 194733 h 440267"/>
                <a:gd name="connsiteX0" fmla="*/ 0 w 639233"/>
                <a:gd name="connsiteY0" fmla="*/ 194733 h 440267"/>
                <a:gd name="connsiteX1" fmla="*/ 245533 w 639233"/>
                <a:gd name="connsiteY1" fmla="*/ 440267 h 440267"/>
                <a:gd name="connsiteX2" fmla="*/ 639233 w 639233"/>
                <a:gd name="connsiteY2" fmla="*/ 165099 h 440267"/>
                <a:gd name="connsiteX3" fmla="*/ 347133 w 639233"/>
                <a:gd name="connsiteY3" fmla="*/ 0 h 440267"/>
                <a:gd name="connsiteX4" fmla="*/ 0 w 639233"/>
                <a:gd name="connsiteY4" fmla="*/ 194733 h 440267"/>
                <a:gd name="connsiteX0" fmla="*/ 0 w 639233"/>
                <a:gd name="connsiteY0" fmla="*/ 198966 h 444500"/>
                <a:gd name="connsiteX1" fmla="*/ 245533 w 639233"/>
                <a:gd name="connsiteY1" fmla="*/ 444500 h 444500"/>
                <a:gd name="connsiteX2" fmla="*/ 639233 w 639233"/>
                <a:gd name="connsiteY2" fmla="*/ 169332 h 444500"/>
                <a:gd name="connsiteX3" fmla="*/ 334433 w 639233"/>
                <a:gd name="connsiteY3" fmla="*/ 0 h 444500"/>
                <a:gd name="connsiteX4" fmla="*/ 0 w 639233"/>
                <a:gd name="connsiteY4" fmla="*/ 198966 h 444500"/>
                <a:gd name="connsiteX0" fmla="*/ 0 w 639233"/>
                <a:gd name="connsiteY0" fmla="*/ 198966 h 389466"/>
                <a:gd name="connsiteX1" fmla="*/ 317499 w 639233"/>
                <a:gd name="connsiteY1" fmla="*/ 389466 h 389466"/>
                <a:gd name="connsiteX2" fmla="*/ 639233 w 639233"/>
                <a:gd name="connsiteY2" fmla="*/ 169332 h 389466"/>
                <a:gd name="connsiteX3" fmla="*/ 334433 w 639233"/>
                <a:gd name="connsiteY3" fmla="*/ 0 h 389466"/>
                <a:gd name="connsiteX4" fmla="*/ 0 w 639233"/>
                <a:gd name="connsiteY4" fmla="*/ 198966 h 389466"/>
                <a:gd name="connsiteX0" fmla="*/ 0 w 639233"/>
                <a:gd name="connsiteY0" fmla="*/ 198966 h 376766"/>
                <a:gd name="connsiteX1" fmla="*/ 296333 w 639233"/>
                <a:gd name="connsiteY1" fmla="*/ 376766 h 376766"/>
                <a:gd name="connsiteX2" fmla="*/ 639233 w 639233"/>
                <a:gd name="connsiteY2" fmla="*/ 169332 h 376766"/>
                <a:gd name="connsiteX3" fmla="*/ 334433 w 639233"/>
                <a:gd name="connsiteY3" fmla="*/ 0 h 376766"/>
                <a:gd name="connsiteX4" fmla="*/ 0 w 639233"/>
                <a:gd name="connsiteY4" fmla="*/ 198966 h 376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233" h="376766">
                  <a:moveTo>
                    <a:pt x="0" y="198966"/>
                  </a:moveTo>
                  <a:lnTo>
                    <a:pt x="296333" y="376766"/>
                  </a:lnTo>
                  <a:lnTo>
                    <a:pt x="639233" y="169332"/>
                  </a:lnTo>
                  <a:lnTo>
                    <a:pt x="334433" y="0"/>
                  </a:lnTo>
                  <a:lnTo>
                    <a:pt x="0" y="198966"/>
                  </a:lnTo>
                  <a:close/>
                </a:path>
              </a:pathLst>
            </a:custGeom>
            <a:solidFill>
              <a:schemeClr val="tx1"/>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4" tIns="146267" rIns="182834" bIns="146267" numCol="1" spcCol="0" rtlCol="0" fromWordArt="0" anchor="t" anchorCtr="0" forceAA="0" compatLnSpc="1">
              <a:prstTxWarp prst="textNoShape">
                <a:avLst/>
              </a:prstTxWarp>
              <a:noAutofit/>
            </a:bodyPr>
            <a:lstStyle/>
            <a:p>
              <a:pPr algn="ctr" defTabSz="932216" fontAlgn="base">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3629" name="Group 3628">
            <a:extLst>
              <a:ext uri="{FF2B5EF4-FFF2-40B4-BE49-F238E27FC236}">
                <a16:creationId xmlns:a16="http://schemas.microsoft.com/office/drawing/2014/main" id="{AD9EE273-2041-4F33-8271-D2BB6EC9FDAD}"/>
              </a:ext>
            </a:extLst>
          </p:cNvPr>
          <p:cNvGrpSpPr/>
          <p:nvPr/>
        </p:nvGrpSpPr>
        <p:grpSpPr>
          <a:xfrm>
            <a:off x="2509383" y="2742472"/>
            <a:ext cx="583623" cy="215540"/>
            <a:chOff x="2147570" y="3609902"/>
            <a:chExt cx="1033109" cy="381539"/>
          </a:xfrm>
        </p:grpSpPr>
        <p:grpSp>
          <p:nvGrpSpPr>
            <p:cNvPr id="3630" name="Group 3629">
              <a:extLst>
                <a:ext uri="{FF2B5EF4-FFF2-40B4-BE49-F238E27FC236}">
                  <a16:creationId xmlns:a16="http://schemas.microsoft.com/office/drawing/2014/main" id="{9D8FFF81-A035-4C00-87B2-C3EEFE4ED594}"/>
                </a:ext>
              </a:extLst>
            </p:cNvPr>
            <p:cNvGrpSpPr/>
            <p:nvPr/>
          </p:nvGrpSpPr>
          <p:grpSpPr>
            <a:xfrm>
              <a:off x="2661524" y="3609902"/>
              <a:ext cx="519155" cy="381539"/>
              <a:chOff x="7290563" y="3272789"/>
              <a:chExt cx="581571" cy="427409"/>
            </a:xfrm>
          </p:grpSpPr>
          <p:grpSp>
            <p:nvGrpSpPr>
              <p:cNvPr id="3697" name="Group 3696">
                <a:extLst>
                  <a:ext uri="{FF2B5EF4-FFF2-40B4-BE49-F238E27FC236}">
                    <a16:creationId xmlns:a16="http://schemas.microsoft.com/office/drawing/2014/main" id="{A403FBA0-BDD0-445A-AEF9-ADAE32596E64}"/>
                  </a:ext>
                </a:extLst>
              </p:cNvPr>
              <p:cNvGrpSpPr/>
              <p:nvPr/>
            </p:nvGrpSpPr>
            <p:grpSpPr>
              <a:xfrm>
                <a:off x="7290563" y="3272789"/>
                <a:ext cx="501193" cy="368891"/>
                <a:chOff x="6333970" y="1980913"/>
                <a:chExt cx="843035" cy="669917"/>
              </a:xfrm>
              <a:solidFill>
                <a:schemeClr val="tx1">
                  <a:lumMod val="20000"/>
                  <a:lumOff val="80000"/>
                </a:schemeClr>
              </a:solidFill>
            </p:grpSpPr>
            <p:grpSp>
              <p:nvGrpSpPr>
                <p:cNvPr id="3726" name="Group 3725">
                  <a:extLst>
                    <a:ext uri="{FF2B5EF4-FFF2-40B4-BE49-F238E27FC236}">
                      <a16:creationId xmlns:a16="http://schemas.microsoft.com/office/drawing/2014/main" id="{87F61299-7717-4530-A059-CE70C0EBCF5D}"/>
                    </a:ext>
                  </a:extLst>
                </p:cNvPr>
                <p:cNvGrpSpPr/>
                <p:nvPr/>
              </p:nvGrpSpPr>
              <p:grpSpPr>
                <a:xfrm flipH="1">
                  <a:off x="6923045" y="2390830"/>
                  <a:ext cx="253960" cy="260000"/>
                  <a:chOff x="8636176" y="2775642"/>
                  <a:chExt cx="1123468" cy="1150187"/>
                </a:xfrm>
                <a:grpFill/>
              </p:grpSpPr>
              <p:sp>
                <p:nvSpPr>
                  <p:cNvPr id="3759" name="Parallelogram 3758">
                    <a:extLst>
                      <a:ext uri="{FF2B5EF4-FFF2-40B4-BE49-F238E27FC236}">
                        <a16:creationId xmlns:a16="http://schemas.microsoft.com/office/drawing/2014/main" id="{97618BDC-203E-4EBB-9C3D-502FE4CCABA9}"/>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60" name="Parallelogram 3759">
                    <a:extLst>
                      <a:ext uri="{FF2B5EF4-FFF2-40B4-BE49-F238E27FC236}">
                        <a16:creationId xmlns:a16="http://schemas.microsoft.com/office/drawing/2014/main" id="{39AE9E73-CE9A-43CF-831B-3A3522663661}"/>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61" name="Rectangle 3760">
                    <a:extLst>
                      <a:ext uri="{FF2B5EF4-FFF2-40B4-BE49-F238E27FC236}">
                        <a16:creationId xmlns:a16="http://schemas.microsoft.com/office/drawing/2014/main" id="{4FF20EC0-BFE8-43D0-A722-C87680E17D25}"/>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27" name="Group 3726">
                  <a:extLst>
                    <a:ext uri="{FF2B5EF4-FFF2-40B4-BE49-F238E27FC236}">
                      <a16:creationId xmlns:a16="http://schemas.microsoft.com/office/drawing/2014/main" id="{8BA3CC97-664E-4001-88EC-CD0375C49EC5}"/>
                    </a:ext>
                  </a:extLst>
                </p:cNvPr>
                <p:cNvGrpSpPr/>
                <p:nvPr/>
              </p:nvGrpSpPr>
              <p:grpSpPr>
                <a:xfrm flipH="1">
                  <a:off x="6724417" y="2390830"/>
                  <a:ext cx="255538" cy="260000"/>
                  <a:chOff x="8629196" y="2775642"/>
                  <a:chExt cx="1130448" cy="1150187"/>
                </a:xfrm>
                <a:grpFill/>
              </p:grpSpPr>
              <p:sp>
                <p:nvSpPr>
                  <p:cNvPr id="3756" name="Parallelogram 3755">
                    <a:extLst>
                      <a:ext uri="{FF2B5EF4-FFF2-40B4-BE49-F238E27FC236}">
                        <a16:creationId xmlns:a16="http://schemas.microsoft.com/office/drawing/2014/main" id="{AF771DEF-9192-4017-8A84-B39854975708}"/>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57" name="Parallelogram 3756">
                    <a:extLst>
                      <a:ext uri="{FF2B5EF4-FFF2-40B4-BE49-F238E27FC236}">
                        <a16:creationId xmlns:a16="http://schemas.microsoft.com/office/drawing/2014/main" id="{0D74A9BD-6FA4-4636-B7C3-41AF734298B7}"/>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58" name="Rectangle 3757">
                    <a:extLst>
                      <a:ext uri="{FF2B5EF4-FFF2-40B4-BE49-F238E27FC236}">
                        <a16:creationId xmlns:a16="http://schemas.microsoft.com/office/drawing/2014/main" id="{DEDA86FC-4F59-48F7-B33E-3DEE3315F74A}"/>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28" name="Group 3727">
                  <a:extLst>
                    <a:ext uri="{FF2B5EF4-FFF2-40B4-BE49-F238E27FC236}">
                      <a16:creationId xmlns:a16="http://schemas.microsoft.com/office/drawing/2014/main" id="{FBC5D13E-B621-4AD9-AE45-079AE7B341D7}"/>
                    </a:ext>
                  </a:extLst>
                </p:cNvPr>
                <p:cNvGrpSpPr/>
                <p:nvPr/>
              </p:nvGrpSpPr>
              <p:grpSpPr>
                <a:xfrm flipH="1">
                  <a:off x="6528784" y="2390830"/>
                  <a:ext cx="255538" cy="260000"/>
                  <a:chOff x="8629196" y="2775642"/>
                  <a:chExt cx="1130448" cy="1150187"/>
                </a:xfrm>
                <a:grpFill/>
              </p:grpSpPr>
              <p:sp>
                <p:nvSpPr>
                  <p:cNvPr id="3753" name="Parallelogram 3752">
                    <a:extLst>
                      <a:ext uri="{FF2B5EF4-FFF2-40B4-BE49-F238E27FC236}">
                        <a16:creationId xmlns:a16="http://schemas.microsoft.com/office/drawing/2014/main" id="{265428DA-9C2A-41E7-825A-E95D4B8D1A67}"/>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54" name="Parallelogram 3753">
                    <a:extLst>
                      <a:ext uri="{FF2B5EF4-FFF2-40B4-BE49-F238E27FC236}">
                        <a16:creationId xmlns:a16="http://schemas.microsoft.com/office/drawing/2014/main" id="{3F89DFAA-950A-4A76-B276-498AB6A0E6C8}"/>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55" name="Rectangle 3754">
                    <a:extLst>
                      <a:ext uri="{FF2B5EF4-FFF2-40B4-BE49-F238E27FC236}">
                        <a16:creationId xmlns:a16="http://schemas.microsoft.com/office/drawing/2014/main" id="{186BF8BC-67F1-4B7C-9549-0D6678274CE4}"/>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29" name="Group 3728">
                  <a:extLst>
                    <a:ext uri="{FF2B5EF4-FFF2-40B4-BE49-F238E27FC236}">
                      <a16:creationId xmlns:a16="http://schemas.microsoft.com/office/drawing/2014/main" id="{F5979FAB-CC80-4785-BD71-11BFC61E8CF1}"/>
                    </a:ext>
                  </a:extLst>
                </p:cNvPr>
                <p:cNvGrpSpPr/>
                <p:nvPr/>
              </p:nvGrpSpPr>
              <p:grpSpPr>
                <a:xfrm flipH="1">
                  <a:off x="6333970" y="2390830"/>
                  <a:ext cx="250150" cy="260000"/>
                  <a:chOff x="8636176" y="2775642"/>
                  <a:chExt cx="1106614" cy="1150187"/>
                </a:xfrm>
                <a:grpFill/>
              </p:grpSpPr>
              <p:sp>
                <p:nvSpPr>
                  <p:cNvPr id="3750" name="Parallelogram 3749">
                    <a:extLst>
                      <a:ext uri="{FF2B5EF4-FFF2-40B4-BE49-F238E27FC236}">
                        <a16:creationId xmlns:a16="http://schemas.microsoft.com/office/drawing/2014/main" id="{87CE9EBD-93F8-4423-9C2C-A9BC6887FA1A}"/>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51" name="Parallelogram 3750">
                    <a:extLst>
                      <a:ext uri="{FF2B5EF4-FFF2-40B4-BE49-F238E27FC236}">
                        <a16:creationId xmlns:a16="http://schemas.microsoft.com/office/drawing/2014/main" id="{6F98F5E8-0D86-4235-80F5-32F8DFC1FA4E}"/>
                      </a:ext>
                    </a:extLst>
                  </p:cNvPr>
                  <p:cNvSpPr/>
                  <p:nvPr/>
                </p:nvSpPr>
                <p:spPr bwMode="auto">
                  <a:xfrm rot="16200000" flipH="1">
                    <a:off x="9079251" y="3229815"/>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52" name="Rectangle 3751">
                    <a:extLst>
                      <a:ext uri="{FF2B5EF4-FFF2-40B4-BE49-F238E27FC236}">
                        <a16:creationId xmlns:a16="http://schemas.microsoft.com/office/drawing/2014/main" id="{C90ACB25-FB05-40B5-BF46-4BED6737CDB1}"/>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30" name="Group 3729">
                  <a:extLst>
                    <a:ext uri="{FF2B5EF4-FFF2-40B4-BE49-F238E27FC236}">
                      <a16:creationId xmlns:a16="http://schemas.microsoft.com/office/drawing/2014/main" id="{35E16C1E-FDCC-468B-B45B-1774203AB7D8}"/>
                    </a:ext>
                  </a:extLst>
                </p:cNvPr>
                <p:cNvGrpSpPr/>
                <p:nvPr/>
              </p:nvGrpSpPr>
              <p:grpSpPr>
                <a:xfrm flipH="1">
                  <a:off x="6821158" y="2181555"/>
                  <a:ext cx="253960" cy="260000"/>
                  <a:chOff x="8636176" y="2775642"/>
                  <a:chExt cx="1123468" cy="1150187"/>
                </a:xfrm>
                <a:grpFill/>
              </p:grpSpPr>
              <p:sp>
                <p:nvSpPr>
                  <p:cNvPr id="3747" name="Parallelogram 3746">
                    <a:extLst>
                      <a:ext uri="{FF2B5EF4-FFF2-40B4-BE49-F238E27FC236}">
                        <a16:creationId xmlns:a16="http://schemas.microsoft.com/office/drawing/2014/main" id="{ACFA4234-48EE-4221-B8F5-69CFF120622C}"/>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48" name="Parallelogram 3747">
                    <a:extLst>
                      <a:ext uri="{FF2B5EF4-FFF2-40B4-BE49-F238E27FC236}">
                        <a16:creationId xmlns:a16="http://schemas.microsoft.com/office/drawing/2014/main" id="{9295525E-00B8-4723-8E2B-E9B69119F880}"/>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49" name="Rectangle 3748">
                    <a:extLst>
                      <a:ext uri="{FF2B5EF4-FFF2-40B4-BE49-F238E27FC236}">
                        <a16:creationId xmlns:a16="http://schemas.microsoft.com/office/drawing/2014/main" id="{D82318C8-0F02-40BA-91B0-FA6688DD74EC}"/>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31" name="Group 3730">
                  <a:extLst>
                    <a:ext uri="{FF2B5EF4-FFF2-40B4-BE49-F238E27FC236}">
                      <a16:creationId xmlns:a16="http://schemas.microsoft.com/office/drawing/2014/main" id="{C7240463-3EC1-4B42-B42C-5387D36C4909}"/>
                    </a:ext>
                  </a:extLst>
                </p:cNvPr>
                <p:cNvGrpSpPr/>
                <p:nvPr/>
              </p:nvGrpSpPr>
              <p:grpSpPr>
                <a:xfrm flipH="1">
                  <a:off x="6629510" y="2181555"/>
                  <a:ext cx="255538" cy="260000"/>
                  <a:chOff x="8629196" y="2775642"/>
                  <a:chExt cx="1130448" cy="1150187"/>
                </a:xfrm>
                <a:grpFill/>
              </p:grpSpPr>
              <p:sp>
                <p:nvSpPr>
                  <p:cNvPr id="3744" name="Parallelogram 3743">
                    <a:extLst>
                      <a:ext uri="{FF2B5EF4-FFF2-40B4-BE49-F238E27FC236}">
                        <a16:creationId xmlns:a16="http://schemas.microsoft.com/office/drawing/2014/main" id="{F0CDAE3B-29D7-413D-89B3-2FD8234719D4}"/>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45" name="Parallelogram 3744">
                    <a:extLst>
                      <a:ext uri="{FF2B5EF4-FFF2-40B4-BE49-F238E27FC236}">
                        <a16:creationId xmlns:a16="http://schemas.microsoft.com/office/drawing/2014/main" id="{7C42D6A4-F8F3-4C7F-8BFF-E824949578FB}"/>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46" name="Rectangle 3745">
                    <a:extLst>
                      <a:ext uri="{FF2B5EF4-FFF2-40B4-BE49-F238E27FC236}">
                        <a16:creationId xmlns:a16="http://schemas.microsoft.com/office/drawing/2014/main" id="{6305F165-7223-4C79-B9EB-6189AB5F2957}"/>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32" name="Group 3731">
                  <a:extLst>
                    <a:ext uri="{FF2B5EF4-FFF2-40B4-BE49-F238E27FC236}">
                      <a16:creationId xmlns:a16="http://schemas.microsoft.com/office/drawing/2014/main" id="{C59659AE-D03E-4AED-AB97-A712D82EB5DC}"/>
                    </a:ext>
                  </a:extLst>
                </p:cNvPr>
                <p:cNvGrpSpPr/>
                <p:nvPr/>
              </p:nvGrpSpPr>
              <p:grpSpPr>
                <a:xfrm flipH="1">
                  <a:off x="6435318" y="2181555"/>
                  <a:ext cx="250454" cy="260000"/>
                  <a:chOff x="8636176" y="2775642"/>
                  <a:chExt cx="1107958" cy="1150187"/>
                </a:xfrm>
                <a:grpFill/>
              </p:grpSpPr>
              <p:sp>
                <p:nvSpPr>
                  <p:cNvPr id="3741" name="Parallelogram 3740">
                    <a:extLst>
                      <a:ext uri="{FF2B5EF4-FFF2-40B4-BE49-F238E27FC236}">
                        <a16:creationId xmlns:a16="http://schemas.microsoft.com/office/drawing/2014/main" id="{6912733D-97FE-4A66-A869-AD8AB62AA4C4}"/>
                      </a:ext>
                    </a:extLst>
                  </p:cNvPr>
                  <p:cNvSpPr/>
                  <p:nvPr/>
                </p:nvSpPr>
                <p:spPr bwMode="auto">
                  <a:xfrm>
                    <a:off x="8646050"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42" name="Parallelogram 3741">
                    <a:extLst>
                      <a:ext uri="{FF2B5EF4-FFF2-40B4-BE49-F238E27FC236}">
                        <a16:creationId xmlns:a16="http://schemas.microsoft.com/office/drawing/2014/main" id="{3B62AA9C-75BE-4519-BD47-5F24A0B11CA9}"/>
                      </a:ext>
                    </a:extLst>
                  </p:cNvPr>
                  <p:cNvSpPr/>
                  <p:nvPr/>
                </p:nvSpPr>
                <p:spPr bwMode="auto">
                  <a:xfrm rot="16200000" flipH="1">
                    <a:off x="9079251" y="3221388"/>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43" name="Rectangle 3742">
                    <a:extLst>
                      <a:ext uri="{FF2B5EF4-FFF2-40B4-BE49-F238E27FC236}">
                        <a16:creationId xmlns:a16="http://schemas.microsoft.com/office/drawing/2014/main" id="{E20863BF-9237-48B2-B5E8-FF6B0C4AB7A6}"/>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33" name="Group 3732">
                  <a:extLst>
                    <a:ext uri="{FF2B5EF4-FFF2-40B4-BE49-F238E27FC236}">
                      <a16:creationId xmlns:a16="http://schemas.microsoft.com/office/drawing/2014/main" id="{F0A01DAA-914C-4A63-B6B7-52F1BB066583}"/>
                    </a:ext>
                  </a:extLst>
                </p:cNvPr>
                <p:cNvGrpSpPr/>
                <p:nvPr/>
              </p:nvGrpSpPr>
              <p:grpSpPr>
                <a:xfrm flipH="1">
                  <a:off x="6676419" y="1980913"/>
                  <a:ext cx="253960" cy="257467"/>
                  <a:chOff x="8636176" y="2786845"/>
                  <a:chExt cx="1123468" cy="1138984"/>
                </a:xfrm>
                <a:grpFill/>
              </p:grpSpPr>
              <p:sp>
                <p:nvSpPr>
                  <p:cNvPr id="3738" name="Parallelogram 3737">
                    <a:extLst>
                      <a:ext uri="{FF2B5EF4-FFF2-40B4-BE49-F238E27FC236}">
                        <a16:creationId xmlns:a16="http://schemas.microsoft.com/office/drawing/2014/main" id="{3940C5F6-C056-46DD-9B7D-7E58D0A14514}"/>
                      </a:ext>
                    </a:extLst>
                  </p:cNvPr>
                  <p:cNvSpPr/>
                  <p:nvPr/>
                </p:nvSpPr>
                <p:spPr bwMode="auto">
                  <a:xfrm>
                    <a:off x="8637623" y="2792494"/>
                    <a:ext cx="1098084" cy="228994"/>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39" name="Parallelogram 3738">
                    <a:extLst>
                      <a:ext uri="{FF2B5EF4-FFF2-40B4-BE49-F238E27FC236}">
                        <a16:creationId xmlns:a16="http://schemas.microsoft.com/office/drawing/2014/main" id="{D3609644-0536-4C0B-97B4-92719EC7982E}"/>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40" name="Rectangle 3739">
                    <a:extLst>
                      <a:ext uri="{FF2B5EF4-FFF2-40B4-BE49-F238E27FC236}">
                        <a16:creationId xmlns:a16="http://schemas.microsoft.com/office/drawing/2014/main" id="{1F920ABC-3121-45A5-978D-B7715600428F}"/>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34" name="Group 3733">
                  <a:extLst>
                    <a:ext uri="{FF2B5EF4-FFF2-40B4-BE49-F238E27FC236}">
                      <a16:creationId xmlns:a16="http://schemas.microsoft.com/office/drawing/2014/main" id="{398B453C-204D-41F8-8A83-20C6A2CF7CA5}"/>
                    </a:ext>
                  </a:extLst>
                </p:cNvPr>
                <p:cNvGrpSpPr/>
                <p:nvPr/>
              </p:nvGrpSpPr>
              <p:grpSpPr>
                <a:xfrm flipH="1">
                  <a:off x="6488278" y="1982191"/>
                  <a:ext cx="250454" cy="256190"/>
                  <a:chOff x="8636176" y="2792496"/>
                  <a:chExt cx="1107958" cy="1133333"/>
                </a:xfrm>
                <a:grpFill/>
              </p:grpSpPr>
              <p:sp>
                <p:nvSpPr>
                  <p:cNvPr id="3735" name="Parallelogram 3734">
                    <a:extLst>
                      <a:ext uri="{FF2B5EF4-FFF2-40B4-BE49-F238E27FC236}">
                        <a16:creationId xmlns:a16="http://schemas.microsoft.com/office/drawing/2014/main" id="{04AF93B1-6568-496C-93C1-178A142000B7}"/>
                      </a:ext>
                    </a:extLst>
                  </p:cNvPr>
                  <p:cNvSpPr/>
                  <p:nvPr/>
                </p:nvSpPr>
                <p:spPr bwMode="auto">
                  <a:xfrm>
                    <a:off x="8646050" y="2792496"/>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36" name="Parallelogram 3735">
                    <a:extLst>
                      <a:ext uri="{FF2B5EF4-FFF2-40B4-BE49-F238E27FC236}">
                        <a16:creationId xmlns:a16="http://schemas.microsoft.com/office/drawing/2014/main" id="{4613580B-FE05-4310-A229-8E8C9A998933}"/>
                      </a:ext>
                    </a:extLst>
                  </p:cNvPr>
                  <p:cNvSpPr/>
                  <p:nvPr/>
                </p:nvSpPr>
                <p:spPr bwMode="auto">
                  <a:xfrm rot="16200000" flipH="1">
                    <a:off x="9079249" y="3229819"/>
                    <a:ext cx="1098086"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37" name="Rectangle 3736">
                    <a:extLst>
                      <a:ext uri="{FF2B5EF4-FFF2-40B4-BE49-F238E27FC236}">
                        <a16:creationId xmlns:a16="http://schemas.microsoft.com/office/drawing/2014/main" id="{9BD1225F-4905-45F9-A346-3B4014449DB7}"/>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698" name="Group 3697">
                <a:extLst>
                  <a:ext uri="{FF2B5EF4-FFF2-40B4-BE49-F238E27FC236}">
                    <a16:creationId xmlns:a16="http://schemas.microsoft.com/office/drawing/2014/main" id="{13255728-03DE-4528-93D3-9CB8A0D3FDA9}"/>
                  </a:ext>
                </a:extLst>
              </p:cNvPr>
              <p:cNvGrpSpPr/>
              <p:nvPr/>
            </p:nvGrpSpPr>
            <p:grpSpPr>
              <a:xfrm flipH="1">
                <a:off x="7721152" y="3557028"/>
                <a:ext cx="150982" cy="143170"/>
                <a:chOff x="8636176" y="2775642"/>
                <a:chExt cx="1123468" cy="1150187"/>
              </a:xfrm>
              <a:solidFill>
                <a:schemeClr val="bg1">
                  <a:lumMod val="95000"/>
                </a:schemeClr>
              </a:solidFill>
            </p:grpSpPr>
            <p:sp>
              <p:nvSpPr>
                <p:cNvPr id="3723" name="Parallelogram 3722">
                  <a:extLst>
                    <a:ext uri="{FF2B5EF4-FFF2-40B4-BE49-F238E27FC236}">
                      <a16:creationId xmlns:a16="http://schemas.microsoft.com/office/drawing/2014/main" id="{55726116-83D3-40D3-9CD7-EC6CFCE44C51}"/>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24" name="Parallelogram 3723">
                  <a:extLst>
                    <a:ext uri="{FF2B5EF4-FFF2-40B4-BE49-F238E27FC236}">
                      <a16:creationId xmlns:a16="http://schemas.microsoft.com/office/drawing/2014/main" id="{863BC52E-45A1-49C7-B75B-307185B22B3B}"/>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25" name="Rectangle 3724">
                  <a:extLst>
                    <a:ext uri="{FF2B5EF4-FFF2-40B4-BE49-F238E27FC236}">
                      <a16:creationId xmlns:a16="http://schemas.microsoft.com/office/drawing/2014/main" id="{C408A243-55E4-447F-B93E-6E3A28160556}"/>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99" name="Group 3698">
                <a:extLst>
                  <a:ext uri="{FF2B5EF4-FFF2-40B4-BE49-F238E27FC236}">
                    <a16:creationId xmlns:a16="http://schemas.microsoft.com/office/drawing/2014/main" id="{D6695420-0086-4510-86E3-2353FFD476D9}"/>
                  </a:ext>
                </a:extLst>
              </p:cNvPr>
              <p:cNvGrpSpPr/>
              <p:nvPr/>
            </p:nvGrpSpPr>
            <p:grpSpPr>
              <a:xfrm flipH="1">
                <a:off x="7603066" y="3557028"/>
                <a:ext cx="151920" cy="143170"/>
                <a:chOff x="8629196" y="2775642"/>
                <a:chExt cx="1130448" cy="1150187"/>
              </a:xfrm>
              <a:solidFill>
                <a:schemeClr val="bg1">
                  <a:lumMod val="95000"/>
                </a:schemeClr>
              </a:solidFill>
            </p:grpSpPr>
            <p:sp>
              <p:nvSpPr>
                <p:cNvPr id="3720" name="Parallelogram 3719">
                  <a:extLst>
                    <a:ext uri="{FF2B5EF4-FFF2-40B4-BE49-F238E27FC236}">
                      <a16:creationId xmlns:a16="http://schemas.microsoft.com/office/drawing/2014/main" id="{A7440DDF-3E4F-417B-B219-6466B9B2837C}"/>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21" name="Parallelogram 3720">
                  <a:extLst>
                    <a:ext uri="{FF2B5EF4-FFF2-40B4-BE49-F238E27FC236}">
                      <a16:creationId xmlns:a16="http://schemas.microsoft.com/office/drawing/2014/main" id="{FF7E4E72-83E4-46CB-8D74-EC03978EB700}"/>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22" name="Rectangle 3721">
                  <a:extLst>
                    <a:ext uri="{FF2B5EF4-FFF2-40B4-BE49-F238E27FC236}">
                      <a16:creationId xmlns:a16="http://schemas.microsoft.com/office/drawing/2014/main" id="{0C41D0A6-7B41-4636-8C4A-A20C6200C6E4}"/>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00" name="Group 3699">
                <a:extLst>
                  <a:ext uri="{FF2B5EF4-FFF2-40B4-BE49-F238E27FC236}">
                    <a16:creationId xmlns:a16="http://schemas.microsoft.com/office/drawing/2014/main" id="{780E9C7B-BDDB-4168-A69E-4976E9432D3E}"/>
                  </a:ext>
                </a:extLst>
              </p:cNvPr>
              <p:cNvGrpSpPr/>
              <p:nvPr/>
            </p:nvGrpSpPr>
            <p:grpSpPr>
              <a:xfrm flipH="1">
                <a:off x="7486760" y="3557028"/>
                <a:ext cx="151920" cy="143170"/>
                <a:chOff x="8629196" y="2775642"/>
                <a:chExt cx="1130448" cy="1150187"/>
              </a:xfrm>
              <a:solidFill>
                <a:schemeClr val="bg1">
                  <a:lumMod val="95000"/>
                </a:schemeClr>
              </a:solidFill>
            </p:grpSpPr>
            <p:sp>
              <p:nvSpPr>
                <p:cNvPr id="3717" name="Parallelogram 3716">
                  <a:extLst>
                    <a:ext uri="{FF2B5EF4-FFF2-40B4-BE49-F238E27FC236}">
                      <a16:creationId xmlns:a16="http://schemas.microsoft.com/office/drawing/2014/main" id="{FB0155DE-151A-45D6-9425-E549F92F1E28}"/>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18" name="Parallelogram 3717">
                  <a:extLst>
                    <a:ext uri="{FF2B5EF4-FFF2-40B4-BE49-F238E27FC236}">
                      <a16:creationId xmlns:a16="http://schemas.microsoft.com/office/drawing/2014/main" id="{8EAF6A03-144A-4BAE-987A-88ACC0E746F0}"/>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19" name="Rectangle 3718">
                  <a:extLst>
                    <a:ext uri="{FF2B5EF4-FFF2-40B4-BE49-F238E27FC236}">
                      <a16:creationId xmlns:a16="http://schemas.microsoft.com/office/drawing/2014/main" id="{FB2B6C56-B5A6-44E3-9618-6B5A0875D99B}"/>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01" name="Group 3700">
                <a:extLst>
                  <a:ext uri="{FF2B5EF4-FFF2-40B4-BE49-F238E27FC236}">
                    <a16:creationId xmlns:a16="http://schemas.microsoft.com/office/drawing/2014/main" id="{0D58E630-EB48-4935-9438-C6F6F2587106}"/>
                  </a:ext>
                </a:extLst>
              </p:cNvPr>
              <p:cNvGrpSpPr/>
              <p:nvPr/>
            </p:nvGrpSpPr>
            <p:grpSpPr>
              <a:xfrm flipH="1">
                <a:off x="7370941" y="3557028"/>
                <a:ext cx="148717" cy="143170"/>
                <a:chOff x="8636176" y="2775642"/>
                <a:chExt cx="1106614" cy="1150187"/>
              </a:xfrm>
              <a:solidFill>
                <a:schemeClr val="bg1">
                  <a:lumMod val="95000"/>
                </a:schemeClr>
              </a:solidFill>
            </p:grpSpPr>
            <p:sp>
              <p:nvSpPr>
                <p:cNvPr id="3714" name="Parallelogram 3713">
                  <a:extLst>
                    <a:ext uri="{FF2B5EF4-FFF2-40B4-BE49-F238E27FC236}">
                      <a16:creationId xmlns:a16="http://schemas.microsoft.com/office/drawing/2014/main" id="{D5155903-0031-4F10-98D4-26500972CE09}"/>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15" name="Parallelogram 3714">
                  <a:extLst>
                    <a:ext uri="{FF2B5EF4-FFF2-40B4-BE49-F238E27FC236}">
                      <a16:creationId xmlns:a16="http://schemas.microsoft.com/office/drawing/2014/main" id="{8974AFEE-DFED-49AB-8E3F-3ACB2CAF0202}"/>
                    </a:ext>
                  </a:extLst>
                </p:cNvPr>
                <p:cNvSpPr/>
                <p:nvPr/>
              </p:nvSpPr>
              <p:spPr bwMode="auto">
                <a:xfrm rot="16200000" flipH="1">
                  <a:off x="9079251" y="3229815"/>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16" name="Rectangle 3715">
                  <a:extLst>
                    <a:ext uri="{FF2B5EF4-FFF2-40B4-BE49-F238E27FC236}">
                      <a16:creationId xmlns:a16="http://schemas.microsoft.com/office/drawing/2014/main" id="{CFD53B22-85B9-4ABA-840A-696A97C271A1}"/>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02" name="Group 3701">
                <a:extLst>
                  <a:ext uri="{FF2B5EF4-FFF2-40B4-BE49-F238E27FC236}">
                    <a16:creationId xmlns:a16="http://schemas.microsoft.com/office/drawing/2014/main" id="{E643F788-DD35-4A27-BE83-49DCBE7E773D}"/>
                  </a:ext>
                </a:extLst>
              </p:cNvPr>
              <p:cNvGrpSpPr/>
              <p:nvPr/>
            </p:nvGrpSpPr>
            <p:grpSpPr>
              <a:xfrm flipH="1">
                <a:off x="7660579" y="3441791"/>
                <a:ext cx="150982" cy="143170"/>
                <a:chOff x="8636176" y="2775642"/>
                <a:chExt cx="1123468" cy="1150187"/>
              </a:xfrm>
              <a:solidFill>
                <a:schemeClr val="bg1">
                  <a:lumMod val="95000"/>
                </a:schemeClr>
              </a:solidFill>
            </p:grpSpPr>
            <p:sp>
              <p:nvSpPr>
                <p:cNvPr id="3711" name="Parallelogram 3710">
                  <a:extLst>
                    <a:ext uri="{FF2B5EF4-FFF2-40B4-BE49-F238E27FC236}">
                      <a16:creationId xmlns:a16="http://schemas.microsoft.com/office/drawing/2014/main" id="{1DEDF2BE-F5C5-48D0-A11F-6F7CED7EDC01}"/>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12" name="Parallelogram 3711">
                  <a:extLst>
                    <a:ext uri="{FF2B5EF4-FFF2-40B4-BE49-F238E27FC236}">
                      <a16:creationId xmlns:a16="http://schemas.microsoft.com/office/drawing/2014/main" id="{9D139AC0-4EAE-44C9-BB4E-616EFAF449D1}"/>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13" name="Rectangle 3712">
                  <a:extLst>
                    <a:ext uri="{FF2B5EF4-FFF2-40B4-BE49-F238E27FC236}">
                      <a16:creationId xmlns:a16="http://schemas.microsoft.com/office/drawing/2014/main" id="{BB4B514E-B85B-4F3C-A55D-911430431785}"/>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03" name="Group 3702">
                <a:extLst>
                  <a:ext uri="{FF2B5EF4-FFF2-40B4-BE49-F238E27FC236}">
                    <a16:creationId xmlns:a16="http://schemas.microsoft.com/office/drawing/2014/main" id="{8B64DBD9-DFB6-4253-9F66-BB8E770981DE}"/>
                  </a:ext>
                </a:extLst>
              </p:cNvPr>
              <p:cNvGrpSpPr/>
              <p:nvPr/>
            </p:nvGrpSpPr>
            <p:grpSpPr>
              <a:xfrm flipH="1">
                <a:off x="7546643" y="3441791"/>
                <a:ext cx="151920" cy="143170"/>
                <a:chOff x="8629196" y="2775642"/>
                <a:chExt cx="1130448" cy="1150187"/>
              </a:xfrm>
              <a:solidFill>
                <a:schemeClr val="bg1">
                  <a:lumMod val="95000"/>
                </a:schemeClr>
              </a:solidFill>
            </p:grpSpPr>
            <p:sp>
              <p:nvSpPr>
                <p:cNvPr id="3708" name="Parallelogram 3707">
                  <a:extLst>
                    <a:ext uri="{FF2B5EF4-FFF2-40B4-BE49-F238E27FC236}">
                      <a16:creationId xmlns:a16="http://schemas.microsoft.com/office/drawing/2014/main" id="{BD16043D-F644-428C-945B-4362A2FC478A}"/>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09" name="Parallelogram 3708">
                  <a:extLst>
                    <a:ext uri="{FF2B5EF4-FFF2-40B4-BE49-F238E27FC236}">
                      <a16:creationId xmlns:a16="http://schemas.microsoft.com/office/drawing/2014/main" id="{BCE03CDC-C94F-4CFB-87BE-D645B7437326}"/>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10" name="Rectangle 3709">
                  <a:extLst>
                    <a:ext uri="{FF2B5EF4-FFF2-40B4-BE49-F238E27FC236}">
                      <a16:creationId xmlns:a16="http://schemas.microsoft.com/office/drawing/2014/main" id="{B5D245E9-E507-445F-9E6B-D058463F296B}"/>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04" name="Group 3703">
                <a:extLst>
                  <a:ext uri="{FF2B5EF4-FFF2-40B4-BE49-F238E27FC236}">
                    <a16:creationId xmlns:a16="http://schemas.microsoft.com/office/drawing/2014/main" id="{94AAB3C0-D0C2-4A72-AF6C-A4C79F1EFA7C}"/>
                  </a:ext>
                </a:extLst>
              </p:cNvPr>
              <p:cNvGrpSpPr/>
              <p:nvPr/>
            </p:nvGrpSpPr>
            <p:grpSpPr>
              <a:xfrm flipH="1">
                <a:off x="7431194" y="3441791"/>
                <a:ext cx="148897" cy="143170"/>
                <a:chOff x="8636176" y="2775642"/>
                <a:chExt cx="1107958" cy="1150187"/>
              </a:xfrm>
              <a:solidFill>
                <a:schemeClr val="bg1">
                  <a:lumMod val="95000"/>
                </a:schemeClr>
              </a:solidFill>
            </p:grpSpPr>
            <p:sp>
              <p:nvSpPr>
                <p:cNvPr id="3705" name="Parallelogram 3704">
                  <a:extLst>
                    <a:ext uri="{FF2B5EF4-FFF2-40B4-BE49-F238E27FC236}">
                      <a16:creationId xmlns:a16="http://schemas.microsoft.com/office/drawing/2014/main" id="{ED50CCB3-3656-4BCA-9082-036ADF2FB2A3}"/>
                    </a:ext>
                  </a:extLst>
                </p:cNvPr>
                <p:cNvSpPr/>
                <p:nvPr/>
              </p:nvSpPr>
              <p:spPr bwMode="auto">
                <a:xfrm>
                  <a:off x="8646050"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06" name="Parallelogram 3705">
                  <a:extLst>
                    <a:ext uri="{FF2B5EF4-FFF2-40B4-BE49-F238E27FC236}">
                      <a16:creationId xmlns:a16="http://schemas.microsoft.com/office/drawing/2014/main" id="{9D3A2304-9A45-4275-9BB6-6C6D5AC9EED6}"/>
                    </a:ext>
                  </a:extLst>
                </p:cNvPr>
                <p:cNvSpPr/>
                <p:nvPr/>
              </p:nvSpPr>
              <p:spPr bwMode="auto">
                <a:xfrm rot="16200000" flipH="1">
                  <a:off x="9079251" y="3221388"/>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07" name="Rectangle 3706">
                  <a:extLst>
                    <a:ext uri="{FF2B5EF4-FFF2-40B4-BE49-F238E27FC236}">
                      <a16:creationId xmlns:a16="http://schemas.microsoft.com/office/drawing/2014/main" id="{53FCD563-CC84-4909-8DD4-1EE44DF5DBC6}"/>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631" name="Group 3630">
              <a:extLst>
                <a:ext uri="{FF2B5EF4-FFF2-40B4-BE49-F238E27FC236}">
                  <a16:creationId xmlns:a16="http://schemas.microsoft.com/office/drawing/2014/main" id="{0F6611FD-DBBA-48BC-B45C-CB1BF23EFD8B}"/>
                </a:ext>
              </a:extLst>
            </p:cNvPr>
            <p:cNvGrpSpPr/>
            <p:nvPr/>
          </p:nvGrpSpPr>
          <p:grpSpPr>
            <a:xfrm>
              <a:off x="2147570" y="3609902"/>
              <a:ext cx="519155" cy="381539"/>
              <a:chOff x="7290563" y="3272789"/>
              <a:chExt cx="581571" cy="427409"/>
            </a:xfrm>
          </p:grpSpPr>
          <p:grpSp>
            <p:nvGrpSpPr>
              <p:cNvPr id="3632" name="Group 3631">
                <a:extLst>
                  <a:ext uri="{FF2B5EF4-FFF2-40B4-BE49-F238E27FC236}">
                    <a16:creationId xmlns:a16="http://schemas.microsoft.com/office/drawing/2014/main" id="{76A3A22B-189A-4C01-AB4A-C70A18CB2FBE}"/>
                  </a:ext>
                </a:extLst>
              </p:cNvPr>
              <p:cNvGrpSpPr/>
              <p:nvPr/>
            </p:nvGrpSpPr>
            <p:grpSpPr>
              <a:xfrm>
                <a:off x="7290563" y="3272789"/>
                <a:ext cx="501193" cy="368891"/>
                <a:chOff x="6333970" y="1980913"/>
                <a:chExt cx="843035" cy="669917"/>
              </a:xfrm>
              <a:solidFill>
                <a:schemeClr val="tx1">
                  <a:lumMod val="20000"/>
                  <a:lumOff val="80000"/>
                </a:schemeClr>
              </a:solidFill>
            </p:grpSpPr>
            <p:grpSp>
              <p:nvGrpSpPr>
                <p:cNvPr id="3661" name="Group 3660">
                  <a:extLst>
                    <a:ext uri="{FF2B5EF4-FFF2-40B4-BE49-F238E27FC236}">
                      <a16:creationId xmlns:a16="http://schemas.microsoft.com/office/drawing/2014/main" id="{189C6296-842C-4252-A73B-D5814B755BD6}"/>
                    </a:ext>
                  </a:extLst>
                </p:cNvPr>
                <p:cNvGrpSpPr/>
                <p:nvPr/>
              </p:nvGrpSpPr>
              <p:grpSpPr>
                <a:xfrm flipH="1">
                  <a:off x="6923045" y="2390830"/>
                  <a:ext cx="253960" cy="260000"/>
                  <a:chOff x="8636176" y="2775642"/>
                  <a:chExt cx="1123468" cy="1150187"/>
                </a:xfrm>
                <a:grpFill/>
              </p:grpSpPr>
              <p:sp>
                <p:nvSpPr>
                  <p:cNvPr id="3694" name="Parallelogram 3693">
                    <a:extLst>
                      <a:ext uri="{FF2B5EF4-FFF2-40B4-BE49-F238E27FC236}">
                        <a16:creationId xmlns:a16="http://schemas.microsoft.com/office/drawing/2014/main" id="{6B3AFD2B-4618-4C5E-BB71-6DFDE1170103}"/>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95" name="Parallelogram 3694">
                    <a:extLst>
                      <a:ext uri="{FF2B5EF4-FFF2-40B4-BE49-F238E27FC236}">
                        <a16:creationId xmlns:a16="http://schemas.microsoft.com/office/drawing/2014/main" id="{EBE3237E-E89E-42B2-863A-6BA470389B99}"/>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96" name="Rectangle 3695">
                    <a:extLst>
                      <a:ext uri="{FF2B5EF4-FFF2-40B4-BE49-F238E27FC236}">
                        <a16:creationId xmlns:a16="http://schemas.microsoft.com/office/drawing/2014/main" id="{6F76AF7C-91AB-412F-9509-846C5A041190}"/>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62" name="Group 3661">
                  <a:extLst>
                    <a:ext uri="{FF2B5EF4-FFF2-40B4-BE49-F238E27FC236}">
                      <a16:creationId xmlns:a16="http://schemas.microsoft.com/office/drawing/2014/main" id="{6026B38B-F6BC-4833-9B3B-2EFE5743D1B6}"/>
                    </a:ext>
                  </a:extLst>
                </p:cNvPr>
                <p:cNvGrpSpPr/>
                <p:nvPr/>
              </p:nvGrpSpPr>
              <p:grpSpPr>
                <a:xfrm flipH="1">
                  <a:off x="6724417" y="2390830"/>
                  <a:ext cx="255538" cy="260000"/>
                  <a:chOff x="8629196" y="2775642"/>
                  <a:chExt cx="1130448" cy="1150187"/>
                </a:xfrm>
                <a:grpFill/>
              </p:grpSpPr>
              <p:sp>
                <p:nvSpPr>
                  <p:cNvPr id="3691" name="Parallelogram 3690">
                    <a:extLst>
                      <a:ext uri="{FF2B5EF4-FFF2-40B4-BE49-F238E27FC236}">
                        <a16:creationId xmlns:a16="http://schemas.microsoft.com/office/drawing/2014/main" id="{66EEDF67-7500-4841-879E-02C50EB82F2D}"/>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92" name="Parallelogram 3691">
                    <a:extLst>
                      <a:ext uri="{FF2B5EF4-FFF2-40B4-BE49-F238E27FC236}">
                        <a16:creationId xmlns:a16="http://schemas.microsoft.com/office/drawing/2014/main" id="{ECCC8405-B20F-4FB7-87B4-24DA049EF0CC}"/>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93" name="Rectangle 3692">
                    <a:extLst>
                      <a:ext uri="{FF2B5EF4-FFF2-40B4-BE49-F238E27FC236}">
                        <a16:creationId xmlns:a16="http://schemas.microsoft.com/office/drawing/2014/main" id="{E919B6A6-0955-4653-B96F-76409E4FCBDB}"/>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63" name="Group 3662">
                  <a:extLst>
                    <a:ext uri="{FF2B5EF4-FFF2-40B4-BE49-F238E27FC236}">
                      <a16:creationId xmlns:a16="http://schemas.microsoft.com/office/drawing/2014/main" id="{52D9AC71-967E-4F45-A79F-9B8AAA446A81}"/>
                    </a:ext>
                  </a:extLst>
                </p:cNvPr>
                <p:cNvGrpSpPr/>
                <p:nvPr/>
              </p:nvGrpSpPr>
              <p:grpSpPr>
                <a:xfrm flipH="1">
                  <a:off x="6528784" y="2390830"/>
                  <a:ext cx="255538" cy="260000"/>
                  <a:chOff x="8629196" y="2775642"/>
                  <a:chExt cx="1130448" cy="1150187"/>
                </a:xfrm>
                <a:grpFill/>
              </p:grpSpPr>
              <p:sp>
                <p:nvSpPr>
                  <p:cNvPr id="3688" name="Parallelogram 3687">
                    <a:extLst>
                      <a:ext uri="{FF2B5EF4-FFF2-40B4-BE49-F238E27FC236}">
                        <a16:creationId xmlns:a16="http://schemas.microsoft.com/office/drawing/2014/main" id="{CA829968-FBB1-4F0B-8AED-BC572C2EB649}"/>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89" name="Parallelogram 3688">
                    <a:extLst>
                      <a:ext uri="{FF2B5EF4-FFF2-40B4-BE49-F238E27FC236}">
                        <a16:creationId xmlns:a16="http://schemas.microsoft.com/office/drawing/2014/main" id="{FC6C0BAD-9274-4A1E-A548-1CE59056040A}"/>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90" name="Rectangle 3689">
                    <a:extLst>
                      <a:ext uri="{FF2B5EF4-FFF2-40B4-BE49-F238E27FC236}">
                        <a16:creationId xmlns:a16="http://schemas.microsoft.com/office/drawing/2014/main" id="{5E3C1EAF-F1CF-4155-B62F-507E48DB282B}"/>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64" name="Group 3663">
                  <a:extLst>
                    <a:ext uri="{FF2B5EF4-FFF2-40B4-BE49-F238E27FC236}">
                      <a16:creationId xmlns:a16="http://schemas.microsoft.com/office/drawing/2014/main" id="{5E5921E2-EA50-4FE0-8D6A-D31AB7896CC3}"/>
                    </a:ext>
                  </a:extLst>
                </p:cNvPr>
                <p:cNvGrpSpPr/>
                <p:nvPr/>
              </p:nvGrpSpPr>
              <p:grpSpPr>
                <a:xfrm flipH="1">
                  <a:off x="6333970" y="2390830"/>
                  <a:ext cx="250150" cy="260000"/>
                  <a:chOff x="8636176" y="2775642"/>
                  <a:chExt cx="1106614" cy="1150187"/>
                </a:xfrm>
                <a:grpFill/>
              </p:grpSpPr>
              <p:sp>
                <p:nvSpPr>
                  <p:cNvPr id="3685" name="Parallelogram 3684">
                    <a:extLst>
                      <a:ext uri="{FF2B5EF4-FFF2-40B4-BE49-F238E27FC236}">
                        <a16:creationId xmlns:a16="http://schemas.microsoft.com/office/drawing/2014/main" id="{A2BFF3B1-C0DF-436D-A4D8-FDE65C76B494}"/>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86" name="Parallelogram 3685">
                    <a:extLst>
                      <a:ext uri="{FF2B5EF4-FFF2-40B4-BE49-F238E27FC236}">
                        <a16:creationId xmlns:a16="http://schemas.microsoft.com/office/drawing/2014/main" id="{6735CB76-996A-433A-A71C-FFDE2E3D75B9}"/>
                      </a:ext>
                    </a:extLst>
                  </p:cNvPr>
                  <p:cNvSpPr/>
                  <p:nvPr/>
                </p:nvSpPr>
                <p:spPr bwMode="auto">
                  <a:xfrm rot="16200000" flipH="1">
                    <a:off x="9079251" y="3229815"/>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87" name="Rectangle 3686">
                    <a:extLst>
                      <a:ext uri="{FF2B5EF4-FFF2-40B4-BE49-F238E27FC236}">
                        <a16:creationId xmlns:a16="http://schemas.microsoft.com/office/drawing/2014/main" id="{D3C4E091-AA3E-4260-B1D3-B1B53609A686}"/>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65" name="Group 3664">
                  <a:extLst>
                    <a:ext uri="{FF2B5EF4-FFF2-40B4-BE49-F238E27FC236}">
                      <a16:creationId xmlns:a16="http://schemas.microsoft.com/office/drawing/2014/main" id="{3A7A324E-B200-4E96-8744-A2606AF4DFBC}"/>
                    </a:ext>
                  </a:extLst>
                </p:cNvPr>
                <p:cNvGrpSpPr/>
                <p:nvPr/>
              </p:nvGrpSpPr>
              <p:grpSpPr>
                <a:xfrm flipH="1">
                  <a:off x="6821158" y="2181555"/>
                  <a:ext cx="253960" cy="260000"/>
                  <a:chOff x="8636176" y="2775642"/>
                  <a:chExt cx="1123468" cy="1150187"/>
                </a:xfrm>
                <a:grpFill/>
              </p:grpSpPr>
              <p:sp>
                <p:nvSpPr>
                  <p:cNvPr id="3682" name="Parallelogram 3681">
                    <a:extLst>
                      <a:ext uri="{FF2B5EF4-FFF2-40B4-BE49-F238E27FC236}">
                        <a16:creationId xmlns:a16="http://schemas.microsoft.com/office/drawing/2014/main" id="{E8484A2E-AF4F-452E-83C6-D111C5A1E26A}"/>
                      </a:ext>
                    </a:extLst>
                  </p:cNvPr>
                  <p:cNvSpPr/>
                  <p:nvPr/>
                </p:nvSpPr>
                <p:spPr bwMode="auto">
                  <a:xfrm>
                    <a:off x="8637623"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83" name="Parallelogram 3682">
                    <a:extLst>
                      <a:ext uri="{FF2B5EF4-FFF2-40B4-BE49-F238E27FC236}">
                        <a16:creationId xmlns:a16="http://schemas.microsoft.com/office/drawing/2014/main" id="{75A2BD45-0C1B-40E0-A62C-882A135EBA8A}"/>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84" name="Rectangle 3683">
                    <a:extLst>
                      <a:ext uri="{FF2B5EF4-FFF2-40B4-BE49-F238E27FC236}">
                        <a16:creationId xmlns:a16="http://schemas.microsoft.com/office/drawing/2014/main" id="{04CCEC09-9EC7-49E4-A4B3-8A650807187D}"/>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66" name="Group 3665">
                  <a:extLst>
                    <a:ext uri="{FF2B5EF4-FFF2-40B4-BE49-F238E27FC236}">
                      <a16:creationId xmlns:a16="http://schemas.microsoft.com/office/drawing/2014/main" id="{B4897776-6EC8-40D1-BA49-BA6FAD056A52}"/>
                    </a:ext>
                  </a:extLst>
                </p:cNvPr>
                <p:cNvGrpSpPr/>
                <p:nvPr/>
              </p:nvGrpSpPr>
              <p:grpSpPr>
                <a:xfrm flipH="1">
                  <a:off x="6629510" y="2181555"/>
                  <a:ext cx="255538" cy="260000"/>
                  <a:chOff x="8629196" y="2775642"/>
                  <a:chExt cx="1130448" cy="1150187"/>
                </a:xfrm>
                <a:grpFill/>
              </p:grpSpPr>
              <p:sp>
                <p:nvSpPr>
                  <p:cNvPr id="3679" name="Parallelogram 3678">
                    <a:extLst>
                      <a:ext uri="{FF2B5EF4-FFF2-40B4-BE49-F238E27FC236}">
                        <a16:creationId xmlns:a16="http://schemas.microsoft.com/office/drawing/2014/main" id="{869DBD4C-CB6F-428C-8C34-A5DDC1A80972}"/>
                      </a:ext>
                    </a:extLst>
                  </p:cNvPr>
                  <p:cNvSpPr/>
                  <p:nvPr/>
                </p:nvSpPr>
                <p:spPr bwMode="auto">
                  <a:xfrm>
                    <a:off x="8629196"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80" name="Parallelogram 3679">
                    <a:extLst>
                      <a:ext uri="{FF2B5EF4-FFF2-40B4-BE49-F238E27FC236}">
                        <a16:creationId xmlns:a16="http://schemas.microsoft.com/office/drawing/2014/main" id="{C3A91918-3B25-49F3-B029-41747D8E59F4}"/>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81" name="Rectangle 3680">
                    <a:extLst>
                      <a:ext uri="{FF2B5EF4-FFF2-40B4-BE49-F238E27FC236}">
                        <a16:creationId xmlns:a16="http://schemas.microsoft.com/office/drawing/2014/main" id="{2A10CD74-81F1-407E-A7CB-BAEC600C4230}"/>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67" name="Group 3666">
                  <a:extLst>
                    <a:ext uri="{FF2B5EF4-FFF2-40B4-BE49-F238E27FC236}">
                      <a16:creationId xmlns:a16="http://schemas.microsoft.com/office/drawing/2014/main" id="{A2349E7B-F514-4B31-B9B7-75155BE828F3}"/>
                    </a:ext>
                  </a:extLst>
                </p:cNvPr>
                <p:cNvGrpSpPr/>
                <p:nvPr/>
              </p:nvGrpSpPr>
              <p:grpSpPr>
                <a:xfrm flipH="1">
                  <a:off x="6435318" y="2181555"/>
                  <a:ext cx="250454" cy="260000"/>
                  <a:chOff x="8636176" y="2775642"/>
                  <a:chExt cx="1107958" cy="1150187"/>
                </a:xfrm>
                <a:grpFill/>
              </p:grpSpPr>
              <p:sp>
                <p:nvSpPr>
                  <p:cNvPr id="3676" name="Parallelogram 3675">
                    <a:extLst>
                      <a:ext uri="{FF2B5EF4-FFF2-40B4-BE49-F238E27FC236}">
                        <a16:creationId xmlns:a16="http://schemas.microsoft.com/office/drawing/2014/main" id="{C9823A52-B9AF-4815-9E8D-61C056869094}"/>
                      </a:ext>
                    </a:extLst>
                  </p:cNvPr>
                  <p:cNvSpPr/>
                  <p:nvPr/>
                </p:nvSpPr>
                <p:spPr bwMode="auto">
                  <a:xfrm>
                    <a:off x="8646050" y="2775642"/>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77" name="Parallelogram 3676">
                    <a:extLst>
                      <a:ext uri="{FF2B5EF4-FFF2-40B4-BE49-F238E27FC236}">
                        <a16:creationId xmlns:a16="http://schemas.microsoft.com/office/drawing/2014/main" id="{973E4335-BE92-4861-99DA-4FB7466AD3F0}"/>
                      </a:ext>
                    </a:extLst>
                  </p:cNvPr>
                  <p:cNvSpPr/>
                  <p:nvPr/>
                </p:nvSpPr>
                <p:spPr bwMode="auto">
                  <a:xfrm rot="16200000" flipH="1">
                    <a:off x="9079251" y="3221388"/>
                    <a:ext cx="1098084" cy="228994"/>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78" name="Rectangle 3677">
                    <a:extLst>
                      <a:ext uri="{FF2B5EF4-FFF2-40B4-BE49-F238E27FC236}">
                        <a16:creationId xmlns:a16="http://schemas.microsoft.com/office/drawing/2014/main" id="{D74A1310-F514-4AAB-86C1-919F536E06AF}"/>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68" name="Group 3667">
                  <a:extLst>
                    <a:ext uri="{FF2B5EF4-FFF2-40B4-BE49-F238E27FC236}">
                      <a16:creationId xmlns:a16="http://schemas.microsoft.com/office/drawing/2014/main" id="{5351CFBA-68F7-4194-A70D-2E8422CD063B}"/>
                    </a:ext>
                  </a:extLst>
                </p:cNvPr>
                <p:cNvGrpSpPr/>
                <p:nvPr/>
              </p:nvGrpSpPr>
              <p:grpSpPr>
                <a:xfrm flipH="1">
                  <a:off x="6676419" y="1980913"/>
                  <a:ext cx="253960" cy="257467"/>
                  <a:chOff x="8636176" y="2786845"/>
                  <a:chExt cx="1123468" cy="1138984"/>
                </a:xfrm>
                <a:grpFill/>
              </p:grpSpPr>
              <p:sp>
                <p:nvSpPr>
                  <p:cNvPr id="3673" name="Parallelogram 3672">
                    <a:extLst>
                      <a:ext uri="{FF2B5EF4-FFF2-40B4-BE49-F238E27FC236}">
                        <a16:creationId xmlns:a16="http://schemas.microsoft.com/office/drawing/2014/main" id="{3E239497-6EE3-40FC-924B-9AB2FDC994DA}"/>
                      </a:ext>
                    </a:extLst>
                  </p:cNvPr>
                  <p:cNvSpPr/>
                  <p:nvPr/>
                </p:nvSpPr>
                <p:spPr bwMode="auto">
                  <a:xfrm>
                    <a:off x="8637623" y="2792494"/>
                    <a:ext cx="1098084" cy="228994"/>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74" name="Parallelogram 3673">
                    <a:extLst>
                      <a:ext uri="{FF2B5EF4-FFF2-40B4-BE49-F238E27FC236}">
                        <a16:creationId xmlns:a16="http://schemas.microsoft.com/office/drawing/2014/main" id="{6EF03A93-4B54-49EA-A763-139EDCDC8006}"/>
                      </a:ext>
                    </a:extLst>
                  </p:cNvPr>
                  <p:cNvSpPr/>
                  <p:nvPr/>
                </p:nvSpPr>
                <p:spPr bwMode="auto">
                  <a:xfrm rot="16200000" flipH="1">
                    <a:off x="9096106" y="3221390"/>
                    <a:ext cx="1098084"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75" name="Rectangle 3674">
                    <a:extLst>
                      <a:ext uri="{FF2B5EF4-FFF2-40B4-BE49-F238E27FC236}">
                        <a16:creationId xmlns:a16="http://schemas.microsoft.com/office/drawing/2014/main" id="{AC242FA6-F0BF-489D-B322-FA22EFD35975}"/>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69" name="Group 3668">
                  <a:extLst>
                    <a:ext uri="{FF2B5EF4-FFF2-40B4-BE49-F238E27FC236}">
                      <a16:creationId xmlns:a16="http://schemas.microsoft.com/office/drawing/2014/main" id="{04A9F355-B5AA-4F56-86BD-54EABE282F59}"/>
                    </a:ext>
                  </a:extLst>
                </p:cNvPr>
                <p:cNvGrpSpPr/>
                <p:nvPr/>
              </p:nvGrpSpPr>
              <p:grpSpPr>
                <a:xfrm flipH="1">
                  <a:off x="6488278" y="1982191"/>
                  <a:ext cx="250454" cy="256190"/>
                  <a:chOff x="8636176" y="2792496"/>
                  <a:chExt cx="1107958" cy="1133333"/>
                </a:xfrm>
                <a:grpFill/>
              </p:grpSpPr>
              <p:sp>
                <p:nvSpPr>
                  <p:cNvPr id="3670" name="Parallelogram 3669">
                    <a:extLst>
                      <a:ext uri="{FF2B5EF4-FFF2-40B4-BE49-F238E27FC236}">
                        <a16:creationId xmlns:a16="http://schemas.microsoft.com/office/drawing/2014/main" id="{0078434D-E91A-4A9E-8A0A-CC3AE37A7D35}"/>
                      </a:ext>
                    </a:extLst>
                  </p:cNvPr>
                  <p:cNvSpPr/>
                  <p:nvPr/>
                </p:nvSpPr>
                <p:spPr bwMode="auto">
                  <a:xfrm>
                    <a:off x="8646050" y="2792496"/>
                    <a:ext cx="1098084" cy="228993"/>
                  </a:xfrm>
                  <a:prstGeom prst="parallelogram">
                    <a:avLst>
                      <a:gd name="adj" fmla="val 87412"/>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71" name="Parallelogram 3670">
                    <a:extLst>
                      <a:ext uri="{FF2B5EF4-FFF2-40B4-BE49-F238E27FC236}">
                        <a16:creationId xmlns:a16="http://schemas.microsoft.com/office/drawing/2014/main" id="{1CC4F450-4D7E-4688-8302-C99A47A9163A}"/>
                      </a:ext>
                    </a:extLst>
                  </p:cNvPr>
                  <p:cNvSpPr/>
                  <p:nvPr/>
                </p:nvSpPr>
                <p:spPr bwMode="auto">
                  <a:xfrm rot="16200000" flipH="1">
                    <a:off x="9079249" y="3229819"/>
                    <a:ext cx="1098086" cy="228993"/>
                  </a:xfrm>
                  <a:prstGeom prst="parallelogram">
                    <a:avLst>
                      <a:gd name="adj" fmla="val 111797"/>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72" name="Rectangle 3671">
                    <a:extLst>
                      <a:ext uri="{FF2B5EF4-FFF2-40B4-BE49-F238E27FC236}">
                        <a16:creationId xmlns:a16="http://schemas.microsoft.com/office/drawing/2014/main" id="{A0ED19D9-00EF-43F8-AC66-C6F66D3CF288}"/>
                      </a:ext>
                    </a:extLst>
                  </p:cNvPr>
                  <p:cNvSpPr/>
                  <p:nvPr/>
                </p:nvSpPr>
                <p:spPr bwMode="auto">
                  <a:xfrm>
                    <a:off x="8636176" y="3030341"/>
                    <a:ext cx="863135" cy="895488"/>
                  </a:xfrm>
                  <a:prstGeom prst="rect">
                    <a:avLst/>
                  </a:prstGeom>
                  <a:grp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633" name="Group 3632">
                <a:extLst>
                  <a:ext uri="{FF2B5EF4-FFF2-40B4-BE49-F238E27FC236}">
                    <a16:creationId xmlns:a16="http://schemas.microsoft.com/office/drawing/2014/main" id="{B3CD87EF-7E14-4AFD-A19D-5E0448EF2CFD}"/>
                  </a:ext>
                </a:extLst>
              </p:cNvPr>
              <p:cNvGrpSpPr/>
              <p:nvPr/>
            </p:nvGrpSpPr>
            <p:grpSpPr>
              <a:xfrm flipH="1">
                <a:off x="7721152" y="3557028"/>
                <a:ext cx="150982" cy="143170"/>
                <a:chOff x="8636176" y="2775642"/>
                <a:chExt cx="1123468" cy="1150187"/>
              </a:xfrm>
              <a:solidFill>
                <a:schemeClr val="bg1">
                  <a:lumMod val="95000"/>
                </a:schemeClr>
              </a:solidFill>
            </p:grpSpPr>
            <p:sp>
              <p:nvSpPr>
                <p:cNvPr id="3658" name="Parallelogram 3657">
                  <a:extLst>
                    <a:ext uri="{FF2B5EF4-FFF2-40B4-BE49-F238E27FC236}">
                      <a16:creationId xmlns:a16="http://schemas.microsoft.com/office/drawing/2014/main" id="{DC8C3715-799B-4301-8F27-0CC2B25B22F0}"/>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59" name="Parallelogram 3658">
                  <a:extLst>
                    <a:ext uri="{FF2B5EF4-FFF2-40B4-BE49-F238E27FC236}">
                      <a16:creationId xmlns:a16="http://schemas.microsoft.com/office/drawing/2014/main" id="{BF79836F-2A13-4EBD-836C-4A5CFBD32533}"/>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60" name="Rectangle 3659">
                  <a:extLst>
                    <a:ext uri="{FF2B5EF4-FFF2-40B4-BE49-F238E27FC236}">
                      <a16:creationId xmlns:a16="http://schemas.microsoft.com/office/drawing/2014/main" id="{7A42A6DE-AA8C-4A85-808F-35F01357E74B}"/>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34" name="Group 3633">
                <a:extLst>
                  <a:ext uri="{FF2B5EF4-FFF2-40B4-BE49-F238E27FC236}">
                    <a16:creationId xmlns:a16="http://schemas.microsoft.com/office/drawing/2014/main" id="{5EF196DB-952F-4243-8912-166FC66AF34B}"/>
                  </a:ext>
                </a:extLst>
              </p:cNvPr>
              <p:cNvGrpSpPr/>
              <p:nvPr/>
            </p:nvGrpSpPr>
            <p:grpSpPr>
              <a:xfrm flipH="1">
                <a:off x="7603066" y="3557028"/>
                <a:ext cx="151920" cy="143170"/>
                <a:chOff x="8629196" y="2775642"/>
                <a:chExt cx="1130448" cy="1150187"/>
              </a:xfrm>
              <a:solidFill>
                <a:schemeClr val="bg1">
                  <a:lumMod val="95000"/>
                </a:schemeClr>
              </a:solidFill>
            </p:grpSpPr>
            <p:sp>
              <p:nvSpPr>
                <p:cNvPr id="3655" name="Parallelogram 3654">
                  <a:extLst>
                    <a:ext uri="{FF2B5EF4-FFF2-40B4-BE49-F238E27FC236}">
                      <a16:creationId xmlns:a16="http://schemas.microsoft.com/office/drawing/2014/main" id="{C712C7EF-290B-4B49-887D-3FE4106B00C6}"/>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56" name="Parallelogram 3655">
                  <a:extLst>
                    <a:ext uri="{FF2B5EF4-FFF2-40B4-BE49-F238E27FC236}">
                      <a16:creationId xmlns:a16="http://schemas.microsoft.com/office/drawing/2014/main" id="{8A65FCB6-EAC5-4895-BA63-D5E647B03FC3}"/>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57" name="Rectangle 3656">
                  <a:extLst>
                    <a:ext uri="{FF2B5EF4-FFF2-40B4-BE49-F238E27FC236}">
                      <a16:creationId xmlns:a16="http://schemas.microsoft.com/office/drawing/2014/main" id="{ED47324E-8C32-4CEB-8CB6-3C1169E54A4E}"/>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35" name="Group 3634">
                <a:extLst>
                  <a:ext uri="{FF2B5EF4-FFF2-40B4-BE49-F238E27FC236}">
                    <a16:creationId xmlns:a16="http://schemas.microsoft.com/office/drawing/2014/main" id="{C85CDCF9-AD70-4191-A079-F055D7BA5FDF}"/>
                  </a:ext>
                </a:extLst>
              </p:cNvPr>
              <p:cNvGrpSpPr/>
              <p:nvPr/>
            </p:nvGrpSpPr>
            <p:grpSpPr>
              <a:xfrm flipH="1">
                <a:off x="7486760" y="3557028"/>
                <a:ext cx="151920" cy="143170"/>
                <a:chOff x="8629196" y="2775642"/>
                <a:chExt cx="1130448" cy="1150187"/>
              </a:xfrm>
              <a:solidFill>
                <a:schemeClr val="bg1">
                  <a:lumMod val="95000"/>
                </a:schemeClr>
              </a:solidFill>
            </p:grpSpPr>
            <p:sp>
              <p:nvSpPr>
                <p:cNvPr id="3652" name="Parallelogram 3651">
                  <a:extLst>
                    <a:ext uri="{FF2B5EF4-FFF2-40B4-BE49-F238E27FC236}">
                      <a16:creationId xmlns:a16="http://schemas.microsoft.com/office/drawing/2014/main" id="{429D4ABA-CC90-4021-81E6-F0951224BE7D}"/>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53" name="Parallelogram 3652">
                  <a:extLst>
                    <a:ext uri="{FF2B5EF4-FFF2-40B4-BE49-F238E27FC236}">
                      <a16:creationId xmlns:a16="http://schemas.microsoft.com/office/drawing/2014/main" id="{5A08282A-70A4-4373-B243-ED9C49605C95}"/>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54" name="Rectangle 3653">
                  <a:extLst>
                    <a:ext uri="{FF2B5EF4-FFF2-40B4-BE49-F238E27FC236}">
                      <a16:creationId xmlns:a16="http://schemas.microsoft.com/office/drawing/2014/main" id="{737BF700-49CA-4E15-8CB1-79D19842D514}"/>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36" name="Group 3635">
                <a:extLst>
                  <a:ext uri="{FF2B5EF4-FFF2-40B4-BE49-F238E27FC236}">
                    <a16:creationId xmlns:a16="http://schemas.microsoft.com/office/drawing/2014/main" id="{85E11285-17F5-4867-A57D-598CB06654FC}"/>
                  </a:ext>
                </a:extLst>
              </p:cNvPr>
              <p:cNvGrpSpPr/>
              <p:nvPr/>
            </p:nvGrpSpPr>
            <p:grpSpPr>
              <a:xfrm flipH="1">
                <a:off x="7370941" y="3557028"/>
                <a:ext cx="148717" cy="143170"/>
                <a:chOff x="8636176" y="2775642"/>
                <a:chExt cx="1106614" cy="1150187"/>
              </a:xfrm>
              <a:solidFill>
                <a:schemeClr val="bg1">
                  <a:lumMod val="95000"/>
                </a:schemeClr>
              </a:solidFill>
            </p:grpSpPr>
            <p:sp>
              <p:nvSpPr>
                <p:cNvPr id="3649" name="Parallelogram 3648">
                  <a:extLst>
                    <a:ext uri="{FF2B5EF4-FFF2-40B4-BE49-F238E27FC236}">
                      <a16:creationId xmlns:a16="http://schemas.microsoft.com/office/drawing/2014/main" id="{F922F45B-0F86-43EC-BE04-A5143C7DA752}"/>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50" name="Parallelogram 3649">
                  <a:extLst>
                    <a:ext uri="{FF2B5EF4-FFF2-40B4-BE49-F238E27FC236}">
                      <a16:creationId xmlns:a16="http://schemas.microsoft.com/office/drawing/2014/main" id="{8AD3125D-AC47-4C4A-948B-BAE70EB44923}"/>
                    </a:ext>
                  </a:extLst>
                </p:cNvPr>
                <p:cNvSpPr/>
                <p:nvPr/>
              </p:nvSpPr>
              <p:spPr bwMode="auto">
                <a:xfrm rot="16200000" flipH="1">
                  <a:off x="9079251" y="3229815"/>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51" name="Rectangle 3650">
                  <a:extLst>
                    <a:ext uri="{FF2B5EF4-FFF2-40B4-BE49-F238E27FC236}">
                      <a16:creationId xmlns:a16="http://schemas.microsoft.com/office/drawing/2014/main" id="{77859FE5-E7C6-47D9-84A6-BA8F2D24E65A}"/>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37" name="Group 3636">
                <a:extLst>
                  <a:ext uri="{FF2B5EF4-FFF2-40B4-BE49-F238E27FC236}">
                    <a16:creationId xmlns:a16="http://schemas.microsoft.com/office/drawing/2014/main" id="{F62199EB-47E3-449D-A18A-4FE6BC2D8CDA}"/>
                  </a:ext>
                </a:extLst>
              </p:cNvPr>
              <p:cNvGrpSpPr/>
              <p:nvPr/>
            </p:nvGrpSpPr>
            <p:grpSpPr>
              <a:xfrm flipH="1">
                <a:off x="7660579" y="3441791"/>
                <a:ext cx="150982" cy="143170"/>
                <a:chOff x="8636176" y="2775642"/>
                <a:chExt cx="1123468" cy="1150187"/>
              </a:xfrm>
              <a:solidFill>
                <a:schemeClr val="bg1">
                  <a:lumMod val="95000"/>
                </a:schemeClr>
              </a:solidFill>
            </p:grpSpPr>
            <p:sp>
              <p:nvSpPr>
                <p:cNvPr id="3646" name="Parallelogram 3645">
                  <a:extLst>
                    <a:ext uri="{FF2B5EF4-FFF2-40B4-BE49-F238E27FC236}">
                      <a16:creationId xmlns:a16="http://schemas.microsoft.com/office/drawing/2014/main" id="{616FC1F1-AE60-40EF-8DF9-AFC4F2146EAE}"/>
                    </a:ext>
                  </a:extLst>
                </p:cNvPr>
                <p:cNvSpPr/>
                <p:nvPr/>
              </p:nvSpPr>
              <p:spPr bwMode="auto">
                <a:xfrm>
                  <a:off x="8637623"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47" name="Parallelogram 3646">
                  <a:extLst>
                    <a:ext uri="{FF2B5EF4-FFF2-40B4-BE49-F238E27FC236}">
                      <a16:creationId xmlns:a16="http://schemas.microsoft.com/office/drawing/2014/main" id="{61963C87-DB7B-43A0-9763-DB7AD2112C63}"/>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48" name="Rectangle 3647">
                  <a:extLst>
                    <a:ext uri="{FF2B5EF4-FFF2-40B4-BE49-F238E27FC236}">
                      <a16:creationId xmlns:a16="http://schemas.microsoft.com/office/drawing/2014/main" id="{908A895C-3370-4E85-8276-8CD599B658F6}"/>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38" name="Group 3637">
                <a:extLst>
                  <a:ext uri="{FF2B5EF4-FFF2-40B4-BE49-F238E27FC236}">
                    <a16:creationId xmlns:a16="http://schemas.microsoft.com/office/drawing/2014/main" id="{71513B95-5904-4DBA-8E81-8875E312C84C}"/>
                  </a:ext>
                </a:extLst>
              </p:cNvPr>
              <p:cNvGrpSpPr/>
              <p:nvPr/>
            </p:nvGrpSpPr>
            <p:grpSpPr>
              <a:xfrm flipH="1">
                <a:off x="7546643" y="3441791"/>
                <a:ext cx="151920" cy="143170"/>
                <a:chOff x="8629196" y="2775642"/>
                <a:chExt cx="1130448" cy="1150187"/>
              </a:xfrm>
              <a:solidFill>
                <a:schemeClr val="bg1">
                  <a:lumMod val="95000"/>
                </a:schemeClr>
              </a:solidFill>
            </p:grpSpPr>
            <p:sp>
              <p:nvSpPr>
                <p:cNvPr id="3643" name="Parallelogram 3642">
                  <a:extLst>
                    <a:ext uri="{FF2B5EF4-FFF2-40B4-BE49-F238E27FC236}">
                      <a16:creationId xmlns:a16="http://schemas.microsoft.com/office/drawing/2014/main" id="{5232FABB-77F2-43B3-9923-94749F45BD3F}"/>
                    </a:ext>
                  </a:extLst>
                </p:cNvPr>
                <p:cNvSpPr/>
                <p:nvPr/>
              </p:nvSpPr>
              <p:spPr bwMode="auto">
                <a:xfrm>
                  <a:off x="8629196"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44" name="Parallelogram 3643">
                  <a:extLst>
                    <a:ext uri="{FF2B5EF4-FFF2-40B4-BE49-F238E27FC236}">
                      <a16:creationId xmlns:a16="http://schemas.microsoft.com/office/drawing/2014/main" id="{C1A0B59D-46FF-49BC-8394-730CD2D20796}"/>
                    </a:ext>
                  </a:extLst>
                </p:cNvPr>
                <p:cNvSpPr/>
                <p:nvPr/>
              </p:nvSpPr>
              <p:spPr bwMode="auto">
                <a:xfrm rot="16200000" flipH="1">
                  <a:off x="9096106" y="3221390"/>
                  <a:ext cx="1098084" cy="228993"/>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45" name="Rectangle 3644">
                  <a:extLst>
                    <a:ext uri="{FF2B5EF4-FFF2-40B4-BE49-F238E27FC236}">
                      <a16:creationId xmlns:a16="http://schemas.microsoft.com/office/drawing/2014/main" id="{E15B789C-21F4-460D-9A7F-16BCF9E9A7C3}"/>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39" name="Group 3638">
                <a:extLst>
                  <a:ext uri="{FF2B5EF4-FFF2-40B4-BE49-F238E27FC236}">
                    <a16:creationId xmlns:a16="http://schemas.microsoft.com/office/drawing/2014/main" id="{5C45FBCD-A381-4A9C-81B4-A6727E2FCE42}"/>
                  </a:ext>
                </a:extLst>
              </p:cNvPr>
              <p:cNvGrpSpPr/>
              <p:nvPr/>
            </p:nvGrpSpPr>
            <p:grpSpPr>
              <a:xfrm flipH="1">
                <a:off x="7431194" y="3441791"/>
                <a:ext cx="148897" cy="143170"/>
                <a:chOff x="8636176" y="2775642"/>
                <a:chExt cx="1107958" cy="1150187"/>
              </a:xfrm>
              <a:solidFill>
                <a:schemeClr val="bg1">
                  <a:lumMod val="95000"/>
                </a:schemeClr>
              </a:solidFill>
            </p:grpSpPr>
            <p:sp>
              <p:nvSpPr>
                <p:cNvPr id="3640" name="Parallelogram 3639">
                  <a:extLst>
                    <a:ext uri="{FF2B5EF4-FFF2-40B4-BE49-F238E27FC236}">
                      <a16:creationId xmlns:a16="http://schemas.microsoft.com/office/drawing/2014/main" id="{1D05186A-5D45-49FA-8856-34E9EC4DAE1F}"/>
                    </a:ext>
                  </a:extLst>
                </p:cNvPr>
                <p:cNvSpPr/>
                <p:nvPr/>
              </p:nvSpPr>
              <p:spPr bwMode="auto">
                <a:xfrm>
                  <a:off x="8646050" y="2775642"/>
                  <a:ext cx="1098084" cy="228993"/>
                </a:xfrm>
                <a:prstGeom prst="parallelogram">
                  <a:avLst>
                    <a:gd name="adj" fmla="val 87412"/>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41" name="Parallelogram 3640">
                  <a:extLst>
                    <a:ext uri="{FF2B5EF4-FFF2-40B4-BE49-F238E27FC236}">
                      <a16:creationId xmlns:a16="http://schemas.microsoft.com/office/drawing/2014/main" id="{8772F708-03EA-4AD7-9C52-ED95E7114850}"/>
                    </a:ext>
                  </a:extLst>
                </p:cNvPr>
                <p:cNvSpPr/>
                <p:nvPr/>
              </p:nvSpPr>
              <p:spPr bwMode="auto">
                <a:xfrm rot="16200000" flipH="1">
                  <a:off x="9079251" y="3221388"/>
                  <a:ext cx="1098084" cy="228994"/>
                </a:xfrm>
                <a:prstGeom prst="parallelogram">
                  <a:avLst>
                    <a:gd name="adj" fmla="val 111797"/>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42" name="Rectangle 3641">
                  <a:extLst>
                    <a:ext uri="{FF2B5EF4-FFF2-40B4-BE49-F238E27FC236}">
                      <a16:creationId xmlns:a16="http://schemas.microsoft.com/office/drawing/2014/main" id="{E193711F-9E58-4FC3-903F-3AFAB3084DEF}"/>
                    </a:ext>
                  </a:extLst>
                </p:cNvPr>
                <p:cNvSpPr/>
                <p:nvPr/>
              </p:nvSpPr>
              <p:spPr bwMode="auto">
                <a:xfrm>
                  <a:off x="8636176" y="3030341"/>
                  <a:ext cx="863135" cy="895488"/>
                </a:xfrm>
                <a:prstGeom prst="rect">
                  <a:avLst/>
                </a:prstGeom>
                <a:grp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8" tIns="195022" rIns="243778" bIns="195022" numCol="1" spcCol="0" rtlCol="0" fromWordArt="0" anchor="t" anchorCtr="0" forceAA="0" compatLnSpc="1">
                  <a:prstTxWarp prst="textNoShape">
                    <a:avLst/>
                  </a:prstTxWarp>
                  <a:noAutofit/>
                </a:bodyPr>
                <a:lstStyle/>
                <a:p>
                  <a:pPr algn="ctr" defTabSz="1242985" fontAlgn="base">
                    <a:spcBef>
                      <a:spcPct val="0"/>
                    </a:spcBef>
                    <a:spcAft>
                      <a:spcPct val="0"/>
                    </a:spcAft>
                    <a:defRPr/>
                  </a:pPr>
                  <a:endParaRPr lang="en-US" sz="213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3762" name="Group 3761">
            <a:extLst>
              <a:ext uri="{FF2B5EF4-FFF2-40B4-BE49-F238E27FC236}">
                <a16:creationId xmlns:a16="http://schemas.microsoft.com/office/drawing/2014/main" id="{620978CA-CE38-4D47-B490-7508440DD50A}"/>
              </a:ext>
            </a:extLst>
          </p:cNvPr>
          <p:cNvGrpSpPr/>
          <p:nvPr/>
        </p:nvGrpSpPr>
        <p:grpSpPr>
          <a:xfrm>
            <a:off x="3183883" y="2495642"/>
            <a:ext cx="401479" cy="207275"/>
            <a:chOff x="2611755" y="2545080"/>
            <a:chExt cx="409575" cy="211455"/>
          </a:xfrm>
          <a:solidFill>
            <a:schemeClr val="bg1">
              <a:lumMod val="95000"/>
            </a:schemeClr>
          </a:solidFill>
        </p:grpSpPr>
        <p:sp>
          <p:nvSpPr>
            <p:cNvPr id="3763" name="Rectangle 3762">
              <a:extLst>
                <a:ext uri="{FF2B5EF4-FFF2-40B4-BE49-F238E27FC236}">
                  <a16:creationId xmlns:a16="http://schemas.microsoft.com/office/drawing/2014/main" id="{9C202F42-51B5-4E80-B239-D858350FB8C0}"/>
                </a:ext>
              </a:extLst>
            </p:cNvPr>
            <p:cNvSpPr/>
            <p:nvPr/>
          </p:nvSpPr>
          <p:spPr bwMode="auto">
            <a:xfrm>
              <a:off x="2611755" y="2657475"/>
              <a:ext cx="198120" cy="990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64" name="Rectangle 3763">
              <a:extLst>
                <a:ext uri="{FF2B5EF4-FFF2-40B4-BE49-F238E27FC236}">
                  <a16:creationId xmlns:a16="http://schemas.microsoft.com/office/drawing/2014/main" id="{CED48547-148B-422F-BBB0-7D81E671D6D5}"/>
                </a:ext>
              </a:extLst>
            </p:cNvPr>
            <p:cNvSpPr/>
            <p:nvPr/>
          </p:nvSpPr>
          <p:spPr bwMode="auto">
            <a:xfrm>
              <a:off x="2823210" y="2657475"/>
              <a:ext cx="198120" cy="990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65" name="Rectangle 3764">
              <a:extLst>
                <a:ext uri="{FF2B5EF4-FFF2-40B4-BE49-F238E27FC236}">
                  <a16:creationId xmlns:a16="http://schemas.microsoft.com/office/drawing/2014/main" id="{694F0BB6-2023-4810-8685-315E8A2D9EE2}"/>
                </a:ext>
              </a:extLst>
            </p:cNvPr>
            <p:cNvSpPr/>
            <p:nvPr/>
          </p:nvSpPr>
          <p:spPr bwMode="auto">
            <a:xfrm>
              <a:off x="2611755" y="2545080"/>
              <a:ext cx="198120" cy="990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66" name="Rectangle 3765">
              <a:extLst>
                <a:ext uri="{FF2B5EF4-FFF2-40B4-BE49-F238E27FC236}">
                  <a16:creationId xmlns:a16="http://schemas.microsoft.com/office/drawing/2014/main" id="{49F57566-2B32-49E1-B18B-28298D678257}"/>
                </a:ext>
              </a:extLst>
            </p:cNvPr>
            <p:cNvSpPr/>
            <p:nvPr/>
          </p:nvSpPr>
          <p:spPr bwMode="auto">
            <a:xfrm>
              <a:off x="2823210" y="2545080"/>
              <a:ext cx="198120" cy="990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67" name="Group 3766">
            <a:extLst>
              <a:ext uri="{FF2B5EF4-FFF2-40B4-BE49-F238E27FC236}">
                <a16:creationId xmlns:a16="http://schemas.microsoft.com/office/drawing/2014/main" id="{9B6F8DA2-7220-442D-8359-498923C2D5F5}"/>
              </a:ext>
            </a:extLst>
          </p:cNvPr>
          <p:cNvGrpSpPr/>
          <p:nvPr/>
        </p:nvGrpSpPr>
        <p:grpSpPr>
          <a:xfrm>
            <a:off x="1897907" y="1547032"/>
            <a:ext cx="552733" cy="291306"/>
            <a:chOff x="2611755" y="2545080"/>
            <a:chExt cx="409575" cy="211455"/>
          </a:xfrm>
          <a:solidFill>
            <a:schemeClr val="bg1"/>
          </a:solidFill>
        </p:grpSpPr>
        <p:sp>
          <p:nvSpPr>
            <p:cNvPr id="3768" name="Rectangle 3767">
              <a:extLst>
                <a:ext uri="{FF2B5EF4-FFF2-40B4-BE49-F238E27FC236}">
                  <a16:creationId xmlns:a16="http://schemas.microsoft.com/office/drawing/2014/main" id="{9C3D3013-056A-4995-84AE-9EC6A0AF10D3}"/>
                </a:ext>
              </a:extLst>
            </p:cNvPr>
            <p:cNvSpPr/>
            <p:nvPr/>
          </p:nvSpPr>
          <p:spPr bwMode="auto">
            <a:xfrm>
              <a:off x="2611755" y="2657475"/>
              <a:ext cx="198120" cy="990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69" name="Rectangle 3768">
              <a:extLst>
                <a:ext uri="{FF2B5EF4-FFF2-40B4-BE49-F238E27FC236}">
                  <a16:creationId xmlns:a16="http://schemas.microsoft.com/office/drawing/2014/main" id="{9B08A6D3-15C7-418C-9CD8-61D9EF566351}"/>
                </a:ext>
              </a:extLst>
            </p:cNvPr>
            <p:cNvSpPr/>
            <p:nvPr/>
          </p:nvSpPr>
          <p:spPr bwMode="auto">
            <a:xfrm>
              <a:off x="2823210" y="2657475"/>
              <a:ext cx="198120" cy="990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70" name="Rectangle 3769">
              <a:extLst>
                <a:ext uri="{FF2B5EF4-FFF2-40B4-BE49-F238E27FC236}">
                  <a16:creationId xmlns:a16="http://schemas.microsoft.com/office/drawing/2014/main" id="{FC27DFA3-FB4E-478C-9917-AC7491674A86}"/>
                </a:ext>
              </a:extLst>
            </p:cNvPr>
            <p:cNvSpPr/>
            <p:nvPr/>
          </p:nvSpPr>
          <p:spPr bwMode="auto">
            <a:xfrm>
              <a:off x="2611755" y="2545080"/>
              <a:ext cx="198120" cy="990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71" name="Rectangle 3770">
              <a:extLst>
                <a:ext uri="{FF2B5EF4-FFF2-40B4-BE49-F238E27FC236}">
                  <a16:creationId xmlns:a16="http://schemas.microsoft.com/office/drawing/2014/main" id="{AF059B8E-5121-42DF-9E1C-D477E9A424FC}"/>
                </a:ext>
              </a:extLst>
            </p:cNvPr>
            <p:cNvSpPr/>
            <p:nvPr/>
          </p:nvSpPr>
          <p:spPr bwMode="auto">
            <a:xfrm>
              <a:off x="2823210" y="2545080"/>
              <a:ext cx="198120" cy="990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772" name="TextBox 3771">
            <a:extLst>
              <a:ext uri="{FF2B5EF4-FFF2-40B4-BE49-F238E27FC236}">
                <a16:creationId xmlns:a16="http://schemas.microsoft.com/office/drawing/2014/main" id="{287D9AD6-BF32-4B13-BC99-E2329BC9F044}"/>
              </a:ext>
            </a:extLst>
          </p:cNvPr>
          <p:cNvSpPr txBox="1"/>
          <p:nvPr/>
        </p:nvSpPr>
        <p:spPr>
          <a:xfrm>
            <a:off x="11267681" y="2632720"/>
            <a:ext cx="397665" cy="124787"/>
          </a:xfrm>
          <a:prstGeom prst="rect">
            <a:avLst/>
          </a:prstGeom>
          <a:noFill/>
        </p:spPr>
        <p:txBody>
          <a:bodyPr wrap="none" lIns="0" tIns="0" rIns="0" bIns="0" rtlCol="0">
            <a:noAutofit/>
          </a:bodyPr>
          <a:lstStyle>
            <a:defPPr>
              <a:defRPr lang="en-US"/>
            </a:defPPr>
            <a:lvl1pPr algn="ctr" defTabSz="951121">
              <a:spcAft>
                <a:spcPts val="612"/>
              </a:spcAft>
              <a:defRPr sz="600" kern="0"/>
            </a:lvl1pPr>
          </a:lstStyle>
          <a:p>
            <a:pPr defTabSz="950752">
              <a:defRPr/>
            </a:pPr>
            <a:r>
              <a:rPr lang="en-US" sz="980" dirty="0">
                <a:solidFill>
                  <a:srgbClr val="505050"/>
                </a:solidFill>
                <a:latin typeface="Segoe UI Semibold" panose="020B0702040204020203" pitchFamily="34" charset="0"/>
                <a:cs typeface="Segoe UI Semibold" panose="020B0702040204020203" pitchFamily="34" charset="0"/>
              </a:rPr>
              <a:t>ALERT</a:t>
            </a:r>
          </a:p>
        </p:txBody>
      </p:sp>
      <p:sp>
        <p:nvSpPr>
          <p:cNvPr id="3773" name="TextBox 3772">
            <a:extLst>
              <a:ext uri="{FF2B5EF4-FFF2-40B4-BE49-F238E27FC236}">
                <a16:creationId xmlns:a16="http://schemas.microsoft.com/office/drawing/2014/main" id="{6DACD447-94C5-47B9-9CAF-BF06547FE272}"/>
              </a:ext>
            </a:extLst>
          </p:cNvPr>
          <p:cNvSpPr txBox="1"/>
          <p:nvPr/>
        </p:nvSpPr>
        <p:spPr>
          <a:xfrm>
            <a:off x="11205436" y="3507328"/>
            <a:ext cx="397665" cy="124787"/>
          </a:xfrm>
          <a:prstGeom prst="rect">
            <a:avLst/>
          </a:prstGeom>
          <a:noFill/>
        </p:spPr>
        <p:txBody>
          <a:bodyPr wrap="none" lIns="0" tIns="0" rIns="0" bIns="0" rtlCol="0">
            <a:noAutofit/>
          </a:bodyPr>
          <a:lstStyle>
            <a:defPPr>
              <a:defRPr lang="en-US"/>
            </a:defPPr>
            <a:lvl1pPr algn="ctr" defTabSz="951121">
              <a:spcAft>
                <a:spcPts val="612"/>
              </a:spcAft>
              <a:defRPr sz="600" kern="0"/>
            </a:lvl1pPr>
          </a:lstStyle>
          <a:p>
            <a:pPr defTabSz="950752">
              <a:defRPr/>
            </a:pPr>
            <a:r>
              <a:rPr lang="en-US" sz="980" dirty="0">
                <a:solidFill>
                  <a:srgbClr val="505050"/>
                </a:solidFill>
                <a:latin typeface="Segoe UI Semibold" panose="020B0702040204020203" pitchFamily="34" charset="0"/>
                <a:cs typeface="Segoe UI Semibold" panose="020B0702040204020203" pitchFamily="34" charset="0"/>
              </a:rPr>
              <a:t>ONLINE</a:t>
            </a:r>
          </a:p>
        </p:txBody>
      </p:sp>
      <p:sp>
        <p:nvSpPr>
          <p:cNvPr id="3774" name="TextBox 3773">
            <a:extLst>
              <a:ext uri="{FF2B5EF4-FFF2-40B4-BE49-F238E27FC236}">
                <a16:creationId xmlns:a16="http://schemas.microsoft.com/office/drawing/2014/main" id="{69000288-A4D8-497C-A3B4-C6C760F95CF6}"/>
              </a:ext>
            </a:extLst>
          </p:cNvPr>
          <p:cNvSpPr txBox="1"/>
          <p:nvPr/>
        </p:nvSpPr>
        <p:spPr>
          <a:xfrm>
            <a:off x="11205436" y="4368794"/>
            <a:ext cx="397665" cy="124787"/>
          </a:xfrm>
          <a:prstGeom prst="rect">
            <a:avLst/>
          </a:prstGeom>
          <a:noFill/>
        </p:spPr>
        <p:txBody>
          <a:bodyPr wrap="none" lIns="0" tIns="0" rIns="0" bIns="0" rtlCol="0">
            <a:noAutofit/>
          </a:bodyPr>
          <a:lstStyle>
            <a:defPPr>
              <a:defRPr lang="en-US"/>
            </a:defPPr>
            <a:lvl1pPr algn="ctr" defTabSz="951121">
              <a:spcAft>
                <a:spcPts val="612"/>
              </a:spcAft>
              <a:defRPr sz="600" kern="0"/>
            </a:lvl1pPr>
          </a:lstStyle>
          <a:p>
            <a:pPr defTabSz="950752">
              <a:defRPr/>
            </a:pPr>
            <a:r>
              <a:rPr lang="en-US" sz="980" dirty="0">
                <a:solidFill>
                  <a:srgbClr val="505050"/>
                </a:solidFill>
                <a:latin typeface="Segoe UI Semibold" panose="020B0702040204020203" pitchFamily="34" charset="0"/>
                <a:cs typeface="Segoe UI Semibold" panose="020B0702040204020203" pitchFamily="34" charset="0"/>
              </a:rPr>
              <a:t>ONLINE</a:t>
            </a:r>
          </a:p>
        </p:txBody>
      </p:sp>
      <p:grpSp>
        <p:nvGrpSpPr>
          <p:cNvPr id="3775" name="Group 3774">
            <a:extLst>
              <a:ext uri="{FF2B5EF4-FFF2-40B4-BE49-F238E27FC236}">
                <a16:creationId xmlns:a16="http://schemas.microsoft.com/office/drawing/2014/main" id="{777A9A25-81DB-4457-889A-6227EC7E39F5}"/>
              </a:ext>
            </a:extLst>
          </p:cNvPr>
          <p:cNvGrpSpPr/>
          <p:nvPr/>
        </p:nvGrpSpPr>
        <p:grpSpPr>
          <a:xfrm>
            <a:off x="10941512" y="3776557"/>
            <a:ext cx="631735" cy="272714"/>
            <a:chOff x="11161468" y="3851827"/>
            <a:chExt cx="644475" cy="278213"/>
          </a:xfrm>
        </p:grpSpPr>
        <p:grpSp>
          <p:nvGrpSpPr>
            <p:cNvPr id="3776" name="Group 3775">
              <a:extLst>
                <a:ext uri="{FF2B5EF4-FFF2-40B4-BE49-F238E27FC236}">
                  <a16:creationId xmlns:a16="http://schemas.microsoft.com/office/drawing/2014/main" id="{0DF9F176-BCF3-433A-AB48-2A7323B61F54}"/>
                </a:ext>
              </a:extLst>
            </p:cNvPr>
            <p:cNvGrpSpPr/>
            <p:nvPr/>
          </p:nvGrpSpPr>
          <p:grpSpPr>
            <a:xfrm>
              <a:off x="11161468" y="3851827"/>
              <a:ext cx="644475" cy="125813"/>
              <a:chOff x="7545237" y="2090411"/>
              <a:chExt cx="594063" cy="349654"/>
            </a:xfrm>
          </p:grpSpPr>
          <p:sp>
            <p:nvSpPr>
              <p:cNvPr id="3781" name="Rectangle 3780">
                <a:extLst>
                  <a:ext uri="{FF2B5EF4-FFF2-40B4-BE49-F238E27FC236}">
                    <a16:creationId xmlns:a16="http://schemas.microsoft.com/office/drawing/2014/main" id="{0642AF05-FCB2-4AD2-A4CC-DE6A8D1380F8}"/>
                  </a:ext>
                </a:extLst>
              </p:cNvPr>
              <p:cNvSpPr/>
              <p:nvPr/>
            </p:nvSpPr>
            <p:spPr bwMode="auto">
              <a:xfrm>
                <a:off x="7545238" y="2090411"/>
                <a:ext cx="481072" cy="7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3782" name="Rectangle 3781">
                <a:extLst>
                  <a:ext uri="{FF2B5EF4-FFF2-40B4-BE49-F238E27FC236}">
                    <a16:creationId xmlns:a16="http://schemas.microsoft.com/office/drawing/2014/main" id="{9FE1939D-86E3-431A-8F12-CB78E3542E38}"/>
                  </a:ext>
                </a:extLst>
              </p:cNvPr>
              <p:cNvSpPr/>
              <p:nvPr/>
            </p:nvSpPr>
            <p:spPr bwMode="auto">
              <a:xfrm>
                <a:off x="7545237" y="2226871"/>
                <a:ext cx="440989"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83" name="Rectangle 3782">
                <a:extLst>
                  <a:ext uri="{FF2B5EF4-FFF2-40B4-BE49-F238E27FC236}">
                    <a16:creationId xmlns:a16="http://schemas.microsoft.com/office/drawing/2014/main" id="{76226352-62C9-4794-9683-11009B954D2E}"/>
                  </a:ext>
                </a:extLst>
              </p:cNvPr>
              <p:cNvSpPr/>
              <p:nvPr/>
            </p:nvSpPr>
            <p:spPr bwMode="auto">
              <a:xfrm>
                <a:off x="7545237" y="2363332"/>
                <a:ext cx="594063"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grpSp>
        <p:grpSp>
          <p:nvGrpSpPr>
            <p:cNvPr id="3777" name="Group 3776">
              <a:extLst>
                <a:ext uri="{FF2B5EF4-FFF2-40B4-BE49-F238E27FC236}">
                  <a16:creationId xmlns:a16="http://schemas.microsoft.com/office/drawing/2014/main" id="{4A201A47-37BD-4E1A-8FCD-76341B87E2BB}"/>
                </a:ext>
              </a:extLst>
            </p:cNvPr>
            <p:cNvGrpSpPr/>
            <p:nvPr/>
          </p:nvGrpSpPr>
          <p:grpSpPr>
            <a:xfrm>
              <a:off x="11161468" y="4004227"/>
              <a:ext cx="644475" cy="125813"/>
              <a:chOff x="7545237" y="2090411"/>
              <a:chExt cx="594063" cy="349654"/>
            </a:xfrm>
          </p:grpSpPr>
          <p:sp>
            <p:nvSpPr>
              <p:cNvPr id="3778" name="Rectangle 3777">
                <a:extLst>
                  <a:ext uri="{FF2B5EF4-FFF2-40B4-BE49-F238E27FC236}">
                    <a16:creationId xmlns:a16="http://schemas.microsoft.com/office/drawing/2014/main" id="{F4CFCC5E-A6CC-472D-9850-7D2A6B122129}"/>
                  </a:ext>
                </a:extLst>
              </p:cNvPr>
              <p:cNvSpPr/>
              <p:nvPr/>
            </p:nvSpPr>
            <p:spPr bwMode="auto">
              <a:xfrm>
                <a:off x="7545238" y="2090411"/>
                <a:ext cx="481072" cy="7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3779" name="Rectangle 3778">
                <a:extLst>
                  <a:ext uri="{FF2B5EF4-FFF2-40B4-BE49-F238E27FC236}">
                    <a16:creationId xmlns:a16="http://schemas.microsoft.com/office/drawing/2014/main" id="{4A394F3E-D277-4EDA-8B36-A800A12A7266}"/>
                  </a:ext>
                </a:extLst>
              </p:cNvPr>
              <p:cNvSpPr/>
              <p:nvPr/>
            </p:nvSpPr>
            <p:spPr bwMode="auto">
              <a:xfrm>
                <a:off x="7545237" y="2226871"/>
                <a:ext cx="440989"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80" name="Rectangle 3779">
                <a:extLst>
                  <a:ext uri="{FF2B5EF4-FFF2-40B4-BE49-F238E27FC236}">
                    <a16:creationId xmlns:a16="http://schemas.microsoft.com/office/drawing/2014/main" id="{4CCEF0D9-866E-4078-8A1B-2CBB482054DA}"/>
                  </a:ext>
                </a:extLst>
              </p:cNvPr>
              <p:cNvSpPr/>
              <p:nvPr/>
            </p:nvSpPr>
            <p:spPr bwMode="auto">
              <a:xfrm>
                <a:off x="7545237" y="2363332"/>
                <a:ext cx="594063"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grpSp>
      </p:grpSp>
      <p:grpSp>
        <p:nvGrpSpPr>
          <p:cNvPr id="3784" name="Group 3783">
            <a:extLst>
              <a:ext uri="{FF2B5EF4-FFF2-40B4-BE49-F238E27FC236}">
                <a16:creationId xmlns:a16="http://schemas.microsoft.com/office/drawing/2014/main" id="{0A2BD17B-972B-4B9B-BBF4-07427BCAE43B}"/>
              </a:ext>
            </a:extLst>
          </p:cNvPr>
          <p:cNvGrpSpPr/>
          <p:nvPr/>
        </p:nvGrpSpPr>
        <p:grpSpPr>
          <a:xfrm>
            <a:off x="10941512" y="2857327"/>
            <a:ext cx="631735" cy="272714"/>
            <a:chOff x="11161468" y="3851827"/>
            <a:chExt cx="644475" cy="278213"/>
          </a:xfrm>
        </p:grpSpPr>
        <p:grpSp>
          <p:nvGrpSpPr>
            <p:cNvPr id="3785" name="Group 3784">
              <a:extLst>
                <a:ext uri="{FF2B5EF4-FFF2-40B4-BE49-F238E27FC236}">
                  <a16:creationId xmlns:a16="http://schemas.microsoft.com/office/drawing/2014/main" id="{C8D6781C-C3AD-47C2-B32C-5F7C6A1EB998}"/>
                </a:ext>
              </a:extLst>
            </p:cNvPr>
            <p:cNvGrpSpPr/>
            <p:nvPr/>
          </p:nvGrpSpPr>
          <p:grpSpPr>
            <a:xfrm>
              <a:off x="11161468" y="3851827"/>
              <a:ext cx="644475" cy="125813"/>
              <a:chOff x="7545237" y="2090411"/>
              <a:chExt cx="594063" cy="349654"/>
            </a:xfrm>
          </p:grpSpPr>
          <p:sp>
            <p:nvSpPr>
              <p:cNvPr id="3790" name="Rectangle 3789">
                <a:extLst>
                  <a:ext uri="{FF2B5EF4-FFF2-40B4-BE49-F238E27FC236}">
                    <a16:creationId xmlns:a16="http://schemas.microsoft.com/office/drawing/2014/main" id="{9858FB26-2151-4DAC-9D5E-A1C0988C194B}"/>
                  </a:ext>
                </a:extLst>
              </p:cNvPr>
              <p:cNvSpPr/>
              <p:nvPr/>
            </p:nvSpPr>
            <p:spPr bwMode="auto">
              <a:xfrm>
                <a:off x="7545238" y="2090411"/>
                <a:ext cx="481072" cy="7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3791" name="Rectangle 3790">
                <a:extLst>
                  <a:ext uri="{FF2B5EF4-FFF2-40B4-BE49-F238E27FC236}">
                    <a16:creationId xmlns:a16="http://schemas.microsoft.com/office/drawing/2014/main" id="{11106315-9B28-447F-A0DF-F5BB847B5EF3}"/>
                  </a:ext>
                </a:extLst>
              </p:cNvPr>
              <p:cNvSpPr/>
              <p:nvPr/>
            </p:nvSpPr>
            <p:spPr bwMode="auto">
              <a:xfrm>
                <a:off x="7545237" y="2226871"/>
                <a:ext cx="440989"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92" name="Rectangle 3791">
                <a:extLst>
                  <a:ext uri="{FF2B5EF4-FFF2-40B4-BE49-F238E27FC236}">
                    <a16:creationId xmlns:a16="http://schemas.microsoft.com/office/drawing/2014/main" id="{2D1D7070-BC35-4F06-981A-272358FCA2A1}"/>
                  </a:ext>
                </a:extLst>
              </p:cNvPr>
              <p:cNvSpPr/>
              <p:nvPr/>
            </p:nvSpPr>
            <p:spPr bwMode="auto">
              <a:xfrm>
                <a:off x="7545237" y="2363332"/>
                <a:ext cx="594063"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grpSp>
        <p:grpSp>
          <p:nvGrpSpPr>
            <p:cNvPr id="3786" name="Group 3785">
              <a:extLst>
                <a:ext uri="{FF2B5EF4-FFF2-40B4-BE49-F238E27FC236}">
                  <a16:creationId xmlns:a16="http://schemas.microsoft.com/office/drawing/2014/main" id="{31E29158-6BDF-4CDB-9DBF-7DA57851828E}"/>
                </a:ext>
              </a:extLst>
            </p:cNvPr>
            <p:cNvGrpSpPr/>
            <p:nvPr/>
          </p:nvGrpSpPr>
          <p:grpSpPr>
            <a:xfrm>
              <a:off x="11161468" y="4004227"/>
              <a:ext cx="644475" cy="125813"/>
              <a:chOff x="7545237" y="2090411"/>
              <a:chExt cx="594063" cy="349654"/>
            </a:xfrm>
          </p:grpSpPr>
          <p:sp>
            <p:nvSpPr>
              <p:cNvPr id="3787" name="Rectangle 3786">
                <a:extLst>
                  <a:ext uri="{FF2B5EF4-FFF2-40B4-BE49-F238E27FC236}">
                    <a16:creationId xmlns:a16="http://schemas.microsoft.com/office/drawing/2014/main" id="{D155AD14-2CCD-41E3-B17B-D068B83FEDB0}"/>
                  </a:ext>
                </a:extLst>
              </p:cNvPr>
              <p:cNvSpPr/>
              <p:nvPr/>
            </p:nvSpPr>
            <p:spPr bwMode="auto">
              <a:xfrm>
                <a:off x="7545238" y="2090411"/>
                <a:ext cx="481072" cy="7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3788" name="Rectangle 3787">
                <a:extLst>
                  <a:ext uri="{FF2B5EF4-FFF2-40B4-BE49-F238E27FC236}">
                    <a16:creationId xmlns:a16="http://schemas.microsoft.com/office/drawing/2014/main" id="{A58BDAE1-5297-4B65-AF41-63C44099399E}"/>
                  </a:ext>
                </a:extLst>
              </p:cNvPr>
              <p:cNvSpPr/>
              <p:nvPr/>
            </p:nvSpPr>
            <p:spPr bwMode="auto">
              <a:xfrm>
                <a:off x="7545237" y="2226871"/>
                <a:ext cx="440989"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89" name="Rectangle 3788">
                <a:extLst>
                  <a:ext uri="{FF2B5EF4-FFF2-40B4-BE49-F238E27FC236}">
                    <a16:creationId xmlns:a16="http://schemas.microsoft.com/office/drawing/2014/main" id="{ABE14B84-F972-4818-8989-A06A891C187B}"/>
                  </a:ext>
                </a:extLst>
              </p:cNvPr>
              <p:cNvSpPr/>
              <p:nvPr/>
            </p:nvSpPr>
            <p:spPr bwMode="auto">
              <a:xfrm>
                <a:off x="7545237" y="2363332"/>
                <a:ext cx="594063"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grpSp>
      </p:grpSp>
      <p:grpSp>
        <p:nvGrpSpPr>
          <p:cNvPr id="3793" name="Group 3792">
            <a:extLst>
              <a:ext uri="{FF2B5EF4-FFF2-40B4-BE49-F238E27FC236}">
                <a16:creationId xmlns:a16="http://schemas.microsoft.com/office/drawing/2014/main" id="{AFF0166C-6F97-4A8E-BE06-011C32DF5CEE}"/>
              </a:ext>
            </a:extLst>
          </p:cNvPr>
          <p:cNvGrpSpPr/>
          <p:nvPr/>
        </p:nvGrpSpPr>
        <p:grpSpPr>
          <a:xfrm>
            <a:off x="10941512" y="4655451"/>
            <a:ext cx="631735" cy="272714"/>
            <a:chOff x="11161468" y="3851827"/>
            <a:chExt cx="644475" cy="278213"/>
          </a:xfrm>
        </p:grpSpPr>
        <p:grpSp>
          <p:nvGrpSpPr>
            <p:cNvPr id="3794" name="Group 3793">
              <a:extLst>
                <a:ext uri="{FF2B5EF4-FFF2-40B4-BE49-F238E27FC236}">
                  <a16:creationId xmlns:a16="http://schemas.microsoft.com/office/drawing/2014/main" id="{EA86A2DD-EC96-4B87-A134-559800E870E5}"/>
                </a:ext>
              </a:extLst>
            </p:cNvPr>
            <p:cNvGrpSpPr/>
            <p:nvPr/>
          </p:nvGrpSpPr>
          <p:grpSpPr>
            <a:xfrm>
              <a:off x="11161468" y="3851827"/>
              <a:ext cx="644475" cy="125813"/>
              <a:chOff x="7545237" y="2090411"/>
              <a:chExt cx="594063" cy="349654"/>
            </a:xfrm>
          </p:grpSpPr>
          <p:sp>
            <p:nvSpPr>
              <p:cNvPr id="3799" name="Rectangle 3798">
                <a:extLst>
                  <a:ext uri="{FF2B5EF4-FFF2-40B4-BE49-F238E27FC236}">
                    <a16:creationId xmlns:a16="http://schemas.microsoft.com/office/drawing/2014/main" id="{7D357AE4-4E75-4225-8C25-B1C8B2E6F121}"/>
                  </a:ext>
                </a:extLst>
              </p:cNvPr>
              <p:cNvSpPr/>
              <p:nvPr/>
            </p:nvSpPr>
            <p:spPr bwMode="auto">
              <a:xfrm>
                <a:off x="7545238" y="2090411"/>
                <a:ext cx="481072" cy="7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3800" name="Rectangle 3799">
                <a:extLst>
                  <a:ext uri="{FF2B5EF4-FFF2-40B4-BE49-F238E27FC236}">
                    <a16:creationId xmlns:a16="http://schemas.microsoft.com/office/drawing/2014/main" id="{AF55D0D0-CC1A-4F00-9EB1-F99A728AB646}"/>
                  </a:ext>
                </a:extLst>
              </p:cNvPr>
              <p:cNvSpPr/>
              <p:nvPr/>
            </p:nvSpPr>
            <p:spPr bwMode="auto">
              <a:xfrm>
                <a:off x="7545237" y="2226871"/>
                <a:ext cx="440989"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01" name="Rectangle 3800">
                <a:extLst>
                  <a:ext uri="{FF2B5EF4-FFF2-40B4-BE49-F238E27FC236}">
                    <a16:creationId xmlns:a16="http://schemas.microsoft.com/office/drawing/2014/main" id="{A4CEB16F-E03F-4F73-B82E-5B3AB771A44D}"/>
                  </a:ext>
                </a:extLst>
              </p:cNvPr>
              <p:cNvSpPr/>
              <p:nvPr/>
            </p:nvSpPr>
            <p:spPr bwMode="auto">
              <a:xfrm>
                <a:off x="7545237" y="2363332"/>
                <a:ext cx="594063"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grpSp>
        <p:grpSp>
          <p:nvGrpSpPr>
            <p:cNvPr id="3795" name="Group 3794">
              <a:extLst>
                <a:ext uri="{FF2B5EF4-FFF2-40B4-BE49-F238E27FC236}">
                  <a16:creationId xmlns:a16="http://schemas.microsoft.com/office/drawing/2014/main" id="{750E100E-6D04-4EFC-A2B9-30153B578F4E}"/>
                </a:ext>
              </a:extLst>
            </p:cNvPr>
            <p:cNvGrpSpPr/>
            <p:nvPr/>
          </p:nvGrpSpPr>
          <p:grpSpPr>
            <a:xfrm>
              <a:off x="11161468" y="4004227"/>
              <a:ext cx="644475" cy="125813"/>
              <a:chOff x="7545237" y="2090411"/>
              <a:chExt cx="594063" cy="349654"/>
            </a:xfrm>
          </p:grpSpPr>
          <p:sp>
            <p:nvSpPr>
              <p:cNvPr id="3796" name="Rectangle 3795">
                <a:extLst>
                  <a:ext uri="{FF2B5EF4-FFF2-40B4-BE49-F238E27FC236}">
                    <a16:creationId xmlns:a16="http://schemas.microsoft.com/office/drawing/2014/main" id="{1B922EA8-126D-49FE-973C-84FBD4E12557}"/>
                  </a:ext>
                </a:extLst>
              </p:cNvPr>
              <p:cNvSpPr/>
              <p:nvPr/>
            </p:nvSpPr>
            <p:spPr bwMode="auto">
              <a:xfrm>
                <a:off x="7545238" y="2090411"/>
                <a:ext cx="481072" cy="7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3797" name="Rectangle 3796">
                <a:extLst>
                  <a:ext uri="{FF2B5EF4-FFF2-40B4-BE49-F238E27FC236}">
                    <a16:creationId xmlns:a16="http://schemas.microsoft.com/office/drawing/2014/main" id="{1D62D9BE-EB36-42D0-A672-8CF24E4CD4E3}"/>
                  </a:ext>
                </a:extLst>
              </p:cNvPr>
              <p:cNvSpPr/>
              <p:nvPr/>
            </p:nvSpPr>
            <p:spPr bwMode="auto">
              <a:xfrm>
                <a:off x="7545237" y="2226871"/>
                <a:ext cx="440989"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98" name="Rectangle 3797">
                <a:extLst>
                  <a:ext uri="{FF2B5EF4-FFF2-40B4-BE49-F238E27FC236}">
                    <a16:creationId xmlns:a16="http://schemas.microsoft.com/office/drawing/2014/main" id="{351DCE43-E243-4F70-9F4F-090C17E1BADF}"/>
                  </a:ext>
                </a:extLst>
              </p:cNvPr>
              <p:cNvSpPr/>
              <p:nvPr/>
            </p:nvSpPr>
            <p:spPr bwMode="auto">
              <a:xfrm>
                <a:off x="7545237" y="2363332"/>
                <a:ext cx="594063" cy="767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grpSp>
      </p:grpSp>
      <p:grpSp>
        <p:nvGrpSpPr>
          <p:cNvPr id="3802" name="Group 3801">
            <a:extLst>
              <a:ext uri="{FF2B5EF4-FFF2-40B4-BE49-F238E27FC236}">
                <a16:creationId xmlns:a16="http://schemas.microsoft.com/office/drawing/2014/main" id="{77482F2B-B91E-4FCD-B230-4B5D75C8AD1D}"/>
              </a:ext>
            </a:extLst>
          </p:cNvPr>
          <p:cNvGrpSpPr/>
          <p:nvPr/>
        </p:nvGrpSpPr>
        <p:grpSpPr>
          <a:xfrm>
            <a:off x="10949405" y="3467965"/>
            <a:ext cx="201176" cy="203511"/>
            <a:chOff x="11169522" y="3582317"/>
            <a:chExt cx="160448" cy="162310"/>
          </a:xfrm>
        </p:grpSpPr>
        <p:sp>
          <p:nvSpPr>
            <p:cNvPr id="3803" name="Oval 3802">
              <a:extLst>
                <a:ext uri="{FF2B5EF4-FFF2-40B4-BE49-F238E27FC236}">
                  <a16:creationId xmlns:a16="http://schemas.microsoft.com/office/drawing/2014/main" id="{36EA410B-D648-491F-9E07-990EA8C09C8E}"/>
                </a:ext>
              </a:extLst>
            </p:cNvPr>
            <p:cNvSpPr/>
            <p:nvPr/>
          </p:nvSpPr>
          <p:spPr bwMode="auto">
            <a:xfrm>
              <a:off x="11169522" y="3582317"/>
              <a:ext cx="160448" cy="162310"/>
            </a:xfrm>
            <a:prstGeom prst="ellipse">
              <a:avLst/>
            </a:prstGeom>
            <a:solidFill>
              <a:srgbClr val="6BC082"/>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04" name="Freeform 176">
              <a:extLst>
                <a:ext uri="{FF2B5EF4-FFF2-40B4-BE49-F238E27FC236}">
                  <a16:creationId xmlns:a16="http://schemas.microsoft.com/office/drawing/2014/main" id="{83A0CAEE-9318-4D21-8374-B61208F58DFD}"/>
                </a:ext>
              </a:extLst>
            </p:cNvPr>
            <p:cNvSpPr/>
            <p:nvPr/>
          </p:nvSpPr>
          <p:spPr>
            <a:xfrm>
              <a:off x="11205034" y="3625845"/>
              <a:ext cx="89425" cy="90146"/>
            </a:xfrm>
            <a:custGeom>
              <a:avLst/>
              <a:gdLst>
                <a:gd name="connsiteX0" fmla="*/ 0 w 307181"/>
                <a:gd name="connsiteY0" fmla="*/ 135731 h 269081"/>
                <a:gd name="connsiteX1" fmla="*/ 61912 w 307181"/>
                <a:gd name="connsiteY1" fmla="*/ 135731 h 269081"/>
                <a:gd name="connsiteX2" fmla="*/ 104775 w 307181"/>
                <a:gd name="connsiteY2" fmla="*/ 204788 h 269081"/>
                <a:gd name="connsiteX3" fmla="*/ 240506 w 307181"/>
                <a:gd name="connsiteY3" fmla="*/ 0 h 269081"/>
                <a:gd name="connsiteX4" fmla="*/ 307181 w 307181"/>
                <a:gd name="connsiteY4" fmla="*/ 0 h 269081"/>
                <a:gd name="connsiteX5" fmla="*/ 133350 w 307181"/>
                <a:gd name="connsiteY5" fmla="*/ 269081 h 269081"/>
                <a:gd name="connsiteX6" fmla="*/ 71437 w 307181"/>
                <a:gd name="connsiteY6" fmla="*/ 259556 h 269081"/>
                <a:gd name="connsiteX7" fmla="*/ 0 w 307181"/>
                <a:gd name="connsiteY7" fmla="*/ 135731 h 269081"/>
                <a:gd name="connsiteX0" fmla="*/ 0 w 307181"/>
                <a:gd name="connsiteY0" fmla="*/ 135731 h 259556"/>
                <a:gd name="connsiteX1" fmla="*/ 61912 w 307181"/>
                <a:gd name="connsiteY1" fmla="*/ 135731 h 259556"/>
                <a:gd name="connsiteX2" fmla="*/ 104775 w 307181"/>
                <a:gd name="connsiteY2" fmla="*/ 204788 h 259556"/>
                <a:gd name="connsiteX3" fmla="*/ 240506 w 307181"/>
                <a:gd name="connsiteY3" fmla="*/ 0 h 259556"/>
                <a:gd name="connsiteX4" fmla="*/ 307181 w 307181"/>
                <a:gd name="connsiteY4" fmla="*/ 0 h 259556"/>
                <a:gd name="connsiteX5" fmla="*/ 152400 w 307181"/>
                <a:gd name="connsiteY5" fmla="*/ 238125 h 259556"/>
                <a:gd name="connsiteX6" fmla="*/ 71437 w 307181"/>
                <a:gd name="connsiteY6" fmla="*/ 259556 h 259556"/>
                <a:gd name="connsiteX7" fmla="*/ 0 w 307181"/>
                <a:gd name="connsiteY7" fmla="*/ 135731 h 259556"/>
                <a:gd name="connsiteX0" fmla="*/ 0 w 307181"/>
                <a:gd name="connsiteY0" fmla="*/ 135731 h 283368"/>
                <a:gd name="connsiteX1" fmla="*/ 61912 w 307181"/>
                <a:gd name="connsiteY1" fmla="*/ 135731 h 283368"/>
                <a:gd name="connsiteX2" fmla="*/ 104775 w 307181"/>
                <a:gd name="connsiteY2" fmla="*/ 204788 h 283368"/>
                <a:gd name="connsiteX3" fmla="*/ 240506 w 307181"/>
                <a:gd name="connsiteY3" fmla="*/ 0 h 283368"/>
                <a:gd name="connsiteX4" fmla="*/ 307181 w 307181"/>
                <a:gd name="connsiteY4" fmla="*/ 0 h 283368"/>
                <a:gd name="connsiteX5" fmla="*/ 152400 w 307181"/>
                <a:gd name="connsiteY5" fmla="*/ 238125 h 283368"/>
                <a:gd name="connsiteX6" fmla="*/ 95249 w 307181"/>
                <a:gd name="connsiteY6" fmla="*/ 283368 h 283368"/>
                <a:gd name="connsiteX7" fmla="*/ 0 w 307181"/>
                <a:gd name="connsiteY7" fmla="*/ 135731 h 283368"/>
                <a:gd name="connsiteX0" fmla="*/ 0 w 307181"/>
                <a:gd name="connsiteY0" fmla="*/ 135731 h 283368"/>
                <a:gd name="connsiteX1" fmla="*/ 61912 w 307181"/>
                <a:gd name="connsiteY1" fmla="*/ 135731 h 283368"/>
                <a:gd name="connsiteX2" fmla="*/ 104775 w 307181"/>
                <a:gd name="connsiteY2" fmla="*/ 204788 h 283368"/>
                <a:gd name="connsiteX3" fmla="*/ 240506 w 307181"/>
                <a:gd name="connsiteY3" fmla="*/ 0 h 283368"/>
                <a:gd name="connsiteX4" fmla="*/ 307181 w 307181"/>
                <a:gd name="connsiteY4" fmla="*/ 0 h 283368"/>
                <a:gd name="connsiteX5" fmla="*/ 95249 w 307181"/>
                <a:gd name="connsiteY5" fmla="*/ 283368 h 283368"/>
                <a:gd name="connsiteX6" fmla="*/ 0 w 307181"/>
                <a:gd name="connsiteY6" fmla="*/ 135731 h 283368"/>
                <a:gd name="connsiteX0" fmla="*/ 0 w 307181"/>
                <a:gd name="connsiteY0" fmla="*/ 135731 h 292893"/>
                <a:gd name="connsiteX1" fmla="*/ 61912 w 307181"/>
                <a:gd name="connsiteY1" fmla="*/ 135731 h 292893"/>
                <a:gd name="connsiteX2" fmla="*/ 104775 w 307181"/>
                <a:gd name="connsiteY2" fmla="*/ 204788 h 292893"/>
                <a:gd name="connsiteX3" fmla="*/ 240506 w 307181"/>
                <a:gd name="connsiteY3" fmla="*/ 0 h 292893"/>
                <a:gd name="connsiteX4" fmla="*/ 307181 w 307181"/>
                <a:gd name="connsiteY4" fmla="*/ 0 h 292893"/>
                <a:gd name="connsiteX5" fmla="*/ 104774 w 307181"/>
                <a:gd name="connsiteY5" fmla="*/ 292893 h 292893"/>
                <a:gd name="connsiteX6" fmla="*/ 0 w 307181"/>
                <a:gd name="connsiteY6" fmla="*/ 135731 h 292893"/>
                <a:gd name="connsiteX0" fmla="*/ 0 w 307181"/>
                <a:gd name="connsiteY0" fmla="*/ 135731 h 292893"/>
                <a:gd name="connsiteX1" fmla="*/ 52387 w 307181"/>
                <a:gd name="connsiteY1" fmla="*/ 121443 h 292893"/>
                <a:gd name="connsiteX2" fmla="*/ 104775 w 307181"/>
                <a:gd name="connsiteY2" fmla="*/ 204788 h 292893"/>
                <a:gd name="connsiteX3" fmla="*/ 240506 w 307181"/>
                <a:gd name="connsiteY3" fmla="*/ 0 h 292893"/>
                <a:gd name="connsiteX4" fmla="*/ 307181 w 307181"/>
                <a:gd name="connsiteY4" fmla="*/ 0 h 292893"/>
                <a:gd name="connsiteX5" fmla="*/ 104774 w 307181"/>
                <a:gd name="connsiteY5" fmla="*/ 292893 h 292893"/>
                <a:gd name="connsiteX6" fmla="*/ 0 w 307181"/>
                <a:gd name="connsiteY6" fmla="*/ 135731 h 292893"/>
                <a:gd name="connsiteX0" fmla="*/ 0 w 295275"/>
                <a:gd name="connsiteY0" fmla="*/ 164306 h 292893"/>
                <a:gd name="connsiteX1" fmla="*/ 40481 w 295275"/>
                <a:gd name="connsiteY1" fmla="*/ 121443 h 292893"/>
                <a:gd name="connsiteX2" fmla="*/ 92869 w 295275"/>
                <a:gd name="connsiteY2" fmla="*/ 204788 h 292893"/>
                <a:gd name="connsiteX3" fmla="*/ 228600 w 295275"/>
                <a:gd name="connsiteY3" fmla="*/ 0 h 292893"/>
                <a:gd name="connsiteX4" fmla="*/ 295275 w 295275"/>
                <a:gd name="connsiteY4" fmla="*/ 0 h 292893"/>
                <a:gd name="connsiteX5" fmla="*/ 92868 w 295275"/>
                <a:gd name="connsiteY5" fmla="*/ 292893 h 292893"/>
                <a:gd name="connsiteX6" fmla="*/ 0 w 295275"/>
                <a:gd name="connsiteY6" fmla="*/ 164306 h 292893"/>
                <a:gd name="connsiteX0" fmla="*/ 0 w 295275"/>
                <a:gd name="connsiteY0" fmla="*/ 164306 h 297655"/>
                <a:gd name="connsiteX1" fmla="*/ 40481 w 295275"/>
                <a:gd name="connsiteY1" fmla="*/ 121443 h 297655"/>
                <a:gd name="connsiteX2" fmla="*/ 92869 w 295275"/>
                <a:gd name="connsiteY2" fmla="*/ 204788 h 297655"/>
                <a:gd name="connsiteX3" fmla="*/ 228600 w 295275"/>
                <a:gd name="connsiteY3" fmla="*/ 0 h 297655"/>
                <a:gd name="connsiteX4" fmla="*/ 295275 w 295275"/>
                <a:gd name="connsiteY4" fmla="*/ 0 h 297655"/>
                <a:gd name="connsiteX5" fmla="*/ 90487 w 295275"/>
                <a:gd name="connsiteY5" fmla="*/ 297655 h 297655"/>
                <a:gd name="connsiteX6" fmla="*/ 0 w 295275"/>
                <a:gd name="connsiteY6" fmla="*/ 164306 h 29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97655">
                  <a:moveTo>
                    <a:pt x="0" y="164306"/>
                  </a:moveTo>
                  <a:lnTo>
                    <a:pt x="40481" y="121443"/>
                  </a:lnTo>
                  <a:lnTo>
                    <a:pt x="92869" y="204788"/>
                  </a:lnTo>
                  <a:lnTo>
                    <a:pt x="228600" y="0"/>
                  </a:lnTo>
                  <a:lnTo>
                    <a:pt x="295275" y="0"/>
                  </a:lnTo>
                  <a:lnTo>
                    <a:pt x="90487" y="297655"/>
                  </a:lnTo>
                  <a:lnTo>
                    <a:pt x="0" y="164306"/>
                  </a:lnTo>
                  <a:close/>
                </a:path>
              </a:pathLst>
            </a:custGeom>
            <a:solidFill>
              <a:schemeClr val="bg1"/>
            </a:solidFill>
            <a:ln w="9525" cap="flat" cmpd="sng" algn="ctr">
              <a:noFill/>
              <a:prstDash val="solid"/>
              <a:headEnd type="none" w="med" len="med"/>
              <a:tailEnd type="none" w="med" len="med"/>
            </a:ln>
            <a:effectLst/>
          </p:spPr>
          <p:txBody>
            <a:bodyPr vert="horz" wrap="square" lIns="89629" tIns="44814" rIns="89629" bIns="4481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17">
                <a:defRPr/>
              </a:pPr>
              <a:endParaRPr lang="en-US" sz="1372" kern="0" dirty="0">
                <a:gradFill>
                  <a:gsLst>
                    <a:gs pos="0">
                      <a:srgbClr val="FFFFFF"/>
                    </a:gs>
                    <a:gs pos="100000">
                      <a:srgbClr val="FFFFFF"/>
                    </a:gs>
                  </a:gsLst>
                  <a:lin ang="5400000" scaled="0"/>
                </a:gradFill>
                <a:latin typeface="Segoe UI"/>
              </a:endParaRPr>
            </a:p>
          </p:txBody>
        </p:sp>
      </p:grpSp>
      <p:grpSp>
        <p:nvGrpSpPr>
          <p:cNvPr id="3805" name="Group 3804">
            <a:extLst>
              <a:ext uri="{FF2B5EF4-FFF2-40B4-BE49-F238E27FC236}">
                <a16:creationId xmlns:a16="http://schemas.microsoft.com/office/drawing/2014/main" id="{0B924040-2D7B-4E47-8EA7-9514392D8850}"/>
              </a:ext>
            </a:extLst>
          </p:cNvPr>
          <p:cNvGrpSpPr/>
          <p:nvPr/>
        </p:nvGrpSpPr>
        <p:grpSpPr>
          <a:xfrm>
            <a:off x="10949405" y="4329432"/>
            <a:ext cx="201176" cy="203511"/>
            <a:chOff x="11169522" y="3582317"/>
            <a:chExt cx="160448" cy="162310"/>
          </a:xfrm>
        </p:grpSpPr>
        <p:sp>
          <p:nvSpPr>
            <p:cNvPr id="3806" name="Oval 3805">
              <a:extLst>
                <a:ext uri="{FF2B5EF4-FFF2-40B4-BE49-F238E27FC236}">
                  <a16:creationId xmlns:a16="http://schemas.microsoft.com/office/drawing/2014/main" id="{A59972F3-9440-4B79-9187-18549DF47362}"/>
                </a:ext>
              </a:extLst>
            </p:cNvPr>
            <p:cNvSpPr/>
            <p:nvPr/>
          </p:nvSpPr>
          <p:spPr bwMode="auto">
            <a:xfrm>
              <a:off x="11169522" y="3582317"/>
              <a:ext cx="160448" cy="162310"/>
            </a:xfrm>
            <a:prstGeom prst="ellipse">
              <a:avLst/>
            </a:prstGeom>
            <a:solidFill>
              <a:srgbClr val="6BC082"/>
            </a:solidFill>
            <a:ln w="9525" cap="flat" cmpd="sng" algn="ctr">
              <a:noFill/>
              <a:prstDash val="solid"/>
              <a:headEnd type="none" w="med" len="med"/>
              <a:tailEnd type="none" w="med" len="med"/>
            </a:ln>
            <a:effectLst/>
          </p:spPr>
          <p:txBody>
            <a:bodyPr rot="0" spcFirstLastPara="0" vertOverflow="overflow" horzOverflow="overflow" vert="horz" wrap="square" lIns="121855" tIns="60926" rIns="60926" bIns="121855" numCol="1" spcCol="0" rtlCol="0" fromWordArt="0" anchor="b" anchorCtr="0" forceAA="0" compatLnSpc="1">
              <a:prstTxWarp prst="textNoShape">
                <a:avLst/>
              </a:prstTxWarp>
              <a:noAutofit/>
            </a:bodyPr>
            <a:lstStyle/>
            <a:p>
              <a:pPr algn="ctr" defTabSz="1218026" fontAlgn="base">
                <a:spcBef>
                  <a:spcPct val="0"/>
                </a:spcBef>
                <a:spcAft>
                  <a:spcPct val="0"/>
                </a:spcAft>
                <a:defRPr/>
              </a:pPr>
              <a:endParaRPr lang="en-US" sz="2133" kern="0" spc="-6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07" name="Freeform 176">
              <a:extLst>
                <a:ext uri="{FF2B5EF4-FFF2-40B4-BE49-F238E27FC236}">
                  <a16:creationId xmlns:a16="http://schemas.microsoft.com/office/drawing/2014/main" id="{44AAE0E8-E557-44DF-86D6-3F0A3DD35385}"/>
                </a:ext>
              </a:extLst>
            </p:cNvPr>
            <p:cNvSpPr/>
            <p:nvPr/>
          </p:nvSpPr>
          <p:spPr>
            <a:xfrm>
              <a:off x="11205034" y="3625845"/>
              <a:ext cx="89425" cy="90146"/>
            </a:xfrm>
            <a:custGeom>
              <a:avLst/>
              <a:gdLst>
                <a:gd name="connsiteX0" fmla="*/ 0 w 307181"/>
                <a:gd name="connsiteY0" fmla="*/ 135731 h 269081"/>
                <a:gd name="connsiteX1" fmla="*/ 61912 w 307181"/>
                <a:gd name="connsiteY1" fmla="*/ 135731 h 269081"/>
                <a:gd name="connsiteX2" fmla="*/ 104775 w 307181"/>
                <a:gd name="connsiteY2" fmla="*/ 204788 h 269081"/>
                <a:gd name="connsiteX3" fmla="*/ 240506 w 307181"/>
                <a:gd name="connsiteY3" fmla="*/ 0 h 269081"/>
                <a:gd name="connsiteX4" fmla="*/ 307181 w 307181"/>
                <a:gd name="connsiteY4" fmla="*/ 0 h 269081"/>
                <a:gd name="connsiteX5" fmla="*/ 133350 w 307181"/>
                <a:gd name="connsiteY5" fmla="*/ 269081 h 269081"/>
                <a:gd name="connsiteX6" fmla="*/ 71437 w 307181"/>
                <a:gd name="connsiteY6" fmla="*/ 259556 h 269081"/>
                <a:gd name="connsiteX7" fmla="*/ 0 w 307181"/>
                <a:gd name="connsiteY7" fmla="*/ 135731 h 269081"/>
                <a:gd name="connsiteX0" fmla="*/ 0 w 307181"/>
                <a:gd name="connsiteY0" fmla="*/ 135731 h 259556"/>
                <a:gd name="connsiteX1" fmla="*/ 61912 w 307181"/>
                <a:gd name="connsiteY1" fmla="*/ 135731 h 259556"/>
                <a:gd name="connsiteX2" fmla="*/ 104775 w 307181"/>
                <a:gd name="connsiteY2" fmla="*/ 204788 h 259556"/>
                <a:gd name="connsiteX3" fmla="*/ 240506 w 307181"/>
                <a:gd name="connsiteY3" fmla="*/ 0 h 259556"/>
                <a:gd name="connsiteX4" fmla="*/ 307181 w 307181"/>
                <a:gd name="connsiteY4" fmla="*/ 0 h 259556"/>
                <a:gd name="connsiteX5" fmla="*/ 152400 w 307181"/>
                <a:gd name="connsiteY5" fmla="*/ 238125 h 259556"/>
                <a:gd name="connsiteX6" fmla="*/ 71437 w 307181"/>
                <a:gd name="connsiteY6" fmla="*/ 259556 h 259556"/>
                <a:gd name="connsiteX7" fmla="*/ 0 w 307181"/>
                <a:gd name="connsiteY7" fmla="*/ 135731 h 259556"/>
                <a:gd name="connsiteX0" fmla="*/ 0 w 307181"/>
                <a:gd name="connsiteY0" fmla="*/ 135731 h 283368"/>
                <a:gd name="connsiteX1" fmla="*/ 61912 w 307181"/>
                <a:gd name="connsiteY1" fmla="*/ 135731 h 283368"/>
                <a:gd name="connsiteX2" fmla="*/ 104775 w 307181"/>
                <a:gd name="connsiteY2" fmla="*/ 204788 h 283368"/>
                <a:gd name="connsiteX3" fmla="*/ 240506 w 307181"/>
                <a:gd name="connsiteY3" fmla="*/ 0 h 283368"/>
                <a:gd name="connsiteX4" fmla="*/ 307181 w 307181"/>
                <a:gd name="connsiteY4" fmla="*/ 0 h 283368"/>
                <a:gd name="connsiteX5" fmla="*/ 152400 w 307181"/>
                <a:gd name="connsiteY5" fmla="*/ 238125 h 283368"/>
                <a:gd name="connsiteX6" fmla="*/ 95249 w 307181"/>
                <a:gd name="connsiteY6" fmla="*/ 283368 h 283368"/>
                <a:gd name="connsiteX7" fmla="*/ 0 w 307181"/>
                <a:gd name="connsiteY7" fmla="*/ 135731 h 283368"/>
                <a:gd name="connsiteX0" fmla="*/ 0 w 307181"/>
                <a:gd name="connsiteY0" fmla="*/ 135731 h 283368"/>
                <a:gd name="connsiteX1" fmla="*/ 61912 w 307181"/>
                <a:gd name="connsiteY1" fmla="*/ 135731 h 283368"/>
                <a:gd name="connsiteX2" fmla="*/ 104775 w 307181"/>
                <a:gd name="connsiteY2" fmla="*/ 204788 h 283368"/>
                <a:gd name="connsiteX3" fmla="*/ 240506 w 307181"/>
                <a:gd name="connsiteY3" fmla="*/ 0 h 283368"/>
                <a:gd name="connsiteX4" fmla="*/ 307181 w 307181"/>
                <a:gd name="connsiteY4" fmla="*/ 0 h 283368"/>
                <a:gd name="connsiteX5" fmla="*/ 95249 w 307181"/>
                <a:gd name="connsiteY5" fmla="*/ 283368 h 283368"/>
                <a:gd name="connsiteX6" fmla="*/ 0 w 307181"/>
                <a:gd name="connsiteY6" fmla="*/ 135731 h 283368"/>
                <a:gd name="connsiteX0" fmla="*/ 0 w 307181"/>
                <a:gd name="connsiteY0" fmla="*/ 135731 h 292893"/>
                <a:gd name="connsiteX1" fmla="*/ 61912 w 307181"/>
                <a:gd name="connsiteY1" fmla="*/ 135731 h 292893"/>
                <a:gd name="connsiteX2" fmla="*/ 104775 w 307181"/>
                <a:gd name="connsiteY2" fmla="*/ 204788 h 292893"/>
                <a:gd name="connsiteX3" fmla="*/ 240506 w 307181"/>
                <a:gd name="connsiteY3" fmla="*/ 0 h 292893"/>
                <a:gd name="connsiteX4" fmla="*/ 307181 w 307181"/>
                <a:gd name="connsiteY4" fmla="*/ 0 h 292893"/>
                <a:gd name="connsiteX5" fmla="*/ 104774 w 307181"/>
                <a:gd name="connsiteY5" fmla="*/ 292893 h 292893"/>
                <a:gd name="connsiteX6" fmla="*/ 0 w 307181"/>
                <a:gd name="connsiteY6" fmla="*/ 135731 h 292893"/>
                <a:gd name="connsiteX0" fmla="*/ 0 w 307181"/>
                <a:gd name="connsiteY0" fmla="*/ 135731 h 292893"/>
                <a:gd name="connsiteX1" fmla="*/ 52387 w 307181"/>
                <a:gd name="connsiteY1" fmla="*/ 121443 h 292893"/>
                <a:gd name="connsiteX2" fmla="*/ 104775 w 307181"/>
                <a:gd name="connsiteY2" fmla="*/ 204788 h 292893"/>
                <a:gd name="connsiteX3" fmla="*/ 240506 w 307181"/>
                <a:gd name="connsiteY3" fmla="*/ 0 h 292893"/>
                <a:gd name="connsiteX4" fmla="*/ 307181 w 307181"/>
                <a:gd name="connsiteY4" fmla="*/ 0 h 292893"/>
                <a:gd name="connsiteX5" fmla="*/ 104774 w 307181"/>
                <a:gd name="connsiteY5" fmla="*/ 292893 h 292893"/>
                <a:gd name="connsiteX6" fmla="*/ 0 w 307181"/>
                <a:gd name="connsiteY6" fmla="*/ 135731 h 292893"/>
                <a:gd name="connsiteX0" fmla="*/ 0 w 295275"/>
                <a:gd name="connsiteY0" fmla="*/ 164306 h 292893"/>
                <a:gd name="connsiteX1" fmla="*/ 40481 w 295275"/>
                <a:gd name="connsiteY1" fmla="*/ 121443 h 292893"/>
                <a:gd name="connsiteX2" fmla="*/ 92869 w 295275"/>
                <a:gd name="connsiteY2" fmla="*/ 204788 h 292893"/>
                <a:gd name="connsiteX3" fmla="*/ 228600 w 295275"/>
                <a:gd name="connsiteY3" fmla="*/ 0 h 292893"/>
                <a:gd name="connsiteX4" fmla="*/ 295275 w 295275"/>
                <a:gd name="connsiteY4" fmla="*/ 0 h 292893"/>
                <a:gd name="connsiteX5" fmla="*/ 92868 w 295275"/>
                <a:gd name="connsiteY5" fmla="*/ 292893 h 292893"/>
                <a:gd name="connsiteX6" fmla="*/ 0 w 295275"/>
                <a:gd name="connsiteY6" fmla="*/ 164306 h 292893"/>
                <a:gd name="connsiteX0" fmla="*/ 0 w 295275"/>
                <a:gd name="connsiteY0" fmla="*/ 164306 h 297655"/>
                <a:gd name="connsiteX1" fmla="*/ 40481 w 295275"/>
                <a:gd name="connsiteY1" fmla="*/ 121443 h 297655"/>
                <a:gd name="connsiteX2" fmla="*/ 92869 w 295275"/>
                <a:gd name="connsiteY2" fmla="*/ 204788 h 297655"/>
                <a:gd name="connsiteX3" fmla="*/ 228600 w 295275"/>
                <a:gd name="connsiteY3" fmla="*/ 0 h 297655"/>
                <a:gd name="connsiteX4" fmla="*/ 295275 w 295275"/>
                <a:gd name="connsiteY4" fmla="*/ 0 h 297655"/>
                <a:gd name="connsiteX5" fmla="*/ 90487 w 295275"/>
                <a:gd name="connsiteY5" fmla="*/ 297655 h 297655"/>
                <a:gd name="connsiteX6" fmla="*/ 0 w 295275"/>
                <a:gd name="connsiteY6" fmla="*/ 164306 h 29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97655">
                  <a:moveTo>
                    <a:pt x="0" y="164306"/>
                  </a:moveTo>
                  <a:lnTo>
                    <a:pt x="40481" y="121443"/>
                  </a:lnTo>
                  <a:lnTo>
                    <a:pt x="92869" y="204788"/>
                  </a:lnTo>
                  <a:lnTo>
                    <a:pt x="228600" y="0"/>
                  </a:lnTo>
                  <a:lnTo>
                    <a:pt x="295275" y="0"/>
                  </a:lnTo>
                  <a:lnTo>
                    <a:pt x="90487" y="297655"/>
                  </a:lnTo>
                  <a:lnTo>
                    <a:pt x="0" y="164306"/>
                  </a:lnTo>
                  <a:close/>
                </a:path>
              </a:pathLst>
            </a:custGeom>
            <a:solidFill>
              <a:schemeClr val="bg1"/>
            </a:solidFill>
            <a:ln w="9525" cap="flat" cmpd="sng" algn="ctr">
              <a:noFill/>
              <a:prstDash val="solid"/>
              <a:headEnd type="none" w="med" len="med"/>
              <a:tailEnd type="none" w="med" len="med"/>
            </a:ln>
            <a:effectLst/>
          </p:spPr>
          <p:txBody>
            <a:bodyPr vert="horz" wrap="square" lIns="89629" tIns="44814" rIns="89629" bIns="4481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17">
                <a:defRPr/>
              </a:pPr>
              <a:endParaRPr lang="en-US" sz="1372" kern="0" dirty="0">
                <a:gradFill>
                  <a:gsLst>
                    <a:gs pos="0">
                      <a:srgbClr val="FFFFFF"/>
                    </a:gs>
                    <a:gs pos="100000">
                      <a:srgbClr val="FFFFFF"/>
                    </a:gs>
                  </a:gsLst>
                  <a:lin ang="5400000" scaled="0"/>
                </a:gradFill>
                <a:latin typeface="Segoe UI"/>
              </a:endParaRPr>
            </a:p>
          </p:txBody>
        </p:sp>
      </p:grpSp>
      <p:sp>
        <p:nvSpPr>
          <p:cNvPr id="3808" name="Freeform: Shape 3807">
            <a:extLst>
              <a:ext uri="{FF2B5EF4-FFF2-40B4-BE49-F238E27FC236}">
                <a16:creationId xmlns:a16="http://schemas.microsoft.com/office/drawing/2014/main" id="{5877198E-1FEE-4BA6-92D4-EB02D3F9761C}"/>
              </a:ext>
            </a:extLst>
          </p:cNvPr>
          <p:cNvSpPr/>
          <p:nvPr/>
        </p:nvSpPr>
        <p:spPr bwMode="auto">
          <a:xfrm>
            <a:off x="454523" y="1437171"/>
            <a:ext cx="2927235" cy="3644955"/>
          </a:xfrm>
          <a:custGeom>
            <a:avLst/>
            <a:gdLst>
              <a:gd name="connsiteX0" fmla="*/ 2986269 w 2986269"/>
              <a:gd name="connsiteY0" fmla="*/ 0 h 3773347"/>
              <a:gd name="connsiteX1" fmla="*/ 0 w 2986269"/>
              <a:gd name="connsiteY1" fmla="*/ 0 h 3773347"/>
              <a:gd name="connsiteX2" fmla="*/ 0 w 2986269"/>
              <a:gd name="connsiteY2" fmla="*/ 3773347 h 3773347"/>
              <a:gd name="connsiteX3" fmla="*/ 2986269 w 2986269"/>
              <a:gd name="connsiteY3" fmla="*/ 0 h 3773347"/>
            </a:gdLst>
            <a:ahLst/>
            <a:cxnLst>
              <a:cxn ang="0">
                <a:pos x="connsiteX0" y="connsiteY0"/>
              </a:cxn>
              <a:cxn ang="0">
                <a:pos x="connsiteX1" y="connsiteY1"/>
              </a:cxn>
              <a:cxn ang="0">
                <a:pos x="connsiteX2" y="connsiteY2"/>
              </a:cxn>
              <a:cxn ang="0">
                <a:pos x="connsiteX3" y="connsiteY3"/>
              </a:cxn>
            </a:cxnLst>
            <a:rect l="l" t="t" r="r" b="b"/>
            <a:pathLst>
              <a:path w="2986269" h="3773347">
                <a:moveTo>
                  <a:pt x="2986269" y="0"/>
                </a:moveTo>
                <a:lnTo>
                  <a:pt x="0" y="0"/>
                </a:lnTo>
                <a:lnTo>
                  <a:pt x="0" y="3773347"/>
                </a:lnTo>
                <a:lnTo>
                  <a:pt x="2986269" y="0"/>
                </a:lnTo>
                <a:close/>
              </a:path>
            </a:pathLst>
          </a:cu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09" name="Freeform: Shape 3808">
            <a:extLst>
              <a:ext uri="{FF2B5EF4-FFF2-40B4-BE49-F238E27FC236}">
                <a16:creationId xmlns:a16="http://schemas.microsoft.com/office/drawing/2014/main" id="{749F3599-C32D-4807-AF9B-7B3B6027AC68}"/>
              </a:ext>
            </a:extLst>
          </p:cNvPr>
          <p:cNvSpPr/>
          <p:nvPr/>
        </p:nvSpPr>
        <p:spPr bwMode="auto">
          <a:xfrm>
            <a:off x="2689661" y="2064908"/>
            <a:ext cx="2509706" cy="3025093"/>
          </a:xfrm>
          <a:custGeom>
            <a:avLst/>
            <a:gdLst>
              <a:gd name="connsiteX0" fmla="*/ 0 w 2560320"/>
              <a:gd name="connsiteY0" fmla="*/ 3086100 h 3086100"/>
              <a:gd name="connsiteX1" fmla="*/ 2560320 w 2560320"/>
              <a:gd name="connsiteY1" fmla="*/ 3086100 h 3086100"/>
              <a:gd name="connsiteX2" fmla="*/ 2560320 w 2560320"/>
              <a:gd name="connsiteY2" fmla="*/ 0 h 3086100"/>
              <a:gd name="connsiteX3" fmla="*/ 1325880 w 2560320"/>
              <a:gd name="connsiteY3" fmla="*/ 0 h 3086100"/>
              <a:gd name="connsiteX4" fmla="*/ 0 w 2560320"/>
              <a:gd name="connsiteY4" fmla="*/ 3086100 h 308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320" h="3086100">
                <a:moveTo>
                  <a:pt x="0" y="3086100"/>
                </a:moveTo>
                <a:lnTo>
                  <a:pt x="2560320" y="3086100"/>
                </a:lnTo>
                <a:lnTo>
                  <a:pt x="2560320" y="0"/>
                </a:lnTo>
                <a:lnTo>
                  <a:pt x="1325880" y="0"/>
                </a:lnTo>
                <a:lnTo>
                  <a:pt x="0" y="3086100"/>
                </a:lnTo>
                <a:close/>
              </a:path>
            </a:pathLst>
          </a:cu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cs typeface="Segoe UI" pitchFamily="34" charset="0"/>
            </a:endParaRPr>
          </a:p>
        </p:txBody>
      </p:sp>
      <p:sp>
        <p:nvSpPr>
          <p:cNvPr id="3810" name="Freeform: Shape 3809">
            <a:extLst>
              <a:ext uri="{FF2B5EF4-FFF2-40B4-BE49-F238E27FC236}">
                <a16:creationId xmlns:a16="http://schemas.microsoft.com/office/drawing/2014/main" id="{FD32BD98-55BF-41F2-830B-CB3276A801CF}"/>
              </a:ext>
            </a:extLst>
          </p:cNvPr>
          <p:cNvSpPr/>
          <p:nvPr/>
        </p:nvSpPr>
        <p:spPr bwMode="auto">
          <a:xfrm>
            <a:off x="456320" y="1437172"/>
            <a:ext cx="3801906" cy="3652828"/>
          </a:xfrm>
          <a:custGeom>
            <a:avLst/>
            <a:gdLst>
              <a:gd name="connsiteX0" fmla="*/ 2964180 w 3870960"/>
              <a:gd name="connsiteY0" fmla="*/ 15240 h 3718560"/>
              <a:gd name="connsiteX1" fmla="*/ 0 w 3870960"/>
              <a:gd name="connsiteY1" fmla="*/ 3718560 h 3718560"/>
              <a:gd name="connsiteX2" fmla="*/ 2278380 w 3870960"/>
              <a:gd name="connsiteY2" fmla="*/ 3718560 h 3718560"/>
              <a:gd name="connsiteX3" fmla="*/ 3870960 w 3870960"/>
              <a:gd name="connsiteY3" fmla="*/ 0 h 3718560"/>
              <a:gd name="connsiteX4" fmla="*/ 2964180 w 3870960"/>
              <a:gd name="connsiteY4" fmla="*/ 15240 h 3718560"/>
              <a:gd name="connsiteX0" fmla="*/ 2969240 w 3876020"/>
              <a:gd name="connsiteY0" fmla="*/ 15240 h 3728712"/>
              <a:gd name="connsiteX1" fmla="*/ 0 w 3876020"/>
              <a:gd name="connsiteY1" fmla="*/ 3728712 h 3728712"/>
              <a:gd name="connsiteX2" fmla="*/ 2283440 w 3876020"/>
              <a:gd name="connsiteY2" fmla="*/ 3718560 h 3728712"/>
              <a:gd name="connsiteX3" fmla="*/ 3876020 w 3876020"/>
              <a:gd name="connsiteY3" fmla="*/ 0 h 3728712"/>
              <a:gd name="connsiteX4" fmla="*/ 2969240 w 3876020"/>
              <a:gd name="connsiteY4" fmla="*/ 15240 h 3728712"/>
              <a:gd name="connsiteX0" fmla="*/ 2969240 w 3876020"/>
              <a:gd name="connsiteY0" fmla="*/ 15240 h 3728712"/>
              <a:gd name="connsiteX1" fmla="*/ 0 w 3876020"/>
              <a:gd name="connsiteY1" fmla="*/ 3728712 h 3728712"/>
              <a:gd name="connsiteX2" fmla="*/ 2278380 w 3876020"/>
              <a:gd name="connsiteY2" fmla="*/ 3723636 h 3728712"/>
              <a:gd name="connsiteX3" fmla="*/ 3876020 w 3876020"/>
              <a:gd name="connsiteY3" fmla="*/ 0 h 3728712"/>
              <a:gd name="connsiteX4" fmla="*/ 2969240 w 3876020"/>
              <a:gd name="connsiteY4" fmla="*/ 15240 h 3728712"/>
              <a:gd name="connsiteX0" fmla="*/ 2954060 w 3860840"/>
              <a:gd name="connsiteY0" fmla="*/ 15240 h 3728712"/>
              <a:gd name="connsiteX1" fmla="*/ 0 w 3860840"/>
              <a:gd name="connsiteY1" fmla="*/ 3728712 h 3728712"/>
              <a:gd name="connsiteX2" fmla="*/ 2263200 w 3860840"/>
              <a:gd name="connsiteY2" fmla="*/ 3723636 h 3728712"/>
              <a:gd name="connsiteX3" fmla="*/ 3860840 w 3860840"/>
              <a:gd name="connsiteY3" fmla="*/ 0 h 3728712"/>
              <a:gd name="connsiteX4" fmla="*/ 2954060 w 3860840"/>
              <a:gd name="connsiteY4" fmla="*/ 15240 h 3728712"/>
              <a:gd name="connsiteX0" fmla="*/ 2969240 w 3876020"/>
              <a:gd name="connsiteY0" fmla="*/ 15240 h 3723636"/>
              <a:gd name="connsiteX1" fmla="*/ 0 w 3876020"/>
              <a:gd name="connsiteY1" fmla="*/ 3718560 h 3723636"/>
              <a:gd name="connsiteX2" fmla="*/ 2278380 w 3876020"/>
              <a:gd name="connsiteY2" fmla="*/ 3723636 h 3723636"/>
              <a:gd name="connsiteX3" fmla="*/ 3876020 w 3876020"/>
              <a:gd name="connsiteY3" fmla="*/ 0 h 3723636"/>
              <a:gd name="connsiteX4" fmla="*/ 2969240 w 3876020"/>
              <a:gd name="connsiteY4" fmla="*/ 15240 h 3723636"/>
              <a:gd name="connsiteX0" fmla="*/ 2969240 w 3876020"/>
              <a:gd name="connsiteY0" fmla="*/ 15240 h 3723636"/>
              <a:gd name="connsiteX1" fmla="*/ 0 w 3876020"/>
              <a:gd name="connsiteY1" fmla="*/ 3718560 h 3723636"/>
              <a:gd name="connsiteX2" fmla="*/ 2278380 w 3876020"/>
              <a:gd name="connsiteY2" fmla="*/ 3723636 h 3723636"/>
              <a:gd name="connsiteX3" fmla="*/ 3876020 w 3876020"/>
              <a:gd name="connsiteY3" fmla="*/ 0 h 3723636"/>
              <a:gd name="connsiteX4" fmla="*/ 2969240 w 3876020"/>
              <a:gd name="connsiteY4" fmla="*/ 15240 h 372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6020" h="3723636">
                <a:moveTo>
                  <a:pt x="2969240" y="15240"/>
                </a:moveTo>
                <a:lnTo>
                  <a:pt x="0" y="3718560"/>
                </a:lnTo>
                <a:lnTo>
                  <a:pt x="2278380" y="3723636"/>
                </a:lnTo>
                <a:lnTo>
                  <a:pt x="3876020" y="0"/>
                </a:lnTo>
                <a:lnTo>
                  <a:pt x="2969240" y="15240"/>
                </a:ln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IN"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811" name="Group 3810">
            <a:extLst>
              <a:ext uri="{FF2B5EF4-FFF2-40B4-BE49-F238E27FC236}">
                <a16:creationId xmlns:a16="http://schemas.microsoft.com/office/drawing/2014/main" id="{D0499F15-6233-487B-82E9-BDFA91C358DB}"/>
              </a:ext>
            </a:extLst>
          </p:cNvPr>
          <p:cNvGrpSpPr/>
          <p:nvPr/>
        </p:nvGrpSpPr>
        <p:grpSpPr>
          <a:xfrm>
            <a:off x="2923361" y="1339293"/>
            <a:ext cx="1276485" cy="622758"/>
            <a:chOff x="2607017" y="1141760"/>
            <a:chExt cx="2739927" cy="1335744"/>
          </a:xfrm>
        </p:grpSpPr>
        <p:sp>
          <p:nvSpPr>
            <p:cNvPr id="3812" name="Freeform 178">
              <a:extLst>
                <a:ext uri="{FF2B5EF4-FFF2-40B4-BE49-F238E27FC236}">
                  <a16:creationId xmlns:a16="http://schemas.microsoft.com/office/drawing/2014/main" id="{86EE7C9D-A2DD-4AB0-A363-D21C53E7AEBA}"/>
                </a:ext>
              </a:extLst>
            </p:cNvPr>
            <p:cNvSpPr/>
            <p:nvPr/>
          </p:nvSpPr>
          <p:spPr>
            <a:xfrm>
              <a:off x="2607017" y="1141760"/>
              <a:ext cx="2739927" cy="1335744"/>
            </a:xfrm>
            <a:custGeom>
              <a:avLst/>
              <a:gdLst>
                <a:gd name="connsiteX0" fmla="*/ 2018455 w 4268418"/>
                <a:gd name="connsiteY0" fmla="*/ 0 h 2107367"/>
                <a:gd name="connsiteX1" fmla="*/ 3084427 w 4268418"/>
                <a:gd name="connsiteY1" fmla="*/ 664952 h 2107367"/>
                <a:gd name="connsiteX2" fmla="*/ 3088785 w 4268418"/>
                <a:gd name="connsiteY2" fmla="*/ 678162 h 2107367"/>
                <a:gd name="connsiteX3" fmla="*/ 3193832 w 4268418"/>
                <a:gd name="connsiteY3" fmla="*/ 621145 h 2107367"/>
                <a:gd name="connsiteX4" fmla="*/ 3494914 w 4268418"/>
                <a:gd name="connsiteY4" fmla="*/ 560359 h 2107367"/>
                <a:gd name="connsiteX5" fmla="*/ 4268418 w 4268418"/>
                <a:gd name="connsiteY5" fmla="*/ 1333863 h 2107367"/>
                <a:gd name="connsiteX6" fmla="*/ 3494914 w 4268418"/>
                <a:gd name="connsiteY6" fmla="*/ 2107367 h 2107367"/>
                <a:gd name="connsiteX7" fmla="*/ 3484432 w 4268418"/>
                <a:gd name="connsiteY7" fmla="*/ 2106838 h 2107367"/>
                <a:gd name="connsiteX8" fmla="*/ 3479191 w 4268418"/>
                <a:gd name="connsiteY8" fmla="*/ 2107366 h 2107367"/>
                <a:gd name="connsiteX9" fmla="*/ 645710 w 4268418"/>
                <a:gd name="connsiteY9" fmla="*/ 2107366 h 2107367"/>
                <a:gd name="connsiteX10" fmla="*/ 629145 w 4268418"/>
                <a:gd name="connsiteY10" fmla="*/ 2105696 h 2107367"/>
                <a:gd name="connsiteX11" fmla="*/ 612579 w 4268418"/>
                <a:gd name="connsiteY11" fmla="*/ 2107366 h 2107367"/>
                <a:gd name="connsiteX12" fmla="*/ 0 w 4268418"/>
                <a:gd name="connsiteY12" fmla="*/ 1494787 h 2107367"/>
                <a:gd name="connsiteX13" fmla="*/ 612579 w 4268418"/>
                <a:gd name="connsiteY13" fmla="*/ 882208 h 2107367"/>
                <a:gd name="connsiteX14" fmla="*/ 851023 w 4268418"/>
                <a:gd name="connsiteY14" fmla="*/ 930347 h 2107367"/>
                <a:gd name="connsiteX15" fmla="*/ 877024 w 4268418"/>
                <a:gd name="connsiteY15" fmla="*/ 944460 h 2107367"/>
                <a:gd name="connsiteX16" fmla="*/ 885073 w 4268418"/>
                <a:gd name="connsiteY16" fmla="*/ 869319 h 2107367"/>
                <a:gd name="connsiteX17" fmla="*/ 2018455 w 4268418"/>
                <a:gd name="connsiteY17" fmla="*/ 0 h 21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8418" h="2107367">
                  <a:moveTo>
                    <a:pt x="2018455" y="0"/>
                  </a:moveTo>
                  <a:cubicBezTo>
                    <a:pt x="2497653" y="0"/>
                    <a:pt x="2908802" y="274188"/>
                    <a:pt x="3084427" y="664952"/>
                  </a:cubicBezTo>
                  <a:lnTo>
                    <a:pt x="3088785" y="678162"/>
                  </a:lnTo>
                  <a:lnTo>
                    <a:pt x="3193832" y="621145"/>
                  </a:lnTo>
                  <a:cubicBezTo>
                    <a:pt x="3286372" y="582003"/>
                    <a:pt x="3388116" y="560359"/>
                    <a:pt x="3494914" y="560359"/>
                  </a:cubicBezTo>
                  <a:cubicBezTo>
                    <a:pt x="3922108" y="560359"/>
                    <a:pt x="4268418" y="906669"/>
                    <a:pt x="4268418" y="1333863"/>
                  </a:cubicBezTo>
                  <a:cubicBezTo>
                    <a:pt x="4268418" y="1761057"/>
                    <a:pt x="3922108" y="2107367"/>
                    <a:pt x="3494914" y="2107367"/>
                  </a:cubicBezTo>
                  <a:lnTo>
                    <a:pt x="3484432" y="2106838"/>
                  </a:lnTo>
                  <a:lnTo>
                    <a:pt x="3479191" y="2107366"/>
                  </a:lnTo>
                  <a:lnTo>
                    <a:pt x="645710" y="2107366"/>
                  </a:lnTo>
                  <a:lnTo>
                    <a:pt x="629145" y="2105696"/>
                  </a:lnTo>
                  <a:lnTo>
                    <a:pt x="612579" y="2107366"/>
                  </a:lnTo>
                  <a:cubicBezTo>
                    <a:pt x="274261" y="2107366"/>
                    <a:pt x="0" y="1833105"/>
                    <a:pt x="0" y="1494787"/>
                  </a:cubicBezTo>
                  <a:cubicBezTo>
                    <a:pt x="0" y="1156469"/>
                    <a:pt x="274261" y="882208"/>
                    <a:pt x="612579" y="882208"/>
                  </a:cubicBezTo>
                  <a:cubicBezTo>
                    <a:pt x="697159" y="882208"/>
                    <a:pt x="777735" y="899349"/>
                    <a:pt x="851023" y="930347"/>
                  </a:cubicBezTo>
                  <a:lnTo>
                    <a:pt x="877024" y="944460"/>
                  </a:lnTo>
                  <a:lnTo>
                    <a:pt x="885073" y="869319"/>
                  </a:lnTo>
                  <a:cubicBezTo>
                    <a:pt x="992949" y="373200"/>
                    <a:pt x="1459392" y="0"/>
                    <a:pt x="2018455"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32">
                <a:defRPr/>
              </a:pPr>
              <a:endParaRPr lang="en-US" sz="1174" dirty="0">
                <a:solidFill>
                  <a:srgbClr val="FFFFFF"/>
                </a:solidFill>
                <a:latin typeface="Univers 57 Condensed" panose="020B0606020202060204" pitchFamily="34" charset="0"/>
              </a:endParaRPr>
            </a:p>
          </p:txBody>
        </p:sp>
        <p:grpSp>
          <p:nvGrpSpPr>
            <p:cNvPr id="3813" name="Group 3812">
              <a:extLst>
                <a:ext uri="{FF2B5EF4-FFF2-40B4-BE49-F238E27FC236}">
                  <a16:creationId xmlns:a16="http://schemas.microsoft.com/office/drawing/2014/main" id="{F26EFDBB-0C5D-4950-B329-F47F7C153075}"/>
                </a:ext>
              </a:extLst>
            </p:cNvPr>
            <p:cNvGrpSpPr/>
            <p:nvPr/>
          </p:nvGrpSpPr>
          <p:grpSpPr>
            <a:xfrm>
              <a:off x="3680121" y="1613219"/>
              <a:ext cx="593720" cy="656986"/>
              <a:chOff x="-671918" y="1894465"/>
              <a:chExt cx="831581" cy="920195"/>
            </a:xfrm>
          </p:grpSpPr>
          <p:sp>
            <p:nvSpPr>
              <p:cNvPr id="3814" name="Rectangle 74">
                <a:extLst>
                  <a:ext uri="{FF2B5EF4-FFF2-40B4-BE49-F238E27FC236}">
                    <a16:creationId xmlns:a16="http://schemas.microsoft.com/office/drawing/2014/main" id="{D6E9B19F-57CA-40DB-8EE5-A5139582B981}"/>
                  </a:ext>
                </a:extLst>
              </p:cNvPr>
              <p:cNvSpPr/>
              <p:nvPr/>
            </p:nvSpPr>
            <p:spPr>
              <a:xfrm>
                <a:off x="-405879" y="2162107"/>
                <a:ext cx="299503" cy="384912"/>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32">
                  <a:defRPr/>
                </a:pPr>
                <a:endParaRPr lang="en-US" sz="1765" dirty="0">
                  <a:solidFill>
                    <a:srgbClr val="FFFFFF"/>
                  </a:solidFill>
                  <a:latin typeface="Segoe UI"/>
                </a:endParaRPr>
              </a:p>
            </p:txBody>
          </p:sp>
          <p:grpSp>
            <p:nvGrpSpPr>
              <p:cNvPr id="3815" name="Group 3814">
                <a:extLst>
                  <a:ext uri="{FF2B5EF4-FFF2-40B4-BE49-F238E27FC236}">
                    <a16:creationId xmlns:a16="http://schemas.microsoft.com/office/drawing/2014/main" id="{6601287C-DD7B-419F-9017-9399599B2C99}"/>
                  </a:ext>
                </a:extLst>
              </p:cNvPr>
              <p:cNvGrpSpPr/>
              <p:nvPr/>
            </p:nvGrpSpPr>
            <p:grpSpPr>
              <a:xfrm>
                <a:off x="-671918" y="1894465"/>
                <a:ext cx="831581" cy="920195"/>
                <a:chOff x="-674383" y="1894465"/>
                <a:chExt cx="415886" cy="460203"/>
              </a:xfrm>
            </p:grpSpPr>
            <p:sp>
              <p:nvSpPr>
                <p:cNvPr id="3816" name="Freeform 39">
                  <a:extLst>
                    <a:ext uri="{FF2B5EF4-FFF2-40B4-BE49-F238E27FC236}">
                      <a16:creationId xmlns:a16="http://schemas.microsoft.com/office/drawing/2014/main" id="{8BF10EFA-3EAB-453A-AB89-5022C17A555D}"/>
                    </a:ext>
                  </a:extLst>
                </p:cNvPr>
                <p:cNvSpPr>
                  <a:spLocks/>
                </p:cNvSpPr>
                <p:nvPr/>
              </p:nvSpPr>
              <p:spPr bwMode="auto">
                <a:xfrm>
                  <a:off x="-673562" y="2190286"/>
                  <a:ext cx="414242" cy="164382"/>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1"/>
                </a:solidFill>
                <a:ln w="0">
                  <a:noFill/>
                  <a:prstDash val="solid"/>
                  <a:round/>
                  <a:headEnd/>
                  <a:tailEnd/>
                </a:ln>
              </p:spPr>
              <p:txBody>
                <a:bodyPr vert="horz" wrap="square" lIns="89633" tIns="44816" rIns="89633" bIns="448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08">
                    <a:defRPr/>
                  </a:pPr>
                  <a:endParaRPr lang="en-US" sz="1765">
                    <a:solidFill>
                      <a:srgbClr val="505050"/>
                    </a:solidFill>
                    <a:latin typeface="Segoe UI"/>
                  </a:endParaRPr>
                </a:p>
              </p:txBody>
            </p:sp>
            <p:sp>
              <p:nvSpPr>
                <p:cNvPr id="3817" name="Freeform 40">
                  <a:extLst>
                    <a:ext uri="{FF2B5EF4-FFF2-40B4-BE49-F238E27FC236}">
                      <a16:creationId xmlns:a16="http://schemas.microsoft.com/office/drawing/2014/main" id="{7388671D-659A-41A0-AB2C-78A57DFD588D}"/>
                    </a:ext>
                  </a:extLst>
                </p:cNvPr>
                <p:cNvSpPr>
                  <a:spLocks/>
                </p:cNvSpPr>
                <p:nvPr/>
              </p:nvSpPr>
              <p:spPr bwMode="auto">
                <a:xfrm>
                  <a:off x="-674383" y="1894465"/>
                  <a:ext cx="415886" cy="166026"/>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1"/>
                </a:solidFill>
                <a:ln w="0">
                  <a:noFill/>
                  <a:prstDash val="solid"/>
                  <a:round/>
                  <a:headEnd/>
                  <a:tailEnd/>
                </a:ln>
              </p:spPr>
              <p:txBody>
                <a:bodyPr vert="horz" wrap="square" lIns="89633" tIns="44816" rIns="89633" bIns="448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08">
                    <a:defRPr/>
                  </a:pPr>
                  <a:endParaRPr lang="en-US" sz="1765">
                    <a:solidFill>
                      <a:srgbClr val="505050"/>
                    </a:solidFill>
                    <a:latin typeface="Segoe UI"/>
                  </a:endParaRPr>
                </a:p>
              </p:txBody>
            </p:sp>
          </p:grpSp>
        </p:grpSp>
      </p:grpSp>
      <p:grpSp>
        <p:nvGrpSpPr>
          <p:cNvPr id="3818" name="Group 3817">
            <a:extLst>
              <a:ext uri="{FF2B5EF4-FFF2-40B4-BE49-F238E27FC236}">
                <a16:creationId xmlns:a16="http://schemas.microsoft.com/office/drawing/2014/main" id="{65D89B2E-A940-472D-AA99-FE97D70B1416}"/>
              </a:ext>
            </a:extLst>
          </p:cNvPr>
          <p:cNvGrpSpPr/>
          <p:nvPr/>
        </p:nvGrpSpPr>
        <p:grpSpPr>
          <a:xfrm>
            <a:off x="527115" y="2511857"/>
            <a:ext cx="244485" cy="206399"/>
            <a:chOff x="1685846" y="3775275"/>
            <a:chExt cx="262859" cy="221911"/>
          </a:xfrm>
        </p:grpSpPr>
        <p:sp>
          <p:nvSpPr>
            <p:cNvPr id="3819" name="Rectangle 3818">
              <a:extLst>
                <a:ext uri="{FF2B5EF4-FFF2-40B4-BE49-F238E27FC236}">
                  <a16:creationId xmlns:a16="http://schemas.microsoft.com/office/drawing/2014/main" id="{8E6FC63F-C08B-4AE8-8FED-62EAC162C5B1}"/>
                </a:ext>
              </a:extLst>
            </p:cNvPr>
            <p:cNvSpPr/>
            <p:nvPr/>
          </p:nvSpPr>
          <p:spPr bwMode="auto">
            <a:xfrm>
              <a:off x="1790242" y="3808659"/>
              <a:ext cx="58580" cy="1674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20" name="Rectangle 25">
              <a:extLst>
                <a:ext uri="{FF2B5EF4-FFF2-40B4-BE49-F238E27FC236}">
                  <a16:creationId xmlns:a16="http://schemas.microsoft.com/office/drawing/2014/main" id="{1ACFEF67-5933-412A-8159-1DC123765E52}"/>
                </a:ext>
              </a:extLst>
            </p:cNvPr>
            <p:cNvSpPr>
              <a:spLocks noChangeAspect="1"/>
            </p:cNvSpPr>
            <p:nvPr/>
          </p:nvSpPr>
          <p:spPr bwMode="auto">
            <a:xfrm flipH="1">
              <a:off x="1685846" y="3775275"/>
              <a:ext cx="262859" cy="221911"/>
            </a:xfrm>
            <a:custGeom>
              <a:avLst/>
              <a:gdLst/>
              <a:ahLst/>
              <a:cxnLst/>
              <a:rect l="l" t="t" r="r" b="b"/>
              <a:pathLst>
                <a:path w="3669806" h="3098137">
                  <a:moveTo>
                    <a:pt x="1643468" y="2207172"/>
                  </a:moveTo>
                  <a:lnTo>
                    <a:pt x="1643468" y="2574663"/>
                  </a:lnTo>
                  <a:lnTo>
                    <a:pt x="2010959" y="2574663"/>
                  </a:lnTo>
                  <a:lnTo>
                    <a:pt x="2010959" y="2207172"/>
                  </a:lnTo>
                  <a:close/>
                  <a:moveTo>
                    <a:pt x="1607127" y="789112"/>
                  </a:moveTo>
                  <a:lnTo>
                    <a:pt x="1607127" y="1252490"/>
                  </a:lnTo>
                  <a:lnTo>
                    <a:pt x="1730694" y="1938290"/>
                  </a:lnTo>
                  <a:lnTo>
                    <a:pt x="1922224" y="1938290"/>
                  </a:lnTo>
                  <a:lnTo>
                    <a:pt x="2033435" y="1252490"/>
                  </a:lnTo>
                  <a:lnTo>
                    <a:pt x="2033435" y="789112"/>
                  </a:lnTo>
                  <a:close/>
                  <a:moveTo>
                    <a:pt x="1822750" y="259"/>
                  </a:moveTo>
                  <a:cubicBezTo>
                    <a:pt x="1909477" y="-3796"/>
                    <a:pt x="2009779" y="39067"/>
                    <a:pt x="2110950" y="175764"/>
                  </a:cubicBezTo>
                  <a:lnTo>
                    <a:pt x="3612296" y="2603867"/>
                  </a:lnTo>
                  <a:cubicBezTo>
                    <a:pt x="3735864" y="2861299"/>
                    <a:pt x="3667902" y="3081661"/>
                    <a:pt x="3334269" y="3098137"/>
                  </a:cubicBezTo>
                  <a:lnTo>
                    <a:pt x="288328" y="3098137"/>
                  </a:lnTo>
                  <a:cubicBezTo>
                    <a:pt x="-92672" y="3011640"/>
                    <a:pt x="-16472" y="2758325"/>
                    <a:pt x="72085" y="2597688"/>
                  </a:cubicBezTo>
                  <a:lnTo>
                    <a:pt x="1561074" y="194299"/>
                  </a:lnTo>
                  <a:cubicBezTo>
                    <a:pt x="1571371" y="144100"/>
                    <a:pt x="1678206" y="7017"/>
                    <a:pt x="1822750" y="259"/>
                  </a:cubicBezTo>
                  <a:close/>
                </a:path>
              </a:pathLst>
            </a:custGeom>
            <a:solidFill>
              <a:srgbClr val="FDE1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4" tIns="45701" rIns="45701" bIns="91404" numCol="1" spcCol="0" rtlCol="0" fromWordArt="0" anchor="b" anchorCtr="0" forceAA="0" compatLnSpc="1">
              <a:prstTxWarp prst="textNoShape">
                <a:avLst/>
              </a:prstTxWarp>
              <a:noAutofit/>
            </a:bodyPr>
            <a:lstStyle/>
            <a:p>
              <a:pPr algn="ctr" defTabSz="913673"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3821" name="Group 3820">
            <a:extLst>
              <a:ext uri="{FF2B5EF4-FFF2-40B4-BE49-F238E27FC236}">
                <a16:creationId xmlns:a16="http://schemas.microsoft.com/office/drawing/2014/main" id="{FCA029FF-DA61-43BC-A21F-AD3BEABE87E1}"/>
              </a:ext>
            </a:extLst>
          </p:cNvPr>
          <p:cNvGrpSpPr/>
          <p:nvPr/>
        </p:nvGrpSpPr>
        <p:grpSpPr>
          <a:xfrm>
            <a:off x="2478300" y="1640156"/>
            <a:ext cx="316178" cy="316178"/>
            <a:chOff x="8358225" y="2185205"/>
            <a:chExt cx="314175" cy="314175"/>
          </a:xfrm>
        </p:grpSpPr>
        <p:sp>
          <p:nvSpPr>
            <p:cNvPr id="3822" name="Oval 3821">
              <a:extLst>
                <a:ext uri="{FF2B5EF4-FFF2-40B4-BE49-F238E27FC236}">
                  <a16:creationId xmlns:a16="http://schemas.microsoft.com/office/drawing/2014/main" id="{05F5ACD3-ABBD-40C8-A008-14BC2A45B69B}"/>
                </a:ext>
              </a:extLst>
            </p:cNvPr>
            <p:cNvSpPr/>
            <p:nvPr/>
          </p:nvSpPr>
          <p:spPr bwMode="auto">
            <a:xfrm>
              <a:off x="8358225" y="2185205"/>
              <a:ext cx="314175" cy="314175"/>
            </a:xfrm>
            <a:prstGeom prst="ellipse">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3823" name="Freeform 5">
              <a:extLst>
                <a:ext uri="{FF2B5EF4-FFF2-40B4-BE49-F238E27FC236}">
                  <a16:creationId xmlns:a16="http://schemas.microsoft.com/office/drawing/2014/main" id="{358F3DDA-7538-4331-B8B9-6BE03AA937D7}"/>
                </a:ext>
              </a:extLst>
            </p:cNvPr>
            <p:cNvSpPr>
              <a:spLocks noEditPoints="1"/>
            </p:cNvSpPr>
            <p:nvPr/>
          </p:nvSpPr>
          <p:spPr bwMode="auto">
            <a:xfrm>
              <a:off x="8445392" y="2251503"/>
              <a:ext cx="146824" cy="167507"/>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nvGrpSpPr>
          <p:cNvPr id="3824" name="Group 3823">
            <a:extLst>
              <a:ext uri="{FF2B5EF4-FFF2-40B4-BE49-F238E27FC236}">
                <a16:creationId xmlns:a16="http://schemas.microsoft.com/office/drawing/2014/main" id="{00D2A977-D0C7-46F0-B126-253C0503805D}"/>
              </a:ext>
            </a:extLst>
          </p:cNvPr>
          <p:cNvGrpSpPr/>
          <p:nvPr/>
        </p:nvGrpSpPr>
        <p:grpSpPr>
          <a:xfrm>
            <a:off x="2936887" y="2259282"/>
            <a:ext cx="316178" cy="316181"/>
            <a:chOff x="7444139" y="2853773"/>
            <a:chExt cx="322554" cy="322557"/>
          </a:xfrm>
        </p:grpSpPr>
        <p:sp>
          <p:nvSpPr>
            <p:cNvPr id="3825" name="Oval 3824">
              <a:extLst>
                <a:ext uri="{FF2B5EF4-FFF2-40B4-BE49-F238E27FC236}">
                  <a16:creationId xmlns:a16="http://schemas.microsoft.com/office/drawing/2014/main" id="{BE6AD08E-A349-41C2-A099-AC46208DB239}"/>
                </a:ext>
              </a:extLst>
            </p:cNvPr>
            <p:cNvSpPr/>
            <p:nvPr/>
          </p:nvSpPr>
          <p:spPr bwMode="auto">
            <a:xfrm>
              <a:off x="7444139" y="2853773"/>
              <a:ext cx="322554" cy="322557"/>
            </a:xfrm>
            <a:prstGeom prst="ellipse">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3826" name="Freeform 5">
              <a:extLst>
                <a:ext uri="{FF2B5EF4-FFF2-40B4-BE49-F238E27FC236}">
                  <a16:creationId xmlns:a16="http://schemas.microsoft.com/office/drawing/2014/main" id="{A66476BB-CA03-4700-8C51-07E0161914D8}"/>
                </a:ext>
              </a:extLst>
            </p:cNvPr>
            <p:cNvSpPr>
              <a:spLocks noEditPoints="1"/>
            </p:cNvSpPr>
            <p:nvPr/>
          </p:nvSpPr>
          <p:spPr bwMode="auto">
            <a:xfrm>
              <a:off x="7532690" y="2926788"/>
              <a:ext cx="150740" cy="171975"/>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nvGrpSpPr>
          <p:cNvPr id="3827" name="Group 3826">
            <a:extLst>
              <a:ext uri="{FF2B5EF4-FFF2-40B4-BE49-F238E27FC236}">
                <a16:creationId xmlns:a16="http://schemas.microsoft.com/office/drawing/2014/main" id="{379137B8-814B-4CDA-AEDD-A8D3F46A9F22}"/>
              </a:ext>
            </a:extLst>
          </p:cNvPr>
          <p:cNvGrpSpPr/>
          <p:nvPr/>
        </p:nvGrpSpPr>
        <p:grpSpPr>
          <a:xfrm>
            <a:off x="4354160" y="2276842"/>
            <a:ext cx="316178" cy="316178"/>
            <a:chOff x="11232903" y="2559499"/>
            <a:chExt cx="314175" cy="314175"/>
          </a:xfrm>
        </p:grpSpPr>
        <p:sp>
          <p:nvSpPr>
            <p:cNvPr id="3828" name="Oval 3827">
              <a:extLst>
                <a:ext uri="{FF2B5EF4-FFF2-40B4-BE49-F238E27FC236}">
                  <a16:creationId xmlns:a16="http://schemas.microsoft.com/office/drawing/2014/main" id="{A0955327-10A3-43EF-93F2-F56E65673532}"/>
                </a:ext>
              </a:extLst>
            </p:cNvPr>
            <p:cNvSpPr/>
            <p:nvPr/>
          </p:nvSpPr>
          <p:spPr bwMode="auto">
            <a:xfrm>
              <a:off x="11232903" y="2559499"/>
              <a:ext cx="314175" cy="314175"/>
            </a:xfrm>
            <a:prstGeom prst="ellipse">
              <a:avLst/>
            </a:prstGeom>
            <a:solidFill>
              <a:schemeClr val="accent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29" name="Freeform 5">
              <a:extLst>
                <a:ext uri="{FF2B5EF4-FFF2-40B4-BE49-F238E27FC236}">
                  <a16:creationId xmlns:a16="http://schemas.microsoft.com/office/drawing/2014/main" id="{D3DCA66B-139C-4314-B590-CAA4D6DEA9E3}"/>
                </a:ext>
              </a:extLst>
            </p:cNvPr>
            <p:cNvSpPr>
              <a:spLocks noEditPoints="1"/>
            </p:cNvSpPr>
            <p:nvPr/>
          </p:nvSpPr>
          <p:spPr bwMode="auto">
            <a:xfrm>
              <a:off x="11319477" y="2626850"/>
              <a:ext cx="146824" cy="167507"/>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nvGrpSpPr>
          <p:cNvPr id="3831" name="Group 3830">
            <a:extLst>
              <a:ext uri="{FF2B5EF4-FFF2-40B4-BE49-F238E27FC236}">
                <a16:creationId xmlns:a16="http://schemas.microsoft.com/office/drawing/2014/main" id="{05D43AF7-8163-4DE6-A968-780E492FC275}"/>
              </a:ext>
            </a:extLst>
          </p:cNvPr>
          <p:cNvGrpSpPr/>
          <p:nvPr/>
        </p:nvGrpSpPr>
        <p:grpSpPr>
          <a:xfrm>
            <a:off x="6194744" y="3781846"/>
            <a:ext cx="316178" cy="316178"/>
            <a:chOff x="8358225" y="2185205"/>
            <a:chExt cx="314175" cy="314175"/>
          </a:xfrm>
        </p:grpSpPr>
        <p:sp>
          <p:nvSpPr>
            <p:cNvPr id="3832" name="Oval 3831">
              <a:extLst>
                <a:ext uri="{FF2B5EF4-FFF2-40B4-BE49-F238E27FC236}">
                  <a16:creationId xmlns:a16="http://schemas.microsoft.com/office/drawing/2014/main" id="{2F4C1CA3-AA6C-4E90-8D95-FFDFAA22DF0B}"/>
                </a:ext>
              </a:extLst>
            </p:cNvPr>
            <p:cNvSpPr/>
            <p:nvPr/>
          </p:nvSpPr>
          <p:spPr bwMode="auto">
            <a:xfrm>
              <a:off x="8358225" y="2185205"/>
              <a:ext cx="314175" cy="314175"/>
            </a:xfrm>
            <a:prstGeom prst="ellipse">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3833" name="Freeform 5">
              <a:extLst>
                <a:ext uri="{FF2B5EF4-FFF2-40B4-BE49-F238E27FC236}">
                  <a16:creationId xmlns:a16="http://schemas.microsoft.com/office/drawing/2014/main" id="{EF0C3A79-CF69-4935-9014-5A2C14CAFCE7}"/>
                </a:ext>
              </a:extLst>
            </p:cNvPr>
            <p:cNvSpPr>
              <a:spLocks noEditPoints="1"/>
            </p:cNvSpPr>
            <p:nvPr/>
          </p:nvSpPr>
          <p:spPr bwMode="auto">
            <a:xfrm>
              <a:off x="8445392" y="2251503"/>
              <a:ext cx="146824" cy="167507"/>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nvGrpSpPr>
          <p:cNvPr id="3834" name="Group 3833">
            <a:extLst>
              <a:ext uri="{FF2B5EF4-FFF2-40B4-BE49-F238E27FC236}">
                <a16:creationId xmlns:a16="http://schemas.microsoft.com/office/drawing/2014/main" id="{1D89208B-607B-4ECD-BF08-93D15F60844B}"/>
              </a:ext>
            </a:extLst>
          </p:cNvPr>
          <p:cNvGrpSpPr/>
          <p:nvPr/>
        </p:nvGrpSpPr>
        <p:grpSpPr>
          <a:xfrm>
            <a:off x="8599565" y="2868569"/>
            <a:ext cx="316178" cy="316181"/>
            <a:chOff x="7444139" y="2853773"/>
            <a:chExt cx="322554" cy="322557"/>
          </a:xfrm>
        </p:grpSpPr>
        <p:sp>
          <p:nvSpPr>
            <p:cNvPr id="3835" name="Oval 3834">
              <a:extLst>
                <a:ext uri="{FF2B5EF4-FFF2-40B4-BE49-F238E27FC236}">
                  <a16:creationId xmlns:a16="http://schemas.microsoft.com/office/drawing/2014/main" id="{7F4562E4-F3B9-4B10-84EC-E60E042B81A4}"/>
                </a:ext>
              </a:extLst>
            </p:cNvPr>
            <p:cNvSpPr/>
            <p:nvPr/>
          </p:nvSpPr>
          <p:spPr bwMode="auto">
            <a:xfrm>
              <a:off x="7444139" y="2853773"/>
              <a:ext cx="322554" cy="322557"/>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3836" name="Freeform 5">
              <a:extLst>
                <a:ext uri="{FF2B5EF4-FFF2-40B4-BE49-F238E27FC236}">
                  <a16:creationId xmlns:a16="http://schemas.microsoft.com/office/drawing/2014/main" id="{2E69B21A-1173-47FB-9DDA-F49C61F10F30}"/>
                </a:ext>
              </a:extLst>
            </p:cNvPr>
            <p:cNvSpPr>
              <a:spLocks noEditPoints="1"/>
            </p:cNvSpPr>
            <p:nvPr/>
          </p:nvSpPr>
          <p:spPr bwMode="auto">
            <a:xfrm>
              <a:off x="7532690" y="2926788"/>
              <a:ext cx="150740" cy="171975"/>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nvGrpSpPr>
          <p:cNvPr id="3837" name="Group 3836">
            <a:extLst>
              <a:ext uri="{FF2B5EF4-FFF2-40B4-BE49-F238E27FC236}">
                <a16:creationId xmlns:a16="http://schemas.microsoft.com/office/drawing/2014/main" id="{03860DD3-AF54-40AE-B85C-BAACAB95C77F}"/>
              </a:ext>
            </a:extLst>
          </p:cNvPr>
          <p:cNvGrpSpPr/>
          <p:nvPr/>
        </p:nvGrpSpPr>
        <p:grpSpPr>
          <a:xfrm>
            <a:off x="7006202" y="2937557"/>
            <a:ext cx="316178" cy="316181"/>
            <a:chOff x="7444139" y="2853773"/>
            <a:chExt cx="322554" cy="322557"/>
          </a:xfrm>
        </p:grpSpPr>
        <p:sp>
          <p:nvSpPr>
            <p:cNvPr id="3838" name="Oval 3837">
              <a:extLst>
                <a:ext uri="{FF2B5EF4-FFF2-40B4-BE49-F238E27FC236}">
                  <a16:creationId xmlns:a16="http://schemas.microsoft.com/office/drawing/2014/main" id="{9A1BE606-7ABC-49D9-BD5A-1F717C29EBB2}"/>
                </a:ext>
              </a:extLst>
            </p:cNvPr>
            <p:cNvSpPr/>
            <p:nvPr/>
          </p:nvSpPr>
          <p:spPr bwMode="auto">
            <a:xfrm>
              <a:off x="7444139" y="2853773"/>
              <a:ext cx="322554" cy="322557"/>
            </a:xfrm>
            <a:prstGeom prst="ellipse">
              <a:avLst/>
            </a:prstGeom>
            <a:solidFill>
              <a:schemeClr val="accent2">
                <a:lumMod val="75000"/>
                <a:lumOff val="2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cs typeface="Segoe UI" pitchFamily="34" charset="0"/>
              </a:endParaRPr>
            </a:p>
          </p:txBody>
        </p:sp>
        <p:sp>
          <p:nvSpPr>
            <p:cNvPr id="3839" name="Freeform 5">
              <a:extLst>
                <a:ext uri="{FF2B5EF4-FFF2-40B4-BE49-F238E27FC236}">
                  <a16:creationId xmlns:a16="http://schemas.microsoft.com/office/drawing/2014/main" id="{1DB2366F-EBF3-490B-9DDA-F99987863DD4}"/>
                </a:ext>
              </a:extLst>
            </p:cNvPr>
            <p:cNvSpPr>
              <a:spLocks noEditPoints="1"/>
            </p:cNvSpPr>
            <p:nvPr/>
          </p:nvSpPr>
          <p:spPr bwMode="auto">
            <a:xfrm>
              <a:off x="7532690" y="2926788"/>
              <a:ext cx="150740" cy="171975"/>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grpSp>
        <p:nvGrpSpPr>
          <p:cNvPr id="3840" name="Group 3839">
            <a:extLst>
              <a:ext uri="{FF2B5EF4-FFF2-40B4-BE49-F238E27FC236}">
                <a16:creationId xmlns:a16="http://schemas.microsoft.com/office/drawing/2014/main" id="{36345431-994D-40AB-8817-9F56E93D8DE9}"/>
              </a:ext>
            </a:extLst>
          </p:cNvPr>
          <p:cNvGrpSpPr/>
          <p:nvPr/>
        </p:nvGrpSpPr>
        <p:grpSpPr>
          <a:xfrm>
            <a:off x="7010165" y="2637487"/>
            <a:ext cx="316178" cy="316178"/>
            <a:chOff x="11232903" y="2559499"/>
            <a:chExt cx="314175" cy="314175"/>
          </a:xfrm>
        </p:grpSpPr>
        <p:sp>
          <p:nvSpPr>
            <p:cNvPr id="3841" name="Oval 3840">
              <a:extLst>
                <a:ext uri="{FF2B5EF4-FFF2-40B4-BE49-F238E27FC236}">
                  <a16:creationId xmlns:a16="http://schemas.microsoft.com/office/drawing/2014/main" id="{077D27D5-7C64-45C6-8E8E-B12F84A5F0B8}"/>
                </a:ext>
              </a:extLst>
            </p:cNvPr>
            <p:cNvSpPr/>
            <p:nvPr/>
          </p:nvSpPr>
          <p:spPr bwMode="auto">
            <a:xfrm>
              <a:off x="11232903" y="2559499"/>
              <a:ext cx="314175" cy="314175"/>
            </a:xfrm>
            <a:prstGeom prst="ellipse">
              <a:avLst/>
            </a:prstGeom>
            <a:solidFill>
              <a:schemeClr val="bg1">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5" tIns="143411" rIns="179265" bIns="143411" numCol="1" spcCol="0" rtlCol="0" fromWordArt="0" anchor="t" anchorCtr="0" forceAA="0" compatLnSpc="1">
              <a:prstTxWarp prst="textNoShape">
                <a:avLst/>
              </a:prstTxWarp>
              <a:noAutofit/>
            </a:bodyPr>
            <a:lstStyle/>
            <a:p>
              <a:pPr algn="ctr" defTabSz="914027"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42" name="Freeform 5">
              <a:extLst>
                <a:ext uri="{FF2B5EF4-FFF2-40B4-BE49-F238E27FC236}">
                  <a16:creationId xmlns:a16="http://schemas.microsoft.com/office/drawing/2014/main" id="{B004E958-75C0-407C-B2C9-C1F237B3DEAB}"/>
                </a:ext>
              </a:extLst>
            </p:cNvPr>
            <p:cNvSpPr>
              <a:spLocks noEditPoints="1"/>
            </p:cNvSpPr>
            <p:nvPr/>
          </p:nvSpPr>
          <p:spPr bwMode="auto">
            <a:xfrm>
              <a:off x="11319477" y="2626850"/>
              <a:ext cx="146824" cy="167507"/>
            </a:xfrm>
            <a:custGeom>
              <a:avLst/>
              <a:gdLst>
                <a:gd name="T0" fmla="*/ 27 w 1150"/>
                <a:gd name="T1" fmla="*/ 11 h 1312"/>
                <a:gd name="T2" fmla="*/ 0 w 1150"/>
                <a:gd name="T3" fmla="*/ 1251 h 1312"/>
                <a:gd name="T4" fmla="*/ 27 w 1150"/>
                <a:gd name="T5" fmla="*/ 1301 h 1312"/>
                <a:gd name="T6" fmla="*/ 1101 w 1150"/>
                <a:gd name="T7" fmla="*/ 1311 h 1312"/>
                <a:gd name="T8" fmla="*/ 1149 w 1150"/>
                <a:gd name="T9" fmla="*/ 1263 h 1312"/>
                <a:gd name="T10" fmla="*/ 1139 w 1150"/>
                <a:gd name="T11" fmla="*/ 355 h 1312"/>
                <a:gd name="T12" fmla="*/ 1091 w 1150"/>
                <a:gd name="T13" fmla="*/ 329 h 1312"/>
                <a:gd name="T14" fmla="*/ 863 w 1150"/>
                <a:gd name="T15" fmla="*/ 388 h 1312"/>
                <a:gd name="T16" fmla="*/ 837 w 1150"/>
                <a:gd name="T17" fmla="*/ 339 h 1312"/>
                <a:gd name="T18" fmla="*/ 782 w 1150"/>
                <a:gd name="T19" fmla="*/ 334 h 1312"/>
                <a:gd name="T20" fmla="*/ 574 w 1150"/>
                <a:gd name="T21" fmla="*/ 376 h 1312"/>
                <a:gd name="T22" fmla="*/ 528 w 1150"/>
                <a:gd name="T23" fmla="*/ 330 h 1312"/>
                <a:gd name="T24" fmla="*/ 475 w 1150"/>
                <a:gd name="T25" fmla="*/ 347 h 1312"/>
                <a:gd name="T26" fmla="*/ 277 w 1150"/>
                <a:gd name="T27" fmla="*/ 27 h 1312"/>
                <a:gd name="T28" fmla="*/ 225 w 1150"/>
                <a:gd name="T29" fmla="*/ 0 h 1312"/>
                <a:gd name="T30" fmla="*/ 772 w 1150"/>
                <a:gd name="T31" fmla="*/ 730 h 1312"/>
                <a:gd name="T32" fmla="*/ 884 w 1150"/>
                <a:gd name="T33" fmla="*/ 717 h 1312"/>
                <a:gd name="T34" fmla="*/ 921 w 1150"/>
                <a:gd name="T35" fmla="*/ 743 h 1312"/>
                <a:gd name="T36" fmla="*/ 921 w 1150"/>
                <a:gd name="T37" fmla="*/ 856 h 1312"/>
                <a:gd name="T38" fmla="*/ 884 w 1150"/>
                <a:gd name="T39" fmla="*/ 881 h 1312"/>
                <a:gd name="T40" fmla="*/ 772 w 1150"/>
                <a:gd name="T41" fmla="*/ 869 h 1312"/>
                <a:gd name="T42" fmla="*/ 760 w 1150"/>
                <a:gd name="T43" fmla="*/ 1025 h 1312"/>
                <a:gd name="T44" fmla="*/ 778 w 1150"/>
                <a:gd name="T45" fmla="*/ 991 h 1312"/>
                <a:gd name="T46" fmla="*/ 892 w 1150"/>
                <a:gd name="T47" fmla="*/ 985 h 1312"/>
                <a:gd name="T48" fmla="*/ 924 w 1150"/>
                <a:gd name="T49" fmla="*/ 1017 h 1312"/>
                <a:gd name="T50" fmla="*/ 918 w 1150"/>
                <a:gd name="T51" fmla="*/ 1130 h 1312"/>
                <a:gd name="T52" fmla="*/ 801 w 1150"/>
                <a:gd name="T53" fmla="*/ 1148 h 1312"/>
                <a:gd name="T54" fmla="*/ 766 w 1150"/>
                <a:gd name="T55" fmla="*/ 1130 h 1312"/>
                <a:gd name="T56" fmla="*/ 493 w 1150"/>
                <a:gd name="T57" fmla="*/ 758 h 1312"/>
                <a:gd name="T58" fmla="*/ 518 w 1150"/>
                <a:gd name="T59" fmla="*/ 720 h 1312"/>
                <a:gd name="T60" fmla="*/ 633 w 1150"/>
                <a:gd name="T61" fmla="*/ 720 h 1312"/>
                <a:gd name="T62" fmla="*/ 657 w 1150"/>
                <a:gd name="T63" fmla="*/ 758 h 1312"/>
                <a:gd name="T64" fmla="*/ 645 w 1150"/>
                <a:gd name="T65" fmla="*/ 869 h 1312"/>
                <a:gd name="T66" fmla="*/ 534 w 1150"/>
                <a:gd name="T67" fmla="*/ 881 h 1312"/>
                <a:gd name="T68" fmla="*/ 496 w 1150"/>
                <a:gd name="T69" fmla="*/ 856 h 1312"/>
                <a:gd name="T70" fmla="*/ 494 w 1150"/>
                <a:gd name="T71" fmla="*/ 1017 h 1312"/>
                <a:gd name="T72" fmla="*/ 526 w 1150"/>
                <a:gd name="T73" fmla="*/ 985 h 1312"/>
                <a:gd name="T74" fmla="*/ 640 w 1150"/>
                <a:gd name="T75" fmla="*/ 991 h 1312"/>
                <a:gd name="T76" fmla="*/ 657 w 1150"/>
                <a:gd name="T77" fmla="*/ 1107 h 1312"/>
                <a:gd name="T78" fmla="*/ 640 w 1150"/>
                <a:gd name="T79" fmla="*/ 1141 h 1312"/>
                <a:gd name="T80" fmla="*/ 526 w 1150"/>
                <a:gd name="T81" fmla="*/ 1147 h 1312"/>
                <a:gd name="T82" fmla="*/ 494 w 1150"/>
                <a:gd name="T83" fmla="*/ 1115 h 1312"/>
                <a:gd name="T84" fmla="*/ 387 w 1150"/>
                <a:gd name="T85" fmla="*/ 1123 h 1312"/>
                <a:gd name="T86" fmla="*/ 350 w 1150"/>
                <a:gd name="T87" fmla="*/ 1148 h 1312"/>
                <a:gd name="T88" fmla="*/ 238 w 1150"/>
                <a:gd name="T89" fmla="*/ 1136 h 1312"/>
                <a:gd name="T90" fmla="*/ 225 w 1150"/>
                <a:gd name="T91" fmla="*/ 1025 h 1312"/>
                <a:gd name="T92" fmla="*/ 251 w 1150"/>
                <a:gd name="T93" fmla="*/ 988 h 1312"/>
                <a:gd name="T94" fmla="*/ 365 w 1150"/>
                <a:gd name="T95" fmla="*/ 988 h 1312"/>
                <a:gd name="T96" fmla="*/ 391 w 1150"/>
                <a:gd name="T97" fmla="*/ 1025 h 1312"/>
                <a:gd name="T98" fmla="*/ 372 w 1150"/>
                <a:gd name="T99" fmla="*/ 724 h 1312"/>
                <a:gd name="T100" fmla="*/ 391 w 1150"/>
                <a:gd name="T101" fmla="*/ 840 h 1312"/>
                <a:gd name="T102" fmla="*/ 372 w 1150"/>
                <a:gd name="T103" fmla="*/ 875 h 1312"/>
                <a:gd name="T104" fmla="*/ 258 w 1150"/>
                <a:gd name="T105" fmla="*/ 881 h 1312"/>
                <a:gd name="T106" fmla="*/ 226 w 1150"/>
                <a:gd name="T107" fmla="*/ 849 h 1312"/>
                <a:gd name="T108" fmla="*/ 232 w 1150"/>
                <a:gd name="T109" fmla="*/ 736 h 1312"/>
                <a:gd name="T110" fmla="*/ 350 w 1150"/>
                <a:gd name="T111" fmla="*/ 71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0" h="1312">
                  <a:moveTo>
                    <a:pt x="225" y="0"/>
                  </a:moveTo>
                  <a:lnTo>
                    <a:pt x="61" y="0"/>
                  </a:lnTo>
                  <a:lnTo>
                    <a:pt x="61" y="0"/>
                  </a:lnTo>
                  <a:lnTo>
                    <a:pt x="49" y="1"/>
                  </a:lnTo>
                  <a:lnTo>
                    <a:pt x="38" y="5"/>
                  </a:lnTo>
                  <a:lnTo>
                    <a:pt x="27" y="11"/>
                  </a:lnTo>
                  <a:lnTo>
                    <a:pt x="18" y="18"/>
                  </a:lnTo>
                  <a:lnTo>
                    <a:pt x="11" y="27"/>
                  </a:lnTo>
                  <a:lnTo>
                    <a:pt x="5" y="37"/>
                  </a:lnTo>
                  <a:lnTo>
                    <a:pt x="1" y="49"/>
                  </a:lnTo>
                  <a:lnTo>
                    <a:pt x="0" y="61"/>
                  </a:lnTo>
                  <a:lnTo>
                    <a:pt x="0" y="1251"/>
                  </a:lnTo>
                  <a:lnTo>
                    <a:pt x="0" y="1251"/>
                  </a:lnTo>
                  <a:lnTo>
                    <a:pt x="1" y="1263"/>
                  </a:lnTo>
                  <a:lnTo>
                    <a:pt x="5" y="1275"/>
                  </a:lnTo>
                  <a:lnTo>
                    <a:pt x="11" y="1285"/>
                  </a:lnTo>
                  <a:lnTo>
                    <a:pt x="18" y="1294"/>
                  </a:lnTo>
                  <a:lnTo>
                    <a:pt x="27" y="1301"/>
                  </a:lnTo>
                  <a:lnTo>
                    <a:pt x="38" y="1307"/>
                  </a:lnTo>
                  <a:lnTo>
                    <a:pt x="49" y="1311"/>
                  </a:lnTo>
                  <a:lnTo>
                    <a:pt x="61" y="1312"/>
                  </a:lnTo>
                  <a:lnTo>
                    <a:pt x="1089" y="1312"/>
                  </a:lnTo>
                  <a:lnTo>
                    <a:pt x="1089" y="1312"/>
                  </a:lnTo>
                  <a:lnTo>
                    <a:pt x="1101" y="1311"/>
                  </a:lnTo>
                  <a:lnTo>
                    <a:pt x="1112" y="1307"/>
                  </a:lnTo>
                  <a:lnTo>
                    <a:pt x="1123" y="1301"/>
                  </a:lnTo>
                  <a:lnTo>
                    <a:pt x="1132" y="1294"/>
                  </a:lnTo>
                  <a:lnTo>
                    <a:pt x="1139" y="1285"/>
                  </a:lnTo>
                  <a:lnTo>
                    <a:pt x="1145" y="1275"/>
                  </a:lnTo>
                  <a:lnTo>
                    <a:pt x="1149" y="1263"/>
                  </a:lnTo>
                  <a:lnTo>
                    <a:pt x="1150" y="1251"/>
                  </a:lnTo>
                  <a:lnTo>
                    <a:pt x="1150" y="388"/>
                  </a:lnTo>
                  <a:lnTo>
                    <a:pt x="1150" y="388"/>
                  </a:lnTo>
                  <a:lnTo>
                    <a:pt x="1149" y="376"/>
                  </a:lnTo>
                  <a:lnTo>
                    <a:pt x="1145" y="364"/>
                  </a:lnTo>
                  <a:lnTo>
                    <a:pt x="1139" y="355"/>
                  </a:lnTo>
                  <a:lnTo>
                    <a:pt x="1132" y="346"/>
                  </a:lnTo>
                  <a:lnTo>
                    <a:pt x="1124" y="339"/>
                  </a:lnTo>
                  <a:lnTo>
                    <a:pt x="1114" y="334"/>
                  </a:lnTo>
                  <a:lnTo>
                    <a:pt x="1103" y="330"/>
                  </a:lnTo>
                  <a:lnTo>
                    <a:pt x="1091" y="329"/>
                  </a:lnTo>
                  <a:lnTo>
                    <a:pt x="1091" y="329"/>
                  </a:lnTo>
                  <a:lnTo>
                    <a:pt x="1080" y="330"/>
                  </a:lnTo>
                  <a:lnTo>
                    <a:pt x="1069" y="334"/>
                  </a:lnTo>
                  <a:lnTo>
                    <a:pt x="1058" y="339"/>
                  </a:lnTo>
                  <a:lnTo>
                    <a:pt x="1050" y="347"/>
                  </a:lnTo>
                  <a:lnTo>
                    <a:pt x="863" y="533"/>
                  </a:lnTo>
                  <a:lnTo>
                    <a:pt x="863" y="388"/>
                  </a:lnTo>
                  <a:lnTo>
                    <a:pt x="863" y="388"/>
                  </a:lnTo>
                  <a:lnTo>
                    <a:pt x="861" y="376"/>
                  </a:lnTo>
                  <a:lnTo>
                    <a:pt x="858" y="364"/>
                  </a:lnTo>
                  <a:lnTo>
                    <a:pt x="852" y="355"/>
                  </a:lnTo>
                  <a:lnTo>
                    <a:pt x="845" y="346"/>
                  </a:lnTo>
                  <a:lnTo>
                    <a:pt x="837" y="339"/>
                  </a:lnTo>
                  <a:lnTo>
                    <a:pt x="826" y="334"/>
                  </a:lnTo>
                  <a:lnTo>
                    <a:pt x="816" y="330"/>
                  </a:lnTo>
                  <a:lnTo>
                    <a:pt x="804" y="329"/>
                  </a:lnTo>
                  <a:lnTo>
                    <a:pt x="804" y="329"/>
                  </a:lnTo>
                  <a:lnTo>
                    <a:pt x="792" y="330"/>
                  </a:lnTo>
                  <a:lnTo>
                    <a:pt x="782" y="334"/>
                  </a:lnTo>
                  <a:lnTo>
                    <a:pt x="771" y="339"/>
                  </a:lnTo>
                  <a:lnTo>
                    <a:pt x="763" y="347"/>
                  </a:lnTo>
                  <a:lnTo>
                    <a:pt x="575" y="533"/>
                  </a:lnTo>
                  <a:lnTo>
                    <a:pt x="575" y="388"/>
                  </a:lnTo>
                  <a:lnTo>
                    <a:pt x="575" y="388"/>
                  </a:lnTo>
                  <a:lnTo>
                    <a:pt x="574" y="376"/>
                  </a:lnTo>
                  <a:lnTo>
                    <a:pt x="570" y="364"/>
                  </a:lnTo>
                  <a:lnTo>
                    <a:pt x="564" y="355"/>
                  </a:lnTo>
                  <a:lnTo>
                    <a:pt x="557" y="346"/>
                  </a:lnTo>
                  <a:lnTo>
                    <a:pt x="549" y="339"/>
                  </a:lnTo>
                  <a:lnTo>
                    <a:pt x="539" y="334"/>
                  </a:lnTo>
                  <a:lnTo>
                    <a:pt x="528" y="330"/>
                  </a:lnTo>
                  <a:lnTo>
                    <a:pt x="516" y="329"/>
                  </a:lnTo>
                  <a:lnTo>
                    <a:pt x="516" y="329"/>
                  </a:lnTo>
                  <a:lnTo>
                    <a:pt x="505" y="330"/>
                  </a:lnTo>
                  <a:lnTo>
                    <a:pt x="494" y="334"/>
                  </a:lnTo>
                  <a:lnTo>
                    <a:pt x="483" y="339"/>
                  </a:lnTo>
                  <a:lnTo>
                    <a:pt x="475" y="347"/>
                  </a:lnTo>
                  <a:lnTo>
                    <a:pt x="288" y="533"/>
                  </a:lnTo>
                  <a:lnTo>
                    <a:pt x="288" y="61"/>
                  </a:lnTo>
                  <a:lnTo>
                    <a:pt x="288" y="61"/>
                  </a:lnTo>
                  <a:lnTo>
                    <a:pt x="286" y="49"/>
                  </a:lnTo>
                  <a:lnTo>
                    <a:pt x="283" y="37"/>
                  </a:lnTo>
                  <a:lnTo>
                    <a:pt x="277" y="27"/>
                  </a:lnTo>
                  <a:lnTo>
                    <a:pt x="270" y="18"/>
                  </a:lnTo>
                  <a:lnTo>
                    <a:pt x="261" y="11"/>
                  </a:lnTo>
                  <a:lnTo>
                    <a:pt x="250" y="5"/>
                  </a:lnTo>
                  <a:lnTo>
                    <a:pt x="238" y="1"/>
                  </a:lnTo>
                  <a:lnTo>
                    <a:pt x="225" y="0"/>
                  </a:lnTo>
                  <a:lnTo>
                    <a:pt x="225" y="0"/>
                  </a:lnTo>
                  <a:close/>
                  <a:moveTo>
                    <a:pt x="760" y="758"/>
                  </a:moveTo>
                  <a:lnTo>
                    <a:pt x="760" y="758"/>
                  </a:lnTo>
                  <a:lnTo>
                    <a:pt x="760" y="750"/>
                  </a:lnTo>
                  <a:lnTo>
                    <a:pt x="763" y="743"/>
                  </a:lnTo>
                  <a:lnTo>
                    <a:pt x="766" y="736"/>
                  </a:lnTo>
                  <a:lnTo>
                    <a:pt x="772" y="730"/>
                  </a:lnTo>
                  <a:lnTo>
                    <a:pt x="778" y="724"/>
                  </a:lnTo>
                  <a:lnTo>
                    <a:pt x="785" y="720"/>
                  </a:lnTo>
                  <a:lnTo>
                    <a:pt x="792" y="718"/>
                  </a:lnTo>
                  <a:lnTo>
                    <a:pt x="801" y="717"/>
                  </a:lnTo>
                  <a:lnTo>
                    <a:pt x="884" y="717"/>
                  </a:lnTo>
                  <a:lnTo>
                    <a:pt x="884" y="717"/>
                  </a:lnTo>
                  <a:lnTo>
                    <a:pt x="892" y="718"/>
                  </a:lnTo>
                  <a:lnTo>
                    <a:pt x="899" y="720"/>
                  </a:lnTo>
                  <a:lnTo>
                    <a:pt x="906" y="724"/>
                  </a:lnTo>
                  <a:lnTo>
                    <a:pt x="912" y="730"/>
                  </a:lnTo>
                  <a:lnTo>
                    <a:pt x="918" y="736"/>
                  </a:lnTo>
                  <a:lnTo>
                    <a:pt x="921" y="743"/>
                  </a:lnTo>
                  <a:lnTo>
                    <a:pt x="924" y="750"/>
                  </a:lnTo>
                  <a:lnTo>
                    <a:pt x="925" y="758"/>
                  </a:lnTo>
                  <a:lnTo>
                    <a:pt x="925" y="840"/>
                  </a:lnTo>
                  <a:lnTo>
                    <a:pt x="925" y="840"/>
                  </a:lnTo>
                  <a:lnTo>
                    <a:pt x="924" y="849"/>
                  </a:lnTo>
                  <a:lnTo>
                    <a:pt x="921" y="856"/>
                  </a:lnTo>
                  <a:lnTo>
                    <a:pt x="918" y="863"/>
                  </a:lnTo>
                  <a:lnTo>
                    <a:pt x="912" y="869"/>
                  </a:lnTo>
                  <a:lnTo>
                    <a:pt x="906" y="875"/>
                  </a:lnTo>
                  <a:lnTo>
                    <a:pt x="899" y="879"/>
                  </a:lnTo>
                  <a:lnTo>
                    <a:pt x="892" y="881"/>
                  </a:lnTo>
                  <a:lnTo>
                    <a:pt x="884" y="881"/>
                  </a:lnTo>
                  <a:lnTo>
                    <a:pt x="801" y="881"/>
                  </a:lnTo>
                  <a:lnTo>
                    <a:pt x="801" y="881"/>
                  </a:lnTo>
                  <a:lnTo>
                    <a:pt x="792" y="881"/>
                  </a:lnTo>
                  <a:lnTo>
                    <a:pt x="785" y="879"/>
                  </a:lnTo>
                  <a:lnTo>
                    <a:pt x="778" y="875"/>
                  </a:lnTo>
                  <a:lnTo>
                    <a:pt x="772" y="869"/>
                  </a:lnTo>
                  <a:lnTo>
                    <a:pt x="766" y="863"/>
                  </a:lnTo>
                  <a:lnTo>
                    <a:pt x="763" y="856"/>
                  </a:lnTo>
                  <a:lnTo>
                    <a:pt x="760" y="849"/>
                  </a:lnTo>
                  <a:lnTo>
                    <a:pt x="760" y="840"/>
                  </a:lnTo>
                  <a:lnTo>
                    <a:pt x="760" y="758"/>
                  </a:lnTo>
                  <a:close/>
                  <a:moveTo>
                    <a:pt x="760" y="1025"/>
                  </a:moveTo>
                  <a:lnTo>
                    <a:pt x="760" y="1025"/>
                  </a:lnTo>
                  <a:lnTo>
                    <a:pt x="760" y="1017"/>
                  </a:lnTo>
                  <a:lnTo>
                    <a:pt x="763" y="1009"/>
                  </a:lnTo>
                  <a:lnTo>
                    <a:pt x="766" y="1002"/>
                  </a:lnTo>
                  <a:lnTo>
                    <a:pt x="772" y="996"/>
                  </a:lnTo>
                  <a:lnTo>
                    <a:pt x="778" y="991"/>
                  </a:lnTo>
                  <a:lnTo>
                    <a:pt x="785" y="988"/>
                  </a:lnTo>
                  <a:lnTo>
                    <a:pt x="792" y="985"/>
                  </a:lnTo>
                  <a:lnTo>
                    <a:pt x="801" y="984"/>
                  </a:lnTo>
                  <a:lnTo>
                    <a:pt x="884" y="984"/>
                  </a:lnTo>
                  <a:lnTo>
                    <a:pt x="884" y="984"/>
                  </a:lnTo>
                  <a:lnTo>
                    <a:pt x="892" y="985"/>
                  </a:lnTo>
                  <a:lnTo>
                    <a:pt x="899" y="988"/>
                  </a:lnTo>
                  <a:lnTo>
                    <a:pt x="906" y="991"/>
                  </a:lnTo>
                  <a:lnTo>
                    <a:pt x="912" y="996"/>
                  </a:lnTo>
                  <a:lnTo>
                    <a:pt x="918" y="1002"/>
                  </a:lnTo>
                  <a:lnTo>
                    <a:pt x="921" y="1009"/>
                  </a:lnTo>
                  <a:lnTo>
                    <a:pt x="924" y="1017"/>
                  </a:lnTo>
                  <a:lnTo>
                    <a:pt x="925" y="1025"/>
                  </a:lnTo>
                  <a:lnTo>
                    <a:pt x="925" y="1107"/>
                  </a:lnTo>
                  <a:lnTo>
                    <a:pt x="925" y="1107"/>
                  </a:lnTo>
                  <a:lnTo>
                    <a:pt x="924" y="1115"/>
                  </a:lnTo>
                  <a:lnTo>
                    <a:pt x="921" y="1123"/>
                  </a:lnTo>
                  <a:lnTo>
                    <a:pt x="918" y="1130"/>
                  </a:lnTo>
                  <a:lnTo>
                    <a:pt x="912" y="1136"/>
                  </a:lnTo>
                  <a:lnTo>
                    <a:pt x="906" y="1141"/>
                  </a:lnTo>
                  <a:lnTo>
                    <a:pt x="899" y="1144"/>
                  </a:lnTo>
                  <a:lnTo>
                    <a:pt x="892" y="1147"/>
                  </a:lnTo>
                  <a:lnTo>
                    <a:pt x="884" y="1148"/>
                  </a:lnTo>
                  <a:lnTo>
                    <a:pt x="801" y="1148"/>
                  </a:lnTo>
                  <a:lnTo>
                    <a:pt x="801" y="1148"/>
                  </a:lnTo>
                  <a:lnTo>
                    <a:pt x="792" y="1147"/>
                  </a:lnTo>
                  <a:lnTo>
                    <a:pt x="785" y="1144"/>
                  </a:lnTo>
                  <a:lnTo>
                    <a:pt x="778" y="1141"/>
                  </a:lnTo>
                  <a:lnTo>
                    <a:pt x="772" y="1136"/>
                  </a:lnTo>
                  <a:lnTo>
                    <a:pt x="766" y="1130"/>
                  </a:lnTo>
                  <a:lnTo>
                    <a:pt x="763" y="1123"/>
                  </a:lnTo>
                  <a:lnTo>
                    <a:pt x="760" y="1115"/>
                  </a:lnTo>
                  <a:lnTo>
                    <a:pt x="760" y="1107"/>
                  </a:lnTo>
                  <a:lnTo>
                    <a:pt x="760" y="1025"/>
                  </a:lnTo>
                  <a:close/>
                  <a:moveTo>
                    <a:pt x="493" y="758"/>
                  </a:moveTo>
                  <a:lnTo>
                    <a:pt x="493" y="758"/>
                  </a:lnTo>
                  <a:lnTo>
                    <a:pt x="494" y="750"/>
                  </a:lnTo>
                  <a:lnTo>
                    <a:pt x="496" y="743"/>
                  </a:lnTo>
                  <a:lnTo>
                    <a:pt x="500" y="736"/>
                  </a:lnTo>
                  <a:lnTo>
                    <a:pt x="505" y="730"/>
                  </a:lnTo>
                  <a:lnTo>
                    <a:pt x="510" y="724"/>
                  </a:lnTo>
                  <a:lnTo>
                    <a:pt x="518" y="720"/>
                  </a:lnTo>
                  <a:lnTo>
                    <a:pt x="526" y="718"/>
                  </a:lnTo>
                  <a:lnTo>
                    <a:pt x="534" y="717"/>
                  </a:lnTo>
                  <a:lnTo>
                    <a:pt x="616" y="717"/>
                  </a:lnTo>
                  <a:lnTo>
                    <a:pt x="616" y="717"/>
                  </a:lnTo>
                  <a:lnTo>
                    <a:pt x="624" y="718"/>
                  </a:lnTo>
                  <a:lnTo>
                    <a:pt x="633" y="720"/>
                  </a:lnTo>
                  <a:lnTo>
                    <a:pt x="640" y="724"/>
                  </a:lnTo>
                  <a:lnTo>
                    <a:pt x="645" y="730"/>
                  </a:lnTo>
                  <a:lnTo>
                    <a:pt x="650" y="736"/>
                  </a:lnTo>
                  <a:lnTo>
                    <a:pt x="654" y="743"/>
                  </a:lnTo>
                  <a:lnTo>
                    <a:pt x="656" y="750"/>
                  </a:lnTo>
                  <a:lnTo>
                    <a:pt x="657" y="758"/>
                  </a:lnTo>
                  <a:lnTo>
                    <a:pt x="657" y="840"/>
                  </a:lnTo>
                  <a:lnTo>
                    <a:pt x="657" y="840"/>
                  </a:lnTo>
                  <a:lnTo>
                    <a:pt x="656" y="849"/>
                  </a:lnTo>
                  <a:lnTo>
                    <a:pt x="654" y="856"/>
                  </a:lnTo>
                  <a:lnTo>
                    <a:pt x="650" y="863"/>
                  </a:lnTo>
                  <a:lnTo>
                    <a:pt x="645" y="869"/>
                  </a:lnTo>
                  <a:lnTo>
                    <a:pt x="640" y="875"/>
                  </a:lnTo>
                  <a:lnTo>
                    <a:pt x="633" y="879"/>
                  </a:lnTo>
                  <a:lnTo>
                    <a:pt x="624" y="881"/>
                  </a:lnTo>
                  <a:lnTo>
                    <a:pt x="616" y="881"/>
                  </a:lnTo>
                  <a:lnTo>
                    <a:pt x="534" y="881"/>
                  </a:lnTo>
                  <a:lnTo>
                    <a:pt x="534" y="881"/>
                  </a:lnTo>
                  <a:lnTo>
                    <a:pt x="526" y="881"/>
                  </a:lnTo>
                  <a:lnTo>
                    <a:pt x="518" y="879"/>
                  </a:lnTo>
                  <a:lnTo>
                    <a:pt x="510" y="875"/>
                  </a:lnTo>
                  <a:lnTo>
                    <a:pt x="505" y="869"/>
                  </a:lnTo>
                  <a:lnTo>
                    <a:pt x="500" y="863"/>
                  </a:lnTo>
                  <a:lnTo>
                    <a:pt x="496" y="856"/>
                  </a:lnTo>
                  <a:lnTo>
                    <a:pt x="494" y="849"/>
                  </a:lnTo>
                  <a:lnTo>
                    <a:pt x="493" y="840"/>
                  </a:lnTo>
                  <a:lnTo>
                    <a:pt x="493" y="758"/>
                  </a:lnTo>
                  <a:close/>
                  <a:moveTo>
                    <a:pt x="493" y="1025"/>
                  </a:moveTo>
                  <a:lnTo>
                    <a:pt x="493" y="1025"/>
                  </a:lnTo>
                  <a:lnTo>
                    <a:pt x="494" y="1017"/>
                  </a:lnTo>
                  <a:lnTo>
                    <a:pt x="496" y="1009"/>
                  </a:lnTo>
                  <a:lnTo>
                    <a:pt x="500" y="1002"/>
                  </a:lnTo>
                  <a:lnTo>
                    <a:pt x="505" y="996"/>
                  </a:lnTo>
                  <a:lnTo>
                    <a:pt x="510" y="991"/>
                  </a:lnTo>
                  <a:lnTo>
                    <a:pt x="518" y="988"/>
                  </a:lnTo>
                  <a:lnTo>
                    <a:pt x="526" y="985"/>
                  </a:lnTo>
                  <a:lnTo>
                    <a:pt x="534" y="984"/>
                  </a:lnTo>
                  <a:lnTo>
                    <a:pt x="616" y="984"/>
                  </a:lnTo>
                  <a:lnTo>
                    <a:pt x="616" y="984"/>
                  </a:lnTo>
                  <a:lnTo>
                    <a:pt x="624" y="985"/>
                  </a:lnTo>
                  <a:lnTo>
                    <a:pt x="633" y="988"/>
                  </a:lnTo>
                  <a:lnTo>
                    <a:pt x="640" y="991"/>
                  </a:lnTo>
                  <a:lnTo>
                    <a:pt x="645" y="996"/>
                  </a:lnTo>
                  <a:lnTo>
                    <a:pt x="650" y="1002"/>
                  </a:lnTo>
                  <a:lnTo>
                    <a:pt x="654" y="1009"/>
                  </a:lnTo>
                  <a:lnTo>
                    <a:pt x="656" y="1017"/>
                  </a:lnTo>
                  <a:lnTo>
                    <a:pt x="657" y="1025"/>
                  </a:lnTo>
                  <a:lnTo>
                    <a:pt x="657" y="1107"/>
                  </a:lnTo>
                  <a:lnTo>
                    <a:pt x="657" y="1107"/>
                  </a:lnTo>
                  <a:lnTo>
                    <a:pt x="656" y="1115"/>
                  </a:lnTo>
                  <a:lnTo>
                    <a:pt x="654" y="1123"/>
                  </a:lnTo>
                  <a:lnTo>
                    <a:pt x="650" y="1130"/>
                  </a:lnTo>
                  <a:lnTo>
                    <a:pt x="645" y="1136"/>
                  </a:lnTo>
                  <a:lnTo>
                    <a:pt x="640" y="1141"/>
                  </a:lnTo>
                  <a:lnTo>
                    <a:pt x="633" y="1144"/>
                  </a:lnTo>
                  <a:lnTo>
                    <a:pt x="624" y="1147"/>
                  </a:lnTo>
                  <a:lnTo>
                    <a:pt x="616" y="1148"/>
                  </a:lnTo>
                  <a:lnTo>
                    <a:pt x="534" y="1148"/>
                  </a:lnTo>
                  <a:lnTo>
                    <a:pt x="534" y="1148"/>
                  </a:lnTo>
                  <a:lnTo>
                    <a:pt x="526" y="1147"/>
                  </a:lnTo>
                  <a:lnTo>
                    <a:pt x="518" y="1144"/>
                  </a:lnTo>
                  <a:lnTo>
                    <a:pt x="510" y="1141"/>
                  </a:lnTo>
                  <a:lnTo>
                    <a:pt x="505" y="1136"/>
                  </a:lnTo>
                  <a:lnTo>
                    <a:pt x="500" y="1130"/>
                  </a:lnTo>
                  <a:lnTo>
                    <a:pt x="496" y="1123"/>
                  </a:lnTo>
                  <a:lnTo>
                    <a:pt x="494" y="1115"/>
                  </a:lnTo>
                  <a:lnTo>
                    <a:pt x="493" y="1107"/>
                  </a:lnTo>
                  <a:lnTo>
                    <a:pt x="493" y="1025"/>
                  </a:lnTo>
                  <a:close/>
                  <a:moveTo>
                    <a:pt x="391" y="1107"/>
                  </a:moveTo>
                  <a:lnTo>
                    <a:pt x="391" y="1107"/>
                  </a:lnTo>
                  <a:lnTo>
                    <a:pt x="390" y="1115"/>
                  </a:lnTo>
                  <a:lnTo>
                    <a:pt x="387" y="1123"/>
                  </a:lnTo>
                  <a:lnTo>
                    <a:pt x="384" y="1130"/>
                  </a:lnTo>
                  <a:lnTo>
                    <a:pt x="378" y="1136"/>
                  </a:lnTo>
                  <a:lnTo>
                    <a:pt x="372" y="1141"/>
                  </a:lnTo>
                  <a:lnTo>
                    <a:pt x="365" y="1144"/>
                  </a:lnTo>
                  <a:lnTo>
                    <a:pt x="358" y="1147"/>
                  </a:lnTo>
                  <a:lnTo>
                    <a:pt x="350" y="1148"/>
                  </a:lnTo>
                  <a:lnTo>
                    <a:pt x="266" y="1148"/>
                  </a:lnTo>
                  <a:lnTo>
                    <a:pt x="266" y="1148"/>
                  </a:lnTo>
                  <a:lnTo>
                    <a:pt x="258" y="1147"/>
                  </a:lnTo>
                  <a:lnTo>
                    <a:pt x="251" y="1144"/>
                  </a:lnTo>
                  <a:lnTo>
                    <a:pt x="244" y="1141"/>
                  </a:lnTo>
                  <a:lnTo>
                    <a:pt x="238" y="1136"/>
                  </a:lnTo>
                  <a:lnTo>
                    <a:pt x="232" y="1130"/>
                  </a:lnTo>
                  <a:lnTo>
                    <a:pt x="229" y="1123"/>
                  </a:lnTo>
                  <a:lnTo>
                    <a:pt x="226" y="1115"/>
                  </a:lnTo>
                  <a:lnTo>
                    <a:pt x="225" y="1107"/>
                  </a:lnTo>
                  <a:lnTo>
                    <a:pt x="225" y="1025"/>
                  </a:lnTo>
                  <a:lnTo>
                    <a:pt x="225" y="1025"/>
                  </a:lnTo>
                  <a:lnTo>
                    <a:pt x="226" y="1017"/>
                  </a:lnTo>
                  <a:lnTo>
                    <a:pt x="229" y="1009"/>
                  </a:lnTo>
                  <a:lnTo>
                    <a:pt x="232" y="1002"/>
                  </a:lnTo>
                  <a:lnTo>
                    <a:pt x="238" y="996"/>
                  </a:lnTo>
                  <a:lnTo>
                    <a:pt x="244" y="991"/>
                  </a:lnTo>
                  <a:lnTo>
                    <a:pt x="251" y="988"/>
                  </a:lnTo>
                  <a:lnTo>
                    <a:pt x="258" y="985"/>
                  </a:lnTo>
                  <a:lnTo>
                    <a:pt x="266" y="984"/>
                  </a:lnTo>
                  <a:lnTo>
                    <a:pt x="350" y="984"/>
                  </a:lnTo>
                  <a:lnTo>
                    <a:pt x="350" y="984"/>
                  </a:lnTo>
                  <a:lnTo>
                    <a:pt x="358" y="985"/>
                  </a:lnTo>
                  <a:lnTo>
                    <a:pt x="365" y="988"/>
                  </a:lnTo>
                  <a:lnTo>
                    <a:pt x="372" y="991"/>
                  </a:lnTo>
                  <a:lnTo>
                    <a:pt x="378" y="996"/>
                  </a:lnTo>
                  <a:lnTo>
                    <a:pt x="384" y="1002"/>
                  </a:lnTo>
                  <a:lnTo>
                    <a:pt x="387" y="1009"/>
                  </a:lnTo>
                  <a:lnTo>
                    <a:pt x="390" y="1017"/>
                  </a:lnTo>
                  <a:lnTo>
                    <a:pt x="391" y="1025"/>
                  </a:lnTo>
                  <a:lnTo>
                    <a:pt x="391" y="1107"/>
                  </a:lnTo>
                  <a:close/>
                  <a:moveTo>
                    <a:pt x="350" y="717"/>
                  </a:moveTo>
                  <a:lnTo>
                    <a:pt x="350" y="717"/>
                  </a:lnTo>
                  <a:lnTo>
                    <a:pt x="358" y="718"/>
                  </a:lnTo>
                  <a:lnTo>
                    <a:pt x="365" y="720"/>
                  </a:lnTo>
                  <a:lnTo>
                    <a:pt x="372" y="724"/>
                  </a:lnTo>
                  <a:lnTo>
                    <a:pt x="378" y="730"/>
                  </a:lnTo>
                  <a:lnTo>
                    <a:pt x="384" y="736"/>
                  </a:lnTo>
                  <a:lnTo>
                    <a:pt x="387" y="743"/>
                  </a:lnTo>
                  <a:lnTo>
                    <a:pt x="390" y="750"/>
                  </a:lnTo>
                  <a:lnTo>
                    <a:pt x="391" y="758"/>
                  </a:lnTo>
                  <a:lnTo>
                    <a:pt x="391" y="840"/>
                  </a:lnTo>
                  <a:lnTo>
                    <a:pt x="391" y="840"/>
                  </a:lnTo>
                  <a:lnTo>
                    <a:pt x="390" y="849"/>
                  </a:lnTo>
                  <a:lnTo>
                    <a:pt x="387" y="856"/>
                  </a:lnTo>
                  <a:lnTo>
                    <a:pt x="384" y="863"/>
                  </a:lnTo>
                  <a:lnTo>
                    <a:pt x="378" y="869"/>
                  </a:lnTo>
                  <a:lnTo>
                    <a:pt x="372" y="875"/>
                  </a:lnTo>
                  <a:lnTo>
                    <a:pt x="365" y="879"/>
                  </a:lnTo>
                  <a:lnTo>
                    <a:pt x="358" y="881"/>
                  </a:lnTo>
                  <a:lnTo>
                    <a:pt x="350" y="881"/>
                  </a:lnTo>
                  <a:lnTo>
                    <a:pt x="266" y="881"/>
                  </a:lnTo>
                  <a:lnTo>
                    <a:pt x="266" y="881"/>
                  </a:lnTo>
                  <a:lnTo>
                    <a:pt x="258" y="881"/>
                  </a:lnTo>
                  <a:lnTo>
                    <a:pt x="251" y="879"/>
                  </a:lnTo>
                  <a:lnTo>
                    <a:pt x="244" y="875"/>
                  </a:lnTo>
                  <a:lnTo>
                    <a:pt x="238" y="869"/>
                  </a:lnTo>
                  <a:lnTo>
                    <a:pt x="232" y="863"/>
                  </a:lnTo>
                  <a:lnTo>
                    <a:pt x="229" y="856"/>
                  </a:lnTo>
                  <a:lnTo>
                    <a:pt x="226" y="849"/>
                  </a:lnTo>
                  <a:lnTo>
                    <a:pt x="225" y="840"/>
                  </a:lnTo>
                  <a:lnTo>
                    <a:pt x="225" y="758"/>
                  </a:lnTo>
                  <a:lnTo>
                    <a:pt x="225" y="758"/>
                  </a:lnTo>
                  <a:lnTo>
                    <a:pt x="226" y="750"/>
                  </a:lnTo>
                  <a:lnTo>
                    <a:pt x="229" y="743"/>
                  </a:lnTo>
                  <a:lnTo>
                    <a:pt x="232" y="736"/>
                  </a:lnTo>
                  <a:lnTo>
                    <a:pt x="238" y="730"/>
                  </a:lnTo>
                  <a:lnTo>
                    <a:pt x="244" y="724"/>
                  </a:lnTo>
                  <a:lnTo>
                    <a:pt x="251" y="720"/>
                  </a:lnTo>
                  <a:lnTo>
                    <a:pt x="258" y="718"/>
                  </a:lnTo>
                  <a:lnTo>
                    <a:pt x="266" y="717"/>
                  </a:lnTo>
                  <a:lnTo>
                    <a:pt x="350" y="717"/>
                  </a:lnTo>
                  <a:close/>
                </a:path>
              </a:pathLst>
            </a:custGeom>
            <a:solidFill>
              <a:schemeClr val="bg1"/>
            </a:solidFill>
            <a:ln>
              <a:noFill/>
            </a:ln>
          </p:spPr>
          <p:txBody>
            <a:bodyPr vert="horz" wrap="square" lIns="89633" tIns="44816" rIns="89633" bIns="44816" numCol="1" anchor="t" anchorCtr="0" compatLnSpc="1">
              <a:prstTxWarp prst="textNoShape">
                <a:avLst/>
              </a:prstTxWarp>
            </a:bodyPr>
            <a:lstStyle/>
            <a:p>
              <a:pPr defTabSz="1087802">
                <a:defRPr/>
              </a:pPr>
              <a:endParaRPr lang="en-US" sz="2059" dirty="0">
                <a:solidFill>
                  <a:srgbClr val="505050"/>
                </a:solidFill>
                <a:latin typeface="Arial"/>
              </a:endParaRPr>
            </a:p>
          </p:txBody>
        </p:sp>
      </p:grpSp>
      <p:pic>
        <p:nvPicPr>
          <p:cNvPr id="3843" name="Picture 3842">
            <a:extLst>
              <a:ext uri="{FF2B5EF4-FFF2-40B4-BE49-F238E27FC236}">
                <a16:creationId xmlns:a16="http://schemas.microsoft.com/office/drawing/2014/main" id="{FED89401-CE26-46D2-AC16-C513A70A95D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black">
          <a:xfrm>
            <a:off x="4417570" y="1191276"/>
            <a:ext cx="215896" cy="215919"/>
          </a:xfrm>
          <a:prstGeom prst="rect">
            <a:avLst/>
          </a:prstGeom>
        </p:spPr>
      </p:pic>
      <p:sp>
        <p:nvSpPr>
          <p:cNvPr id="3844" name="Freeform 12">
            <a:extLst>
              <a:ext uri="{FF2B5EF4-FFF2-40B4-BE49-F238E27FC236}">
                <a16:creationId xmlns:a16="http://schemas.microsoft.com/office/drawing/2014/main" id="{C99DFF2C-FB46-409D-A596-E4B82E810A2B}"/>
              </a:ext>
            </a:extLst>
          </p:cNvPr>
          <p:cNvSpPr>
            <a:spLocks noEditPoints="1"/>
          </p:cNvSpPr>
          <p:nvPr/>
        </p:nvSpPr>
        <p:spPr bwMode="black">
          <a:xfrm>
            <a:off x="4742214" y="1248048"/>
            <a:ext cx="641136" cy="125484"/>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06" tIns="45703" rIns="91406" bIns="45703" numCol="1" anchor="t" anchorCtr="0" compatLnSpc="1">
            <a:prstTxWarp prst="textNoShape">
              <a:avLst/>
            </a:prstTxWarp>
          </a:bodyPr>
          <a:lstStyle/>
          <a:p>
            <a:endParaRPr lang="en-US" sz="2059" dirty="0"/>
          </a:p>
        </p:txBody>
      </p:sp>
    </p:spTree>
    <p:extLst>
      <p:ext uri="{BB962C8B-B14F-4D97-AF65-F5344CB8AC3E}">
        <p14:creationId xmlns:p14="http://schemas.microsoft.com/office/powerpoint/2010/main" val="3917957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8" name="Rectangle 687"/>
          <p:cNvSpPr/>
          <p:nvPr/>
        </p:nvSpPr>
        <p:spPr bwMode="auto">
          <a:xfrm>
            <a:off x="10644492" y="5247701"/>
            <a:ext cx="1105458" cy="1317898"/>
          </a:xfrm>
          <a:prstGeom prst="rect">
            <a:avLst/>
          </a:prstGeom>
          <a:solidFill>
            <a:schemeClr val="bg1"/>
          </a:solidFill>
          <a:ln w="381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b" anchorCtr="0" forceAA="0" compatLnSpc="1">
            <a:prstTxWarp prst="textNoShape">
              <a:avLst/>
            </a:prstTxWarp>
            <a:noAutofit/>
          </a:bodyPr>
          <a:lstStyle/>
          <a:p>
            <a:pPr defTabSz="913751" fontAlgn="base">
              <a:lnSpc>
                <a:spcPct val="90000"/>
              </a:lnSpc>
              <a:spcBef>
                <a:spcPct val="0"/>
              </a:spcBef>
              <a:spcAft>
                <a:spcPct val="0"/>
              </a:spcAft>
              <a:defRPr/>
            </a:pPr>
            <a:endParaRPr lang="en-US" sz="980" b="1" kern="0" dirty="0">
              <a:solidFill>
                <a:srgbClr val="0072C6"/>
              </a:solidFill>
              <a:ea typeface="Segoe UI" pitchFamily="34" charset="0"/>
              <a:cs typeface="Segoe UI" pitchFamily="34" charset="0"/>
            </a:endParaRPr>
          </a:p>
        </p:txBody>
      </p:sp>
      <p:grpSp>
        <p:nvGrpSpPr>
          <p:cNvPr id="689" name="Group 688"/>
          <p:cNvGrpSpPr/>
          <p:nvPr/>
        </p:nvGrpSpPr>
        <p:grpSpPr>
          <a:xfrm>
            <a:off x="10916144" y="5398577"/>
            <a:ext cx="672128" cy="672128"/>
            <a:chOff x="-3976364" y="480697"/>
            <a:chExt cx="3814131" cy="3814131"/>
          </a:xfrm>
        </p:grpSpPr>
        <p:sp>
          <p:nvSpPr>
            <p:cNvPr id="690" name="Oval 689"/>
            <p:cNvSpPr/>
            <p:nvPr/>
          </p:nvSpPr>
          <p:spPr bwMode="auto">
            <a:xfrm>
              <a:off x="-3976364" y="480697"/>
              <a:ext cx="3814131" cy="3814131"/>
            </a:xfrm>
            <a:prstGeom prst="ellipse">
              <a:avLst/>
            </a:prstGeom>
            <a:solidFill>
              <a:srgbClr val="0072C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91" name="Rectangle 690"/>
            <p:cNvSpPr>
              <a:spLocks noChangeArrowheads="1"/>
            </p:cNvSpPr>
            <p:nvPr/>
          </p:nvSpPr>
          <p:spPr bwMode="auto">
            <a:xfrm>
              <a:off x="-1889142" y="1052786"/>
              <a:ext cx="520011" cy="628917"/>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692" name="Rectangle 691"/>
            <p:cNvSpPr>
              <a:spLocks noChangeArrowheads="1"/>
            </p:cNvSpPr>
            <p:nvPr/>
          </p:nvSpPr>
          <p:spPr bwMode="auto">
            <a:xfrm>
              <a:off x="-1889142" y="1063601"/>
              <a:ext cx="230062" cy="55813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693" name="Freeform 692"/>
            <p:cNvSpPr>
              <a:spLocks noChangeArrowheads="1"/>
            </p:cNvSpPr>
            <p:nvPr/>
          </p:nvSpPr>
          <p:spPr bwMode="auto">
            <a:xfrm>
              <a:off x="-3976003" y="2394913"/>
              <a:ext cx="3014852" cy="1132592"/>
            </a:xfrm>
            <a:custGeom>
              <a:avLst/>
              <a:gdLst>
                <a:gd name="connsiteX0" fmla="*/ 0 w 3014852"/>
                <a:gd name="connsiteY0" fmla="*/ 0 h 1132592"/>
                <a:gd name="connsiteX1" fmla="*/ 3014852 w 3014852"/>
                <a:gd name="connsiteY1" fmla="*/ 0 h 1132592"/>
                <a:gd name="connsiteX2" fmla="*/ 3014852 w 3014852"/>
                <a:gd name="connsiteY2" fmla="*/ 1132592 h 1132592"/>
                <a:gd name="connsiteX3" fmla="*/ 380286 w 3014852"/>
                <a:gd name="connsiteY3" fmla="*/ 1132592 h 1132592"/>
                <a:gd name="connsiteX4" fmla="*/ 325336 w 3014852"/>
                <a:gd name="connsiteY4" fmla="*/ 1059109 h 1132592"/>
                <a:gd name="connsiteX5" fmla="*/ 9485 w 3014852"/>
                <a:gd name="connsiteY5" fmla="*/ 187836 h 113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4852" h="1132592">
                  <a:moveTo>
                    <a:pt x="0" y="0"/>
                  </a:moveTo>
                  <a:lnTo>
                    <a:pt x="3014852" y="0"/>
                  </a:lnTo>
                  <a:lnTo>
                    <a:pt x="3014852" y="1132592"/>
                  </a:lnTo>
                  <a:lnTo>
                    <a:pt x="380286" y="1132592"/>
                  </a:lnTo>
                  <a:lnTo>
                    <a:pt x="325336" y="1059109"/>
                  </a:lnTo>
                  <a:cubicBezTo>
                    <a:pt x="153979" y="805467"/>
                    <a:pt x="42039" y="508386"/>
                    <a:pt x="9485" y="187836"/>
                  </a:cubicBezTo>
                  <a:close/>
                </a:path>
              </a:pathLst>
            </a:cu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noAutofit/>
            </a:bodyPr>
            <a:lstStyle/>
            <a:p>
              <a:pPr defTabSz="896042">
                <a:defRPr/>
              </a:pPr>
              <a:endParaRPr lang="en-US" sz="1765" kern="0">
                <a:solidFill>
                  <a:sysClr val="windowText" lastClr="000000"/>
                </a:solidFill>
              </a:endParaRPr>
            </a:p>
          </p:txBody>
        </p:sp>
        <p:sp>
          <p:nvSpPr>
            <p:cNvPr id="694" name="Rectangle 693"/>
            <p:cNvSpPr>
              <a:spLocks noChangeArrowheads="1"/>
            </p:cNvSpPr>
            <p:nvPr/>
          </p:nvSpPr>
          <p:spPr bwMode="auto">
            <a:xfrm>
              <a:off x="-1588169" y="2969375"/>
              <a:ext cx="310373" cy="558130"/>
            </a:xfrm>
            <a:prstGeom prst="rect">
              <a:avLst/>
            </a:prstGeom>
            <a:solidFill>
              <a:schemeClr val="accent5"/>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695" name="Rectangle 694"/>
            <p:cNvSpPr>
              <a:spLocks noChangeArrowheads="1"/>
            </p:cNvSpPr>
            <p:nvPr/>
          </p:nvSpPr>
          <p:spPr bwMode="auto">
            <a:xfrm>
              <a:off x="-2783382" y="2953041"/>
              <a:ext cx="952903" cy="32943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696" name="Rectangle 695"/>
            <p:cNvSpPr>
              <a:spLocks noChangeArrowheads="1"/>
            </p:cNvSpPr>
            <p:nvPr/>
          </p:nvSpPr>
          <p:spPr bwMode="auto">
            <a:xfrm>
              <a:off x="-2783382" y="2953041"/>
              <a:ext cx="350441" cy="32943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697" name="Freeform 696"/>
            <p:cNvSpPr>
              <a:spLocks noChangeArrowheads="1"/>
            </p:cNvSpPr>
            <p:nvPr/>
          </p:nvSpPr>
          <p:spPr bwMode="auto">
            <a:xfrm>
              <a:off x="-3976363" y="1455728"/>
              <a:ext cx="3015213" cy="1132592"/>
            </a:xfrm>
            <a:custGeom>
              <a:avLst/>
              <a:gdLst>
                <a:gd name="connsiteX0" fmla="*/ 244154 w 3015213"/>
                <a:gd name="connsiteY0" fmla="*/ 0 h 1132592"/>
                <a:gd name="connsiteX1" fmla="*/ 3015213 w 3015213"/>
                <a:gd name="connsiteY1" fmla="*/ 0 h 1132592"/>
                <a:gd name="connsiteX2" fmla="*/ 3015213 w 3015213"/>
                <a:gd name="connsiteY2" fmla="*/ 1132592 h 1132592"/>
                <a:gd name="connsiteX3" fmla="*/ 10696 w 3015213"/>
                <a:gd name="connsiteY3" fmla="*/ 1132592 h 1132592"/>
                <a:gd name="connsiteX4" fmla="*/ 9846 w 3015213"/>
                <a:gd name="connsiteY4" fmla="*/ 1127021 h 1132592"/>
                <a:gd name="connsiteX5" fmla="*/ 0 w 3015213"/>
                <a:gd name="connsiteY5" fmla="*/ 932035 h 1132592"/>
                <a:gd name="connsiteX6" fmla="*/ 230173 w 3015213"/>
                <a:gd name="connsiteY6" fmla="*/ 23014 h 113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5213" h="1132592">
                  <a:moveTo>
                    <a:pt x="244154" y="0"/>
                  </a:moveTo>
                  <a:lnTo>
                    <a:pt x="3015213" y="0"/>
                  </a:lnTo>
                  <a:lnTo>
                    <a:pt x="3015213" y="1132592"/>
                  </a:lnTo>
                  <a:lnTo>
                    <a:pt x="10696" y="1132592"/>
                  </a:lnTo>
                  <a:lnTo>
                    <a:pt x="9846" y="1127021"/>
                  </a:lnTo>
                  <a:cubicBezTo>
                    <a:pt x="3335" y="1062911"/>
                    <a:pt x="0" y="997863"/>
                    <a:pt x="0" y="932035"/>
                  </a:cubicBezTo>
                  <a:cubicBezTo>
                    <a:pt x="0" y="602897"/>
                    <a:pt x="83381" y="293233"/>
                    <a:pt x="230173" y="23014"/>
                  </a:cubicBezTo>
                  <a:close/>
                </a:path>
              </a:pathLst>
            </a:cu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noAutofit/>
            </a:bodyPr>
            <a:lstStyle/>
            <a:p>
              <a:pPr defTabSz="896042">
                <a:defRPr/>
              </a:pPr>
              <a:endParaRPr lang="en-US" sz="1765" kern="0">
                <a:solidFill>
                  <a:sysClr val="windowText" lastClr="000000"/>
                </a:solidFill>
              </a:endParaRPr>
            </a:p>
          </p:txBody>
        </p:sp>
        <p:sp>
          <p:nvSpPr>
            <p:cNvPr id="698" name="Rectangle 31"/>
            <p:cNvSpPr>
              <a:spLocks noChangeArrowheads="1"/>
            </p:cNvSpPr>
            <p:nvPr/>
          </p:nvSpPr>
          <p:spPr bwMode="auto">
            <a:xfrm>
              <a:off x="-3617477" y="2969435"/>
              <a:ext cx="79448" cy="8055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699" name="Rectangle 32"/>
            <p:cNvSpPr>
              <a:spLocks noChangeArrowheads="1"/>
            </p:cNvSpPr>
            <p:nvPr/>
          </p:nvSpPr>
          <p:spPr bwMode="auto">
            <a:xfrm>
              <a:off x="-3803961" y="2969435"/>
              <a:ext cx="80552" cy="8055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700" name="Rectangle 33"/>
            <p:cNvSpPr>
              <a:spLocks noChangeArrowheads="1"/>
            </p:cNvSpPr>
            <p:nvPr/>
          </p:nvSpPr>
          <p:spPr bwMode="auto">
            <a:xfrm>
              <a:off x="-3417751" y="2969435"/>
              <a:ext cx="79448" cy="8055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701" name="Rectangle 34"/>
            <p:cNvSpPr>
              <a:spLocks noChangeArrowheads="1"/>
            </p:cNvSpPr>
            <p:nvPr/>
          </p:nvSpPr>
          <p:spPr bwMode="auto">
            <a:xfrm>
              <a:off x="-3214716" y="2969435"/>
              <a:ext cx="76137" cy="8055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702" name="Rectangle 35"/>
            <p:cNvSpPr>
              <a:spLocks noChangeArrowheads="1"/>
            </p:cNvSpPr>
            <p:nvPr/>
          </p:nvSpPr>
          <p:spPr bwMode="auto">
            <a:xfrm>
              <a:off x="-3014989" y="2969435"/>
              <a:ext cx="75035" cy="8055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703" name="Rectangle 31"/>
            <p:cNvSpPr>
              <a:spLocks noChangeArrowheads="1"/>
            </p:cNvSpPr>
            <p:nvPr/>
          </p:nvSpPr>
          <p:spPr bwMode="auto">
            <a:xfrm>
              <a:off x="-3617477" y="3165075"/>
              <a:ext cx="79448" cy="8055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704" name="Rectangle 33"/>
            <p:cNvSpPr>
              <a:spLocks noChangeArrowheads="1"/>
            </p:cNvSpPr>
            <p:nvPr/>
          </p:nvSpPr>
          <p:spPr bwMode="auto">
            <a:xfrm>
              <a:off x="-3417751" y="3165075"/>
              <a:ext cx="79448" cy="8055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705" name="Rectangle 34"/>
            <p:cNvSpPr>
              <a:spLocks noChangeArrowheads="1"/>
            </p:cNvSpPr>
            <p:nvPr/>
          </p:nvSpPr>
          <p:spPr bwMode="auto">
            <a:xfrm>
              <a:off x="-3214716" y="3165075"/>
              <a:ext cx="76137" cy="8055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706" name="Rectangle 35"/>
            <p:cNvSpPr>
              <a:spLocks noChangeArrowheads="1"/>
            </p:cNvSpPr>
            <p:nvPr/>
          </p:nvSpPr>
          <p:spPr bwMode="auto">
            <a:xfrm>
              <a:off x="-3014989" y="3165075"/>
              <a:ext cx="75035" cy="8055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707" name="Group 706"/>
            <p:cNvGrpSpPr/>
            <p:nvPr/>
          </p:nvGrpSpPr>
          <p:grpSpPr>
            <a:xfrm>
              <a:off x="-3540198" y="1664467"/>
              <a:ext cx="2262403" cy="664491"/>
              <a:chOff x="3327543" y="3021899"/>
              <a:chExt cx="2785710" cy="818192"/>
            </a:xfrm>
          </p:grpSpPr>
          <p:sp>
            <p:nvSpPr>
              <p:cNvPr id="743" name="Rectangle 119"/>
              <p:cNvSpPr>
                <a:spLocks noChangeArrowheads="1"/>
              </p:cNvSpPr>
              <p:nvPr/>
            </p:nvSpPr>
            <p:spPr bwMode="auto">
              <a:xfrm>
                <a:off x="4706849" y="3021899"/>
                <a:ext cx="168061" cy="318431"/>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44" name="Rectangle 120"/>
              <p:cNvSpPr>
                <a:spLocks noChangeArrowheads="1"/>
              </p:cNvSpPr>
              <p:nvPr/>
            </p:nvSpPr>
            <p:spPr bwMode="auto">
              <a:xfrm>
                <a:off x="5012010" y="3021899"/>
                <a:ext cx="172482" cy="3184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45" name="Rectangle 121"/>
              <p:cNvSpPr>
                <a:spLocks noChangeArrowheads="1"/>
              </p:cNvSpPr>
              <p:nvPr/>
            </p:nvSpPr>
            <p:spPr bwMode="auto">
              <a:xfrm>
                <a:off x="5321596" y="3021899"/>
                <a:ext cx="168061" cy="318431"/>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46" name="Rectangle 122"/>
              <p:cNvSpPr>
                <a:spLocks noChangeArrowheads="1"/>
              </p:cNvSpPr>
              <p:nvPr/>
            </p:nvSpPr>
            <p:spPr bwMode="auto">
              <a:xfrm>
                <a:off x="5640027" y="3021899"/>
                <a:ext cx="168061" cy="3184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47" name="Rectangle 123"/>
              <p:cNvSpPr>
                <a:spLocks noChangeArrowheads="1"/>
              </p:cNvSpPr>
              <p:nvPr/>
            </p:nvSpPr>
            <p:spPr bwMode="auto">
              <a:xfrm>
                <a:off x="5945192" y="3021899"/>
                <a:ext cx="168061" cy="318431"/>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48" name="Rectangle 125"/>
              <p:cNvSpPr>
                <a:spLocks noChangeArrowheads="1"/>
              </p:cNvSpPr>
              <p:nvPr/>
            </p:nvSpPr>
            <p:spPr bwMode="auto">
              <a:xfrm>
                <a:off x="4706849" y="3521660"/>
                <a:ext cx="168061" cy="3184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49" name="Rectangle 126"/>
              <p:cNvSpPr>
                <a:spLocks noChangeArrowheads="1"/>
              </p:cNvSpPr>
              <p:nvPr/>
            </p:nvSpPr>
            <p:spPr bwMode="auto">
              <a:xfrm>
                <a:off x="5012010" y="3521660"/>
                <a:ext cx="172482" cy="318431"/>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50" name="Rectangle 127"/>
              <p:cNvSpPr>
                <a:spLocks noChangeArrowheads="1"/>
              </p:cNvSpPr>
              <p:nvPr/>
            </p:nvSpPr>
            <p:spPr bwMode="auto">
              <a:xfrm>
                <a:off x="5321596" y="3521660"/>
                <a:ext cx="168061" cy="3184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51" name="Rectangle 128"/>
              <p:cNvSpPr>
                <a:spLocks noChangeArrowheads="1"/>
              </p:cNvSpPr>
              <p:nvPr/>
            </p:nvSpPr>
            <p:spPr bwMode="auto">
              <a:xfrm>
                <a:off x="5640027" y="3521660"/>
                <a:ext cx="168061" cy="3184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52" name="Rectangle 129"/>
              <p:cNvSpPr>
                <a:spLocks noChangeArrowheads="1"/>
              </p:cNvSpPr>
              <p:nvPr/>
            </p:nvSpPr>
            <p:spPr bwMode="auto">
              <a:xfrm>
                <a:off x="5945192" y="3521660"/>
                <a:ext cx="168061" cy="3184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53" name="Rectangle 121"/>
              <p:cNvSpPr>
                <a:spLocks noChangeArrowheads="1"/>
              </p:cNvSpPr>
              <p:nvPr/>
            </p:nvSpPr>
            <p:spPr bwMode="auto">
              <a:xfrm>
                <a:off x="3327543" y="3021899"/>
                <a:ext cx="168061" cy="318431"/>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54" name="Rectangle 122"/>
              <p:cNvSpPr>
                <a:spLocks noChangeArrowheads="1"/>
              </p:cNvSpPr>
              <p:nvPr/>
            </p:nvSpPr>
            <p:spPr bwMode="auto">
              <a:xfrm>
                <a:off x="3645974" y="3021899"/>
                <a:ext cx="168061" cy="3184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55" name="Rectangle 123"/>
              <p:cNvSpPr>
                <a:spLocks noChangeArrowheads="1"/>
              </p:cNvSpPr>
              <p:nvPr/>
            </p:nvSpPr>
            <p:spPr bwMode="auto">
              <a:xfrm>
                <a:off x="3951139" y="3021899"/>
                <a:ext cx="168061" cy="318431"/>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56" name="Rectangle 124"/>
              <p:cNvSpPr>
                <a:spLocks noChangeArrowheads="1"/>
              </p:cNvSpPr>
              <p:nvPr/>
            </p:nvSpPr>
            <p:spPr bwMode="auto">
              <a:xfrm>
                <a:off x="4260724" y="3021899"/>
                <a:ext cx="168061" cy="3184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57" name="Rectangle 129"/>
              <p:cNvSpPr>
                <a:spLocks noChangeArrowheads="1"/>
              </p:cNvSpPr>
              <p:nvPr/>
            </p:nvSpPr>
            <p:spPr bwMode="auto">
              <a:xfrm>
                <a:off x="3951139" y="3521660"/>
                <a:ext cx="168061" cy="3184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sp>
            <p:nvSpPr>
              <p:cNvPr id="758" name="Rectangle 130"/>
              <p:cNvSpPr>
                <a:spLocks noChangeArrowheads="1"/>
              </p:cNvSpPr>
              <p:nvPr/>
            </p:nvSpPr>
            <p:spPr bwMode="auto">
              <a:xfrm>
                <a:off x="4260724" y="3521660"/>
                <a:ext cx="168061" cy="318431"/>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endParaRPr>
              </a:p>
            </p:txBody>
          </p:sp>
        </p:grpSp>
      </p:grpSp>
      <p:sp>
        <p:nvSpPr>
          <p:cNvPr id="759" name="Rectangle 758"/>
          <p:cNvSpPr/>
          <p:nvPr/>
        </p:nvSpPr>
        <p:spPr bwMode="auto">
          <a:xfrm>
            <a:off x="10659235" y="6207131"/>
            <a:ext cx="1095522" cy="35846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79234"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980" kern="0" cap="all" dirty="0">
                <a:solidFill>
                  <a:srgbClr val="505050"/>
                </a:solidFill>
                <a:latin typeface="Segoe UI Semibold" panose="020B0702040204020203" pitchFamily="34" charset="0"/>
                <a:ea typeface="Segoe UI" pitchFamily="34" charset="0"/>
                <a:cs typeface="Segoe UI Semibold" panose="020B0702040204020203" pitchFamily="34" charset="0"/>
              </a:rPr>
              <a:t>CUSTOMER</a:t>
            </a:r>
          </a:p>
        </p:txBody>
      </p:sp>
      <p:grpSp>
        <p:nvGrpSpPr>
          <p:cNvPr id="760" name="Group 759"/>
          <p:cNvGrpSpPr/>
          <p:nvPr/>
        </p:nvGrpSpPr>
        <p:grpSpPr>
          <a:xfrm>
            <a:off x="10451042" y="5458483"/>
            <a:ext cx="734597" cy="565302"/>
            <a:chOff x="1954213" y="4027488"/>
            <a:chExt cx="792162" cy="609600"/>
          </a:xfrm>
          <a:solidFill>
            <a:schemeClr val="accent5">
              <a:lumMod val="10000"/>
              <a:lumOff val="90000"/>
            </a:schemeClr>
          </a:solidFill>
        </p:grpSpPr>
        <p:sp>
          <p:nvSpPr>
            <p:cNvPr id="761" name="Freeform 33"/>
            <p:cNvSpPr>
              <a:spLocks/>
            </p:cNvSpPr>
            <p:nvPr/>
          </p:nvSpPr>
          <p:spPr bwMode="auto">
            <a:xfrm>
              <a:off x="2311400" y="4497388"/>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8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8"/>
                    <a:pt x="3" y="8"/>
                    <a:pt x="5" y="7"/>
                  </a:cubicBezTo>
                  <a:cubicBezTo>
                    <a:pt x="6" y="7"/>
                    <a:pt x="8" y="6"/>
                    <a:pt x="9" y="5"/>
                  </a:cubicBezTo>
                  <a:cubicBezTo>
                    <a:pt x="11" y="4"/>
                    <a:pt x="12" y="4"/>
                    <a:pt x="14" y="3"/>
                  </a:cubicBezTo>
                  <a:cubicBezTo>
                    <a:pt x="15" y="2"/>
                    <a:pt x="17" y="1"/>
                    <a:pt x="18"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62" name="Freeform 34"/>
            <p:cNvSpPr>
              <a:spLocks/>
            </p:cNvSpPr>
            <p:nvPr/>
          </p:nvSpPr>
          <p:spPr bwMode="auto">
            <a:xfrm>
              <a:off x="2487613" y="4497388"/>
              <a:ext cx="49212" cy="138112"/>
            </a:xfrm>
            <a:custGeom>
              <a:avLst/>
              <a:gdLst>
                <a:gd name="T0" fmla="*/ 22 w 22"/>
                <a:gd name="T1" fmla="*/ 0 h 62"/>
                <a:gd name="T2" fmla="*/ 22 w 22"/>
                <a:gd name="T3" fmla="*/ 0 h 62"/>
                <a:gd name="T4" fmla="*/ 22 w 22"/>
                <a:gd name="T5" fmla="*/ 62 h 62"/>
                <a:gd name="T6" fmla="*/ 13 w 22"/>
                <a:gd name="T7" fmla="*/ 62 h 62"/>
                <a:gd name="T8" fmla="*/ 13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4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8"/>
                    <a:pt x="3" y="8"/>
                    <a:pt x="4" y="7"/>
                  </a:cubicBezTo>
                  <a:cubicBezTo>
                    <a:pt x="6" y="7"/>
                    <a:pt x="8" y="6"/>
                    <a:pt x="9" y="5"/>
                  </a:cubicBezTo>
                  <a:cubicBezTo>
                    <a:pt x="11" y="4"/>
                    <a:pt x="12" y="4"/>
                    <a:pt x="14" y="3"/>
                  </a:cubicBezTo>
                  <a:cubicBezTo>
                    <a:pt x="15" y="2"/>
                    <a:pt x="17"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63" name="Freeform 35"/>
            <p:cNvSpPr>
              <a:spLocks noEditPoints="1"/>
            </p:cNvSpPr>
            <p:nvPr/>
          </p:nvSpPr>
          <p:spPr bwMode="auto">
            <a:xfrm>
              <a:off x="2382838" y="4494213"/>
              <a:ext cx="93662" cy="142875"/>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3"/>
                  </a:cubicBezTo>
                  <a:cubicBezTo>
                    <a:pt x="32" y="16"/>
                    <a:pt x="29" y="8"/>
                    <a:pt x="21" y="8"/>
                  </a:cubicBezTo>
                  <a:close/>
                  <a:moveTo>
                    <a:pt x="20" y="64"/>
                  </a:moveTo>
                  <a:cubicBezTo>
                    <a:pt x="20" y="64"/>
                    <a:pt x="20" y="64"/>
                    <a:pt x="20" y="64"/>
                  </a:cubicBezTo>
                  <a:cubicBezTo>
                    <a:pt x="14" y="64"/>
                    <a:pt x="9" y="62"/>
                    <a:pt x="5" y="56"/>
                  </a:cubicBezTo>
                  <a:cubicBezTo>
                    <a:pt x="2" y="51"/>
                    <a:pt x="0" y="43"/>
                    <a:pt x="0" y="33"/>
                  </a:cubicBezTo>
                  <a:cubicBezTo>
                    <a:pt x="0" y="22"/>
                    <a:pt x="2" y="14"/>
                    <a:pt x="6" y="8"/>
                  </a:cubicBezTo>
                  <a:cubicBezTo>
                    <a:pt x="9" y="3"/>
                    <a:pt x="15" y="0"/>
                    <a:pt x="22" y="0"/>
                  </a:cubicBezTo>
                  <a:cubicBezTo>
                    <a:pt x="36" y="0"/>
                    <a:pt x="42" y="11"/>
                    <a:pt x="42" y="32"/>
                  </a:cubicBezTo>
                  <a:cubicBezTo>
                    <a:pt x="42" y="42"/>
                    <a:pt x="40" y="50"/>
                    <a:pt x="37" y="56"/>
                  </a:cubicBezTo>
                  <a:cubicBezTo>
                    <a:pt x="33" y="62"/>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64" name="Freeform 36"/>
            <p:cNvSpPr>
              <a:spLocks noEditPoints="1"/>
            </p:cNvSpPr>
            <p:nvPr/>
          </p:nvSpPr>
          <p:spPr bwMode="auto">
            <a:xfrm>
              <a:off x="2559050" y="4494213"/>
              <a:ext cx="95250" cy="142875"/>
            </a:xfrm>
            <a:custGeom>
              <a:avLst/>
              <a:gdLst>
                <a:gd name="T0" fmla="*/ 22 w 43"/>
                <a:gd name="T1" fmla="*/ 8 h 64"/>
                <a:gd name="T2" fmla="*/ 22 w 43"/>
                <a:gd name="T3" fmla="*/ 8 h 64"/>
                <a:gd name="T4" fmla="*/ 11 w 43"/>
                <a:gd name="T5" fmla="*/ 33 h 64"/>
                <a:gd name="T6" fmla="*/ 22 w 43"/>
                <a:gd name="T7" fmla="*/ 56 h 64"/>
                <a:gd name="T8" fmla="*/ 33 w 43"/>
                <a:gd name="T9" fmla="*/ 33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3"/>
                  </a:cubicBezTo>
                  <a:cubicBezTo>
                    <a:pt x="33" y="16"/>
                    <a:pt x="29" y="8"/>
                    <a:pt x="22" y="8"/>
                  </a:cubicBezTo>
                  <a:close/>
                  <a:moveTo>
                    <a:pt x="21" y="64"/>
                  </a:moveTo>
                  <a:cubicBezTo>
                    <a:pt x="21" y="64"/>
                    <a:pt x="21" y="64"/>
                    <a:pt x="21" y="64"/>
                  </a:cubicBezTo>
                  <a:cubicBezTo>
                    <a:pt x="14" y="64"/>
                    <a:pt x="9" y="62"/>
                    <a:pt x="6" y="56"/>
                  </a:cubicBezTo>
                  <a:cubicBezTo>
                    <a:pt x="2" y="51"/>
                    <a:pt x="0" y="43"/>
                    <a:pt x="0" y="33"/>
                  </a:cubicBezTo>
                  <a:cubicBezTo>
                    <a:pt x="0" y="22"/>
                    <a:pt x="2" y="14"/>
                    <a:pt x="6" y="8"/>
                  </a:cubicBezTo>
                  <a:cubicBezTo>
                    <a:pt x="10" y="3"/>
                    <a:pt x="15" y="0"/>
                    <a:pt x="22" y="0"/>
                  </a:cubicBezTo>
                  <a:cubicBezTo>
                    <a:pt x="36" y="0"/>
                    <a:pt x="43" y="11"/>
                    <a:pt x="43" y="32"/>
                  </a:cubicBezTo>
                  <a:cubicBezTo>
                    <a:pt x="43" y="42"/>
                    <a:pt x="41" y="50"/>
                    <a:pt x="37" y="56"/>
                  </a:cubicBezTo>
                  <a:cubicBezTo>
                    <a:pt x="33" y="62"/>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65" name="Freeform 37"/>
            <p:cNvSpPr>
              <a:spLocks/>
            </p:cNvSpPr>
            <p:nvPr/>
          </p:nvSpPr>
          <p:spPr bwMode="auto">
            <a:xfrm>
              <a:off x="1954213" y="4497388"/>
              <a:ext cx="49212" cy="138112"/>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4" y="16"/>
                    <a:pt x="2" y="17"/>
                    <a:pt x="0" y="17"/>
                  </a:cubicBezTo>
                  <a:cubicBezTo>
                    <a:pt x="0" y="9"/>
                    <a:pt x="0" y="9"/>
                    <a:pt x="0" y="9"/>
                  </a:cubicBezTo>
                  <a:cubicBezTo>
                    <a:pt x="1" y="8"/>
                    <a:pt x="3" y="8"/>
                    <a:pt x="4" y="7"/>
                  </a:cubicBezTo>
                  <a:cubicBezTo>
                    <a:pt x="6" y="7"/>
                    <a:pt x="7" y="6"/>
                    <a:pt x="9" y="5"/>
                  </a:cubicBezTo>
                  <a:cubicBezTo>
                    <a:pt x="10" y="4"/>
                    <a:pt x="12" y="4"/>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66" name="Freeform 38"/>
            <p:cNvSpPr>
              <a:spLocks/>
            </p:cNvSpPr>
            <p:nvPr/>
          </p:nvSpPr>
          <p:spPr bwMode="auto">
            <a:xfrm>
              <a:off x="2032000" y="4341813"/>
              <a:ext cx="50800" cy="136525"/>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3" y="8"/>
                    <a:pt x="5" y="7"/>
                  </a:cubicBezTo>
                  <a:cubicBezTo>
                    <a:pt x="6" y="7"/>
                    <a:pt x="8" y="6"/>
                    <a:pt x="9" y="5"/>
                  </a:cubicBezTo>
                  <a:cubicBezTo>
                    <a:pt x="11" y="5"/>
                    <a:pt x="12"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67" name="Freeform 39"/>
            <p:cNvSpPr>
              <a:spLocks/>
            </p:cNvSpPr>
            <p:nvPr/>
          </p:nvSpPr>
          <p:spPr bwMode="auto">
            <a:xfrm>
              <a:off x="2103438" y="4341813"/>
              <a:ext cx="50800" cy="136525"/>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3" y="8"/>
                    <a:pt x="5" y="7"/>
                  </a:cubicBezTo>
                  <a:cubicBezTo>
                    <a:pt x="6" y="7"/>
                    <a:pt x="8" y="6"/>
                    <a:pt x="9" y="5"/>
                  </a:cubicBezTo>
                  <a:cubicBezTo>
                    <a:pt x="11" y="5"/>
                    <a:pt x="12" y="4"/>
                    <a:pt x="14" y="3"/>
                  </a:cubicBezTo>
                  <a:cubicBezTo>
                    <a:pt x="15"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68" name="Freeform 40"/>
            <p:cNvSpPr>
              <a:spLocks/>
            </p:cNvSpPr>
            <p:nvPr/>
          </p:nvSpPr>
          <p:spPr bwMode="auto">
            <a:xfrm>
              <a:off x="2176463" y="4341813"/>
              <a:ext cx="49212" cy="136525"/>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5" y="16"/>
                    <a:pt x="2" y="17"/>
                    <a:pt x="0" y="17"/>
                  </a:cubicBezTo>
                  <a:cubicBezTo>
                    <a:pt x="0" y="9"/>
                    <a:pt x="0" y="9"/>
                    <a:pt x="0" y="9"/>
                  </a:cubicBezTo>
                  <a:cubicBezTo>
                    <a:pt x="1" y="8"/>
                    <a:pt x="3" y="8"/>
                    <a:pt x="4" y="7"/>
                  </a:cubicBezTo>
                  <a:cubicBezTo>
                    <a:pt x="6" y="7"/>
                    <a:pt x="7" y="6"/>
                    <a:pt x="9" y="5"/>
                  </a:cubicBezTo>
                  <a:cubicBezTo>
                    <a:pt x="10" y="5"/>
                    <a:pt x="12" y="4"/>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69" name="Freeform 41"/>
            <p:cNvSpPr>
              <a:spLocks/>
            </p:cNvSpPr>
            <p:nvPr/>
          </p:nvSpPr>
          <p:spPr bwMode="auto">
            <a:xfrm>
              <a:off x="2581275" y="4341813"/>
              <a:ext cx="50800" cy="136525"/>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4" y="8"/>
                    <a:pt x="5" y="7"/>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70" name="Freeform 43"/>
            <p:cNvSpPr>
              <a:spLocks/>
            </p:cNvSpPr>
            <p:nvPr/>
          </p:nvSpPr>
          <p:spPr bwMode="auto">
            <a:xfrm>
              <a:off x="2127250" y="4497388"/>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8"/>
                    <a:pt x="4" y="8"/>
                    <a:pt x="5" y="7"/>
                  </a:cubicBezTo>
                  <a:cubicBezTo>
                    <a:pt x="7" y="7"/>
                    <a:pt x="8" y="6"/>
                    <a:pt x="10" y="5"/>
                  </a:cubicBezTo>
                  <a:cubicBezTo>
                    <a:pt x="11" y="4"/>
                    <a:pt x="13"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71" name="Freeform 44"/>
            <p:cNvSpPr>
              <a:spLocks noEditPoints="1"/>
            </p:cNvSpPr>
            <p:nvPr/>
          </p:nvSpPr>
          <p:spPr bwMode="auto">
            <a:xfrm>
              <a:off x="2025650" y="4494213"/>
              <a:ext cx="93662" cy="142875"/>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3" y="8"/>
                    <a:pt x="10" y="16"/>
                    <a:pt x="10" y="33"/>
                  </a:cubicBezTo>
                  <a:cubicBezTo>
                    <a:pt x="10" y="48"/>
                    <a:pt x="13" y="56"/>
                    <a:pt x="21" y="56"/>
                  </a:cubicBezTo>
                  <a:cubicBezTo>
                    <a:pt x="28" y="56"/>
                    <a:pt x="32" y="48"/>
                    <a:pt x="32" y="33"/>
                  </a:cubicBezTo>
                  <a:cubicBezTo>
                    <a:pt x="32" y="16"/>
                    <a:pt x="28" y="8"/>
                    <a:pt x="21" y="8"/>
                  </a:cubicBezTo>
                  <a:close/>
                  <a:moveTo>
                    <a:pt x="20" y="64"/>
                  </a:moveTo>
                  <a:cubicBezTo>
                    <a:pt x="20" y="64"/>
                    <a:pt x="20" y="64"/>
                    <a:pt x="20" y="64"/>
                  </a:cubicBezTo>
                  <a:cubicBezTo>
                    <a:pt x="14" y="64"/>
                    <a:pt x="9" y="62"/>
                    <a:pt x="5" y="56"/>
                  </a:cubicBezTo>
                  <a:cubicBezTo>
                    <a:pt x="1" y="51"/>
                    <a:pt x="0" y="43"/>
                    <a:pt x="0" y="33"/>
                  </a:cubicBezTo>
                  <a:cubicBezTo>
                    <a:pt x="0" y="22"/>
                    <a:pt x="1" y="14"/>
                    <a:pt x="5" y="8"/>
                  </a:cubicBezTo>
                  <a:cubicBezTo>
                    <a:pt x="9" y="3"/>
                    <a:pt x="14" y="0"/>
                    <a:pt x="22" y="0"/>
                  </a:cubicBezTo>
                  <a:cubicBezTo>
                    <a:pt x="35" y="0"/>
                    <a:pt x="42" y="11"/>
                    <a:pt x="42" y="32"/>
                  </a:cubicBezTo>
                  <a:cubicBezTo>
                    <a:pt x="42" y="42"/>
                    <a:pt x="40" y="50"/>
                    <a:pt x="36" y="56"/>
                  </a:cubicBezTo>
                  <a:cubicBezTo>
                    <a:pt x="32" y="62"/>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72" name="Freeform 46"/>
            <p:cNvSpPr>
              <a:spLocks noEditPoints="1"/>
            </p:cNvSpPr>
            <p:nvPr/>
          </p:nvSpPr>
          <p:spPr bwMode="auto">
            <a:xfrm>
              <a:off x="2247900" y="4338638"/>
              <a:ext cx="95250" cy="142875"/>
            </a:xfrm>
            <a:custGeom>
              <a:avLst/>
              <a:gdLst>
                <a:gd name="T0" fmla="*/ 22 w 43"/>
                <a:gd name="T1" fmla="*/ 8 h 64"/>
                <a:gd name="T2" fmla="*/ 22 w 43"/>
                <a:gd name="T3" fmla="*/ 8 h 64"/>
                <a:gd name="T4" fmla="*/ 11 w 43"/>
                <a:gd name="T5" fmla="*/ 33 h 64"/>
                <a:gd name="T6" fmla="*/ 22 w 43"/>
                <a:gd name="T7" fmla="*/ 56 h 64"/>
                <a:gd name="T8" fmla="*/ 33 w 43"/>
                <a:gd name="T9" fmla="*/ 32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2"/>
                  </a:cubicBezTo>
                  <a:cubicBezTo>
                    <a:pt x="33" y="16"/>
                    <a:pt x="29" y="8"/>
                    <a:pt x="22" y="8"/>
                  </a:cubicBezTo>
                  <a:close/>
                  <a:moveTo>
                    <a:pt x="21" y="64"/>
                  </a:moveTo>
                  <a:cubicBezTo>
                    <a:pt x="21" y="64"/>
                    <a:pt x="21" y="64"/>
                    <a:pt x="21" y="64"/>
                  </a:cubicBezTo>
                  <a:cubicBezTo>
                    <a:pt x="14" y="64"/>
                    <a:pt x="9" y="61"/>
                    <a:pt x="6" y="56"/>
                  </a:cubicBezTo>
                  <a:cubicBezTo>
                    <a:pt x="2" y="51"/>
                    <a:pt x="0" y="43"/>
                    <a:pt x="0" y="33"/>
                  </a:cubicBezTo>
                  <a:cubicBezTo>
                    <a:pt x="0" y="22"/>
                    <a:pt x="2" y="14"/>
                    <a:pt x="6" y="8"/>
                  </a:cubicBezTo>
                  <a:cubicBezTo>
                    <a:pt x="10" y="2"/>
                    <a:pt x="15" y="0"/>
                    <a:pt x="22" y="0"/>
                  </a:cubicBezTo>
                  <a:cubicBezTo>
                    <a:pt x="36" y="0"/>
                    <a:pt x="43" y="10"/>
                    <a:pt x="43" y="32"/>
                  </a:cubicBezTo>
                  <a:cubicBezTo>
                    <a:pt x="43" y="42"/>
                    <a:pt x="41" y="50"/>
                    <a:pt x="37" y="56"/>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73" name="Freeform 47"/>
            <p:cNvSpPr>
              <a:spLocks noEditPoints="1"/>
            </p:cNvSpPr>
            <p:nvPr/>
          </p:nvSpPr>
          <p:spPr bwMode="auto">
            <a:xfrm>
              <a:off x="2362200" y="4338638"/>
              <a:ext cx="93662" cy="142875"/>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2"/>
                  </a:cubicBezTo>
                  <a:cubicBezTo>
                    <a:pt x="32" y="16"/>
                    <a:pt x="28" y="8"/>
                    <a:pt x="21" y="8"/>
                  </a:cubicBezTo>
                  <a:close/>
                  <a:moveTo>
                    <a:pt x="20" y="64"/>
                  </a:moveTo>
                  <a:cubicBezTo>
                    <a:pt x="20" y="64"/>
                    <a:pt x="20" y="64"/>
                    <a:pt x="20" y="64"/>
                  </a:cubicBezTo>
                  <a:cubicBezTo>
                    <a:pt x="14" y="64"/>
                    <a:pt x="9" y="61"/>
                    <a:pt x="5" y="56"/>
                  </a:cubicBezTo>
                  <a:cubicBezTo>
                    <a:pt x="1" y="51"/>
                    <a:pt x="0" y="43"/>
                    <a:pt x="0" y="33"/>
                  </a:cubicBezTo>
                  <a:cubicBezTo>
                    <a:pt x="0" y="22"/>
                    <a:pt x="1" y="14"/>
                    <a:pt x="5" y="8"/>
                  </a:cubicBezTo>
                  <a:cubicBezTo>
                    <a:pt x="9" y="2"/>
                    <a:pt x="14" y="0"/>
                    <a:pt x="22" y="0"/>
                  </a:cubicBezTo>
                  <a:cubicBezTo>
                    <a:pt x="35" y="0"/>
                    <a:pt x="42" y="10"/>
                    <a:pt x="42" y="32"/>
                  </a:cubicBezTo>
                  <a:cubicBezTo>
                    <a:pt x="42" y="42"/>
                    <a:pt x="40" y="50"/>
                    <a:pt x="36" y="56"/>
                  </a:cubicBezTo>
                  <a:cubicBezTo>
                    <a:pt x="32" y="61"/>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74" name="Freeform 48"/>
            <p:cNvSpPr>
              <a:spLocks/>
            </p:cNvSpPr>
            <p:nvPr/>
          </p:nvSpPr>
          <p:spPr bwMode="auto">
            <a:xfrm>
              <a:off x="2243138" y="4030663"/>
              <a:ext cx="49212" cy="136525"/>
            </a:xfrm>
            <a:custGeom>
              <a:avLst/>
              <a:gdLst>
                <a:gd name="T0" fmla="*/ 22 w 22"/>
                <a:gd name="T1" fmla="*/ 0 h 62"/>
                <a:gd name="T2" fmla="*/ 22 w 22"/>
                <a:gd name="T3" fmla="*/ 0 h 62"/>
                <a:gd name="T4" fmla="*/ 22 w 22"/>
                <a:gd name="T5" fmla="*/ 62 h 62"/>
                <a:gd name="T6" fmla="*/ 12 w 22"/>
                <a:gd name="T7" fmla="*/ 62 h 62"/>
                <a:gd name="T8" fmla="*/ 12 w 22"/>
                <a:gd name="T9" fmla="*/ 11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1"/>
                    <a:pt x="12" y="11"/>
                    <a:pt x="12" y="11"/>
                  </a:cubicBezTo>
                  <a:cubicBezTo>
                    <a:pt x="11" y="13"/>
                    <a:pt x="9" y="14"/>
                    <a:pt x="7" y="15"/>
                  </a:cubicBezTo>
                  <a:cubicBezTo>
                    <a:pt x="5" y="16"/>
                    <a:pt x="2" y="16"/>
                    <a:pt x="0" y="17"/>
                  </a:cubicBezTo>
                  <a:cubicBezTo>
                    <a:pt x="0" y="9"/>
                    <a:pt x="0" y="9"/>
                    <a:pt x="0" y="9"/>
                  </a:cubicBezTo>
                  <a:cubicBezTo>
                    <a:pt x="1" y="8"/>
                    <a:pt x="3" y="8"/>
                    <a:pt x="4" y="7"/>
                  </a:cubicBezTo>
                  <a:cubicBezTo>
                    <a:pt x="6" y="6"/>
                    <a:pt x="7" y="6"/>
                    <a:pt x="9" y="5"/>
                  </a:cubicBezTo>
                  <a:cubicBezTo>
                    <a:pt x="10" y="4"/>
                    <a:pt x="12" y="3"/>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75" name="Freeform 49"/>
            <p:cNvSpPr>
              <a:spLocks noEditPoints="1"/>
            </p:cNvSpPr>
            <p:nvPr/>
          </p:nvSpPr>
          <p:spPr bwMode="auto">
            <a:xfrm>
              <a:off x="2314575" y="4027488"/>
              <a:ext cx="95250" cy="142875"/>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4"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4" y="64"/>
                    <a:pt x="9" y="61"/>
                    <a:pt x="6" y="56"/>
                  </a:cubicBezTo>
                  <a:cubicBezTo>
                    <a:pt x="2" y="50"/>
                    <a:pt x="0" y="43"/>
                    <a:pt x="0" y="33"/>
                  </a:cubicBezTo>
                  <a:cubicBezTo>
                    <a:pt x="0" y="22"/>
                    <a:pt x="2" y="13"/>
                    <a:pt x="6" y="8"/>
                  </a:cubicBezTo>
                  <a:cubicBezTo>
                    <a:pt x="10" y="2"/>
                    <a:pt x="15" y="0"/>
                    <a:pt x="22" y="0"/>
                  </a:cubicBezTo>
                  <a:cubicBezTo>
                    <a:pt x="36" y="0"/>
                    <a:pt x="43" y="10"/>
                    <a:pt x="43" y="31"/>
                  </a:cubicBezTo>
                  <a:cubicBezTo>
                    <a:pt x="43" y="42"/>
                    <a:pt x="41" y="50"/>
                    <a:pt x="37" y="55"/>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76" name="Freeform 50"/>
            <p:cNvSpPr>
              <a:spLocks noEditPoints="1"/>
            </p:cNvSpPr>
            <p:nvPr/>
          </p:nvSpPr>
          <p:spPr bwMode="auto">
            <a:xfrm>
              <a:off x="2427288" y="4027488"/>
              <a:ext cx="95250" cy="142875"/>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3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5"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5" y="64"/>
                    <a:pt x="9" y="61"/>
                    <a:pt x="6" y="56"/>
                  </a:cubicBezTo>
                  <a:cubicBezTo>
                    <a:pt x="2" y="50"/>
                    <a:pt x="0" y="43"/>
                    <a:pt x="0" y="33"/>
                  </a:cubicBezTo>
                  <a:cubicBezTo>
                    <a:pt x="0" y="22"/>
                    <a:pt x="2" y="13"/>
                    <a:pt x="6" y="8"/>
                  </a:cubicBezTo>
                  <a:cubicBezTo>
                    <a:pt x="10" y="2"/>
                    <a:pt x="15" y="0"/>
                    <a:pt x="23" y="0"/>
                  </a:cubicBezTo>
                  <a:cubicBezTo>
                    <a:pt x="36" y="0"/>
                    <a:pt x="43" y="10"/>
                    <a:pt x="43" y="31"/>
                  </a:cubicBezTo>
                  <a:cubicBezTo>
                    <a:pt x="43" y="42"/>
                    <a:pt x="41" y="50"/>
                    <a:pt x="37" y="55"/>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77" name="Freeform 51"/>
            <p:cNvSpPr>
              <a:spLocks noEditPoints="1"/>
            </p:cNvSpPr>
            <p:nvPr/>
          </p:nvSpPr>
          <p:spPr bwMode="auto">
            <a:xfrm>
              <a:off x="2476500" y="4338638"/>
              <a:ext cx="95250" cy="142875"/>
            </a:xfrm>
            <a:custGeom>
              <a:avLst/>
              <a:gdLst>
                <a:gd name="T0" fmla="*/ 22 w 43"/>
                <a:gd name="T1" fmla="*/ 8 h 64"/>
                <a:gd name="T2" fmla="*/ 22 w 43"/>
                <a:gd name="T3" fmla="*/ 8 h 64"/>
                <a:gd name="T4" fmla="*/ 11 w 43"/>
                <a:gd name="T5" fmla="*/ 33 h 64"/>
                <a:gd name="T6" fmla="*/ 22 w 43"/>
                <a:gd name="T7" fmla="*/ 56 h 64"/>
                <a:gd name="T8" fmla="*/ 33 w 43"/>
                <a:gd name="T9" fmla="*/ 32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3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5" y="8"/>
                    <a:pt x="11" y="16"/>
                    <a:pt x="11" y="33"/>
                  </a:cubicBezTo>
                  <a:cubicBezTo>
                    <a:pt x="11" y="48"/>
                    <a:pt x="14" y="56"/>
                    <a:pt x="22" y="56"/>
                  </a:cubicBezTo>
                  <a:cubicBezTo>
                    <a:pt x="29" y="56"/>
                    <a:pt x="33" y="48"/>
                    <a:pt x="33" y="32"/>
                  </a:cubicBezTo>
                  <a:cubicBezTo>
                    <a:pt x="33" y="16"/>
                    <a:pt x="29" y="8"/>
                    <a:pt x="22" y="8"/>
                  </a:cubicBezTo>
                  <a:close/>
                  <a:moveTo>
                    <a:pt x="21" y="64"/>
                  </a:moveTo>
                  <a:cubicBezTo>
                    <a:pt x="21" y="64"/>
                    <a:pt x="21" y="64"/>
                    <a:pt x="21" y="64"/>
                  </a:cubicBezTo>
                  <a:cubicBezTo>
                    <a:pt x="15" y="64"/>
                    <a:pt x="9" y="61"/>
                    <a:pt x="6" y="56"/>
                  </a:cubicBezTo>
                  <a:cubicBezTo>
                    <a:pt x="2" y="51"/>
                    <a:pt x="0" y="43"/>
                    <a:pt x="0" y="33"/>
                  </a:cubicBezTo>
                  <a:cubicBezTo>
                    <a:pt x="0" y="22"/>
                    <a:pt x="2" y="14"/>
                    <a:pt x="6" y="8"/>
                  </a:cubicBezTo>
                  <a:cubicBezTo>
                    <a:pt x="10" y="2"/>
                    <a:pt x="15" y="0"/>
                    <a:pt x="23" y="0"/>
                  </a:cubicBezTo>
                  <a:cubicBezTo>
                    <a:pt x="36" y="0"/>
                    <a:pt x="43" y="10"/>
                    <a:pt x="43" y="32"/>
                  </a:cubicBezTo>
                  <a:cubicBezTo>
                    <a:pt x="43" y="42"/>
                    <a:pt x="41" y="50"/>
                    <a:pt x="37" y="56"/>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78" name="Freeform 52"/>
            <p:cNvSpPr>
              <a:spLocks noEditPoints="1"/>
            </p:cNvSpPr>
            <p:nvPr/>
          </p:nvSpPr>
          <p:spPr bwMode="auto">
            <a:xfrm>
              <a:off x="2654300" y="4338638"/>
              <a:ext cx="92075" cy="142875"/>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9" y="56"/>
                    <a:pt x="32" y="48"/>
                    <a:pt x="32" y="32"/>
                  </a:cubicBezTo>
                  <a:cubicBezTo>
                    <a:pt x="32" y="16"/>
                    <a:pt x="29" y="8"/>
                    <a:pt x="21" y="8"/>
                  </a:cubicBezTo>
                  <a:close/>
                  <a:moveTo>
                    <a:pt x="20" y="64"/>
                  </a:moveTo>
                  <a:cubicBezTo>
                    <a:pt x="20" y="64"/>
                    <a:pt x="20" y="64"/>
                    <a:pt x="20" y="64"/>
                  </a:cubicBezTo>
                  <a:cubicBezTo>
                    <a:pt x="14" y="64"/>
                    <a:pt x="9" y="61"/>
                    <a:pt x="5" y="56"/>
                  </a:cubicBezTo>
                  <a:cubicBezTo>
                    <a:pt x="2" y="51"/>
                    <a:pt x="0" y="43"/>
                    <a:pt x="0" y="33"/>
                  </a:cubicBezTo>
                  <a:cubicBezTo>
                    <a:pt x="0" y="22"/>
                    <a:pt x="2" y="14"/>
                    <a:pt x="6" y="8"/>
                  </a:cubicBezTo>
                  <a:cubicBezTo>
                    <a:pt x="9" y="2"/>
                    <a:pt x="15" y="0"/>
                    <a:pt x="22" y="0"/>
                  </a:cubicBezTo>
                  <a:cubicBezTo>
                    <a:pt x="36" y="0"/>
                    <a:pt x="42" y="10"/>
                    <a:pt x="42" y="32"/>
                  </a:cubicBezTo>
                  <a:cubicBezTo>
                    <a:pt x="42" y="42"/>
                    <a:pt x="41" y="50"/>
                    <a:pt x="37" y="56"/>
                  </a:cubicBezTo>
                  <a:cubicBezTo>
                    <a:pt x="33" y="61"/>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79" name="Freeform 53"/>
            <p:cNvSpPr>
              <a:spLocks noEditPoints="1"/>
            </p:cNvSpPr>
            <p:nvPr/>
          </p:nvSpPr>
          <p:spPr bwMode="auto">
            <a:xfrm>
              <a:off x="2200275" y="4494213"/>
              <a:ext cx="95250" cy="142875"/>
            </a:xfrm>
            <a:custGeom>
              <a:avLst/>
              <a:gdLst>
                <a:gd name="T0" fmla="*/ 22 w 43"/>
                <a:gd name="T1" fmla="*/ 8 h 64"/>
                <a:gd name="T2" fmla="*/ 22 w 43"/>
                <a:gd name="T3" fmla="*/ 8 h 64"/>
                <a:gd name="T4" fmla="*/ 10 w 43"/>
                <a:gd name="T5" fmla="*/ 33 h 64"/>
                <a:gd name="T6" fmla="*/ 21 w 43"/>
                <a:gd name="T7" fmla="*/ 56 h 64"/>
                <a:gd name="T8" fmla="*/ 32 w 43"/>
                <a:gd name="T9" fmla="*/ 33 h 64"/>
                <a:gd name="T10" fmla="*/ 22 w 43"/>
                <a:gd name="T11" fmla="*/ 8 h 64"/>
                <a:gd name="T12" fmla="*/ 21 w 43"/>
                <a:gd name="T13" fmla="*/ 64 h 64"/>
                <a:gd name="T14" fmla="*/ 21 w 43"/>
                <a:gd name="T15" fmla="*/ 64 h 64"/>
                <a:gd name="T16" fmla="*/ 5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0" y="16"/>
                    <a:pt x="10" y="33"/>
                  </a:cubicBezTo>
                  <a:cubicBezTo>
                    <a:pt x="10" y="48"/>
                    <a:pt x="14" y="56"/>
                    <a:pt x="21" y="56"/>
                  </a:cubicBezTo>
                  <a:cubicBezTo>
                    <a:pt x="29" y="56"/>
                    <a:pt x="32" y="48"/>
                    <a:pt x="32" y="33"/>
                  </a:cubicBezTo>
                  <a:cubicBezTo>
                    <a:pt x="32" y="16"/>
                    <a:pt x="29" y="8"/>
                    <a:pt x="22" y="8"/>
                  </a:cubicBezTo>
                  <a:close/>
                  <a:moveTo>
                    <a:pt x="21" y="64"/>
                  </a:moveTo>
                  <a:cubicBezTo>
                    <a:pt x="21" y="64"/>
                    <a:pt x="21" y="64"/>
                    <a:pt x="21" y="64"/>
                  </a:cubicBezTo>
                  <a:cubicBezTo>
                    <a:pt x="14" y="64"/>
                    <a:pt x="9" y="62"/>
                    <a:pt x="5" y="56"/>
                  </a:cubicBezTo>
                  <a:cubicBezTo>
                    <a:pt x="2" y="51"/>
                    <a:pt x="0" y="43"/>
                    <a:pt x="0" y="33"/>
                  </a:cubicBezTo>
                  <a:cubicBezTo>
                    <a:pt x="0" y="22"/>
                    <a:pt x="2" y="14"/>
                    <a:pt x="6" y="8"/>
                  </a:cubicBezTo>
                  <a:cubicBezTo>
                    <a:pt x="9" y="3"/>
                    <a:pt x="15" y="0"/>
                    <a:pt x="22" y="0"/>
                  </a:cubicBezTo>
                  <a:cubicBezTo>
                    <a:pt x="36" y="0"/>
                    <a:pt x="43" y="11"/>
                    <a:pt x="43" y="32"/>
                  </a:cubicBezTo>
                  <a:cubicBezTo>
                    <a:pt x="43" y="42"/>
                    <a:pt x="41" y="50"/>
                    <a:pt x="37" y="56"/>
                  </a:cubicBezTo>
                  <a:cubicBezTo>
                    <a:pt x="33" y="62"/>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80" name="Freeform 54"/>
            <p:cNvSpPr>
              <a:spLocks/>
            </p:cNvSpPr>
            <p:nvPr/>
          </p:nvSpPr>
          <p:spPr bwMode="auto">
            <a:xfrm>
              <a:off x="2311400" y="4183063"/>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9 w 23"/>
                <a:gd name="T19" fmla="*/ 5 h 62"/>
                <a:gd name="T20" fmla="*/ 14 w 23"/>
                <a:gd name="T21" fmla="*/ 3 h 62"/>
                <a:gd name="T22" fmla="*/ 18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9"/>
                    <a:pt x="3" y="8"/>
                    <a:pt x="5" y="8"/>
                  </a:cubicBezTo>
                  <a:cubicBezTo>
                    <a:pt x="6" y="7"/>
                    <a:pt x="8" y="6"/>
                    <a:pt x="9" y="5"/>
                  </a:cubicBezTo>
                  <a:cubicBezTo>
                    <a:pt x="11" y="5"/>
                    <a:pt x="12" y="4"/>
                    <a:pt x="14" y="3"/>
                  </a:cubicBezTo>
                  <a:cubicBezTo>
                    <a:pt x="15" y="2"/>
                    <a:pt x="17" y="1"/>
                    <a:pt x="18"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81" name="Freeform 55"/>
            <p:cNvSpPr>
              <a:spLocks noEditPoints="1"/>
            </p:cNvSpPr>
            <p:nvPr/>
          </p:nvSpPr>
          <p:spPr bwMode="auto">
            <a:xfrm>
              <a:off x="2382838" y="4181475"/>
              <a:ext cx="93662" cy="144462"/>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6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9" y="8"/>
                    <a:pt x="21" y="8"/>
                  </a:cubicBezTo>
                  <a:close/>
                  <a:moveTo>
                    <a:pt x="20" y="65"/>
                  </a:moveTo>
                  <a:cubicBezTo>
                    <a:pt x="20" y="65"/>
                    <a:pt x="20" y="65"/>
                    <a:pt x="20" y="65"/>
                  </a:cubicBezTo>
                  <a:cubicBezTo>
                    <a:pt x="14" y="65"/>
                    <a:pt x="9" y="62"/>
                    <a:pt x="5" y="57"/>
                  </a:cubicBezTo>
                  <a:cubicBezTo>
                    <a:pt x="2" y="51"/>
                    <a:pt x="0" y="44"/>
                    <a:pt x="0" y="34"/>
                  </a:cubicBezTo>
                  <a:cubicBezTo>
                    <a:pt x="0" y="23"/>
                    <a:pt x="2" y="14"/>
                    <a:pt x="6"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82" name="Freeform 56"/>
            <p:cNvSpPr>
              <a:spLocks/>
            </p:cNvSpPr>
            <p:nvPr/>
          </p:nvSpPr>
          <p:spPr bwMode="auto">
            <a:xfrm>
              <a:off x="2489200" y="4183063"/>
              <a:ext cx="49212" cy="138112"/>
            </a:xfrm>
            <a:custGeom>
              <a:avLst/>
              <a:gdLst>
                <a:gd name="T0" fmla="*/ 22 w 22"/>
                <a:gd name="T1" fmla="*/ 0 h 62"/>
                <a:gd name="T2" fmla="*/ 22 w 22"/>
                <a:gd name="T3" fmla="*/ 0 h 62"/>
                <a:gd name="T4" fmla="*/ 22 w 22"/>
                <a:gd name="T5" fmla="*/ 62 h 62"/>
                <a:gd name="T6" fmla="*/ 13 w 22"/>
                <a:gd name="T7" fmla="*/ 62 h 62"/>
                <a:gd name="T8" fmla="*/ 13 w 22"/>
                <a:gd name="T9" fmla="*/ 12 h 62"/>
                <a:gd name="T10" fmla="*/ 7 w 22"/>
                <a:gd name="T11" fmla="*/ 15 h 62"/>
                <a:gd name="T12" fmla="*/ 0 w 22"/>
                <a:gd name="T13" fmla="*/ 17 h 62"/>
                <a:gd name="T14" fmla="*/ 0 w 22"/>
                <a:gd name="T15" fmla="*/ 9 h 62"/>
                <a:gd name="T16" fmla="*/ 5 w 22"/>
                <a:gd name="T17" fmla="*/ 8 h 62"/>
                <a:gd name="T18" fmla="*/ 9 w 22"/>
                <a:gd name="T19" fmla="*/ 5 h 62"/>
                <a:gd name="T20" fmla="*/ 14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1" y="9"/>
                    <a:pt x="3" y="8"/>
                    <a:pt x="5" y="8"/>
                  </a:cubicBezTo>
                  <a:cubicBezTo>
                    <a:pt x="6" y="7"/>
                    <a:pt x="8" y="6"/>
                    <a:pt x="9" y="5"/>
                  </a:cubicBezTo>
                  <a:cubicBezTo>
                    <a:pt x="10" y="5"/>
                    <a:pt x="12" y="4"/>
                    <a:pt x="14" y="3"/>
                  </a:cubicBezTo>
                  <a:cubicBezTo>
                    <a:pt x="15" y="2"/>
                    <a:pt x="17"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83" name="Freeform 57"/>
            <p:cNvSpPr>
              <a:spLocks noEditPoints="1"/>
            </p:cNvSpPr>
            <p:nvPr/>
          </p:nvSpPr>
          <p:spPr bwMode="auto">
            <a:xfrm>
              <a:off x="2560638" y="4181475"/>
              <a:ext cx="93662" cy="144462"/>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5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8" y="8"/>
                    <a:pt x="21" y="8"/>
                  </a:cubicBezTo>
                  <a:close/>
                  <a:moveTo>
                    <a:pt x="20" y="65"/>
                  </a:moveTo>
                  <a:cubicBezTo>
                    <a:pt x="20" y="65"/>
                    <a:pt x="20" y="65"/>
                    <a:pt x="20" y="65"/>
                  </a:cubicBezTo>
                  <a:cubicBezTo>
                    <a:pt x="14" y="65"/>
                    <a:pt x="9" y="62"/>
                    <a:pt x="5" y="57"/>
                  </a:cubicBezTo>
                  <a:cubicBezTo>
                    <a:pt x="2" y="51"/>
                    <a:pt x="0" y="44"/>
                    <a:pt x="0" y="34"/>
                  </a:cubicBezTo>
                  <a:cubicBezTo>
                    <a:pt x="0" y="23"/>
                    <a:pt x="2" y="14"/>
                    <a:pt x="5"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84" name="Freeform 58"/>
            <p:cNvSpPr>
              <a:spLocks/>
            </p:cNvSpPr>
            <p:nvPr/>
          </p:nvSpPr>
          <p:spPr bwMode="auto">
            <a:xfrm>
              <a:off x="1954213" y="4183063"/>
              <a:ext cx="49212" cy="138112"/>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8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4" y="16"/>
                    <a:pt x="2" y="17"/>
                    <a:pt x="0" y="17"/>
                  </a:cubicBezTo>
                  <a:cubicBezTo>
                    <a:pt x="0" y="9"/>
                    <a:pt x="0" y="9"/>
                    <a:pt x="0" y="9"/>
                  </a:cubicBezTo>
                  <a:cubicBezTo>
                    <a:pt x="1" y="9"/>
                    <a:pt x="3" y="8"/>
                    <a:pt x="4" y="8"/>
                  </a:cubicBezTo>
                  <a:cubicBezTo>
                    <a:pt x="6" y="7"/>
                    <a:pt x="7" y="6"/>
                    <a:pt x="9" y="5"/>
                  </a:cubicBezTo>
                  <a:cubicBezTo>
                    <a:pt x="10" y="5"/>
                    <a:pt x="12" y="4"/>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85" name="Freeform 59"/>
            <p:cNvSpPr>
              <a:spLocks/>
            </p:cNvSpPr>
            <p:nvPr/>
          </p:nvSpPr>
          <p:spPr bwMode="auto">
            <a:xfrm>
              <a:off x="2127250" y="4183063"/>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9"/>
                    <a:pt x="4" y="8"/>
                    <a:pt x="5" y="8"/>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86" name="Freeform 60"/>
            <p:cNvSpPr>
              <a:spLocks noEditPoints="1"/>
            </p:cNvSpPr>
            <p:nvPr/>
          </p:nvSpPr>
          <p:spPr bwMode="auto">
            <a:xfrm>
              <a:off x="2025650" y="4181475"/>
              <a:ext cx="93662" cy="144462"/>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5 w 42"/>
                <a:gd name="T21" fmla="*/ 9 h 65"/>
                <a:gd name="T22" fmla="*/ 22 w 42"/>
                <a:gd name="T23" fmla="*/ 0 h 65"/>
                <a:gd name="T24" fmla="*/ 42 w 42"/>
                <a:gd name="T25" fmla="*/ 32 h 65"/>
                <a:gd name="T26" fmla="*/ 36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3" y="8"/>
                    <a:pt x="10" y="17"/>
                    <a:pt x="10" y="33"/>
                  </a:cubicBezTo>
                  <a:cubicBezTo>
                    <a:pt x="10" y="49"/>
                    <a:pt x="13" y="57"/>
                    <a:pt x="21" y="57"/>
                  </a:cubicBezTo>
                  <a:cubicBezTo>
                    <a:pt x="28" y="57"/>
                    <a:pt x="32" y="49"/>
                    <a:pt x="32" y="33"/>
                  </a:cubicBezTo>
                  <a:cubicBezTo>
                    <a:pt x="32" y="16"/>
                    <a:pt x="28" y="8"/>
                    <a:pt x="21" y="8"/>
                  </a:cubicBezTo>
                  <a:close/>
                  <a:moveTo>
                    <a:pt x="20" y="65"/>
                  </a:moveTo>
                  <a:cubicBezTo>
                    <a:pt x="20" y="65"/>
                    <a:pt x="20" y="65"/>
                    <a:pt x="20" y="65"/>
                  </a:cubicBezTo>
                  <a:cubicBezTo>
                    <a:pt x="14" y="65"/>
                    <a:pt x="9" y="62"/>
                    <a:pt x="5" y="57"/>
                  </a:cubicBezTo>
                  <a:cubicBezTo>
                    <a:pt x="1" y="51"/>
                    <a:pt x="0" y="44"/>
                    <a:pt x="0" y="34"/>
                  </a:cubicBezTo>
                  <a:cubicBezTo>
                    <a:pt x="0" y="23"/>
                    <a:pt x="1" y="14"/>
                    <a:pt x="5" y="9"/>
                  </a:cubicBezTo>
                  <a:cubicBezTo>
                    <a:pt x="9" y="3"/>
                    <a:pt x="14" y="0"/>
                    <a:pt x="22" y="0"/>
                  </a:cubicBezTo>
                  <a:cubicBezTo>
                    <a:pt x="35" y="0"/>
                    <a:pt x="42" y="11"/>
                    <a:pt x="42" y="32"/>
                  </a:cubicBezTo>
                  <a:cubicBezTo>
                    <a:pt x="42" y="43"/>
                    <a:pt x="40" y="51"/>
                    <a:pt x="36" y="56"/>
                  </a:cubicBezTo>
                  <a:cubicBezTo>
                    <a:pt x="32" y="62"/>
                    <a:pt x="27" y="65"/>
                    <a:pt x="2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87" name="Freeform 61"/>
            <p:cNvSpPr>
              <a:spLocks noEditPoints="1"/>
            </p:cNvSpPr>
            <p:nvPr/>
          </p:nvSpPr>
          <p:spPr bwMode="auto">
            <a:xfrm>
              <a:off x="2200275" y="4181475"/>
              <a:ext cx="95250" cy="144462"/>
            </a:xfrm>
            <a:custGeom>
              <a:avLst/>
              <a:gdLst>
                <a:gd name="T0" fmla="*/ 22 w 43"/>
                <a:gd name="T1" fmla="*/ 8 h 65"/>
                <a:gd name="T2" fmla="*/ 22 w 43"/>
                <a:gd name="T3" fmla="*/ 8 h 65"/>
                <a:gd name="T4" fmla="*/ 10 w 43"/>
                <a:gd name="T5" fmla="*/ 33 h 65"/>
                <a:gd name="T6" fmla="*/ 21 w 43"/>
                <a:gd name="T7" fmla="*/ 57 h 65"/>
                <a:gd name="T8" fmla="*/ 32 w 43"/>
                <a:gd name="T9" fmla="*/ 33 h 65"/>
                <a:gd name="T10" fmla="*/ 22 w 43"/>
                <a:gd name="T11" fmla="*/ 8 h 65"/>
                <a:gd name="T12" fmla="*/ 21 w 43"/>
                <a:gd name="T13" fmla="*/ 65 h 65"/>
                <a:gd name="T14" fmla="*/ 21 w 43"/>
                <a:gd name="T15" fmla="*/ 65 h 65"/>
                <a:gd name="T16" fmla="*/ 5 w 43"/>
                <a:gd name="T17" fmla="*/ 57 h 65"/>
                <a:gd name="T18" fmla="*/ 0 w 43"/>
                <a:gd name="T19" fmla="*/ 34 h 65"/>
                <a:gd name="T20" fmla="*/ 6 w 43"/>
                <a:gd name="T21" fmla="*/ 9 h 65"/>
                <a:gd name="T22" fmla="*/ 22 w 43"/>
                <a:gd name="T23" fmla="*/ 0 h 65"/>
                <a:gd name="T24" fmla="*/ 43 w 43"/>
                <a:gd name="T25" fmla="*/ 32 h 65"/>
                <a:gd name="T26" fmla="*/ 37 w 43"/>
                <a:gd name="T27" fmla="*/ 56 h 65"/>
                <a:gd name="T28" fmla="*/ 21 w 43"/>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5">
                  <a:moveTo>
                    <a:pt x="22" y="8"/>
                  </a:moveTo>
                  <a:cubicBezTo>
                    <a:pt x="22" y="8"/>
                    <a:pt x="22" y="8"/>
                    <a:pt x="22" y="8"/>
                  </a:cubicBezTo>
                  <a:cubicBezTo>
                    <a:pt x="14" y="8"/>
                    <a:pt x="10" y="17"/>
                    <a:pt x="10" y="33"/>
                  </a:cubicBezTo>
                  <a:cubicBezTo>
                    <a:pt x="10" y="49"/>
                    <a:pt x="14" y="57"/>
                    <a:pt x="21" y="57"/>
                  </a:cubicBezTo>
                  <a:cubicBezTo>
                    <a:pt x="29" y="57"/>
                    <a:pt x="32" y="49"/>
                    <a:pt x="32" y="33"/>
                  </a:cubicBezTo>
                  <a:cubicBezTo>
                    <a:pt x="32" y="16"/>
                    <a:pt x="29" y="8"/>
                    <a:pt x="22" y="8"/>
                  </a:cubicBezTo>
                  <a:close/>
                  <a:moveTo>
                    <a:pt x="21" y="65"/>
                  </a:moveTo>
                  <a:cubicBezTo>
                    <a:pt x="21" y="65"/>
                    <a:pt x="21" y="65"/>
                    <a:pt x="21" y="65"/>
                  </a:cubicBezTo>
                  <a:cubicBezTo>
                    <a:pt x="14" y="65"/>
                    <a:pt x="9" y="62"/>
                    <a:pt x="5" y="57"/>
                  </a:cubicBezTo>
                  <a:cubicBezTo>
                    <a:pt x="2" y="51"/>
                    <a:pt x="0" y="44"/>
                    <a:pt x="0" y="34"/>
                  </a:cubicBezTo>
                  <a:cubicBezTo>
                    <a:pt x="0" y="23"/>
                    <a:pt x="2" y="14"/>
                    <a:pt x="6" y="9"/>
                  </a:cubicBezTo>
                  <a:cubicBezTo>
                    <a:pt x="9" y="3"/>
                    <a:pt x="15" y="0"/>
                    <a:pt x="22" y="0"/>
                  </a:cubicBezTo>
                  <a:cubicBezTo>
                    <a:pt x="36" y="0"/>
                    <a:pt x="43" y="11"/>
                    <a:pt x="43" y="32"/>
                  </a:cubicBezTo>
                  <a:cubicBezTo>
                    <a:pt x="43" y="43"/>
                    <a:pt x="41" y="51"/>
                    <a:pt x="37" y="56"/>
                  </a:cubicBezTo>
                  <a:cubicBezTo>
                    <a:pt x="33" y="62"/>
                    <a:pt x="28" y="65"/>
                    <a:pt x="2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grpSp>
      <p:sp>
        <p:nvSpPr>
          <p:cNvPr id="639" name="Cube 638"/>
          <p:cNvSpPr/>
          <p:nvPr/>
        </p:nvSpPr>
        <p:spPr bwMode="auto">
          <a:xfrm flipH="1">
            <a:off x="5313397" y="4435224"/>
            <a:ext cx="651390" cy="688814"/>
          </a:xfrm>
          <a:prstGeom prst="cube">
            <a:avLst>
              <a:gd name="adj" fmla="val 24335"/>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5685" tIns="140548" rIns="175685" bIns="140548" numCol="1" spcCol="0" rtlCol="0" fromWordArt="0" anchor="t" anchorCtr="0" forceAA="0" compatLnSpc="1">
            <a:prstTxWarp prst="textNoShape">
              <a:avLst/>
            </a:prstTxWarp>
            <a:noAutofit/>
          </a:bodyPr>
          <a:lstStyle/>
          <a:p>
            <a:pPr algn="ctr" defTabSz="895579"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ea typeface="Segoe UI" pitchFamily="34" charset="0"/>
              <a:cs typeface="Segoe UI" pitchFamily="34" charset="0"/>
            </a:endParaRPr>
          </a:p>
        </p:txBody>
      </p:sp>
      <p:sp>
        <p:nvSpPr>
          <p:cNvPr id="1369" name="Freeform 1368"/>
          <p:cNvSpPr>
            <a:spLocks/>
          </p:cNvSpPr>
          <p:nvPr/>
        </p:nvSpPr>
        <p:spPr bwMode="auto">
          <a:xfrm>
            <a:off x="468681" y="2377749"/>
            <a:ext cx="1320427" cy="1701357"/>
          </a:xfrm>
          <a:custGeom>
            <a:avLst/>
            <a:gdLst>
              <a:gd name="connsiteX0" fmla="*/ 0 w 1347286"/>
              <a:gd name="connsiteY0" fmla="*/ 0 h 1735966"/>
              <a:gd name="connsiteX1" fmla="*/ 1347286 w 1347286"/>
              <a:gd name="connsiteY1" fmla="*/ 0 h 1735966"/>
              <a:gd name="connsiteX2" fmla="*/ 1347286 w 1347286"/>
              <a:gd name="connsiteY2" fmla="*/ 1091059 h 1735966"/>
              <a:gd name="connsiteX3" fmla="*/ 0 w 1347286"/>
              <a:gd name="connsiteY3" fmla="*/ 1735966 h 1735966"/>
            </a:gdLst>
            <a:ahLst/>
            <a:cxnLst>
              <a:cxn ang="0">
                <a:pos x="connsiteX0" y="connsiteY0"/>
              </a:cxn>
              <a:cxn ang="0">
                <a:pos x="connsiteX1" y="connsiteY1"/>
              </a:cxn>
              <a:cxn ang="0">
                <a:pos x="connsiteX2" y="connsiteY2"/>
              </a:cxn>
              <a:cxn ang="0">
                <a:pos x="connsiteX3" y="connsiteY3"/>
              </a:cxn>
            </a:cxnLst>
            <a:rect l="l" t="t" r="r" b="b"/>
            <a:pathLst>
              <a:path w="1347286" h="1735966">
                <a:moveTo>
                  <a:pt x="0" y="0"/>
                </a:moveTo>
                <a:lnTo>
                  <a:pt x="1347286" y="0"/>
                </a:lnTo>
                <a:lnTo>
                  <a:pt x="1347286" y="1091059"/>
                </a:lnTo>
                <a:lnTo>
                  <a:pt x="0" y="1735966"/>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noAutofit/>
          </a:bodyPr>
          <a:lstStyle/>
          <a:p>
            <a:pPr defTabSz="896042">
              <a:defRPr/>
            </a:pPr>
            <a:endParaRPr lang="en-US" sz="1765" kern="0">
              <a:solidFill>
                <a:srgbClr val="505050"/>
              </a:solidFill>
            </a:endParaRPr>
          </a:p>
        </p:txBody>
      </p:sp>
      <p:sp>
        <p:nvSpPr>
          <p:cNvPr id="18" name="Freeform 8"/>
          <p:cNvSpPr>
            <a:spLocks/>
          </p:cNvSpPr>
          <p:nvPr/>
        </p:nvSpPr>
        <p:spPr bwMode="auto">
          <a:xfrm>
            <a:off x="924055" y="3259916"/>
            <a:ext cx="401410" cy="813709"/>
          </a:xfrm>
          <a:custGeom>
            <a:avLst/>
            <a:gdLst>
              <a:gd name="T0" fmla="*/ 515 w 515"/>
              <a:gd name="T1" fmla="*/ 767 h 1046"/>
              <a:gd name="T2" fmla="*/ 0 w 515"/>
              <a:gd name="T3" fmla="*/ 1046 h 1046"/>
              <a:gd name="T4" fmla="*/ 0 w 515"/>
              <a:gd name="T5" fmla="*/ 251 h 1046"/>
              <a:gd name="T6" fmla="*/ 515 w 515"/>
              <a:gd name="T7" fmla="*/ 0 h 1046"/>
              <a:gd name="T8" fmla="*/ 515 w 515"/>
              <a:gd name="T9" fmla="*/ 767 h 1046"/>
            </a:gdLst>
            <a:ahLst/>
            <a:cxnLst>
              <a:cxn ang="0">
                <a:pos x="T0" y="T1"/>
              </a:cxn>
              <a:cxn ang="0">
                <a:pos x="T2" y="T3"/>
              </a:cxn>
              <a:cxn ang="0">
                <a:pos x="T4" y="T5"/>
              </a:cxn>
              <a:cxn ang="0">
                <a:pos x="T6" y="T7"/>
              </a:cxn>
              <a:cxn ang="0">
                <a:pos x="T8" y="T9"/>
              </a:cxn>
            </a:cxnLst>
            <a:rect l="0" t="0" r="r" b="b"/>
            <a:pathLst>
              <a:path w="515" h="1046">
                <a:moveTo>
                  <a:pt x="515" y="767"/>
                </a:moveTo>
                <a:lnTo>
                  <a:pt x="0" y="1046"/>
                </a:lnTo>
                <a:lnTo>
                  <a:pt x="0" y="251"/>
                </a:lnTo>
                <a:lnTo>
                  <a:pt x="515" y="0"/>
                </a:lnTo>
                <a:lnTo>
                  <a:pt x="515" y="767"/>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6" name="Rectangle 26"/>
          <p:cNvSpPr>
            <a:spLocks noChangeArrowheads="1"/>
          </p:cNvSpPr>
          <p:nvPr/>
        </p:nvSpPr>
        <p:spPr bwMode="auto">
          <a:xfrm>
            <a:off x="1018960" y="3675329"/>
            <a:ext cx="2134628" cy="1649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7" name="Rectangle 27"/>
          <p:cNvSpPr>
            <a:spLocks noChangeArrowheads="1"/>
          </p:cNvSpPr>
          <p:nvPr/>
        </p:nvSpPr>
        <p:spPr bwMode="auto">
          <a:xfrm>
            <a:off x="1018960" y="3840247"/>
            <a:ext cx="2134628" cy="98019"/>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8" name="Rectangle 28"/>
          <p:cNvSpPr>
            <a:spLocks noChangeArrowheads="1"/>
          </p:cNvSpPr>
          <p:nvPr/>
        </p:nvSpPr>
        <p:spPr bwMode="auto">
          <a:xfrm>
            <a:off x="1018960" y="3840248"/>
            <a:ext cx="2134628" cy="49787"/>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2320" name="Group 2319"/>
          <p:cNvGrpSpPr>
            <a:grpSpLocks noChangeAspect="1"/>
          </p:cNvGrpSpPr>
          <p:nvPr/>
        </p:nvGrpSpPr>
        <p:grpSpPr>
          <a:xfrm>
            <a:off x="942062" y="3569337"/>
            <a:ext cx="252617" cy="207410"/>
            <a:chOff x="-4435475" y="1371600"/>
            <a:chExt cx="4435475" cy="3641725"/>
          </a:xfrm>
        </p:grpSpPr>
        <p:sp>
          <p:nvSpPr>
            <p:cNvPr id="2321"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2322" name="Group 2321"/>
            <p:cNvGrpSpPr/>
            <p:nvPr/>
          </p:nvGrpSpPr>
          <p:grpSpPr>
            <a:xfrm>
              <a:off x="-4206871" y="1603382"/>
              <a:ext cx="3978266" cy="3168652"/>
              <a:chOff x="-4206875" y="1603375"/>
              <a:chExt cx="3978275" cy="3168650"/>
            </a:xfrm>
            <a:solidFill>
              <a:srgbClr val="FFFFFF"/>
            </a:solidFill>
          </p:grpSpPr>
          <p:sp>
            <p:nvSpPr>
              <p:cNvPr id="2323"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4"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5"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2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3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grpSp>
        <p:nvGrpSpPr>
          <p:cNvPr id="2289" name="Group 2288"/>
          <p:cNvGrpSpPr/>
          <p:nvPr/>
        </p:nvGrpSpPr>
        <p:grpSpPr>
          <a:xfrm rot="19273839">
            <a:off x="5791216" y="4069079"/>
            <a:ext cx="174282" cy="257819"/>
            <a:chOff x="2687372" y="3149601"/>
            <a:chExt cx="81465" cy="132564"/>
          </a:xfrm>
          <a:solidFill>
            <a:srgbClr val="0072C6"/>
          </a:solidFill>
        </p:grpSpPr>
        <p:sp>
          <p:nvSpPr>
            <p:cNvPr id="229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29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29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29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29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29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sp>
        <p:nvSpPr>
          <p:cNvPr id="3" name="Title 2"/>
          <p:cNvSpPr>
            <a:spLocks noGrp="1"/>
          </p:cNvSpPr>
          <p:nvPr>
            <p:ph type="title"/>
          </p:nvPr>
        </p:nvSpPr>
        <p:spPr/>
        <p:txBody>
          <a:bodyPr/>
          <a:lstStyle/>
          <a:p>
            <a:r>
              <a:rPr lang="en-IN" sz="3921" dirty="0">
                <a:solidFill>
                  <a:srgbClr val="EAEAEA">
                    <a:lumMod val="25000"/>
                  </a:srgbClr>
                </a:solidFill>
                <a:latin typeface="Segoe UI Semibold" panose="020B0702040204020203" pitchFamily="34" charset="0"/>
                <a:cs typeface="Segoe UI Semibold" panose="020B0702040204020203" pitchFamily="34" charset="0"/>
              </a:rPr>
              <a:t>Business Value </a:t>
            </a:r>
            <a:r>
              <a:rPr lang="en-IN" sz="3921" dirty="0">
                <a:solidFill>
                  <a:srgbClr val="EAEAEA">
                    <a:lumMod val="25000"/>
                  </a:srgbClr>
                </a:solidFill>
                <a:latin typeface="Segoe UI Semilight" panose="020B0402040204020203" pitchFamily="34" charset="0"/>
                <a:cs typeface="Segoe UI Semilight" panose="020B0402040204020203" pitchFamily="34" charset="0"/>
              </a:rPr>
              <a:t>Optimize the Manufacturing Plant</a:t>
            </a:r>
            <a:endParaRPr lang="en-US" dirty="0">
              <a:latin typeface="Segoe UI Semilight" panose="020B0402040204020203" pitchFamily="34" charset="0"/>
              <a:cs typeface="Segoe UI Semilight" panose="020B0402040204020203" pitchFamily="34" charset="0"/>
            </a:endParaRPr>
          </a:p>
        </p:txBody>
      </p:sp>
      <p:sp>
        <p:nvSpPr>
          <p:cNvPr id="16" name="Rectangle 6"/>
          <p:cNvSpPr>
            <a:spLocks noChangeArrowheads="1"/>
          </p:cNvSpPr>
          <p:nvPr/>
        </p:nvSpPr>
        <p:spPr bwMode="auto">
          <a:xfrm>
            <a:off x="1787553" y="2087005"/>
            <a:ext cx="8774839" cy="133345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17" name="Rectangle 7"/>
          <p:cNvSpPr>
            <a:spLocks noChangeArrowheads="1"/>
          </p:cNvSpPr>
          <p:nvPr/>
        </p:nvSpPr>
        <p:spPr bwMode="auto">
          <a:xfrm>
            <a:off x="1787549" y="3389051"/>
            <a:ext cx="8773510" cy="56011"/>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51" name="Group 50"/>
          <p:cNvGrpSpPr/>
          <p:nvPr/>
        </p:nvGrpSpPr>
        <p:grpSpPr>
          <a:xfrm>
            <a:off x="5651901" y="3296726"/>
            <a:ext cx="1651559" cy="257716"/>
            <a:chOff x="5775325" y="3179763"/>
            <a:chExt cx="2166938" cy="338137"/>
          </a:xfrm>
        </p:grpSpPr>
        <p:sp>
          <p:nvSpPr>
            <p:cNvPr id="19" name="Rectangle 9"/>
            <p:cNvSpPr>
              <a:spLocks noChangeArrowheads="1"/>
            </p:cNvSpPr>
            <p:nvPr/>
          </p:nvSpPr>
          <p:spPr bwMode="auto">
            <a:xfrm>
              <a:off x="6208713"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0" name="Rectangle 10"/>
            <p:cNvSpPr>
              <a:spLocks noChangeArrowheads="1"/>
            </p:cNvSpPr>
            <p:nvPr/>
          </p:nvSpPr>
          <p:spPr bwMode="auto">
            <a:xfrm>
              <a:off x="6208713"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1" name="Rectangle 11"/>
            <p:cNvSpPr>
              <a:spLocks noChangeArrowheads="1"/>
            </p:cNvSpPr>
            <p:nvPr/>
          </p:nvSpPr>
          <p:spPr bwMode="auto">
            <a:xfrm>
              <a:off x="5775325"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2" name="Rectangle 12"/>
            <p:cNvSpPr>
              <a:spLocks noChangeArrowheads="1"/>
            </p:cNvSpPr>
            <p:nvPr/>
          </p:nvSpPr>
          <p:spPr bwMode="auto">
            <a:xfrm>
              <a:off x="5775325"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3" name="Rectangle 13"/>
            <p:cNvSpPr>
              <a:spLocks noChangeArrowheads="1"/>
            </p:cNvSpPr>
            <p:nvPr/>
          </p:nvSpPr>
          <p:spPr bwMode="auto">
            <a:xfrm>
              <a:off x="6642100" y="3305175"/>
              <a:ext cx="433388" cy="87312"/>
            </a:xfrm>
            <a:prstGeom prst="rect">
              <a:avLst/>
            </a:prstGeom>
            <a:solidFill>
              <a:srgbClr val="95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 name="Rectangle 14"/>
            <p:cNvSpPr>
              <a:spLocks noChangeArrowheads="1"/>
            </p:cNvSpPr>
            <p:nvPr/>
          </p:nvSpPr>
          <p:spPr bwMode="auto">
            <a:xfrm>
              <a:off x="6642100" y="3392488"/>
              <a:ext cx="433388" cy="125412"/>
            </a:xfrm>
            <a:prstGeom prst="rect">
              <a:avLst/>
            </a:prstGeom>
            <a:solidFill>
              <a:srgbClr val="A2A2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 name="Rectangle 15"/>
            <p:cNvSpPr>
              <a:spLocks noChangeArrowheads="1"/>
            </p:cNvSpPr>
            <p:nvPr/>
          </p:nvSpPr>
          <p:spPr bwMode="auto">
            <a:xfrm>
              <a:off x="6642100" y="3179763"/>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 name="Rectangle 16"/>
            <p:cNvSpPr>
              <a:spLocks noChangeArrowheads="1"/>
            </p:cNvSpPr>
            <p:nvPr/>
          </p:nvSpPr>
          <p:spPr bwMode="auto">
            <a:xfrm>
              <a:off x="6642100" y="3267075"/>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7" name="Rectangle 17"/>
            <p:cNvSpPr>
              <a:spLocks noChangeArrowheads="1"/>
            </p:cNvSpPr>
            <p:nvPr/>
          </p:nvSpPr>
          <p:spPr bwMode="auto">
            <a:xfrm>
              <a:off x="7508875"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8" name="Rectangle 18"/>
            <p:cNvSpPr>
              <a:spLocks noChangeArrowheads="1"/>
            </p:cNvSpPr>
            <p:nvPr/>
          </p:nvSpPr>
          <p:spPr bwMode="auto">
            <a:xfrm>
              <a:off x="7508875"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9" name="Rectangle 19"/>
            <p:cNvSpPr>
              <a:spLocks noChangeArrowheads="1"/>
            </p:cNvSpPr>
            <p:nvPr/>
          </p:nvSpPr>
          <p:spPr bwMode="auto">
            <a:xfrm>
              <a:off x="7508875" y="3179763"/>
              <a:ext cx="433388" cy="873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0" name="Rectangle 20"/>
            <p:cNvSpPr>
              <a:spLocks noChangeArrowheads="1"/>
            </p:cNvSpPr>
            <p:nvPr/>
          </p:nvSpPr>
          <p:spPr bwMode="auto">
            <a:xfrm>
              <a:off x="7508875" y="3267075"/>
              <a:ext cx="433388" cy="1254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1" name="Rectangle 21"/>
            <p:cNvSpPr>
              <a:spLocks noChangeArrowheads="1"/>
            </p:cNvSpPr>
            <p:nvPr/>
          </p:nvSpPr>
          <p:spPr bwMode="auto">
            <a:xfrm>
              <a:off x="7075488" y="3305175"/>
              <a:ext cx="433388" cy="873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2" name="Rectangle 22"/>
            <p:cNvSpPr>
              <a:spLocks noChangeArrowheads="1"/>
            </p:cNvSpPr>
            <p:nvPr/>
          </p:nvSpPr>
          <p:spPr bwMode="auto">
            <a:xfrm>
              <a:off x="7075488" y="3392488"/>
              <a:ext cx="433388" cy="1254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sp>
        <p:nvSpPr>
          <p:cNvPr id="35" name="Rectangle 25"/>
          <p:cNvSpPr>
            <a:spLocks noChangeArrowheads="1"/>
          </p:cNvSpPr>
          <p:nvPr/>
        </p:nvSpPr>
        <p:spPr bwMode="auto">
          <a:xfrm>
            <a:off x="4812054" y="2789044"/>
            <a:ext cx="1187115" cy="454446"/>
          </a:xfrm>
          <a:prstGeom prst="rect">
            <a:avLst/>
          </a:prstGeom>
          <a:solidFill>
            <a:srgbClr val="E6E6E5"/>
          </a:solidFill>
          <a:ln w="19050">
            <a:solidFill>
              <a:schemeClr val="accent1"/>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9" name="Freeform 29"/>
          <p:cNvSpPr>
            <a:spLocks/>
          </p:cNvSpPr>
          <p:nvPr/>
        </p:nvSpPr>
        <p:spPr bwMode="auto">
          <a:xfrm>
            <a:off x="924055" y="3259916"/>
            <a:ext cx="401410" cy="813709"/>
          </a:xfrm>
          <a:custGeom>
            <a:avLst/>
            <a:gdLst>
              <a:gd name="T0" fmla="*/ 0 w 515"/>
              <a:gd name="T1" fmla="*/ 251 h 1046"/>
              <a:gd name="T2" fmla="*/ 0 w 515"/>
              <a:gd name="T3" fmla="*/ 1046 h 1046"/>
              <a:gd name="T4" fmla="*/ 122 w 515"/>
              <a:gd name="T5" fmla="*/ 981 h 1046"/>
              <a:gd name="T6" fmla="*/ 122 w 515"/>
              <a:gd name="T7" fmla="*/ 313 h 1046"/>
              <a:gd name="T8" fmla="*/ 468 w 515"/>
              <a:gd name="T9" fmla="*/ 132 h 1046"/>
              <a:gd name="T10" fmla="*/ 468 w 515"/>
              <a:gd name="T11" fmla="*/ 534 h 1046"/>
              <a:gd name="T12" fmla="*/ 515 w 515"/>
              <a:gd name="T13" fmla="*/ 534 h 1046"/>
              <a:gd name="T14" fmla="*/ 515 w 515"/>
              <a:gd name="T15" fmla="*/ 0 h 1046"/>
              <a:gd name="T16" fmla="*/ 0 w 515"/>
              <a:gd name="T17" fmla="*/ 251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5" h="1046">
                <a:moveTo>
                  <a:pt x="0" y="251"/>
                </a:moveTo>
                <a:lnTo>
                  <a:pt x="0" y="1046"/>
                </a:lnTo>
                <a:lnTo>
                  <a:pt x="122" y="981"/>
                </a:lnTo>
                <a:lnTo>
                  <a:pt x="122" y="313"/>
                </a:lnTo>
                <a:lnTo>
                  <a:pt x="468" y="132"/>
                </a:lnTo>
                <a:lnTo>
                  <a:pt x="468" y="534"/>
                </a:lnTo>
                <a:lnTo>
                  <a:pt x="515" y="534"/>
                </a:lnTo>
                <a:lnTo>
                  <a:pt x="515" y="0"/>
                </a:lnTo>
                <a:lnTo>
                  <a:pt x="0" y="251"/>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0" name="Freeform 30"/>
          <p:cNvSpPr>
            <a:spLocks/>
          </p:cNvSpPr>
          <p:nvPr/>
        </p:nvSpPr>
        <p:spPr bwMode="auto">
          <a:xfrm>
            <a:off x="3153590" y="3675330"/>
            <a:ext cx="2486250" cy="1271131"/>
          </a:xfrm>
          <a:custGeom>
            <a:avLst/>
            <a:gdLst>
              <a:gd name="T0" fmla="*/ 1390 w 3196"/>
              <a:gd name="T1" fmla="*/ 1635 h 1635"/>
              <a:gd name="T2" fmla="*/ 0 w 3196"/>
              <a:gd name="T3" fmla="*/ 214 h 1635"/>
              <a:gd name="T4" fmla="*/ 0 w 3196"/>
              <a:gd name="T5" fmla="*/ 0 h 1635"/>
              <a:gd name="T6" fmla="*/ 3196 w 3196"/>
              <a:gd name="T7" fmla="*/ 1635 h 1635"/>
              <a:gd name="T8" fmla="*/ 1390 w 3196"/>
              <a:gd name="T9" fmla="*/ 1635 h 1635"/>
            </a:gdLst>
            <a:ahLst/>
            <a:cxnLst>
              <a:cxn ang="0">
                <a:pos x="T0" y="T1"/>
              </a:cxn>
              <a:cxn ang="0">
                <a:pos x="T2" y="T3"/>
              </a:cxn>
              <a:cxn ang="0">
                <a:pos x="T4" y="T5"/>
              </a:cxn>
              <a:cxn ang="0">
                <a:pos x="T6" y="T7"/>
              </a:cxn>
              <a:cxn ang="0">
                <a:pos x="T8" y="T9"/>
              </a:cxn>
            </a:cxnLst>
            <a:rect l="0" t="0" r="r" b="b"/>
            <a:pathLst>
              <a:path w="3196" h="1635">
                <a:moveTo>
                  <a:pt x="1390" y="1635"/>
                </a:moveTo>
                <a:lnTo>
                  <a:pt x="0" y="214"/>
                </a:lnTo>
                <a:lnTo>
                  <a:pt x="0" y="0"/>
                </a:lnTo>
                <a:lnTo>
                  <a:pt x="3196" y="1635"/>
                </a:lnTo>
                <a:lnTo>
                  <a:pt x="1390" y="163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1" name="Rectangle 31"/>
          <p:cNvSpPr>
            <a:spLocks noChangeArrowheads="1"/>
          </p:cNvSpPr>
          <p:nvPr/>
        </p:nvSpPr>
        <p:spPr bwMode="auto">
          <a:xfrm>
            <a:off x="4233349" y="4946459"/>
            <a:ext cx="1406491" cy="27694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2" name="Rectangle 32"/>
          <p:cNvSpPr>
            <a:spLocks noChangeArrowheads="1"/>
          </p:cNvSpPr>
          <p:nvPr/>
        </p:nvSpPr>
        <p:spPr bwMode="auto">
          <a:xfrm>
            <a:off x="4233349" y="4946459"/>
            <a:ext cx="1406491" cy="107353"/>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3" name="Freeform 33"/>
          <p:cNvSpPr>
            <a:spLocks/>
          </p:cNvSpPr>
          <p:nvPr/>
        </p:nvSpPr>
        <p:spPr bwMode="auto">
          <a:xfrm>
            <a:off x="3153590" y="3840249"/>
            <a:ext cx="1079760" cy="1383152"/>
          </a:xfrm>
          <a:custGeom>
            <a:avLst/>
            <a:gdLst>
              <a:gd name="T0" fmla="*/ 1390 w 1390"/>
              <a:gd name="T1" fmla="*/ 1421 h 1777"/>
              <a:gd name="T2" fmla="*/ 1390 w 1390"/>
              <a:gd name="T3" fmla="*/ 1777 h 1777"/>
              <a:gd name="T4" fmla="*/ 0 w 1390"/>
              <a:gd name="T5" fmla="*/ 126 h 1777"/>
              <a:gd name="T6" fmla="*/ 0 w 1390"/>
              <a:gd name="T7" fmla="*/ 0 h 1777"/>
              <a:gd name="T8" fmla="*/ 1390 w 1390"/>
              <a:gd name="T9" fmla="*/ 1421 h 1777"/>
            </a:gdLst>
            <a:ahLst/>
            <a:cxnLst>
              <a:cxn ang="0">
                <a:pos x="T0" y="T1"/>
              </a:cxn>
              <a:cxn ang="0">
                <a:pos x="T2" y="T3"/>
              </a:cxn>
              <a:cxn ang="0">
                <a:pos x="T4" y="T5"/>
              </a:cxn>
              <a:cxn ang="0">
                <a:pos x="T6" y="T7"/>
              </a:cxn>
              <a:cxn ang="0">
                <a:pos x="T8" y="T9"/>
              </a:cxn>
            </a:cxnLst>
            <a:rect l="0" t="0" r="r" b="b"/>
            <a:pathLst>
              <a:path w="1390" h="1777">
                <a:moveTo>
                  <a:pt x="1390" y="1421"/>
                </a:moveTo>
                <a:lnTo>
                  <a:pt x="1390" y="1777"/>
                </a:lnTo>
                <a:lnTo>
                  <a:pt x="0" y="126"/>
                </a:lnTo>
                <a:lnTo>
                  <a:pt x="0" y="0"/>
                </a:lnTo>
                <a:lnTo>
                  <a:pt x="1390" y="1421"/>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4" name="Freeform 34"/>
          <p:cNvSpPr>
            <a:spLocks/>
          </p:cNvSpPr>
          <p:nvPr/>
        </p:nvSpPr>
        <p:spPr bwMode="auto">
          <a:xfrm>
            <a:off x="3153590" y="3840250"/>
            <a:ext cx="1079760" cy="1213565"/>
          </a:xfrm>
          <a:custGeom>
            <a:avLst/>
            <a:gdLst>
              <a:gd name="T0" fmla="*/ 1390 w 1390"/>
              <a:gd name="T1" fmla="*/ 1421 h 1558"/>
              <a:gd name="T2" fmla="*/ 1390 w 1390"/>
              <a:gd name="T3" fmla="*/ 1558 h 1558"/>
              <a:gd name="T4" fmla="*/ 0 w 1390"/>
              <a:gd name="T5" fmla="*/ 64 h 1558"/>
              <a:gd name="T6" fmla="*/ 0 w 1390"/>
              <a:gd name="T7" fmla="*/ 0 h 1558"/>
              <a:gd name="T8" fmla="*/ 1390 w 1390"/>
              <a:gd name="T9" fmla="*/ 1421 h 1558"/>
            </a:gdLst>
            <a:ahLst/>
            <a:cxnLst>
              <a:cxn ang="0">
                <a:pos x="T0" y="T1"/>
              </a:cxn>
              <a:cxn ang="0">
                <a:pos x="T2" y="T3"/>
              </a:cxn>
              <a:cxn ang="0">
                <a:pos x="T4" y="T5"/>
              </a:cxn>
              <a:cxn ang="0">
                <a:pos x="T6" y="T7"/>
              </a:cxn>
              <a:cxn ang="0">
                <a:pos x="T8" y="T9"/>
              </a:cxn>
            </a:cxnLst>
            <a:rect l="0" t="0" r="r" b="b"/>
            <a:pathLst>
              <a:path w="1390" h="1558">
                <a:moveTo>
                  <a:pt x="1390" y="1421"/>
                </a:moveTo>
                <a:lnTo>
                  <a:pt x="1390" y="1558"/>
                </a:lnTo>
                <a:lnTo>
                  <a:pt x="0" y="64"/>
                </a:lnTo>
                <a:lnTo>
                  <a:pt x="0" y="0"/>
                </a:lnTo>
                <a:lnTo>
                  <a:pt x="1390" y="1421"/>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5" name="Freeform 35"/>
          <p:cNvSpPr>
            <a:spLocks/>
          </p:cNvSpPr>
          <p:nvPr/>
        </p:nvSpPr>
        <p:spPr bwMode="auto">
          <a:xfrm>
            <a:off x="1247670" y="3361047"/>
            <a:ext cx="40453" cy="314281"/>
          </a:xfrm>
          <a:custGeom>
            <a:avLst/>
            <a:gdLst>
              <a:gd name="T0" fmla="*/ 0 w 54"/>
              <a:gd name="T1" fmla="*/ 28 h 402"/>
              <a:gd name="T2" fmla="*/ 54 w 54"/>
              <a:gd name="T3" fmla="*/ 0 h 402"/>
              <a:gd name="T4" fmla="*/ 54 w 54"/>
              <a:gd name="T5" fmla="*/ 402 h 402"/>
              <a:gd name="T6" fmla="*/ 0 w 54"/>
              <a:gd name="T7" fmla="*/ 402 h 402"/>
              <a:gd name="T8" fmla="*/ 0 w 54"/>
              <a:gd name="T9" fmla="*/ 28 h 402"/>
            </a:gdLst>
            <a:ahLst/>
            <a:cxnLst>
              <a:cxn ang="0">
                <a:pos x="T0" y="T1"/>
              </a:cxn>
              <a:cxn ang="0">
                <a:pos x="T2" y="T3"/>
              </a:cxn>
              <a:cxn ang="0">
                <a:pos x="T4" y="T5"/>
              </a:cxn>
              <a:cxn ang="0">
                <a:pos x="T6" y="T7"/>
              </a:cxn>
              <a:cxn ang="0">
                <a:pos x="T8" y="T9"/>
              </a:cxn>
            </a:cxnLst>
            <a:rect l="0" t="0" r="r" b="b"/>
            <a:pathLst>
              <a:path w="54" h="402">
                <a:moveTo>
                  <a:pt x="0" y="28"/>
                </a:moveTo>
                <a:lnTo>
                  <a:pt x="54" y="0"/>
                </a:lnTo>
                <a:lnTo>
                  <a:pt x="54" y="402"/>
                </a:lnTo>
                <a:lnTo>
                  <a:pt x="0" y="402"/>
                </a:lnTo>
                <a:lnTo>
                  <a:pt x="0" y="28"/>
                </a:lnTo>
                <a:close/>
              </a:path>
            </a:pathLst>
          </a:custGeom>
          <a:solidFill>
            <a:srgbClr val="CD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6" name="Freeform 36"/>
          <p:cNvSpPr>
            <a:spLocks/>
          </p:cNvSpPr>
          <p:nvPr/>
        </p:nvSpPr>
        <p:spPr bwMode="auto">
          <a:xfrm>
            <a:off x="469746" y="3259916"/>
            <a:ext cx="855719" cy="194481"/>
          </a:xfrm>
          <a:custGeom>
            <a:avLst/>
            <a:gdLst>
              <a:gd name="T0" fmla="*/ 0 w 1100"/>
              <a:gd name="T1" fmla="*/ 251 h 251"/>
              <a:gd name="T2" fmla="*/ 585 w 1100"/>
              <a:gd name="T3" fmla="*/ 251 h 251"/>
              <a:gd name="T4" fmla="*/ 1100 w 1100"/>
              <a:gd name="T5" fmla="*/ 0 h 251"/>
              <a:gd name="T6" fmla="*/ 515 w 1100"/>
              <a:gd name="T7" fmla="*/ 0 h 251"/>
              <a:gd name="T8" fmla="*/ 0 w 1100"/>
              <a:gd name="T9" fmla="*/ 251 h 251"/>
            </a:gdLst>
            <a:ahLst/>
            <a:cxnLst>
              <a:cxn ang="0">
                <a:pos x="T0" y="T1"/>
              </a:cxn>
              <a:cxn ang="0">
                <a:pos x="T2" y="T3"/>
              </a:cxn>
              <a:cxn ang="0">
                <a:pos x="T4" y="T5"/>
              </a:cxn>
              <a:cxn ang="0">
                <a:pos x="T6" y="T7"/>
              </a:cxn>
              <a:cxn ang="0">
                <a:pos x="T8" y="T9"/>
              </a:cxn>
            </a:cxnLst>
            <a:rect l="0" t="0" r="r" b="b"/>
            <a:pathLst>
              <a:path w="1100" h="251">
                <a:moveTo>
                  <a:pt x="0" y="251"/>
                </a:moveTo>
                <a:lnTo>
                  <a:pt x="585" y="251"/>
                </a:lnTo>
                <a:lnTo>
                  <a:pt x="1100" y="0"/>
                </a:lnTo>
                <a:lnTo>
                  <a:pt x="515" y="0"/>
                </a:lnTo>
                <a:lnTo>
                  <a:pt x="0" y="251"/>
                </a:lnTo>
                <a:close/>
              </a:path>
            </a:pathLst>
          </a:custGeom>
          <a:solidFill>
            <a:srgbClr val="CD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7" name="Freeform 37"/>
          <p:cNvSpPr>
            <a:spLocks/>
          </p:cNvSpPr>
          <p:nvPr/>
        </p:nvSpPr>
        <p:spPr bwMode="auto">
          <a:xfrm>
            <a:off x="469746" y="3259916"/>
            <a:ext cx="855719" cy="194481"/>
          </a:xfrm>
          <a:custGeom>
            <a:avLst/>
            <a:gdLst>
              <a:gd name="T0" fmla="*/ 0 w 1100"/>
              <a:gd name="T1" fmla="*/ 251 h 251"/>
              <a:gd name="T2" fmla="*/ 585 w 1100"/>
              <a:gd name="T3" fmla="*/ 251 h 251"/>
              <a:gd name="T4" fmla="*/ 1100 w 1100"/>
              <a:gd name="T5" fmla="*/ 0 h 251"/>
              <a:gd name="T6" fmla="*/ 515 w 1100"/>
              <a:gd name="T7" fmla="*/ 0 h 251"/>
            </a:gdLst>
            <a:ahLst/>
            <a:cxnLst>
              <a:cxn ang="0">
                <a:pos x="T0" y="T1"/>
              </a:cxn>
              <a:cxn ang="0">
                <a:pos x="T2" y="T3"/>
              </a:cxn>
              <a:cxn ang="0">
                <a:pos x="T4" y="T5"/>
              </a:cxn>
              <a:cxn ang="0">
                <a:pos x="T6" y="T7"/>
              </a:cxn>
            </a:cxnLst>
            <a:rect l="0" t="0" r="r" b="b"/>
            <a:pathLst>
              <a:path w="1100" h="251">
                <a:moveTo>
                  <a:pt x="0" y="251"/>
                </a:moveTo>
                <a:lnTo>
                  <a:pt x="585" y="251"/>
                </a:lnTo>
                <a:lnTo>
                  <a:pt x="1100" y="0"/>
                </a:lnTo>
                <a:lnTo>
                  <a:pt x="5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48" name="Rectangle 38"/>
          <p:cNvSpPr>
            <a:spLocks noChangeArrowheads="1"/>
          </p:cNvSpPr>
          <p:nvPr/>
        </p:nvSpPr>
        <p:spPr bwMode="auto">
          <a:xfrm>
            <a:off x="469745" y="3454398"/>
            <a:ext cx="454309" cy="61922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2918" name="Group 2917"/>
          <p:cNvGrpSpPr/>
          <p:nvPr/>
        </p:nvGrpSpPr>
        <p:grpSpPr>
          <a:xfrm>
            <a:off x="1983516" y="2789044"/>
            <a:ext cx="8272464" cy="454446"/>
            <a:chOff x="1822375" y="2844285"/>
            <a:chExt cx="8440738" cy="463691"/>
          </a:xfrm>
        </p:grpSpPr>
        <p:sp>
          <p:nvSpPr>
            <p:cNvPr id="33" name="Rectangle 23"/>
            <p:cNvSpPr>
              <a:spLocks noChangeArrowheads="1"/>
            </p:cNvSpPr>
            <p:nvPr/>
          </p:nvSpPr>
          <p:spPr bwMode="auto">
            <a:xfrm>
              <a:off x="1822375" y="2844285"/>
              <a:ext cx="1211263" cy="463691"/>
            </a:xfrm>
            <a:prstGeom prst="rect">
              <a:avLst/>
            </a:prstGeom>
            <a:solidFill>
              <a:srgbClr val="E6E6E5"/>
            </a:solidFill>
            <a:ln w="6350">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4" name="Rectangle 24"/>
            <p:cNvSpPr>
              <a:spLocks noChangeArrowheads="1"/>
            </p:cNvSpPr>
            <p:nvPr/>
          </p:nvSpPr>
          <p:spPr bwMode="auto">
            <a:xfrm>
              <a:off x="3267000" y="2844285"/>
              <a:ext cx="1211263" cy="463691"/>
            </a:xfrm>
            <a:prstGeom prst="rect">
              <a:avLst/>
            </a:prstGeom>
            <a:solidFill>
              <a:srgbClr val="E6E6E5"/>
            </a:solidFill>
            <a:ln w="6350">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1370" name="Rectangle 23"/>
            <p:cNvSpPr>
              <a:spLocks noChangeArrowheads="1"/>
            </p:cNvSpPr>
            <p:nvPr/>
          </p:nvSpPr>
          <p:spPr bwMode="auto">
            <a:xfrm>
              <a:off x="6165775" y="2844285"/>
              <a:ext cx="1211263" cy="463691"/>
            </a:xfrm>
            <a:prstGeom prst="rect">
              <a:avLst/>
            </a:prstGeom>
            <a:solidFill>
              <a:srgbClr val="E6E6E5"/>
            </a:solidFill>
            <a:ln w="6350">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1371" name="Rectangle 24"/>
            <p:cNvSpPr>
              <a:spLocks noChangeArrowheads="1"/>
            </p:cNvSpPr>
            <p:nvPr/>
          </p:nvSpPr>
          <p:spPr bwMode="auto">
            <a:xfrm>
              <a:off x="7610400" y="2844285"/>
              <a:ext cx="1211263" cy="463691"/>
            </a:xfrm>
            <a:prstGeom prst="rect">
              <a:avLst/>
            </a:prstGeom>
            <a:solidFill>
              <a:srgbClr val="E6E6E5"/>
            </a:solidFill>
            <a:ln w="6350">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1372" name="Rectangle 25"/>
            <p:cNvSpPr>
              <a:spLocks noChangeArrowheads="1"/>
            </p:cNvSpPr>
            <p:nvPr/>
          </p:nvSpPr>
          <p:spPr bwMode="auto">
            <a:xfrm>
              <a:off x="9051850" y="2844285"/>
              <a:ext cx="1211263" cy="463691"/>
            </a:xfrm>
            <a:prstGeom prst="rect">
              <a:avLst/>
            </a:prstGeom>
            <a:solidFill>
              <a:srgbClr val="E6E6E5"/>
            </a:solidFill>
            <a:ln w="6350">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grpSp>
        <p:nvGrpSpPr>
          <p:cNvPr id="1389" name="Group 1388"/>
          <p:cNvGrpSpPr/>
          <p:nvPr/>
        </p:nvGrpSpPr>
        <p:grpSpPr>
          <a:xfrm rot="18900000">
            <a:off x="2146250" y="3324033"/>
            <a:ext cx="137603" cy="203559"/>
            <a:chOff x="2687372" y="3149601"/>
            <a:chExt cx="81465" cy="132564"/>
          </a:xfrm>
          <a:solidFill>
            <a:srgbClr val="0072C6"/>
          </a:solidFill>
        </p:grpSpPr>
        <p:sp>
          <p:nvSpPr>
            <p:cNvPr id="139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39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39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39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39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39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nvGrpSpPr>
          <p:cNvPr id="57" name="Group 56"/>
          <p:cNvGrpSpPr/>
          <p:nvPr/>
        </p:nvGrpSpPr>
        <p:grpSpPr>
          <a:xfrm>
            <a:off x="3766066" y="3030595"/>
            <a:ext cx="1296925" cy="1054227"/>
            <a:chOff x="3641186" y="3090752"/>
            <a:chExt cx="1323306" cy="1075670"/>
          </a:xfrm>
        </p:grpSpPr>
        <p:sp>
          <p:nvSpPr>
            <p:cNvPr id="1416" name="Rectangle 1415"/>
            <p:cNvSpPr/>
            <p:nvPr/>
          </p:nvSpPr>
          <p:spPr bwMode="auto">
            <a:xfrm rot="2366189">
              <a:off x="4461536" y="3714323"/>
              <a:ext cx="159341" cy="298798"/>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17" name="Rectangle 21"/>
            <p:cNvSpPr/>
            <p:nvPr/>
          </p:nvSpPr>
          <p:spPr bwMode="auto">
            <a:xfrm rot="19936818">
              <a:off x="4426825" y="3189923"/>
              <a:ext cx="169982" cy="45085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18" name="Rectangle 29"/>
            <p:cNvSpPr/>
            <p:nvPr/>
          </p:nvSpPr>
          <p:spPr bwMode="auto">
            <a:xfrm rot="15300000">
              <a:off x="4039300" y="3057366"/>
              <a:ext cx="129052" cy="441050"/>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19" name="Oval 1418"/>
            <p:cNvSpPr/>
            <p:nvPr/>
          </p:nvSpPr>
          <p:spPr bwMode="auto">
            <a:xfrm>
              <a:off x="4442397" y="3542367"/>
              <a:ext cx="310107" cy="310108"/>
            </a:xfrm>
            <a:prstGeom prst="ellipse">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20" name="Group 1419"/>
            <p:cNvGrpSpPr/>
            <p:nvPr/>
          </p:nvGrpSpPr>
          <p:grpSpPr>
            <a:xfrm flipH="1">
              <a:off x="4269958" y="3090752"/>
              <a:ext cx="225849" cy="225850"/>
              <a:chOff x="4394973" y="1762558"/>
              <a:chExt cx="352210" cy="352210"/>
            </a:xfrm>
            <a:solidFill>
              <a:srgbClr val="FFFFFF">
                <a:lumMod val="75000"/>
              </a:srgbClr>
            </a:solidFill>
          </p:grpSpPr>
          <p:grpSp>
            <p:nvGrpSpPr>
              <p:cNvPr id="1439" name="Group 1438"/>
              <p:cNvGrpSpPr/>
              <p:nvPr/>
            </p:nvGrpSpPr>
            <p:grpSpPr>
              <a:xfrm flipH="1">
                <a:off x="4394973" y="1762558"/>
                <a:ext cx="352210" cy="352210"/>
                <a:chOff x="5411363" y="1755522"/>
                <a:chExt cx="316187" cy="316187"/>
              </a:xfrm>
              <a:grpFill/>
            </p:grpSpPr>
            <p:sp>
              <p:nvSpPr>
                <p:cNvPr id="1442" name="Oval 1441"/>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43" name="Oval 1442"/>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44" name="Oval 1443"/>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40" name="Rectangle 1439"/>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41" name="Rectangle 1440"/>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21" name="Rectangle 1420"/>
            <p:cNvSpPr/>
            <p:nvPr/>
          </p:nvSpPr>
          <p:spPr bwMode="auto">
            <a:xfrm rot="11618614">
              <a:off x="3788005" y="3415241"/>
              <a:ext cx="85156" cy="153010"/>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22" name="Oval 1421"/>
            <p:cNvSpPr/>
            <p:nvPr/>
          </p:nvSpPr>
          <p:spPr bwMode="auto">
            <a:xfrm rot="11681175">
              <a:off x="3756239" y="3533101"/>
              <a:ext cx="97683" cy="97684"/>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24" name="Group 1423"/>
            <p:cNvGrpSpPr/>
            <p:nvPr/>
          </p:nvGrpSpPr>
          <p:grpSpPr>
            <a:xfrm rot="2114316">
              <a:off x="3641186" y="3515590"/>
              <a:ext cx="87318" cy="240220"/>
              <a:chOff x="5422401" y="1772114"/>
              <a:chExt cx="99173" cy="272833"/>
            </a:xfrm>
            <a:solidFill>
              <a:srgbClr val="505050">
                <a:lumMod val="40000"/>
                <a:lumOff val="60000"/>
              </a:srgbClr>
            </a:solidFill>
          </p:grpSpPr>
          <p:sp>
            <p:nvSpPr>
              <p:cNvPr id="1435" name="Rectangle 1434"/>
              <p:cNvSpPr/>
              <p:nvPr/>
            </p:nvSpPr>
            <p:spPr bwMode="auto">
              <a:xfrm rot="13260000" flipH="1">
                <a:off x="5460056" y="1772114"/>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36" name="Diagonal Stripe 1435"/>
              <p:cNvSpPr/>
              <p:nvPr/>
            </p:nvSpPr>
            <p:spPr bwMode="auto">
              <a:xfrm rot="19432650">
                <a:off x="5422401" y="1862067"/>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25" name="Rounded Rectangle 1424"/>
            <p:cNvSpPr/>
            <p:nvPr/>
          </p:nvSpPr>
          <p:spPr bwMode="auto">
            <a:xfrm>
              <a:off x="4135920" y="3917143"/>
              <a:ext cx="744710" cy="234820"/>
            </a:xfrm>
            <a:prstGeom prst="round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26" name="Rounded Rectangle 1425"/>
            <p:cNvSpPr/>
            <p:nvPr/>
          </p:nvSpPr>
          <p:spPr bwMode="auto">
            <a:xfrm>
              <a:off x="4052056" y="4034549"/>
              <a:ext cx="912436" cy="131873"/>
            </a:xfrm>
            <a:prstGeom prst="round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27" name="Group 1426"/>
            <p:cNvGrpSpPr/>
            <p:nvPr/>
          </p:nvGrpSpPr>
          <p:grpSpPr>
            <a:xfrm flipH="1">
              <a:off x="3793988" y="3282734"/>
              <a:ext cx="157854" cy="157855"/>
              <a:chOff x="4394973" y="1762558"/>
              <a:chExt cx="352210" cy="352210"/>
            </a:xfrm>
            <a:solidFill>
              <a:srgbClr val="FFFFFF">
                <a:lumMod val="75000"/>
              </a:srgbClr>
            </a:solidFill>
          </p:grpSpPr>
          <p:grpSp>
            <p:nvGrpSpPr>
              <p:cNvPr id="1429" name="Group 1428"/>
              <p:cNvGrpSpPr/>
              <p:nvPr/>
            </p:nvGrpSpPr>
            <p:grpSpPr>
              <a:xfrm flipH="1">
                <a:off x="4394973" y="1762558"/>
                <a:ext cx="352210" cy="352210"/>
                <a:chOff x="5411363" y="1755522"/>
                <a:chExt cx="316187" cy="316187"/>
              </a:xfrm>
              <a:grpFill/>
            </p:grpSpPr>
            <p:sp>
              <p:nvSpPr>
                <p:cNvPr id="1432" name="Oval 1431"/>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33" name="Oval 1432"/>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34" name="Oval 1433"/>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30" name="Rectangle 1429"/>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31" name="Rectangle 1430"/>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409" name="Group 1408"/>
          <p:cNvGrpSpPr/>
          <p:nvPr/>
        </p:nvGrpSpPr>
        <p:grpSpPr>
          <a:xfrm rot="19273839">
            <a:off x="4851247" y="3358854"/>
            <a:ext cx="139986" cy="207084"/>
            <a:chOff x="2687372" y="3149601"/>
            <a:chExt cx="81465" cy="132564"/>
          </a:xfrm>
          <a:solidFill>
            <a:srgbClr val="0072C6"/>
          </a:solidFill>
        </p:grpSpPr>
        <p:sp>
          <p:nvSpPr>
            <p:cNvPr id="141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41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41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41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41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41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nvGrpSpPr>
          <p:cNvPr id="14" name="Group 13"/>
          <p:cNvGrpSpPr/>
          <p:nvPr/>
        </p:nvGrpSpPr>
        <p:grpSpPr>
          <a:xfrm>
            <a:off x="1962151" y="4094590"/>
            <a:ext cx="1519994" cy="1235545"/>
            <a:chOff x="1800575" y="4176391"/>
            <a:chExt cx="1550913" cy="1260678"/>
          </a:xfrm>
        </p:grpSpPr>
        <p:sp>
          <p:nvSpPr>
            <p:cNvPr id="1620" name="Oval 1619"/>
            <p:cNvSpPr/>
            <p:nvPr/>
          </p:nvSpPr>
          <p:spPr bwMode="auto">
            <a:xfrm flipH="1">
              <a:off x="2049024" y="4705684"/>
              <a:ext cx="363445" cy="363445"/>
            </a:xfrm>
            <a:prstGeom prst="ellipse">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800575" y="4176391"/>
              <a:ext cx="1550913" cy="1260678"/>
              <a:chOff x="1800575" y="4176391"/>
              <a:chExt cx="1550913" cy="1260678"/>
            </a:xfrm>
          </p:grpSpPr>
          <p:sp>
            <p:nvSpPr>
              <p:cNvPr id="1614" name="Rectangle 1613"/>
              <p:cNvSpPr/>
              <p:nvPr/>
            </p:nvSpPr>
            <p:spPr bwMode="auto">
              <a:xfrm rot="19233811" flipH="1">
                <a:off x="2206802" y="4917000"/>
                <a:ext cx="186748" cy="339149"/>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15" name="Rectangle 21"/>
              <p:cNvSpPr/>
              <p:nvPr/>
            </p:nvSpPr>
            <p:spPr bwMode="auto">
              <a:xfrm rot="1663182" flipH="1">
                <a:off x="2231501" y="4292619"/>
                <a:ext cx="199219" cy="52839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16" name="Rectangle 29"/>
              <p:cNvSpPr/>
              <p:nvPr/>
            </p:nvSpPr>
            <p:spPr bwMode="auto">
              <a:xfrm rot="6300000" flipH="1">
                <a:off x="2733652" y="4137261"/>
                <a:ext cx="151248" cy="516910"/>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22" name="Group 1621"/>
              <p:cNvGrpSpPr/>
              <p:nvPr/>
            </p:nvGrpSpPr>
            <p:grpSpPr>
              <a:xfrm>
                <a:off x="2349872" y="4176391"/>
                <a:ext cx="264695" cy="264695"/>
                <a:chOff x="4394973" y="1762558"/>
                <a:chExt cx="352210" cy="352210"/>
              </a:xfrm>
              <a:solidFill>
                <a:srgbClr val="FFFFFF">
                  <a:lumMod val="75000"/>
                </a:srgbClr>
              </a:solidFill>
            </p:grpSpPr>
            <p:grpSp>
              <p:nvGrpSpPr>
                <p:cNvPr id="1655" name="Group 1654"/>
                <p:cNvGrpSpPr/>
                <p:nvPr/>
              </p:nvGrpSpPr>
              <p:grpSpPr>
                <a:xfrm flipH="1">
                  <a:off x="4394973" y="1762558"/>
                  <a:ext cx="352210" cy="352210"/>
                  <a:chOff x="5411363" y="1755522"/>
                  <a:chExt cx="316187" cy="316187"/>
                </a:xfrm>
                <a:grpFill/>
              </p:grpSpPr>
              <p:sp>
                <p:nvSpPr>
                  <p:cNvPr id="1658" name="Oval 1657"/>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59" name="Oval 1658"/>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60" name="Oval 1659"/>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656" name="Rectangle 1655"/>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57" name="Rectangle 1656"/>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623" name="Rectangle 1622"/>
              <p:cNvSpPr/>
              <p:nvPr/>
            </p:nvSpPr>
            <p:spPr bwMode="auto">
              <a:xfrm rot="9981386" flipH="1">
                <a:off x="3079616" y="4556690"/>
                <a:ext cx="99803" cy="179326"/>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26" name="Oval 1625"/>
              <p:cNvSpPr/>
              <p:nvPr/>
            </p:nvSpPr>
            <p:spPr bwMode="auto">
              <a:xfrm rot="9918825" flipH="1">
                <a:off x="3102164" y="4694821"/>
                <a:ext cx="114485" cy="114485"/>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39" name="Group 1638"/>
              <p:cNvGrpSpPr/>
              <p:nvPr/>
            </p:nvGrpSpPr>
            <p:grpSpPr>
              <a:xfrm rot="20781386">
                <a:off x="3048729" y="4769552"/>
                <a:ext cx="102337" cy="281538"/>
                <a:chOff x="5430362" y="1772113"/>
                <a:chExt cx="99173" cy="272835"/>
              </a:xfrm>
              <a:solidFill>
                <a:srgbClr val="505050">
                  <a:lumMod val="40000"/>
                  <a:lumOff val="60000"/>
                </a:srgbClr>
              </a:solidFill>
            </p:grpSpPr>
            <p:sp>
              <p:nvSpPr>
                <p:cNvPr id="1653" name="Rectangle 1652"/>
                <p:cNvSpPr/>
                <p:nvPr/>
              </p:nvSpPr>
              <p:spPr bwMode="auto">
                <a:xfrm rot="13260000" flipH="1">
                  <a:off x="5468027" y="1772113"/>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54" name="Diagonal Stripe 1653"/>
                <p:cNvSpPr/>
                <p:nvPr/>
              </p:nvSpPr>
              <p:spPr bwMode="auto">
                <a:xfrm rot="19432650">
                  <a:off x="5430362" y="1862068"/>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40" name="Group 1639"/>
              <p:cNvGrpSpPr/>
              <p:nvPr/>
            </p:nvGrpSpPr>
            <p:grpSpPr>
              <a:xfrm rot="19485684" flipH="1">
                <a:off x="3249151" y="4674299"/>
                <a:ext cx="102337" cy="281536"/>
                <a:chOff x="5422401" y="1772114"/>
                <a:chExt cx="99173" cy="272833"/>
              </a:xfrm>
              <a:solidFill>
                <a:srgbClr val="505050">
                  <a:lumMod val="40000"/>
                  <a:lumOff val="60000"/>
                </a:srgbClr>
              </a:solidFill>
            </p:grpSpPr>
            <p:sp>
              <p:nvSpPr>
                <p:cNvPr id="1651" name="Rectangle 1650"/>
                <p:cNvSpPr/>
                <p:nvPr/>
              </p:nvSpPr>
              <p:spPr bwMode="auto">
                <a:xfrm rot="13260000" flipH="1">
                  <a:off x="5460056" y="1772114"/>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52" name="Diagonal Stripe 1651"/>
                <p:cNvSpPr/>
                <p:nvPr/>
              </p:nvSpPr>
              <p:spPr bwMode="auto">
                <a:xfrm rot="19432650">
                  <a:off x="5422401" y="1862067"/>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641" name="Rounded Rectangle 1640"/>
              <p:cNvSpPr/>
              <p:nvPr/>
            </p:nvSpPr>
            <p:spPr bwMode="auto">
              <a:xfrm flipH="1">
                <a:off x="1898860" y="5144919"/>
                <a:ext cx="872800" cy="275208"/>
              </a:xfrm>
              <a:prstGeom prst="round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42" name="Rounded Rectangle 1641"/>
              <p:cNvSpPr/>
              <p:nvPr/>
            </p:nvSpPr>
            <p:spPr bwMode="auto">
              <a:xfrm flipH="1">
                <a:off x="1800575" y="5282514"/>
                <a:ext cx="1069376" cy="154555"/>
              </a:xfrm>
              <a:prstGeom prst="round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43" name="Group 1642"/>
              <p:cNvGrpSpPr/>
              <p:nvPr/>
            </p:nvGrpSpPr>
            <p:grpSpPr>
              <a:xfrm>
                <a:off x="2987403" y="4401395"/>
                <a:ext cx="185005" cy="185005"/>
                <a:chOff x="4394973" y="1762558"/>
                <a:chExt cx="352210" cy="352210"/>
              </a:xfrm>
              <a:solidFill>
                <a:srgbClr val="FFFFFF">
                  <a:lumMod val="75000"/>
                </a:srgbClr>
              </a:solidFill>
            </p:grpSpPr>
            <p:grpSp>
              <p:nvGrpSpPr>
                <p:cNvPr id="1645" name="Group 1644"/>
                <p:cNvGrpSpPr/>
                <p:nvPr/>
              </p:nvGrpSpPr>
              <p:grpSpPr>
                <a:xfrm flipH="1">
                  <a:off x="4394973" y="1762558"/>
                  <a:ext cx="352210" cy="352210"/>
                  <a:chOff x="5411363" y="1755522"/>
                  <a:chExt cx="316187" cy="316187"/>
                </a:xfrm>
                <a:grpFill/>
              </p:grpSpPr>
              <p:sp>
                <p:nvSpPr>
                  <p:cNvPr id="1648" name="Oval 1647"/>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49" name="Oval 1648"/>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50" name="Oval 1649"/>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646" name="Rectangle 1645"/>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1647" name="Rectangle 1646"/>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1601" name="Group 1600"/>
          <p:cNvGrpSpPr/>
          <p:nvPr/>
        </p:nvGrpSpPr>
        <p:grpSpPr>
          <a:xfrm rot="13271164">
            <a:off x="2018574" y="4446496"/>
            <a:ext cx="199923" cy="295748"/>
            <a:chOff x="2687372" y="3149601"/>
            <a:chExt cx="81465" cy="132564"/>
          </a:xfrm>
          <a:solidFill>
            <a:srgbClr val="0072C6"/>
          </a:solidFill>
        </p:grpSpPr>
        <p:sp>
          <p:nvSpPr>
            <p:cNvPr id="1602"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0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1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1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1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1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cxnSp>
        <p:nvCxnSpPr>
          <p:cNvPr id="1714" name="Elbow Connector 1713"/>
          <p:cNvCxnSpPr/>
          <p:nvPr/>
        </p:nvCxnSpPr>
        <p:spPr>
          <a:xfrm rot="5400000">
            <a:off x="1907822" y="2654584"/>
            <a:ext cx="892186" cy="775052"/>
          </a:xfrm>
          <a:prstGeom prst="bentConnector3">
            <a:avLst>
              <a:gd name="adj1" fmla="val 50000"/>
            </a:avLst>
          </a:prstGeom>
          <a:noFill/>
          <a:ln w="12700" cap="flat" cmpd="sng" algn="ctr">
            <a:solidFill>
              <a:srgbClr val="0072C6"/>
            </a:solidFill>
            <a:prstDash val="sysDot"/>
          </a:ln>
          <a:effectLst/>
        </p:spPr>
      </p:cxnSp>
      <p:sp>
        <p:nvSpPr>
          <p:cNvPr id="1749" name="Oval 1748"/>
          <p:cNvSpPr/>
          <p:nvPr/>
        </p:nvSpPr>
        <p:spPr bwMode="auto">
          <a:xfrm>
            <a:off x="1882375" y="2968416"/>
            <a:ext cx="190796" cy="190796"/>
          </a:xfrm>
          <a:prstGeom prst="ellipse">
            <a:avLst/>
          </a:prstGeom>
          <a:solidFill>
            <a:srgbClr val="FFFFFF"/>
          </a:solidFill>
          <a:ln w="12700" cap="flat" cmpd="sng" algn="ctr">
            <a:solidFill>
              <a:srgbClr val="0072C6"/>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50" name="Group 1749"/>
          <p:cNvGrpSpPr/>
          <p:nvPr/>
        </p:nvGrpSpPr>
        <p:grpSpPr>
          <a:xfrm>
            <a:off x="1924631" y="3010678"/>
            <a:ext cx="106301" cy="106275"/>
            <a:chOff x="10188424" y="2479330"/>
            <a:chExt cx="302040" cy="301962"/>
          </a:xfrm>
          <a:solidFill>
            <a:srgbClr val="8DC548"/>
          </a:solidFill>
        </p:grpSpPr>
        <p:sp>
          <p:nvSpPr>
            <p:cNvPr id="1751" name="Freeform 101"/>
            <p:cNvSpPr>
              <a:spLocks noEditPoints="1"/>
            </p:cNvSpPr>
            <p:nvPr/>
          </p:nvSpPr>
          <p:spPr bwMode="black">
            <a:xfrm>
              <a:off x="10188424" y="2479330"/>
              <a:ext cx="302040" cy="301962"/>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solidFill>
              <a:srgbClr val="DC3C00"/>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sp>
          <p:nvSpPr>
            <p:cNvPr id="1752" name="Freeform 102"/>
            <p:cNvSpPr>
              <a:spLocks/>
            </p:cNvSpPr>
            <p:nvPr/>
          </p:nvSpPr>
          <p:spPr bwMode="black">
            <a:xfrm>
              <a:off x="10327738" y="2561646"/>
              <a:ext cx="33648" cy="94586"/>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solidFill>
              <a:srgbClr val="DC3C00"/>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sp>
          <p:nvSpPr>
            <p:cNvPr id="1753" name="Rectangle 103"/>
            <p:cNvSpPr>
              <a:spLocks noChangeArrowheads="1"/>
            </p:cNvSpPr>
            <p:nvPr/>
          </p:nvSpPr>
          <p:spPr bwMode="black">
            <a:xfrm>
              <a:off x="10325759" y="2666521"/>
              <a:ext cx="37607" cy="36409"/>
            </a:xfrm>
            <a:prstGeom prst="rect">
              <a:avLst/>
            </a:prstGeom>
            <a:solidFill>
              <a:srgbClr val="DC3C00"/>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grpSp>
      <p:grpSp>
        <p:nvGrpSpPr>
          <p:cNvPr id="2210" name="Group 2209"/>
          <p:cNvGrpSpPr/>
          <p:nvPr/>
        </p:nvGrpSpPr>
        <p:grpSpPr>
          <a:xfrm>
            <a:off x="2500032" y="2808890"/>
            <a:ext cx="475236" cy="475446"/>
            <a:chOff x="4480937" y="2167998"/>
            <a:chExt cx="616667" cy="616939"/>
          </a:xfrm>
        </p:grpSpPr>
        <p:sp>
          <p:nvSpPr>
            <p:cNvPr id="2211" name="Oval 2210"/>
            <p:cNvSpPr/>
            <p:nvPr/>
          </p:nvSpPr>
          <p:spPr bwMode="auto">
            <a:xfrm>
              <a:off x="4480937" y="2167998"/>
              <a:ext cx="616667" cy="616668"/>
            </a:xfrm>
            <a:prstGeom prst="ellipse">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2" name="Freeform 2211"/>
            <p:cNvSpPr>
              <a:spLocks noChangeAspect="1"/>
            </p:cNvSpPr>
            <p:nvPr/>
          </p:nvSpPr>
          <p:spPr bwMode="auto">
            <a:xfrm>
              <a:off x="4599588" y="2269227"/>
              <a:ext cx="379362" cy="515710"/>
            </a:xfrm>
            <a:custGeom>
              <a:avLst/>
              <a:gdLst>
                <a:gd name="connsiteX0" fmla="*/ 103478 w 309222"/>
                <a:gd name="connsiteY0" fmla="*/ 145662 h 420358"/>
                <a:gd name="connsiteX1" fmla="*/ 211389 w 309222"/>
                <a:gd name="connsiteY1" fmla="*/ 145662 h 420358"/>
                <a:gd name="connsiteX2" fmla="*/ 211389 w 309222"/>
                <a:gd name="connsiteY2" fmla="*/ 145757 h 420358"/>
                <a:gd name="connsiteX3" fmla="*/ 214426 w 309222"/>
                <a:gd name="connsiteY3" fmla="*/ 145757 h 420358"/>
                <a:gd name="connsiteX4" fmla="*/ 226315 w 309222"/>
                <a:gd name="connsiteY4" fmla="*/ 145757 h 420358"/>
                <a:gd name="connsiteX5" fmla="*/ 309222 w 309222"/>
                <a:gd name="connsiteY5" fmla="*/ 228659 h 420358"/>
                <a:gd name="connsiteX6" fmla="*/ 309222 w 309222"/>
                <a:gd name="connsiteY6" fmla="*/ 331538 h 420358"/>
                <a:gd name="connsiteX7" fmla="*/ 309222 w 309222"/>
                <a:gd name="connsiteY7" fmla="*/ 357708 h 420358"/>
                <a:gd name="connsiteX8" fmla="*/ 253204 w 309222"/>
                <a:gd name="connsiteY8" fmla="*/ 395476 h 420358"/>
                <a:gd name="connsiteX9" fmla="*/ 253204 w 309222"/>
                <a:gd name="connsiteY9" fmla="*/ 393014 h 420358"/>
                <a:gd name="connsiteX10" fmla="*/ 253204 w 309222"/>
                <a:gd name="connsiteY10" fmla="*/ 248077 h 420358"/>
                <a:gd name="connsiteX11" fmla="*/ 238265 w 309222"/>
                <a:gd name="connsiteY11" fmla="*/ 248077 h 420358"/>
                <a:gd name="connsiteX12" fmla="*/ 238265 w 309222"/>
                <a:gd name="connsiteY12" fmla="*/ 397921 h 420358"/>
                <a:gd name="connsiteX13" fmla="*/ 238265 w 309222"/>
                <a:gd name="connsiteY13" fmla="*/ 403469 h 420358"/>
                <a:gd name="connsiteX14" fmla="*/ 154612 w 309222"/>
                <a:gd name="connsiteY14" fmla="*/ 420358 h 420358"/>
                <a:gd name="connsiteX15" fmla="*/ 70957 w 309222"/>
                <a:gd name="connsiteY15" fmla="*/ 403469 h 420358"/>
                <a:gd name="connsiteX16" fmla="*/ 70957 w 309222"/>
                <a:gd name="connsiteY16" fmla="*/ 397897 h 420358"/>
                <a:gd name="connsiteX17" fmla="*/ 70957 w 309222"/>
                <a:gd name="connsiteY17" fmla="*/ 248077 h 420358"/>
                <a:gd name="connsiteX18" fmla="*/ 56018 w 309222"/>
                <a:gd name="connsiteY18" fmla="*/ 248077 h 420358"/>
                <a:gd name="connsiteX19" fmla="*/ 56018 w 309222"/>
                <a:gd name="connsiteY19" fmla="*/ 393021 h 420358"/>
                <a:gd name="connsiteX20" fmla="*/ 56018 w 309222"/>
                <a:gd name="connsiteY20" fmla="*/ 395475 h 420358"/>
                <a:gd name="connsiteX21" fmla="*/ 0 w 309222"/>
                <a:gd name="connsiteY21" fmla="*/ 357706 h 420358"/>
                <a:gd name="connsiteX22" fmla="*/ 0 w 309222"/>
                <a:gd name="connsiteY22" fmla="*/ 331538 h 420358"/>
                <a:gd name="connsiteX23" fmla="*/ 0 w 309222"/>
                <a:gd name="connsiteY23" fmla="*/ 228659 h 420358"/>
                <a:gd name="connsiteX24" fmla="*/ 83654 w 309222"/>
                <a:gd name="connsiteY24" fmla="*/ 145757 h 420358"/>
                <a:gd name="connsiteX25" fmla="*/ 95053 w 309222"/>
                <a:gd name="connsiteY25" fmla="*/ 145757 h 420358"/>
                <a:gd name="connsiteX26" fmla="*/ 103478 w 309222"/>
                <a:gd name="connsiteY26" fmla="*/ 145757 h 420358"/>
                <a:gd name="connsiteX27" fmla="*/ 154927 w 309222"/>
                <a:gd name="connsiteY27" fmla="*/ 0 h 420358"/>
                <a:gd name="connsiteX28" fmla="*/ 219428 w 309222"/>
                <a:gd name="connsiteY28" fmla="*/ 64658 h 420358"/>
                <a:gd name="connsiteX29" fmla="*/ 154927 w 309222"/>
                <a:gd name="connsiteY29" fmla="*/ 129316 h 420358"/>
                <a:gd name="connsiteX30" fmla="*/ 90427 w 309222"/>
                <a:gd name="connsiteY30" fmla="*/ 64658 h 420358"/>
                <a:gd name="connsiteX31" fmla="*/ 154927 w 309222"/>
                <a:gd name="connsiteY31" fmla="*/ 0 h 42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09222" h="420358">
                  <a:moveTo>
                    <a:pt x="103478" y="145662"/>
                  </a:moveTo>
                  <a:lnTo>
                    <a:pt x="211389" y="145662"/>
                  </a:lnTo>
                  <a:lnTo>
                    <a:pt x="211389" y="145757"/>
                  </a:lnTo>
                  <a:lnTo>
                    <a:pt x="214426" y="145757"/>
                  </a:lnTo>
                  <a:cubicBezTo>
                    <a:pt x="219359" y="145757"/>
                    <a:pt x="223420" y="145757"/>
                    <a:pt x="226315" y="145757"/>
                  </a:cubicBezTo>
                  <a:cubicBezTo>
                    <a:pt x="271876" y="145757"/>
                    <a:pt x="309222" y="183100"/>
                    <a:pt x="309222" y="228659"/>
                  </a:cubicBezTo>
                  <a:cubicBezTo>
                    <a:pt x="309222" y="240235"/>
                    <a:pt x="309222" y="286353"/>
                    <a:pt x="309222" y="331538"/>
                  </a:cubicBezTo>
                  <a:lnTo>
                    <a:pt x="309222" y="357708"/>
                  </a:lnTo>
                  <a:lnTo>
                    <a:pt x="253204" y="395476"/>
                  </a:lnTo>
                  <a:lnTo>
                    <a:pt x="253204" y="393014"/>
                  </a:lnTo>
                  <a:cubicBezTo>
                    <a:pt x="253204" y="339660"/>
                    <a:pt x="253204" y="248077"/>
                    <a:pt x="253204" y="248077"/>
                  </a:cubicBezTo>
                  <a:cubicBezTo>
                    <a:pt x="238265" y="248077"/>
                    <a:pt x="238265" y="248077"/>
                    <a:pt x="238265" y="248077"/>
                  </a:cubicBezTo>
                  <a:cubicBezTo>
                    <a:pt x="238265" y="248096"/>
                    <a:pt x="238265" y="313953"/>
                    <a:pt x="238265" y="397921"/>
                  </a:cubicBezTo>
                  <a:lnTo>
                    <a:pt x="238265" y="403469"/>
                  </a:lnTo>
                  <a:lnTo>
                    <a:pt x="154612" y="420358"/>
                  </a:lnTo>
                  <a:lnTo>
                    <a:pt x="70957" y="403469"/>
                  </a:lnTo>
                  <a:lnTo>
                    <a:pt x="70957" y="397897"/>
                  </a:lnTo>
                  <a:cubicBezTo>
                    <a:pt x="70957" y="313929"/>
                    <a:pt x="70957" y="248077"/>
                    <a:pt x="70957" y="248077"/>
                  </a:cubicBezTo>
                  <a:cubicBezTo>
                    <a:pt x="56018" y="248077"/>
                    <a:pt x="56018" y="248077"/>
                    <a:pt x="56018" y="248077"/>
                  </a:cubicBezTo>
                  <a:cubicBezTo>
                    <a:pt x="56018" y="248111"/>
                    <a:pt x="56018" y="339679"/>
                    <a:pt x="56018" y="393021"/>
                  </a:cubicBezTo>
                  <a:lnTo>
                    <a:pt x="56018" y="395475"/>
                  </a:lnTo>
                  <a:lnTo>
                    <a:pt x="0" y="357706"/>
                  </a:lnTo>
                  <a:lnTo>
                    <a:pt x="0" y="331538"/>
                  </a:lnTo>
                  <a:cubicBezTo>
                    <a:pt x="0" y="286353"/>
                    <a:pt x="0" y="240235"/>
                    <a:pt x="0" y="228659"/>
                  </a:cubicBezTo>
                  <a:cubicBezTo>
                    <a:pt x="0" y="183100"/>
                    <a:pt x="37346" y="145757"/>
                    <a:pt x="83654" y="145757"/>
                  </a:cubicBezTo>
                  <a:cubicBezTo>
                    <a:pt x="86362" y="145757"/>
                    <a:pt x="90260" y="145757"/>
                    <a:pt x="95053" y="145757"/>
                  </a:cubicBezTo>
                  <a:lnTo>
                    <a:pt x="103478" y="145757"/>
                  </a:lnTo>
                  <a:close/>
                  <a:moveTo>
                    <a:pt x="154927" y="0"/>
                  </a:moveTo>
                  <a:cubicBezTo>
                    <a:pt x="190550" y="0"/>
                    <a:pt x="219428" y="28949"/>
                    <a:pt x="219428" y="64658"/>
                  </a:cubicBezTo>
                  <a:cubicBezTo>
                    <a:pt x="219428" y="100368"/>
                    <a:pt x="190550" y="129316"/>
                    <a:pt x="154927" y="129316"/>
                  </a:cubicBezTo>
                  <a:cubicBezTo>
                    <a:pt x="119305" y="129316"/>
                    <a:pt x="90427" y="100368"/>
                    <a:pt x="90427" y="64658"/>
                  </a:cubicBezTo>
                  <a:cubicBezTo>
                    <a:pt x="90427" y="28949"/>
                    <a:pt x="119305" y="0"/>
                    <a:pt x="154927" y="0"/>
                  </a:cubicBezTo>
                  <a:close/>
                </a:path>
              </a:pathLst>
            </a:custGeom>
            <a:solidFill>
              <a:srgbClr val="FFFFFF">
                <a:lumMod val="65000"/>
              </a:srgbClr>
            </a:solidFill>
            <a:ln>
              <a:noFill/>
            </a:ln>
            <a:effectLst/>
          </p:spPr>
          <p:txBody>
            <a:bodyPr vert="horz" wrap="square" lIns="91377" tIns="45690" rIns="91377" bIns="4569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18244">
                <a:defRPr/>
              </a:pPr>
              <a:endParaRPr lang="en-US" dirty="0">
                <a:solidFill>
                  <a:srgbClr val="5B6770"/>
                </a:solidFill>
              </a:endParaRPr>
            </a:p>
          </p:txBody>
        </p:sp>
        <p:sp>
          <p:nvSpPr>
            <p:cNvPr id="2213" name="Oval 2212"/>
            <p:cNvSpPr/>
            <p:nvPr/>
          </p:nvSpPr>
          <p:spPr bwMode="auto">
            <a:xfrm>
              <a:off x="4480937" y="2167998"/>
              <a:ext cx="616667" cy="616668"/>
            </a:xfrm>
            <a:prstGeom prst="ellipse">
              <a:avLst/>
            </a:prstGeom>
            <a:noFill/>
            <a:ln w="19050" cap="flat" cmpd="sng" algn="ctr">
              <a:solidFill>
                <a:schemeClr val="accent1"/>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2250" name="Elbow Connector 2249"/>
          <p:cNvCxnSpPr>
            <a:stCxn id="1620" idx="6"/>
          </p:cNvCxnSpPr>
          <p:nvPr/>
        </p:nvCxnSpPr>
        <p:spPr>
          <a:xfrm rot="10800000" flipV="1">
            <a:off x="1055244" y="4791431"/>
            <a:ext cx="1150402" cy="699573"/>
          </a:xfrm>
          <a:prstGeom prst="bentConnector3">
            <a:avLst>
              <a:gd name="adj1" fmla="val 99573"/>
            </a:avLst>
          </a:prstGeom>
          <a:noFill/>
          <a:ln w="12700" cap="flat" cmpd="sng" algn="ctr">
            <a:solidFill>
              <a:srgbClr val="0072C6"/>
            </a:solidFill>
            <a:prstDash val="sysDot"/>
          </a:ln>
          <a:effectLst/>
        </p:spPr>
      </p:cxnSp>
      <p:sp>
        <p:nvSpPr>
          <p:cNvPr id="2287" name="Cube 2286"/>
          <p:cNvSpPr/>
          <p:nvPr/>
        </p:nvSpPr>
        <p:spPr bwMode="auto">
          <a:xfrm flipH="1">
            <a:off x="4281536" y="4238945"/>
            <a:ext cx="552704" cy="553445"/>
          </a:xfrm>
          <a:prstGeom prst="cub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45" name="Group 1444"/>
          <p:cNvGrpSpPr>
            <a:grpSpLocks noChangeAspect="1"/>
          </p:cNvGrpSpPr>
          <p:nvPr/>
        </p:nvGrpSpPr>
        <p:grpSpPr>
          <a:xfrm>
            <a:off x="4357954" y="4352649"/>
            <a:ext cx="407651" cy="334700"/>
            <a:chOff x="-4435475" y="1371600"/>
            <a:chExt cx="4435475" cy="3641725"/>
          </a:xfrm>
        </p:grpSpPr>
        <p:sp>
          <p:nvSpPr>
            <p:cNvPr id="1451"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1452" name="Group 1451"/>
            <p:cNvGrpSpPr/>
            <p:nvPr/>
          </p:nvGrpSpPr>
          <p:grpSpPr>
            <a:xfrm>
              <a:off x="-4206871" y="1603382"/>
              <a:ext cx="3978266" cy="3168652"/>
              <a:chOff x="-4206875" y="1603375"/>
              <a:chExt cx="3978275" cy="3168650"/>
            </a:xfrm>
            <a:solidFill>
              <a:srgbClr val="FFFFFF"/>
            </a:solidFill>
          </p:grpSpPr>
          <p:sp>
            <p:nvSpPr>
              <p:cNvPr id="1555"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56"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67"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7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7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96"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97"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598"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grpSp>
        <p:nvGrpSpPr>
          <p:cNvPr id="2297" name="Group 2296"/>
          <p:cNvGrpSpPr>
            <a:grpSpLocks noChangeAspect="1"/>
          </p:cNvGrpSpPr>
          <p:nvPr/>
        </p:nvGrpSpPr>
        <p:grpSpPr>
          <a:xfrm>
            <a:off x="2426762" y="3569337"/>
            <a:ext cx="252617" cy="207410"/>
            <a:chOff x="-4435475" y="1371600"/>
            <a:chExt cx="4435475" cy="3641725"/>
          </a:xfrm>
        </p:grpSpPr>
        <p:sp>
          <p:nvSpPr>
            <p:cNvPr id="2298"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2299" name="Group 2298"/>
            <p:cNvGrpSpPr/>
            <p:nvPr/>
          </p:nvGrpSpPr>
          <p:grpSpPr>
            <a:xfrm>
              <a:off x="-4206871" y="1603382"/>
              <a:ext cx="3978266" cy="3168652"/>
              <a:chOff x="-4206875" y="1603375"/>
              <a:chExt cx="3978275" cy="3168650"/>
            </a:xfrm>
            <a:solidFill>
              <a:srgbClr val="FFFFFF"/>
            </a:solidFill>
          </p:grpSpPr>
          <p:sp>
            <p:nvSpPr>
              <p:cNvPr id="2300"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1"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2"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3"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4"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5"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6"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07"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sp>
        <p:nvSpPr>
          <p:cNvPr id="2308" name="Cube 2307"/>
          <p:cNvSpPr/>
          <p:nvPr/>
        </p:nvSpPr>
        <p:spPr bwMode="auto">
          <a:xfrm flipH="1">
            <a:off x="4281536" y="4238945"/>
            <a:ext cx="552704" cy="553445"/>
          </a:xfrm>
          <a:prstGeom prst="cube">
            <a:avLst/>
          </a:prstGeom>
          <a:solidFill>
            <a:srgbClr val="FFFFFF">
              <a:lumMod val="7500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34" name="Group 2333"/>
          <p:cNvGrpSpPr>
            <a:grpSpLocks noChangeAspect="1"/>
          </p:cNvGrpSpPr>
          <p:nvPr/>
        </p:nvGrpSpPr>
        <p:grpSpPr>
          <a:xfrm rot="20774749">
            <a:off x="3710764" y="3564576"/>
            <a:ext cx="303266" cy="248995"/>
            <a:chOff x="-4435475" y="1371600"/>
            <a:chExt cx="4435475" cy="3641725"/>
          </a:xfrm>
        </p:grpSpPr>
        <p:sp>
          <p:nvSpPr>
            <p:cNvPr id="233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2336" name="Group 2335"/>
            <p:cNvGrpSpPr/>
            <p:nvPr/>
          </p:nvGrpSpPr>
          <p:grpSpPr>
            <a:xfrm>
              <a:off x="-4206871" y="1603382"/>
              <a:ext cx="3978266" cy="3168652"/>
              <a:chOff x="-4206875" y="1603375"/>
              <a:chExt cx="3978275" cy="3168650"/>
            </a:xfrm>
            <a:solidFill>
              <a:srgbClr val="FFFFFF"/>
            </a:solidFill>
          </p:grpSpPr>
          <p:sp>
            <p:nvSpPr>
              <p:cNvPr id="233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3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3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4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4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4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4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34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sp>
        <p:nvSpPr>
          <p:cNvPr id="2345" name="Rectangle 2344"/>
          <p:cNvSpPr/>
          <p:nvPr/>
        </p:nvSpPr>
        <p:spPr bwMode="auto">
          <a:xfrm rot="9158614">
            <a:off x="3961364" y="3526043"/>
            <a:ext cx="39453" cy="118356"/>
          </a:xfrm>
          <a:prstGeom prst="rect">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346" name="Diagonal Stripe 2345"/>
          <p:cNvSpPr/>
          <p:nvPr/>
        </p:nvSpPr>
        <p:spPr bwMode="auto">
          <a:xfrm rot="2985964" flipH="1">
            <a:off x="3924510" y="3603145"/>
            <a:ext cx="85578" cy="157809"/>
          </a:xfrm>
          <a:prstGeom prst="diagStripe">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93" name="Group 2392"/>
          <p:cNvGrpSpPr/>
          <p:nvPr/>
        </p:nvGrpSpPr>
        <p:grpSpPr>
          <a:xfrm>
            <a:off x="3446269" y="3858476"/>
            <a:ext cx="525327" cy="384518"/>
            <a:chOff x="1860907" y="2838684"/>
            <a:chExt cx="2941231" cy="2152864"/>
          </a:xfrm>
        </p:grpSpPr>
        <p:sp>
          <p:nvSpPr>
            <p:cNvPr id="2394" name="Freeform 96"/>
            <p:cNvSpPr>
              <a:spLocks/>
            </p:cNvSpPr>
            <p:nvPr/>
          </p:nvSpPr>
          <p:spPr bwMode="auto">
            <a:xfrm>
              <a:off x="2396430" y="2841704"/>
              <a:ext cx="1988881" cy="578382"/>
            </a:xfrm>
            <a:custGeom>
              <a:avLst/>
              <a:gdLst>
                <a:gd name="T0" fmla="*/ 0 w 1513"/>
                <a:gd name="T1" fmla="*/ 0 h 426"/>
                <a:gd name="T2" fmla="*/ 428 w 1513"/>
                <a:gd name="T3" fmla="*/ 426 h 426"/>
                <a:gd name="T4" fmla="*/ 1513 w 1513"/>
                <a:gd name="T5" fmla="*/ 426 h 426"/>
                <a:gd name="T6" fmla="*/ 1084 w 1513"/>
                <a:gd name="T7" fmla="*/ 0 h 426"/>
                <a:gd name="T8" fmla="*/ 0 w 1513"/>
                <a:gd name="T9" fmla="*/ 0 h 426"/>
              </a:gdLst>
              <a:ahLst/>
              <a:cxnLst>
                <a:cxn ang="0">
                  <a:pos x="T0" y="T1"/>
                </a:cxn>
                <a:cxn ang="0">
                  <a:pos x="T2" y="T3"/>
                </a:cxn>
                <a:cxn ang="0">
                  <a:pos x="T4" y="T5"/>
                </a:cxn>
                <a:cxn ang="0">
                  <a:pos x="T6" y="T7"/>
                </a:cxn>
                <a:cxn ang="0">
                  <a:pos x="T8" y="T9"/>
                </a:cxn>
              </a:cxnLst>
              <a:rect l="0" t="0" r="r" b="b"/>
              <a:pathLst>
                <a:path w="1513" h="426">
                  <a:moveTo>
                    <a:pt x="0" y="0"/>
                  </a:moveTo>
                  <a:lnTo>
                    <a:pt x="428" y="426"/>
                  </a:lnTo>
                  <a:lnTo>
                    <a:pt x="1513" y="426"/>
                  </a:lnTo>
                  <a:lnTo>
                    <a:pt x="1084" y="0"/>
                  </a:lnTo>
                  <a:lnTo>
                    <a:pt x="0" y="0"/>
                  </a:lnTo>
                  <a:close/>
                </a:path>
              </a:pathLst>
            </a:custGeom>
            <a:solidFill>
              <a:srgbClr val="505050">
                <a:lumMod val="40000"/>
                <a:lumOff val="60000"/>
              </a:srgbClr>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sp>
          <p:nvSpPr>
            <p:cNvPr id="2395" name="Rectangle 97"/>
            <p:cNvSpPr>
              <a:spLocks noChangeArrowheads="1"/>
            </p:cNvSpPr>
            <p:nvPr/>
          </p:nvSpPr>
          <p:spPr bwMode="auto">
            <a:xfrm>
              <a:off x="2396430" y="2841704"/>
              <a:ext cx="1423098" cy="600208"/>
            </a:xfrm>
            <a:prstGeom prst="rect">
              <a:avLst/>
            </a:prstGeom>
            <a:solidFill>
              <a:srgbClr val="505050">
                <a:lumMod val="60000"/>
                <a:lumOff val="40000"/>
              </a:srgbClr>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sp>
          <p:nvSpPr>
            <p:cNvPr id="2396" name="Freeform 98"/>
            <p:cNvSpPr>
              <a:spLocks/>
            </p:cNvSpPr>
            <p:nvPr/>
          </p:nvSpPr>
          <p:spPr bwMode="auto">
            <a:xfrm>
              <a:off x="2396430" y="2841704"/>
              <a:ext cx="559740" cy="2149844"/>
            </a:xfrm>
            <a:custGeom>
              <a:avLst/>
              <a:gdLst>
                <a:gd name="T0" fmla="*/ 419 w 419"/>
                <a:gd name="T1" fmla="*/ 1578 h 1578"/>
                <a:gd name="T2" fmla="*/ 0 w 419"/>
                <a:gd name="T3" fmla="*/ 1155 h 1578"/>
                <a:gd name="T4" fmla="*/ 0 w 419"/>
                <a:gd name="T5" fmla="*/ 0 h 1578"/>
                <a:gd name="T6" fmla="*/ 419 w 419"/>
                <a:gd name="T7" fmla="*/ 423 h 1578"/>
                <a:gd name="T8" fmla="*/ 419 w 419"/>
                <a:gd name="T9" fmla="*/ 1578 h 1578"/>
              </a:gdLst>
              <a:ahLst/>
              <a:cxnLst>
                <a:cxn ang="0">
                  <a:pos x="T0" y="T1"/>
                </a:cxn>
                <a:cxn ang="0">
                  <a:pos x="T2" y="T3"/>
                </a:cxn>
                <a:cxn ang="0">
                  <a:pos x="T4" y="T5"/>
                </a:cxn>
                <a:cxn ang="0">
                  <a:pos x="T6" y="T7"/>
                </a:cxn>
                <a:cxn ang="0">
                  <a:pos x="T8" y="T9"/>
                </a:cxn>
              </a:cxnLst>
              <a:rect l="0" t="0" r="r" b="b"/>
              <a:pathLst>
                <a:path w="419" h="1578">
                  <a:moveTo>
                    <a:pt x="419" y="1578"/>
                  </a:moveTo>
                  <a:lnTo>
                    <a:pt x="0" y="1155"/>
                  </a:lnTo>
                  <a:lnTo>
                    <a:pt x="0" y="0"/>
                  </a:lnTo>
                  <a:lnTo>
                    <a:pt x="419" y="423"/>
                  </a:lnTo>
                  <a:lnTo>
                    <a:pt x="419" y="1578"/>
                  </a:lnTo>
                  <a:close/>
                </a:path>
              </a:pathLst>
            </a:custGeom>
            <a:solidFill>
              <a:srgbClr val="505050">
                <a:lumMod val="20000"/>
                <a:lumOff val="80000"/>
              </a:srgbClr>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97" name="Freeform 99"/>
            <p:cNvSpPr>
              <a:spLocks/>
            </p:cNvSpPr>
            <p:nvPr/>
          </p:nvSpPr>
          <p:spPr bwMode="auto">
            <a:xfrm>
              <a:off x="1860907" y="2838684"/>
              <a:ext cx="1101299" cy="841920"/>
            </a:xfrm>
            <a:custGeom>
              <a:avLst/>
              <a:gdLst>
                <a:gd name="T0" fmla="*/ 0 w 850"/>
                <a:gd name="T1" fmla="*/ 272 h 702"/>
                <a:gd name="T2" fmla="*/ 412 w 850"/>
                <a:gd name="T3" fmla="*/ 0 h 702"/>
                <a:gd name="T4" fmla="*/ 850 w 850"/>
                <a:gd name="T5" fmla="*/ 430 h 702"/>
                <a:gd name="T6" fmla="*/ 438 w 850"/>
                <a:gd name="T7" fmla="*/ 702 h 702"/>
                <a:gd name="T8" fmla="*/ 0 w 850"/>
                <a:gd name="T9" fmla="*/ 272 h 702"/>
                <a:gd name="connsiteX0" fmla="*/ 0 w 10027"/>
                <a:gd name="connsiteY0" fmla="*/ 3875 h 10000"/>
                <a:gd name="connsiteX1" fmla="*/ 4847 w 10027"/>
                <a:gd name="connsiteY1" fmla="*/ 0 h 10000"/>
                <a:gd name="connsiteX2" fmla="*/ 10027 w 10027"/>
                <a:gd name="connsiteY2" fmla="*/ 6916 h 10000"/>
                <a:gd name="connsiteX3" fmla="*/ 5153 w 10027"/>
                <a:gd name="connsiteY3" fmla="*/ 10000 h 10000"/>
                <a:gd name="connsiteX4" fmla="*/ 0 w 10027"/>
                <a:gd name="connsiteY4" fmla="*/ 3875 h 10000"/>
                <a:gd name="connsiteX0" fmla="*/ 0 w 9734"/>
                <a:gd name="connsiteY0" fmla="*/ 3623 h 10000"/>
                <a:gd name="connsiteX1" fmla="*/ 4554 w 9734"/>
                <a:gd name="connsiteY1" fmla="*/ 0 h 10000"/>
                <a:gd name="connsiteX2" fmla="*/ 9734 w 9734"/>
                <a:gd name="connsiteY2" fmla="*/ 6916 h 10000"/>
                <a:gd name="connsiteX3" fmla="*/ 4860 w 9734"/>
                <a:gd name="connsiteY3" fmla="*/ 10000 h 10000"/>
                <a:gd name="connsiteX4" fmla="*/ 0 w 9734"/>
                <a:gd name="connsiteY4" fmla="*/ 3623 h 10000"/>
                <a:gd name="connsiteX0" fmla="*/ 0 w 10000"/>
                <a:gd name="connsiteY0" fmla="*/ 3623 h 10000"/>
                <a:gd name="connsiteX1" fmla="*/ 4897 w 10000"/>
                <a:gd name="connsiteY1" fmla="*/ 0 h 10000"/>
                <a:gd name="connsiteX2" fmla="*/ 10000 w 10000"/>
                <a:gd name="connsiteY2" fmla="*/ 6916 h 10000"/>
                <a:gd name="connsiteX3" fmla="*/ 4993 w 10000"/>
                <a:gd name="connsiteY3" fmla="*/ 10000 h 10000"/>
                <a:gd name="connsiteX4" fmla="*/ 0 w 10000"/>
                <a:gd name="connsiteY4" fmla="*/ 3623 h 10000"/>
                <a:gd name="connsiteX0" fmla="*/ 0 w 10000"/>
                <a:gd name="connsiteY0" fmla="*/ 3659 h 10036"/>
                <a:gd name="connsiteX1" fmla="*/ 4952 w 10000"/>
                <a:gd name="connsiteY1" fmla="*/ 0 h 10036"/>
                <a:gd name="connsiteX2" fmla="*/ 10000 w 10000"/>
                <a:gd name="connsiteY2" fmla="*/ 6952 h 10036"/>
                <a:gd name="connsiteX3" fmla="*/ 4993 w 10000"/>
                <a:gd name="connsiteY3" fmla="*/ 10036 h 10036"/>
                <a:gd name="connsiteX4" fmla="*/ 0 w 10000"/>
                <a:gd name="connsiteY4" fmla="*/ 3659 h 10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6">
                  <a:moveTo>
                    <a:pt x="0" y="3659"/>
                  </a:moveTo>
                  <a:lnTo>
                    <a:pt x="4952" y="0"/>
                  </a:lnTo>
                  <a:lnTo>
                    <a:pt x="10000" y="6952"/>
                  </a:lnTo>
                  <a:lnTo>
                    <a:pt x="4993" y="10036"/>
                  </a:lnTo>
                  <a:lnTo>
                    <a:pt x="0" y="3659"/>
                  </a:lnTo>
                  <a:close/>
                </a:path>
              </a:pathLst>
            </a:cu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sp>
          <p:nvSpPr>
            <p:cNvPr id="2398" name="Freeform 100"/>
            <p:cNvSpPr>
              <a:spLocks/>
            </p:cNvSpPr>
            <p:nvPr/>
          </p:nvSpPr>
          <p:spPr bwMode="auto">
            <a:xfrm>
              <a:off x="3825564" y="2841704"/>
              <a:ext cx="976574" cy="742079"/>
            </a:xfrm>
            <a:custGeom>
              <a:avLst/>
              <a:gdLst>
                <a:gd name="T0" fmla="*/ 0 w 732"/>
                <a:gd name="T1" fmla="*/ 0 h 544"/>
                <a:gd name="T2" fmla="*/ 435 w 732"/>
                <a:gd name="T3" fmla="*/ 430 h 544"/>
                <a:gd name="T4" fmla="*/ 732 w 732"/>
                <a:gd name="T5" fmla="*/ 544 h 544"/>
                <a:gd name="T6" fmla="*/ 339 w 732"/>
                <a:gd name="T7" fmla="*/ 173 h 544"/>
                <a:gd name="T8" fmla="*/ 0 w 732"/>
                <a:gd name="T9" fmla="*/ 0 h 544"/>
              </a:gdLst>
              <a:ahLst/>
              <a:cxnLst>
                <a:cxn ang="0">
                  <a:pos x="T0" y="T1"/>
                </a:cxn>
                <a:cxn ang="0">
                  <a:pos x="T2" y="T3"/>
                </a:cxn>
                <a:cxn ang="0">
                  <a:pos x="T4" y="T5"/>
                </a:cxn>
                <a:cxn ang="0">
                  <a:pos x="T6" y="T7"/>
                </a:cxn>
                <a:cxn ang="0">
                  <a:pos x="T8" y="T9"/>
                </a:cxn>
              </a:cxnLst>
              <a:rect l="0" t="0" r="r" b="b"/>
              <a:pathLst>
                <a:path w="732" h="544">
                  <a:moveTo>
                    <a:pt x="0" y="0"/>
                  </a:moveTo>
                  <a:lnTo>
                    <a:pt x="435" y="430"/>
                  </a:lnTo>
                  <a:lnTo>
                    <a:pt x="732" y="544"/>
                  </a:lnTo>
                  <a:lnTo>
                    <a:pt x="339" y="173"/>
                  </a:lnTo>
                  <a:lnTo>
                    <a:pt x="0" y="0"/>
                  </a:lnTo>
                  <a:close/>
                </a:path>
              </a:pathLst>
            </a:cu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sp>
          <p:nvSpPr>
            <p:cNvPr id="2399" name="Rectangle 101"/>
            <p:cNvSpPr>
              <a:spLocks noChangeArrowheads="1"/>
            </p:cNvSpPr>
            <p:nvPr/>
          </p:nvSpPr>
          <p:spPr bwMode="auto">
            <a:xfrm>
              <a:off x="2956178" y="3420086"/>
              <a:ext cx="1429133" cy="1571462"/>
            </a:xfrm>
            <a:prstGeom prst="rect">
              <a:avLst/>
            </a:prstGeom>
            <a:solidFill>
              <a:srgbClr val="505050">
                <a:lumMod val="40000"/>
                <a:lumOff val="60000"/>
              </a:srgbClr>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sp>
          <p:nvSpPr>
            <p:cNvPr id="2400" name="Freeform 102"/>
            <p:cNvSpPr>
              <a:spLocks/>
            </p:cNvSpPr>
            <p:nvPr/>
          </p:nvSpPr>
          <p:spPr bwMode="auto">
            <a:xfrm>
              <a:off x="2956170" y="3420086"/>
              <a:ext cx="1705779" cy="627488"/>
            </a:xfrm>
            <a:custGeom>
              <a:avLst/>
              <a:gdLst>
                <a:gd name="T0" fmla="*/ 198 w 1290"/>
                <a:gd name="T1" fmla="*/ 406 h 406"/>
                <a:gd name="T2" fmla="*/ 0 w 1290"/>
                <a:gd name="T3" fmla="*/ 2 h 406"/>
                <a:gd name="T4" fmla="*/ 1084 w 1290"/>
                <a:gd name="T5" fmla="*/ 0 h 406"/>
                <a:gd name="T6" fmla="*/ 1290 w 1290"/>
                <a:gd name="T7" fmla="*/ 382 h 406"/>
                <a:gd name="T8" fmla="*/ 198 w 1290"/>
                <a:gd name="T9" fmla="*/ 406 h 406"/>
              </a:gdLst>
              <a:ahLst/>
              <a:cxnLst>
                <a:cxn ang="0">
                  <a:pos x="T0" y="T1"/>
                </a:cxn>
                <a:cxn ang="0">
                  <a:pos x="T2" y="T3"/>
                </a:cxn>
                <a:cxn ang="0">
                  <a:pos x="T4" y="T5"/>
                </a:cxn>
                <a:cxn ang="0">
                  <a:pos x="T6" y="T7"/>
                </a:cxn>
                <a:cxn ang="0">
                  <a:pos x="T8" y="T9"/>
                </a:cxn>
              </a:cxnLst>
              <a:rect l="0" t="0" r="r" b="b"/>
              <a:pathLst>
                <a:path w="1290" h="406">
                  <a:moveTo>
                    <a:pt x="198" y="406"/>
                  </a:moveTo>
                  <a:lnTo>
                    <a:pt x="0" y="2"/>
                  </a:lnTo>
                  <a:lnTo>
                    <a:pt x="1084" y="0"/>
                  </a:lnTo>
                  <a:lnTo>
                    <a:pt x="1290" y="382"/>
                  </a:lnTo>
                  <a:lnTo>
                    <a:pt x="198" y="406"/>
                  </a:lnTo>
                  <a:close/>
                </a:path>
              </a:pathLst>
            </a:cu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a:gradFill>
                  <a:gsLst>
                    <a:gs pos="0">
                      <a:srgbClr val="FFFFFF"/>
                    </a:gs>
                    <a:gs pos="100000">
                      <a:srgbClr val="FFFFFF"/>
                    </a:gs>
                  </a:gsLst>
                  <a:lin ang="5400000" scaled="0"/>
                </a:gradFill>
                <a:ea typeface="Segoe UI" pitchFamily="34" charset="0"/>
                <a:cs typeface="Segoe UI" pitchFamily="34" charset="0"/>
              </a:endParaRPr>
            </a:p>
          </p:txBody>
        </p:sp>
      </p:grpSp>
      <p:cxnSp>
        <p:nvCxnSpPr>
          <p:cNvPr id="2434" name="Elbow Connector 2433"/>
          <p:cNvCxnSpPr>
            <a:stCxn id="1428" idx="6"/>
            <a:endCxn id="35" idx="2"/>
          </p:cNvCxnSpPr>
          <p:nvPr/>
        </p:nvCxnSpPr>
        <p:spPr>
          <a:xfrm flipV="1">
            <a:off x="4887147" y="3243487"/>
            <a:ext cx="518466" cy="376171"/>
          </a:xfrm>
          <a:prstGeom prst="bentConnector2">
            <a:avLst/>
          </a:prstGeom>
          <a:noFill/>
          <a:ln w="12700" cap="flat" cmpd="sng" algn="ctr">
            <a:solidFill>
              <a:srgbClr val="0072C6"/>
            </a:solidFill>
            <a:prstDash val="sysDot"/>
          </a:ln>
          <a:effectLst/>
        </p:spPr>
      </p:cxnSp>
      <p:grpSp>
        <p:nvGrpSpPr>
          <p:cNvPr id="2839" name="Group 2838"/>
          <p:cNvGrpSpPr/>
          <p:nvPr/>
        </p:nvGrpSpPr>
        <p:grpSpPr>
          <a:xfrm>
            <a:off x="5249275" y="3478538"/>
            <a:ext cx="275920" cy="277251"/>
            <a:chOff x="12420742" y="1024735"/>
            <a:chExt cx="174810" cy="175653"/>
          </a:xfrm>
        </p:grpSpPr>
        <p:sp>
          <p:nvSpPr>
            <p:cNvPr id="1841" name="Oval 1840"/>
            <p:cNvSpPr/>
            <p:nvPr/>
          </p:nvSpPr>
          <p:spPr bwMode="auto">
            <a:xfrm>
              <a:off x="12420742" y="1024735"/>
              <a:ext cx="174810" cy="175653"/>
            </a:xfrm>
            <a:prstGeom prst="ellipse">
              <a:avLst/>
            </a:prstGeom>
            <a:solidFill>
              <a:srgbClr val="FFFFFF"/>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842" name="Group 1841"/>
            <p:cNvGrpSpPr/>
            <p:nvPr/>
          </p:nvGrpSpPr>
          <p:grpSpPr>
            <a:xfrm rot="5400000">
              <a:off x="12460938" y="1052333"/>
              <a:ext cx="94417" cy="120458"/>
              <a:chOff x="5649173" y="3685024"/>
              <a:chExt cx="433770" cy="556077"/>
            </a:xfrm>
            <a:solidFill>
              <a:srgbClr val="FF8C00"/>
            </a:solidFill>
          </p:grpSpPr>
          <p:sp>
            <p:nvSpPr>
              <p:cNvPr id="1844" name="Up Arrow 1843"/>
              <p:cNvSpPr/>
              <p:nvPr/>
            </p:nvSpPr>
            <p:spPr bwMode="auto">
              <a:xfrm>
                <a:off x="5649173" y="3685024"/>
                <a:ext cx="258521" cy="366596"/>
              </a:xfrm>
              <a:prstGeom prst="upArrow">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845" name="Up Arrow 1844"/>
              <p:cNvSpPr/>
              <p:nvPr/>
            </p:nvSpPr>
            <p:spPr bwMode="auto">
              <a:xfrm rot="10800000">
                <a:off x="5824422" y="3874505"/>
                <a:ext cx="258521" cy="366596"/>
              </a:xfrm>
              <a:prstGeom prst="upArrow">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 name="Group 8"/>
          <p:cNvGrpSpPr/>
          <p:nvPr/>
        </p:nvGrpSpPr>
        <p:grpSpPr>
          <a:xfrm>
            <a:off x="6866442" y="3150683"/>
            <a:ext cx="1109638" cy="1126591"/>
            <a:chOff x="6804627" y="3213283"/>
            <a:chExt cx="1132211" cy="1149507"/>
          </a:xfrm>
        </p:grpSpPr>
        <p:sp>
          <p:nvSpPr>
            <p:cNvPr id="1662" name="Cube 1661"/>
            <p:cNvSpPr/>
            <p:nvPr/>
          </p:nvSpPr>
          <p:spPr bwMode="auto">
            <a:xfrm flipH="1">
              <a:off x="7749271" y="3825604"/>
              <a:ext cx="108824" cy="537186"/>
            </a:xfrm>
            <a:prstGeom prst="cube">
              <a:avLst>
                <a:gd name="adj" fmla="val 46458"/>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63" name="Group 1662"/>
            <p:cNvGrpSpPr/>
            <p:nvPr/>
          </p:nvGrpSpPr>
          <p:grpSpPr>
            <a:xfrm>
              <a:off x="6906040" y="4014755"/>
              <a:ext cx="201349" cy="346178"/>
              <a:chOff x="11642746" y="2875111"/>
              <a:chExt cx="158580" cy="272645"/>
            </a:xfrm>
          </p:grpSpPr>
          <p:sp>
            <p:nvSpPr>
              <p:cNvPr id="1686" name="Cube 1685"/>
              <p:cNvSpPr/>
              <p:nvPr/>
            </p:nvSpPr>
            <p:spPr bwMode="auto">
              <a:xfrm flipH="1">
                <a:off x="11642746" y="2875111"/>
                <a:ext cx="158580" cy="272645"/>
              </a:xfrm>
              <a:prstGeom prst="cube">
                <a:avLst>
                  <a:gd name="adj" fmla="val 46458"/>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687" name="Rounded Rectangle 1686"/>
              <p:cNvSpPr/>
              <p:nvPr/>
            </p:nvSpPr>
            <p:spPr bwMode="auto">
              <a:xfrm>
                <a:off x="11709129" y="2971563"/>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88" name="Rounded Rectangle 1687"/>
              <p:cNvSpPr/>
              <p:nvPr/>
            </p:nvSpPr>
            <p:spPr bwMode="auto">
              <a:xfrm>
                <a:off x="11709129" y="2996030"/>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89" name="Rounded Rectangle 1688"/>
              <p:cNvSpPr/>
              <p:nvPr/>
            </p:nvSpPr>
            <p:spPr bwMode="auto">
              <a:xfrm>
                <a:off x="11709129" y="3020497"/>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90" name="Rounded Rectangle 1689"/>
              <p:cNvSpPr/>
              <p:nvPr/>
            </p:nvSpPr>
            <p:spPr bwMode="auto">
              <a:xfrm>
                <a:off x="11709129" y="3044963"/>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91" name="Rounded Rectangle 1690"/>
              <p:cNvSpPr/>
              <p:nvPr/>
            </p:nvSpPr>
            <p:spPr bwMode="auto">
              <a:xfrm>
                <a:off x="11709129" y="3069430"/>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92" name="Rounded Rectangle 1691"/>
              <p:cNvSpPr/>
              <p:nvPr/>
            </p:nvSpPr>
            <p:spPr bwMode="auto">
              <a:xfrm>
                <a:off x="11709129" y="3093897"/>
                <a:ext cx="84876" cy="1397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664" name="Cube 1663"/>
            <p:cNvSpPr/>
            <p:nvPr/>
          </p:nvSpPr>
          <p:spPr bwMode="auto">
            <a:xfrm flipH="1">
              <a:off x="6900174" y="3825604"/>
              <a:ext cx="108824" cy="537186"/>
            </a:xfrm>
            <a:prstGeom prst="cube">
              <a:avLst>
                <a:gd name="adj" fmla="val 46458"/>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665" name="Cube 1664"/>
            <p:cNvSpPr/>
            <p:nvPr/>
          </p:nvSpPr>
          <p:spPr bwMode="auto">
            <a:xfrm flipH="1">
              <a:off x="6804868" y="3771403"/>
              <a:ext cx="1122547" cy="149509"/>
            </a:xfrm>
            <a:prstGeom prst="cube">
              <a:avLst>
                <a:gd name="adj" fmla="val 46458"/>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666" name="Cube 1665"/>
            <p:cNvSpPr/>
            <p:nvPr/>
          </p:nvSpPr>
          <p:spPr bwMode="auto">
            <a:xfrm flipH="1">
              <a:off x="7513844" y="3723622"/>
              <a:ext cx="355374" cy="111662"/>
            </a:xfrm>
            <a:prstGeom prst="cube">
              <a:avLst>
                <a:gd name="adj" fmla="val 46458"/>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667" name="Oval 1666"/>
            <p:cNvSpPr/>
            <p:nvPr/>
          </p:nvSpPr>
          <p:spPr bwMode="auto">
            <a:xfrm>
              <a:off x="7583582" y="3792556"/>
              <a:ext cx="25286" cy="25286"/>
            </a:xfrm>
            <a:prstGeom prst="ellipse">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68" name="Oval 1667"/>
            <p:cNvSpPr/>
            <p:nvPr/>
          </p:nvSpPr>
          <p:spPr bwMode="auto">
            <a:xfrm>
              <a:off x="7618501" y="3792556"/>
              <a:ext cx="25286" cy="25286"/>
            </a:xfrm>
            <a:prstGeom prst="ellipse">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69" name="Oval 1668"/>
            <p:cNvSpPr/>
            <p:nvPr/>
          </p:nvSpPr>
          <p:spPr bwMode="auto">
            <a:xfrm>
              <a:off x="7655225" y="3792556"/>
              <a:ext cx="25286" cy="25286"/>
            </a:xfrm>
            <a:prstGeom prst="ellipse">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0" name="Rounded Rectangle 1669"/>
            <p:cNvSpPr/>
            <p:nvPr/>
          </p:nvSpPr>
          <p:spPr bwMode="auto">
            <a:xfrm>
              <a:off x="7732289" y="3794062"/>
              <a:ext cx="122818" cy="22276"/>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1" name="Rounded Rectangle 1670"/>
            <p:cNvSpPr/>
            <p:nvPr/>
          </p:nvSpPr>
          <p:spPr bwMode="auto">
            <a:xfrm>
              <a:off x="7545610" y="3652581"/>
              <a:ext cx="9720" cy="8622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2" name="Rounded Rectangle 1671"/>
            <p:cNvSpPr/>
            <p:nvPr/>
          </p:nvSpPr>
          <p:spPr bwMode="auto">
            <a:xfrm>
              <a:off x="7571498" y="3675326"/>
              <a:ext cx="9720" cy="8622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3" name="Rounded Rectangle 1672"/>
            <p:cNvSpPr/>
            <p:nvPr/>
          </p:nvSpPr>
          <p:spPr bwMode="auto">
            <a:xfrm>
              <a:off x="7791087" y="3652581"/>
              <a:ext cx="8837" cy="8622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4" name="Rounded Rectangle 1673"/>
            <p:cNvSpPr/>
            <p:nvPr/>
          </p:nvSpPr>
          <p:spPr bwMode="auto">
            <a:xfrm>
              <a:off x="7820143" y="3675326"/>
              <a:ext cx="9720" cy="86224"/>
            </a:xfrm>
            <a:prstGeom prst="roundRect">
              <a:avLst/>
            </a:prstGeom>
            <a:solidFill>
              <a:srgbClr val="78AA3E"/>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675" name="Cube 1674"/>
            <p:cNvSpPr/>
            <p:nvPr/>
          </p:nvSpPr>
          <p:spPr bwMode="auto">
            <a:xfrm flipH="1">
              <a:off x="7614050" y="3711580"/>
              <a:ext cx="150146" cy="51778"/>
            </a:xfrm>
            <a:prstGeom prst="cube">
              <a:avLst>
                <a:gd name="adj" fmla="val 46458"/>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76" name="Group 1675"/>
            <p:cNvGrpSpPr/>
            <p:nvPr/>
          </p:nvGrpSpPr>
          <p:grpSpPr>
            <a:xfrm rot="19273839">
              <a:off x="7821642" y="3511380"/>
              <a:ext cx="115196" cy="170411"/>
              <a:chOff x="2687372" y="3149601"/>
              <a:chExt cx="81465" cy="132564"/>
            </a:xfrm>
            <a:solidFill>
              <a:srgbClr val="0072C6"/>
            </a:solidFill>
          </p:grpSpPr>
          <p:sp>
            <p:nvSpPr>
              <p:cNvPr id="168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8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8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8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8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168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sp>
          <p:nvSpPr>
            <p:cNvPr id="2461" name="Rectangle 5"/>
            <p:cNvSpPr>
              <a:spLocks noChangeArrowheads="1"/>
            </p:cNvSpPr>
            <p:nvPr/>
          </p:nvSpPr>
          <p:spPr bwMode="auto">
            <a:xfrm>
              <a:off x="7182633" y="3677299"/>
              <a:ext cx="33418" cy="127098"/>
            </a:xfrm>
            <a:prstGeom prst="rect">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62" name="Rectangle 6"/>
            <p:cNvSpPr>
              <a:spLocks noChangeArrowheads="1"/>
            </p:cNvSpPr>
            <p:nvPr/>
          </p:nvSpPr>
          <p:spPr bwMode="auto">
            <a:xfrm>
              <a:off x="7002395" y="3797823"/>
              <a:ext cx="391154" cy="12600"/>
            </a:xfrm>
            <a:prstGeom prst="rect">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63" name="Freeform 7"/>
            <p:cNvSpPr>
              <a:spLocks/>
            </p:cNvSpPr>
            <p:nvPr/>
          </p:nvSpPr>
          <p:spPr bwMode="auto">
            <a:xfrm>
              <a:off x="6804627" y="3213283"/>
              <a:ext cx="788882" cy="470590"/>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00B050"/>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64" name="Rectangle 15"/>
            <p:cNvSpPr>
              <a:spLocks noChangeArrowheads="1"/>
            </p:cNvSpPr>
            <p:nvPr/>
          </p:nvSpPr>
          <p:spPr bwMode="auto">
            <a:xfrm>
              <a:off x="6826540" y="3234101"/>
              <a:ext cx="742864" cy="4097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65" name="Rectangle 16"/>
            <p:cNvSpPr>
              <a:spLocks noChangeArrowheads="1"/>
            </p:cNvSpPr>
            <p:nvPr/>
          </p:nvSpPr>
          <p:spPr bwMode="auto">
            <a:xfrm>
              <a:off x="6826540" y="3234101"/>
              <a:ext cx="26844" cy="19174"/>
            </a:xfrm>
            <a:prstGeom prst="rect">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483" name="Rectangle 29"/>
            <p:cNvSpPr>
              <a:spLocks noChangeArrowheads="1"/>
            </p:cNvSpPr>
            <p:nvPr/>
          </p:nvSpPr>
          <p:spPr bwMode="auto">
            <a:xfrm>
              <a:off x="6844071" y="3263684"/>
              <a:ext cx="36705" cy="10409"/>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3" name="Rectangle 30"/>
            <p:cNvSpPr>
              <a:spLocks noChangeArrowheads="1"/>
            </p:cNvSpPr>
            <p:nvPr/>
          </p:nvSpPr>
          <p:spPr bwMode="auto">
            <a:xfrm>
              <a:off x="6896115" y="3263684"/>
              <a:ext cx="36705" cy="10409"/>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4" name="Rectangle 31"/>
            <p:cNvSpPr>
              <a:spLocks noChangeArrowheads="1"/>
            </p:cNvSpPr>
            <p:nvPr/>
          </p:nvSpPr>
          <p:spPr bwMode="auto">
            <a:xfrm>
              <a:off x="6948707" y="3263684"/>
              <a:ext cx="36705" cy="10409"/>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6" name="Rectangle 32"/>
            <p:cNvSpPr>
              <a:spLocks noChangeArrowheads="1"/>
            </p:cNvSpPr>
            <p:nvPr/>
          </p:nvSpPr>
          <p:spPr bwMode="auto">
            <a:xfrm>
              <a:off x="7000752" y="3263684"/>
              <a:ext cx="36705" cy="10409"/>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7" name="Rectangle 33"/>
            <p:cNvSpPr>
              <a:spLocks noChangeArrowheads="1"/>
            </p:cNvSpPr>
            <p:nvPr/>
          </p:nvSpPr>
          <p:spPr bwMode="auto">
            <a:xfrm>
              <a:off x="7357392" y="3263684"/>
              <a:ext cx="193386" cy="1040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8" name="Oval 34"/>
            <p:cNvSpPr>
              <a:spLocks noChangeArrowheads="1"/>
            </p:cNvSpPr>
            <p:nvPr/>
          </p:nvSpPr>
          <p:spPr bwMode="auto">
            <a:xfrm>
              <a:off x="7338218" y="3263684"/>
              <a:ext cx="9861" cy="10409"/>
            </a:xfrm>
            <a:prstGeom prst="ellipse">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69" name="Rectangle 35"/>
            <p:cNvSpPr>
              <a:spLocks noChangeArrowheads="1"/>
            </p:cNvSpPr>
            <p:nvPr/>
          </p:nvSpPr>
          <p:spPr bwMode="auto">
            <a:xfrm>
              <a:off x="7012256" y="3612231"/>
              <a:ext cx="69027" cy="10409"/>
            </a:xfrm>
            <a:prstGeom prst="rect">
              <a:avLst/>
            </a:pr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0" name="Rectangle 36"/>
            <p:cNvSpPr>
              <a:spLocks noChangeArrowheads="1"/>
            </p:cNvSpPr>
            <p:nvPr/>
          </p:nvSpPr>
          <p:spPr bwMode="auto">
            <a:xfrm>
              <a:off x="7111414" y="3612231"/>
              <a:ext cx="69027" cy="10409"/>
            </a:xfrm>
            <a:prstGeom prst="rect">
              <a:avLst/>
            </a:pr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1" name="Rectangle 37"/>
            <p:cNvSpPr>
              <a:spLocks noChangeArrowheads="1"/>
            </p:cNvSpPr>
            <p:nvPr/>
          </p:nvSpPr>
          <p:spPr bwMode="auto">
            <a:xfrm>
              <a:off x="7210025" y="3612231"/>
              <a:ext cx="69027" cy="10409"/>
            </a:xfrm>
            <a:prstGeom prst="rect">
              <a:avLst/>
            </a:pr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2" name="Rectangle 38"/>
            <p:cNvSpPr>
              <a:spLocks noChangeArrowheads="1"/>
            </p:cNvSpPr>
            <p:nvPr/>
          </p:nvSpPr>
          <p:spPr bwMode="auto">
            <a:xfrm>
              <a:off x="7309183" y="3612231"/>
              <a:ext cx="69027" cy="10409"/>
            </a:xfrm>
            <a:prstGeom prst="rect">
              <a:avLst/>
            </a:pr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3" name="Rectangle 43"/>
            <p:cNvSpPr>
              <a:spLocks noChangeArrowheads="1"/>
            </p:cNvSpPr>
            <p:nvPr/>
          </p:nvSpPr>
          <p:spPr bwMode="auto">
            <a:xfrm>
              <a:off x="7357392" y="3263684"/>
              <a:ext cx="193386" cy="1040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4" name="Rectangle 44"/>
            <p:cNvSpPr>
              <a:spLocks noChangeArrowheads="1"/>
            </p:cNvSpPr>
            <p:nvPr/>
          </p:nvSpPr>
          <p:spPr bwMode="auto">
            <a:xfrm>
              <a:off x="7357392" y="3263684"/>
              <a:ext cx="193386" cy="10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5" name="Oval 45"/>
            <p:cNvSpPr>
              <a:spLocks noChangeArrowheads="1"/>
            </p:cNvSpPr>
            <p:nvPr/>
          </p:nvSpPr>
          <p:spPr bwMode="auto">
            <a:xfrm>
              <a:off x="7338218" y="3263684"/>
              <a:ext cx="9861" cy="10409"/>
            </a:xfrm>
            <a:prstGeom prst="ellipse">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6" name="Freeform 46"/>
            <p:cNvSpPr>
              <a:spLocks/>
            </p:cNvSpPr>
            <p:nvPr/>
          </p:nvSpPr>
          <p:spPr bwMode="auto">
            <a:xfrm>
              <a:off x="7139902" y="3213283"/>
              <a:ext cx="453607" cy="470590"/>
            </a:xfrm>
            <a:custGeom>
              <a:avLst/>
              <a:gdLst>
                <a:gd name="T0" fmla="*/ 795 w 842"/>
                <a:gd name="T1" fmla="*/ 0 h 873"/>
                <a:gd name="T2" fmla="*/ 0 w 842"/>
                <a:gd name="T3" fmla="*/ 0 h 873"/>
                <a:gd name="T4" fmla="*/ 27 w 842"/>
                <a:gd name="T5" fmla="*/ 39 h 873"/>
                <a:gd name="T6" fmla="*/ 797 w 842"/>
                <a:gd name="T7" fmla="*/ 39 h 873"/>
                <a:gd name="T8" fmla="*/ 797 w 842"/>
                <a:gd name="T9" fmla="*/ 126 h 873"/>
                <a:gd name="T10" fmla="*/ 797 w 842"/>
                <a:gd name="T11" fmla="*/ 482 h 873"/>
                <a:gd name="T12" fmla="*/ 797 w 842"/>
                <a:gd name="T13" fmla="*/ 799 h 873"/>
                <a:gd name="T14" fmla="*/ 553 w 842"/>
                <a:gd name="T15" fmla="*/ 799 h 873"/>
                <a:gd name="T16" fmla="*/ 604 w 842"/>
                <a:gd name="T17" fmla="*/ 873 h 873"/>
                <a:gd name="T18" fmla="*/ 795 w 842"/>
                <a:gd name="T19" fmla="*/ 873 h 873"/>
                <a:gd name="T20" fmla="*/ 842 w 842"/>
                <a:gd name="T21" fmla="*/ 825 h 873"/>
                <a:gd name="T22" fmla="*/ 842 w 842"/>
                <a:gd name="T23" fmla="*/ 48 h 873"/>
                <a:gd name="T24" fmla="*/ 795 w 842"/>
                <a:gd name="T25"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2" h="873">
                  <a:moveTo>
                    <a:pt x="795" y="0"/>
                  </a:moveTo>
                  <a:cubicBezTo>
                    <a:pt x="0" y="0"/>
                    <a:pt x="0" y="0"/>
                    <a:pt x="0" y="0"/>
                  </a:cubicBezTo>
                  <a:cubicBezTo>
                    <a:pt x="27" y="39"/>
                    <a:pt x="27" y="39"/>
                    <a:pt x="27" y="39"/>
                  </a:cubicBezTo>
                  <a:cubicBezTo>
                    <a:pt x="797" y="39"/>
                    <a:pt x="797" y="39"/>
                    <a:pt x="797" y="39"/>
                  </a:cubicBezTo>
                  <a:cubicBezTo>
                    <a:pt x="797" y="126"/>
                    <a:pt x="797" y="126"/>
                    <a:pt x="797" y="126"/>
                  </a:cubicBezTo>
                  <a:cubicBezTo>
                    <a:pt x="797" y="482"/>
                    <a:pt x="797" y="482"/>
                    <a:pt x="797" y="482"/>
                  </a:cubicBezTo>
                  <a:cubicBezTo>
                    <a:pt x="797" y="799"/>
                    <a:pt x="797" y="799"/>
                    <a:pt x="797" y="799"/>
                  </a:cubicBezTo>
                  <a:cubicBezTo>
                    <a:pt x="553" y="799"/>
                    <a:pt x="553" y="799"/>
                    <a:pt x="553" y="799"/>
                  </a:cubicBezTo>
                  <a:cubicBezTo>
                    <a:pt x="604" y="873"/>
                    <a:pt x="604" y="873"/>
                    <a:pt x="604" y="873"/>
                  </a:cubicBezTo>
                  <a:cubicBezTo>
                    <a:pt x="795" y="873"/>
                    <a:pt x="795" y="873"/>
                    <a:pt x="795" y="873"/>
                  </a:cubicBezTo>
                  <a:cubicBezTo>
                    <a:pt x="821" y="873"/>
                    <a:pt x="842" y="851"/>
                    <a:pt x="842" y="825"/>
                  </a:cubicBezTo>
                  <a:cubicBezTo>
                    <a:pt x="842" y="48"/>
                    <a:pt x="842" y="48"/>
                    <a:pt x="842" y="48"/>
                  </a:cubicBezTo>
                  <a:cubicBezTo>
                    <a:pt x="842" y="22"/>
                    <a:pt x="821" y="0"/>
                    <a:pt x="795" y="0"/>
                  </a:cubicBezTo>
                </a:path>
              </a:pathLst>
            </a:custGeom>
            <a:solidFill>
              <a:srgbClr val="92D050"/>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2577" name="Group 2576"/>
            <p:cNvGrpSpPr/>
            <p:nvPr/>
          </p:nvGrpSpPr>
          <p:grpSpPr>
            <a:xfrm>
              <a:off x="6826540" y="3309284"/>
              <a:ext cx="742864" cy="262743"/>
              <a:chOff x="5916613" y="2994404"/>
              <a:chExt cx="2152650" cy="555626"/>
            </a:xfrm>
          </p:grpSpPr>
          <p:sp>
            <p:nvSpPr>
              <p:cNvPr id="2647" name="Rectangle 17"/>
              <p:cNvSpPr>
                <a:spLocks noChangeArrowheads="1"/>
              </p:cNvSpPr>
              <p:nvPr/>
            </p:nvSpPr>
            <p:spPr bwMode="auto">
              <a:xfrm>
                <a:off x="5916613" y="2994405"/>
                <a:ext cx="368300" cy="55562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59" name="Rectangle 18"/>
              <p:cNvSpPr>
                <a:spLocks noChangeArrowheads="1"/>
              </p:cNvSpPr>
              <p:nvPr/>
            </p:nvSpPr>
            <p:spPr bwMode="auto">
              <a:xfrm>
                <a:off x="7700963" y="2994405"/>
                <a:ext cx="368300" cy="55562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0" name="Rectangle 19"/>
              <p:cNvSpPr>
                <a:spLocks noChangeArrowheads="1"/>
              </p:cNvSpPr>
              <p:nvPr/>
            </p:nvSpPr>
            <p:spPr bwMode="auto">
              <a:xfrm>
                <a:off x="6284913" y="2994404"/>
                <a:ext cx="1416050" cy="555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1" name="Rectangle 39"/>
              <p:cNvSpPr>
                <a:spLocks noChangeArrowheads="1"/>
              </p:cNvSpPr>
              <p:nvPr/>
            </p:nvSpPr>
            <p:spPr bwMode="auto">
              <a:xfrm>
                <a:off x="7700963" y="2994405"/>
                <a:ext cx="368300" cy="55562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2" name="Rectangle 40"/>
              <p:cNvSpPr>
                <a:spLocks noChangeArrowheads="1"/>
              </p:cNvSpPr>
              <p:nvPr/>
            </p:nvSpPr>
            <p:spPr bwMode="auto">
              <a:xfrm>
                <a:off x="7700963" y="2994405"/>
                <a:ext cx="368300" cy="55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3" name="Freeform 48"/>
              <p:cNvSpPr>
                <a:spLocks/>
              </p:cNvSpPr>
              <p:nvPr/>
            </p:nvSpPr>
            <p:spPr bwMode="auto">
              <a:xfrm>
                <a:off x="7700963" y="2994405"/>
                <a:ext cx="368300" cy="555625"/>
              </a:xfrm>
              <a:custGeom>
                <a:avLst/>
                <a:gdLst>
                  <a:gd name="T0" fmla="*/ 232 w 232"/>
                  <a:gd name="T1" fmla="*/ 0 h 350"/>
                  <a:gd name="T2" fmla="*/ 232 w 232"/>
                  <a:gd name="T3" fmla="*/ 0 h 350"/>
                  <a:gd name="T4" fmla="*/ 0 w 232"/>
                  <a:gd name="T5" fmla="*/ 0 h 350"/>
                  <a:gd name="T6" fmla="*/ 0 w 232"/>
                  <a:gd name="T7" fmla="*/ 350 h 350"/>
                  <a:gd name="T8" fmla="*/ 232 w 232"/>
                  <a:gd name="T9" fmla="*/ 350 h 350"/>
                  <a:gd name="T10" fmla="*/ 232 w 232"/>
                  <a:gd name="T11" fmla="*/ 0 h 350"/>
                </a:gdLst>
                <a:ahLst/>
                <a:cxnLst>
                  <a:cxn ang="0">
                    <a:pos x="T0" y="T1"/>
                  </a:cxn>
                  <a:cxn ang="0">
                    <a:pos x="T2" y="T3"/>
                  </a:cxn>
                  <a:cxn ang="0">
                    <a:pos x="T4" y="T5"/>
                  </a:cxn>
                  <a:cxn ang="0">
                    <a:pos x="T6" y="T7"/>
                  </a:cxn>
                  <a:cxn ang="0">
                    <a:pos x="T8" y="T9"/>
                  </a:cxn>
                  <a:cxn ang="0">
                    <a:pos x="T10" y="T11"/>
                  </a:cxn>
                </a:cxnLst>
                <a:rect l="0" t="0" r="r" b="b"/>
                <a:pathLst>
                  <a:path w="232" h="350">
                    <a:moveTo>
                      <a:pt x="232" y="0"/>
                    </a:moveTo>
                    <a:lnTo>
                      <a:pt x="232" y="0"/>
                    </a:lnTo>
                    <a:lnTo>
                      <a:pt x="0" y="0"/>
                    </a:lnTo>
                    <a:lnTo>
                      <a:pt x="0" y="350"/>
                    </a:lnTo>
                    <a:lnTo>
                      <a:pt x="232" y="350"/>
                    </a:lnTo>
                    <a:lnTo>
                      <a:pt x="232"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4" name="Freeform 49"/>
              <p:cNvSpPr>
                <a:spLocks/>
              </p:cNvSpPr>
              <p:nvPr/>
            </p:nvSpPr>
            <p:spPr bwMode="auto">
              <a:xfrm>
                <a:off x="7700963" y="2994405"/>
                <a:ext cx="368300" cy="555625"/>
              </a:xfrm>
              <a:custGeom>
                <a:avLst/>
                <a:gdLst>
                  <a:gd name="T0" fmla="*/ 232 w 232"/>
                  <a:gd name="T1" fmla="*/ 0 h 350"/>
                  <a:gd name="T2" fmla="*/ 232 w 232"/>
                  <a:gd name="T3" fmla="*/ 0 h 350"/>
                  <a:gd name="T4" fmla="*/ 0 w 232"/>
                  <a:gd name="T5" fmla="*/ 0 h 350"/>
                  <a:gd name="T6" fmla="*/ 0 w 232"/>
                  <a:gd name="T7" fmla="*/ 350 h 350"/>
                  <a:gd name="T8" fmla="*/ 232 w 232"/>
                  <a:gd name="T9" fmla="*/ 350 h 350"/>
                  <a:gd name="T10" fmla="*/ 232 w 232"/>
                  <a:gd name="T11" fmla="*/ 0 h 350"/>
                </a:gdLst>
                <a:ahLst/>
                <a:cxnLst>
                  <a:cxn ang="0">
                    <a:pos x="T0" y="T1"/>
                  </a:cxn>
                  <a:cxn ang="0">
                    <a:pos x="T2" y="T3"/>
                  </a:cxn>
                  <a:cxn ang="0">
                    <a:pos x="T4" y="T5"/>
                  </a:cxn>
                  <a:cxn ang="0">
                    <a:pos x="T6" y="T7"/>
                  </a:cxn>
                  <a:cxn ang="0">
                    <a:pos x="T8" y="T9"/>
                  </a:cxn>
                  <a:cxn ang="0">
                    <a:pos x="T10" y="T11"/>
                  </a:cxn>
                </a:cxnLst>
                <a:rect l="0" t="0" r="r" b="b"/>
                <a:pathLst>
                  <a:path w="232" h="350">
                    <a:moveTo>
                      <a:pt x="232" y="0"/>
                    </a:moveTo>
                    <a:lnTo>
                      <a:pt x="232" y="0"/>
                    </a:lnTo>
                    <a:lnTo>
                      <a:pt x="0" y="0"/>
                    </a:lnTo>
                    <a:lnTo>
                      <a:pt x="0" y="350"/>
                    </a:lnTo>
                    <a:lnTo>
                      <a:pt x="232" y="350"/>
                    </a:lnTo>
                    <a:lnTo>
                      <a:pt x="2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65" name="Freeform 51"/>
              <p:cNvSpPr>
                <a:spLocks/>
              </p:cNvSpPr>
              <p:nvPr/>
            </p:nvSpPr>
            <p:spPr bwMode="auto">
              <a:xfrm>
                <a:off x="6959600" y="2994405"/>
                <a:ext cx="741363" cy="555625"/>
              </a:xfrm>
              <a:custGeom>
                <a:avLst/>
                <a:gdLst>
                  <a:gd name="T0" fmla="*/ 467 w 467"/>
                  <a:gd name="T1" fmla="*/ 0 h 350"/>
                  <a:gd name="T2" fmla="*/ 0 w 467"/>
                  <a:gd name="T3" fmla="*/ 0 h 350"/>
                  <a:gd name="T4" fmla="*/ 242 w 467"/>
                  <a:gd name="T5" fmla="*/ 350 h 350"/>
                  <a:gd name="T6" fmla="*/ 467 w 467"/>
                  <a:gd name="T7" fmla="*/ 350 h 350"/>
                  <a:gd name="T8" fmla="*/ 467 w 467"/>
                  <a:gd name="T9" fmla="*/ 0 h 350"/>
                </a:gdLst>
                <a:ahLst/>
                <a:cxnLst>
                  <a:cxn ang="0">
                    <a:pos x="T0" y="T1"/>
                  </a:cxn>
                  <a:cxn ang="0">
                    <a:pos x="T2" y="T3"/>
                  </a:cxn>
                  <a:cxn ang="0">
                    <a:pos x="T4" y="T5"/>
                  </a:cxn>
                  <a:cxn ang="0">
                    <a:pos x="T6" y="T7"/>
                  </a:cxn>
                  <a:cxn ang="0">
                    <a:pos x="T8" y="T9"/>
                  </a:cxn>
                </a:cxnLst>
                <a:rect l="0" t="0" r="r" b="b"/>
                <a:pathLst>
                  <a:path w="467" h="350">
                    <a:moveTo>
                      <a:pt x="467" y="0"/>
                    </a:moveTo>
                    <a:lnTo>
                      <a:pt x="0" y="0"/>
                    </a:lnTo>
                    <a:lnTo>
                      <a:pt x="242" y="350"/>
                    </a:lnTo>
                    <a:lnTo>
                      <a:pt x="467" y="350"/>
                    </a:lnTo>
                    <a:lnTo>
                      <a:pt x="4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sp>
          <p:nvSpPr>
            <p:cNvPr id="2578" name="Rectangle 56"/>
            <p:cNvSpPr>
              <a:spLocks noChangeArrowheads="1"/>
            </p:cNvSpPr>
            <p:nvPr/>
          </p:nvSpPr>
          <p:spPr bwMode="auto">
            <a:xfrm>
              <a:off x="7357392" y="3263684"/>
              <a:ext cx="193386" cy="1040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79" name="Rectangle 57"/>
            <p:cNvSpPr>
              <a:spLocks noChangeArrowheads="1"/>
            </p:cNvSpPr>
            <p:nvPr/>
          </p:nvSpPr>
          <p:spPr bwMode="auto">
            <a:xfrm>
              <a:off x="7357392" y="3263684"/>
              <a:ext cx="193386" cy="10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80" name="Oval 58"/>
            <p:cNvSpPr>
              <a:spLocks noChangeArrowheads="1"/>
            </p:cNvSpPr>
            <p:nvPr/>
          </p:nvSpPr>
          <p:spPr bwMode="auto">
            <a:xfrm>
              <a:off x="7338218" y="3263684"/>
              <a:ext cx="9861" cy="10409"/>
            </a:xfrm>
            <a:prstGeom prst="ellipse">
              <a:avLst/>
            </a:pr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81" name="Freeform 59"/>
            <p:cNvSpPr>
              <a:spLocks/>
            </p:cNvSpPr>
            <p:nvPr/>
          </p:nvSpPr>
          <p:spPr bwMode="auto">
            <a:xfrm>
              <a:off x="7327261" y="3612231"/>
              <a:ext cx="50949" cy="10409"/>
            </a:xfrm>
            <a:custGeom>
              <a:avLst/>
              <a:gdLst>
                <a:gd name="T0" fmla="*/ 93 w 93"/>
                <a:gd name="T1" fmla="*/ 0 h 19"/>
                <a:gd name="T2" fmla="*/ 0 w 93"/>
                <a:gd name="T3" fmla="*/ 0 h 19"/>
                <a:gd name="T4" fmla="*/ 13 w 93"/>
                <a:gd name="T5" fmla="*/ 19 h 19"/>
                <a:gd name="T6" fmla="*/ 93 w 93"/>
                <a:gd name="T7" fmla="*/ 19 h 19"/>
                <a:gd name="T8" fmla="*/ 93 w 93"/>
                <a:gd name="T9" fmla="*/ 0 h 19"/>
              </a:gdLst>
              <a:ahLst/>
              <a:cxnLst>
                <a:cxn ang="0">
                  <a:pos x="T0" y="T1"/>
                </a:cxn>
                <a:cxn ang="0">
                  <a:pos x="T2" y="T3"/>
                </a:cxn>
                <a:cxn ang="0">
                  <a:pos x="T4" y="T5"/>
                </a:cxn>
                <a:cxn ang="0">
                  <a:pos x="T6" y="T7"/>
                </a:cxn>
                <a:cxn ang="0">
                  <a:pos x="T8" y="T9"/>
                </a:cxn>
              </a:cxnLst>
              <a:rect l="0" t="0" r="r" b="b"/>
              <a:pathLst>
                <a:path w="93" h="19">
                  <a:moveTo>
                    <a:pt x="93" y="0"/>
                  </a:moveTo>
                  <a:lnTo>
                    <a:pt x="0" y="0"/>
                  </a:lnTo>
                  <a:lnTo>
                    <a:pt x="13" y="19"/>
                  </a:lnTo>
                  <a:lnTo>
                    <a:pt x="93" y="19"/>
                  </a:lnTo>
                  <a:lnTo>
                    <a:pt x="93" y="0"/>
                  </a:lnTo>
                  <a:close/>
                </a:path>
              </a:pathLst>
            </a:cu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582" name="Freeform 60"/>
            <p:cNvSpPr>
              <a:spLocks/>
            </p:cNvSpPr>
            <p:nvPr/>
          </p:nvSpPr>
          <p:spPr bwMode="auto">
            <a:xfrm>
              <a:off x="7327261" y="3612231"/>
              <a:ext cx="50949" cy="10409"/>
            </a:xfrm>
            <a:custGeom>
              <a:avLst/>
              <a:gdLst>
                <a:gd name="T0" fmla="*/ 93 w 93"/>
                <a:gd name="T1" fmla="*/ 0 h 19"/>
                <a:gd name="T2" fmla="*/ 0 w 93"/>
                <a:gd name="T3" fmla="*/ 0 h 19"/>
                <a:gd name="T4" fmla="*/ 13 w 93"/>
                <a:gd name="T5" fmla="*/ 19 h 19"/>
                <a:gd name="T6" fmla="*/ 93 w 93"/>
                <a:gd name="T7" fmla="*/ 19 h 19"/>
                <a:gd name="T8" fmla="*/ 93 w 93"/>
                <a:gd name="T9" fmla="*/ 0 h 19"/>
              </a:gdLst>
              <a:ahLst/>
              <a:cxnLst>
                <a:cxn ang="0">
                  <a:pos x="T0" y="T1"/>
                </a:cxn>
                <a:cxn ang="0">
                  <a:pos x="T2" y="T3"/>
                </a:cxn>
                <a:cxn ang="0">
                  <a:pos x="T4" y="T5"/>
                </a:cxn>
                <a:cxn ang="0">
                  <a:pos x="T6" y="T7"/>
                </a:cxn>
                <a:cxn ang="0">
                  <a:pos x="T8" y="T9"/>
                </a:cxn>
              </a:cxnLst>
              <a:rect l="0" t="0" r="r" b="b"/>
              <a:pathLst>
                <a:path w="93" h="19">
                  <a:moveTo>
                    <a:pt x="93" y="0"/>
                  </a:moveTo>
                  <a:lnTo>
                    <a:pt x="0" y="0"/>
                  </a:lnTo>
                  <a:lnTo>
                    <a:pt x="13" y="19"/>
                  </a:lnTo>
                  <a:lnTo>
                    <a:pt x="93" y="19"/>
                  </a:lnTo>
                  <a:lnTo>
                    <a:pt x="93" y="0"/>
                  </a:lnTo>
                </a:path>
              </a:pathLst>
            </a:custGeom>
            <a:solidFill>
              <a:schemeClr val="bg1">
                <a:lumMod val="75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2583" name="Group 2582"/>
            <p:cNvGrpSpPr/>
            <p:nvPr/>
          </p:nvGrpSpPr>
          <p:grpSpPr>
            <a:xfrm>
              <a:off x="6918439" y="3344215"/>
              <a:ext cx="222580" cy="186609"/>
              <a:chOff x="1048844" y="2929382"/>
              <a:chExt cx="2146849" cy="1792260"/>
            </a:xfrm>
          </p:grpSpPr>
          <p:sp>
            <p:nvSpPr>
              <p:cNvPr id="2601" name="Rectangle 2600"/>
              <p:cNvSpPr/>
              <p:nvPr/>
            </p:nvSpPr>
            <p:spPr bwMode="auto">
              <a:xfrm rot="19233811" flipH="1">
                <a:off x="1672997" y="4111453"/>
                <a:ext cx="265596" cy="336234"/>
              </a:xfrm>
              <a:prstGeom prst="rect">
                <a:avLst/>
              </a:pr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09" name="Rectangle 21"/>
              <p:cNvSpPr/>
              <p:nvPr/>
            </p:nvSpPr>
            <p:spPr bwMode="auto">
              <a:xfrm rot="1663182" flipH="1">
                <a:off x="1661723" y="3093970"/>
                <a:ext cx="283331" cy="7514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11" name="Rectangle 29"/>
              <p:cNvSpPr/>
              <p:nvPr/>
            </p:nvSpPr>
            <p:spPr bwMode="auto">
              <a:xfrm rot="6300000" flipH="1">
                <a:off x="2375889" y="2873020"/>
                <a:ext cx="215107" cy="735159"/>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15" name="Oval 2614"/>
              <p:cNvSpPr/>
              <p:nvPr/>
            </p:nvSpPr>
            <p:spPr bwMode="auto">
              <a:xfrm flipH="1">
                <a:off x="1297663" y="3722454"/>
                <a:ext cx="516896" cy="516899"/>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16" name="Group 2615"/>
              <p:cNvGrpSpPr/>
              <p:nvPr/>
            </p:nvGrpSpPr>
            <p:grpSpPr>
              <a:xfrm>
                <a:off x="1830772" y="2929382"/>
                <a:ext cx="375748" cy="375748"/>
                <a:chOff x="4394973" y="1762558"/>
                <a:chExt cx="352210" cy="352210"/>
              </a:xfrm>
            </p:grpSpPr>
            <p:grpSp>
              <p:nvGrpSpPr>
                <p:cNvPr id="2635" name="Group 2634"/>
                <p:cNvGrpSpPr/>
                <p:nvPr/>
              </p:nvGrpSpPr>
              <p:grpSpPr>
                <a:xfrm flipH="1">
                  <a:off x="4394973" y="1762558"/>
                  <a:ext cx="352210" cy="352210"/>
                  <a:chOff x="5411363" y="1755522"/>
                  <a:chExt cx="316187" cy="316187"/>
                </a:xfrm>
              </p:grpSpPr>
              <p:sp>
                <p:nvSpPr>
                  <p:cNvPr id="2641" name="Oval 2640"/>
                  <p:cNvSpPr/>
                  <p:nvPr/>
                </p:nvSpPr>
                <p:spPr bwMode="auto">
                  <a:xfrm>
                    <a:off x="5411363" y="1755522"/>
                    <a:ext cx="316187" cy="316187"/>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42" name="Oval 2641"/>
                  <p:cNvSpPr/>
                  <p:nvPr/>
                </p:nvSpPr>
                <p:spPr bwMode="auto">
                  <a:xfrm>
                    <a:off x="5462797" y="1806956"/>
                    <a:ext cx="213318" cy="213318"/>
                  </a:xfrm>
                  <a:prstGeom prst="ellipse">
                    <a:avLst/>
                  </a:prstGeom>
                  <a:solidFill>
                    <a:srgbClr val="0072C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46" name="Oval 2645"/>
                  <p:cNvSpPr/>
                  <p:nvPr/>
                </p:nvSpPr>
                <p:spPr bwMode="auto">
                  <a:xfrm>
                    <a:off x="5506446" y="1850605"/>
                    <a:ext cx="126020" cy="126020"/>
                  </a:xfrm>
                  <a:prstGeom prst="ellipse">
                    <a:avLst/>
                  </a:pr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636" name="Rectangle 2635"/>
                <p:cNvSpPr/>
                <p:nvPr/>
              </p:nvSpPr>
              <p:spPr bwMode="auto">
                <a:xfrm flipH="1">
                  <a:off x="4553231" y="1789294"/>
                  <a:ext cx="35695" cy="28644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37" name="Rectangle 2636"/>
                <p:cNvSpPr/>
                <p:nvPr/>
              </p:nvSpPr>
              <p:spPr bwMode="auto">
                <a:xfrm rot="5400000" flipH="1">
                  <a:off x="4556016" y="1795437"/>
                  <a:ext cx="35695" cy="28644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617" name="Group 2616"/>
              <p:cNvGrpSpPr/>
              <p:nvPr/>
            </p:nvGrpSpPr>
            <p:grpSpPr>
              <a:xfrm rot="20781386">
                <a:off x="2789458" y="3462425"/>
                <a:ext cx="406235" cy="662068"/>
                <a:chOff x="6203753" y="1569839"/>
                <a:chExt cx="276805" cy="451129"/>
              </a:xfrm>
            </p:grpSpPr>
            <p:sp>
              <p:nvSpPr>
                <p:cNvPr id="2627" name="Rectangle 2626"/>
                <p:cNvSpPr/>
                <p:nvPr/>
              </p:nvSpPr>
              <p:spPr bwMode="auto">
                <a:xfrm rot="10800000" flipH="1">
                  <a:off x="6289821" y="1569839"/>
                  <a:ext cx="96717" cy="173784"/>
                </a:xfrm>
                <a:prstGeom prst="rect">
                  <a:avLst/>
                </a:pr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28" name="Oval 2627"/>
                <p:cNvSpPr/>
                <p:nvPr/>
              </p:nvSpPr>
              <p:spPr bwMode="auto">
                <a:xfrm rot="10737439" flipH="1">
                  <a:off x="6286686" y="1707639"/>
                  <a:ext cx="110946" cy="110946"/>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29" name="Group 2628"/>
                <p:cNvGrpSpPr/>
                <p:nvPr/>
              </p:nvGrpSpPr>
              <p:grpSpPr>
                <a:xfrm>
                  <a:off x="6203753" y="1748133"/>
                  <a:ext cx="99173" cy="272835"/>
                  <a:chOff x="5430362" y="1772113"/>
                  <a:chExt cx="99173" cy="272835"/>
                </a:xfrm>
              </p:grpSpPr>
              <p:sp>
                <p:nvSpPr>
                  <p:cNvPr id="2633" name="Rectangle 2632"/>
                  <p:cNvSpPr/>
                  <p:nvPr/>
                </p:nvSpPr>
                <p:spPr bwMode="auto">
                  <a:xfrm rot="13260000" flipH="1">
                    <a:off x="5468027" y="1772113"/>
                    <a:ext cx="45719" cy="137160"/>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34" name="Diagonal Stripe 2633"/>
                  <p:cNvSpPr/>
                  <p:nvPr/>
                </p:nvSpPr>
                <p:spPr bwMode="auto">
                  <a:xfrm rot="19432650">
                    <a:off x="5430362" y="1862068"/>
                    <a:ext cx="99173" cy="182880"/>
                  </a:xfrm>
                  <a:prstGeom prst="diagStrip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630" name="Group 2629"/>
                <p:cNvGrpSpPr/>
                <p:nvPr/>
              </p:nvGrpSpPr>
              <p:grpSpPr>
                <a:xfrm flipH="1">
                  <a:off x="6381385" y="1748134"/>
                  <a:ext cx="99173" cy="272833"/>
                  <a:chOff x="5422401" y="1772114"/>
                  <a:chExt cx="99173" cy="272833"/>
                </a:xfrm>
              </p:grpSpPr>
              <p:sp>
                <p:nvSpPr>
                  <p:cNvPr id="2631" name="Rectangle 2630"/>
                  <p:cNvSpPr/>
                  <p:nvPr/>
                </p:nvSpPr>
                <p:spPr bwMode="auto">
                  <a:xfrm rot="13260000" flipH="1">
                    <a:off x="5460058" y="1772114"/>
                    <a:ext cx="45719" cy="137160"/>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32" name="Diagonal Stripe 2631"/>
                  <p:cNvSpPr/>
                  <p:nvPr/>
                </p:nvSpPr>
                <p:spPr bwMode="auto">
                  <a:xfrm rot="19432650">
                    <a:off x="5422401" y="1862067"/>
                    <a:ext cx="99173" cy="182880"/>
                  </a:xfrm>
                  <a:prstGeom prst="diagStrip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618" name="Group 2617"/>
              <p:cNvGrpSpPr/>
              <p:nvPr/>
            </p:nvGrpSpPr>
            <p:grpSpPr>
              <a:xfrm>
                <a:off x="2732452" y="3244007"/>
                <a:ext cx="281811" cy="281811"/>
                <a:chOff x="4394973" y="1762558"/>
                <a:chExt cx="352210" cy="352210"/>
              </a:xfrm>
            </p:grpSpPr>
            <p:grpSp>
              <p:nvGrpSpPr>
                <p:cNvPr id="2621" name="Group 2620"/>
                <p:cNvGrpSpPr/>
                <p:nvPr/>
              </p:nvGrpSpPr>
              <p:grpSpPr>
                <a:xfrm flipH="1">
                  <a:off x="4394973" y="1762558"/>
                  <a:ext cx="352210" cy="352210"/>
                  <a:chOff x="5411363" y="1755522"/>
                  <a:chExt cx="316187" cy="316187"/>
                </a:xfrm>
              </p:grpSpPr>
              <p:sp>
                <p:nvSpPr>
                  <p:cNvPr id="2624" name="Oval 2623"/>
                  <p:cNvSpPr/>
                  <p:nvPr/>
                </p:nvSpPr>
                <p:spPr bwMode="auto">
                  <a:xfrm>
                    <a:off x="5411363" y="1755522"/>
                    <a:ext cx="316187" cy="316187"/>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25" name="Oval 2624"/>
                  <p:cNvSpPr/>
                  <p:nvPr/>
                </p:nvSpPr>
                <p:spPr bwMode="auto">
                  <a:xfrm>
                    <a:off x="5462797" y="1806956"/>
                    <a:ext cx="213318" cy="213318"/>
                  </a:xfrm>
                  <a:prstGeom prst="ellipse">
                    <a:avLst/>
                  </a:prstGeom>
                  <a:solidFill>
                    <a:srgbClr val="0072C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26" name="Oval 2625"/>
                  <p:cNvSpPr/>
                  <p:nvPr/>
                </p:nvSpPr>
                <p:spPr bwMode="auto">
                  <a:xfrm>
                    <a:off x="5506446" y="1850605"/>
                    <a:ext cx="126020" cy="126020"/>
                  </a:xfrm>
                  <a:prstGeom prst="ellipse">
                    <a:avLst/>
                  </a:pr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622" name="Rectangle 2621"/>
                <p:cNvSpPr/>
                <p:nvPr/>
              </p:nvSpPr>
              <p:spPr bwMode="auto">
                <a:xfrm flipH="1">
                  <a:off x="4553229" y="1795031"/>
                  <a:ext cx="35696" cy="26441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23" name="Rectangle 2622"/>
                <p:cNvSpPr/>
                <p:nvPr/>
              </p:nvSpPr>
              <p:spPr bwMode="auto">
                <a:xfrm rot="5400000" flipH="1">
                  <a:off x="4559388" y="1806456"/>
                  <a:ext cx="35696" cy="26441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619" name="Rounded Rectangle 2618"/>
              <p:cNvSpPr/>
              <p:nvPr/>
            </p:nvSpPr>
            <p:spPr bwMode="auto">
              <a:xfrm flipH="1">
                <a:off x="1188631" y="4306131"/>
                <a:ext cx="1241311" cy="391405"/>
              </a:xfrm>
              <a:prstGeom prst="roundRect">
                <a:avLst/>
              </a:pr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620" name="Rounded Rectangle 2619"/>
              <p:cNvSpPr/>
              <p:nvPr/>
            </p:nvSpPr>
            <p:spPr bwMode="auto">
              <a:xfrm flipH="1">
                <a:off x="1048844" y="4501833"/>
                <a:ext cx="1520885" cy="219809"/>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584" name="Group 2583"/>
            <p:cNvGrpSpPr>
              <a:grpSpLocks noChangeAspect="1"/>
            </p:cNvGrpSpPr>
            <p:nvPr/>
          </p:nvGrpSpPr>
          <p:grpSpPr>
            <a:xfrm rot="16200000">
              <a:off x="7273162" y="3340536"/>
              <a:ext cx="227283" cy="186610"/>
              <a:chOff x="-4435475" y="1371600"/>
              <a:chExt cx="4435475" cy="3641725"/>
            </a:xfrm>
          </p:grpSpPr>
          <p:sp>
            <p:nvSpPr>
              <p:cNvPr id="258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2586" name="Group 2585"/>
              <p:cNvGrpSpPr/>
              <p:nvPr/>
            </p:nvGrpSpPr>
            <p:grpSpPr>
              <a:xfrm>
                <a:off x="-4206871" y="1603382"/>
                <a:ext cx="3978266" cy="3168652"/>
                <a:chOff x="-4206875" y="1603375"/>
                <a:chExt cx="3978275" cy="3168650"/>
              </a:xfrm>
              <a:solidFill>
                <a:srgbClr val="FFFFFF"/>
              </a:solidFill>
            </p:grpSpPr>
            <p:sp>
              <p:nvSpPr>
                <p:cNvPr id="258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8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8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9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9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9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59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260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grpSp>
      <p:cxnSp>
        <p:nvCxnSpPr>
          <p:cNvPr id="2666" name="Straight Connector 2665"/>
          <p:cNvCxnSpPr/>
          <p:nvPr/>
        </p:nvCxnSpPr>
        <p:spPr>
          <a:xfrm>
            <a:off x="5040547" y="2619304"/>
            <a:ext cx="0" cy="165557"/>
          </a:xfrm>
          <a:prstGeom prst="line">
            <a:avLst/>
          </a:prstGeom>
          <a:noFill/>
          <a:ln w="12700" cap="flat" cmpd="sng" algn="ctr">
            <a:solidFill>
              <a:srgbClr val="0072C6"/>
            </a:solidFill>
            <a:prstDash val="sysDot"/>
          </a:ln>
          <a:effectLst/>
        </p:spPr>
      </p:cxnSp>
      <p:grpSp>
        <p:nvGrpSpPr>
          <p:cNvPr id="2684" name="Group 2683"/>
          <p:cNvGrpSpPr/>
          <p:nvPr/>
        </p:nvGrpSpPr>
        <p:grpSpPr>
          <a:xfrm>
            <a:off x="8882634" y="3296726"/>
            <a:ext cx="1651559" cy="257716"/>
            <a:chOff x="5775325" y="3179763"/>
            <a:chExt cx="2166938" cy="338137"/>
          </a:xfrm>
        </p:grpSpPr>
        <p:sp>
          <p:nvSpPr>
            <p:cNvPr id="2685" name="Rectangle 9"/>
            <p:cNvSpPr>
              <a:spLocks noChangeArrowheads="1"/>
            </p:cNvSpPr>
            <p:nvPr/>
          </p:nvSpPr>
          <p:spPr bwMode="auto">
            <a:xfrm>
              <a:off x="6208713"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86" name="Rectangle 10"/>
            <p:cNvSpPr>
              <a:spLocks noChangeArrowheads="1"/>
            </p:cNvSpPr>
            <p:nvPr/>
          </p:nvSpPr>
          <p:spPr bwMode="auto">
            <a:xfrm>
              <a:off x="6208713"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87" name="Rectangle 11"/>
            <p:cNvSpPr>
              <a:spLocks noChangeArrowheads="1"/>
            </p:cNvSpPr>
            <p:nvPr/>
          </p:nvSpPr>
          <p:spPr bwMode="auto">
            <a:xfrm>
              <a:off x="5775325"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88" name="Rectangle 12"/>
            <p:cNvSpPr>
              <a:spLocks noChangeArrowheads="1"/>
            </p:cNvSpPr>
            <p:nvPr/>
          </p:nvSpPr>
          <p:spPr bwMode="auto">
            <a:xfrm>
              <a:off x="5775325"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89" name="Rectangle 13"/>
            <p:cNvSpPr>
              <a:spLocks noChangeArrowheads="1"/>
            </p:cNvSpPr>
            <p:nvPr/>
          </p:nvSpPr>
          <p:spPr bwMode="auto">
            <a:xfrm>
              <a:off x="6642100" y="3305175"/>
              <a:ext cx="433388" cy="87312"/>
            </a:xfrm>
            <a:prstGeom prst="rect">
              <a:avLst/>
            </a:prstGeom>
            <a:solidFill>
              <a:srgbClr val="95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0" name="Rectangle 14"/>
            <p:cNvSpPr>
              <a:spLocks noChangeArrowheads="1"/>
            </p:cNvSpPr>
            <p:nvPr/>
          </p:nvSpPr>
          <p:spPr bwMode="auto">
            <a:xfrm>
              <a:off x="6642100" y="3392488"/>
              <a:ext cx="433388" cy="125412"/>
            </a:xfrm>
            <a:prstGeom prst="rect">
              <a:avLst/>
            </a:prstGeom>
            <a:solidFill>
              <a:srgbClr val="A2A2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1" name="Rectangle 15"/>
            <p:cNvSpPr>
              <a:spLocks noChangeArrowheads="1"/>
            </p:cNvSpPr>
            <p:nvPr/>
          </p:nvSpPr>
          <p:spPr bwMode="auto">
            <a:xfrm>
              <a:off x="6642100" y="3179763"/>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2" name="Rectangle 16"/>
            <p:cNvSpPr>
              <a:spLocks noChangeArrowheads="1"/>
            </p:cNvSpPr>
            <p:nvPr/>
          </p:nvSpPr>
          <p:spPr bwMode="auto">
            <a:xfrm>
              <a:off x="6642100" y="3267075"/>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3" name="Rectangle 17"/>
            <p:cNvSpPr>
              <a:spLocks noChangeArrowheads="1"/>
            </p:cNvSpPr>
            <p:nvPr/>
          </p:nvSpPr>
          <p:spPr bwMode="auto">
            <a:xfrm>
              <a:off x="7508875" y="3305175"/>
              <a:ext cx="433388" cy="873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4" name="Rectangle 18"/>
            <p:cNvSpPr>
              <a:spLocks noChangeArrowheads="1"/>
            </p:cNvSpPr>
            <p:nvPr/>
          </p:nvSpPr>
          <p:spPr bwMode="auto">
            <a:xfrm>
              <a:off x="7508875" y="3392488"/>
              <a:ext cx="433388" cy="125412"/>
            </a:xfrm>
            <a:prstGeom prst="rect">
              <a:avLst/>
            </a:prstGeom>
            <a:solidFill>
              <a:srgbClr val="CD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5" name="Rectangle 19"/>
            <p:cNvSpPr>
              <a:spLocks noChangeArrowheads="1"/>
            </p:cNvSpPr>
            <p:nvPr/>
          </p:nvSpPr>
          <p:spPr bwMode="auto">
            <a:xfrm>
              <a:off x="7508875" y="3179763"/>
              <a:ext cx="433388" cy="873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6" name="Rectangle 20"/>
            <p:cNvSpPr>
              <a:spLocks noChangeArrowheads="1"/>
            </p:cNvSpPr>
            <p:nvPr/>
          </p:nvSpPr>
          <p:spPr bwMode="auto">
            <a:xfrm>
              <a:off x="7508875" y="3267075"/>
              <a:ext cx="433388" cy="1254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7" name="Rectangle 21"/>
            <p:cNvSpPr>
              <a:spLocks noChangeArrowheads="1"/>
            </p:cNvSpPr>
            <p:nvPr/>
          </p:nvSpPr>
          <p:spPr bwMode="auto">
            <a:xfrm>
              <a:off x="7075488" y="3305175"/>
              <a:ext cx="433388" cy="873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2698" name="Rectangle 22"/>
            <p:cNvSpPr>
              <a:spLocks noChangeArrowheads="1"/>
            </p:cNvSpPr>
            <p:nvPr/>
          </p:nvSpPr>
          <p:spPr bwMode="auto">
            <a:xfrm>
              <a:off x="7075488" y="3392488"/>
              <a:ext cx="433388" cy="12541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cxnSp>
        <p:nvCxnSpPr>
          <p:cNvPr id="2699" name="Elbow Connector 2698"/>
          <p:cNvCxnSpPr>
            <a:stCxn id="1675" idx="0"/>
          </p:cNvCxnSpPr>
          <p:nvPr/>
        </p:nvCxnSpPr>
        <p:spPr>
          <a:xfrm rot="5400000" flipH="1" flipV="1">
            <a:off x="7557912" y="2828523"/>
            <a:ext cx="974128" cy="646920"/>
          </a:xfrm>
          <a:prstGeom prst="bentConnector3">
            <a:avLst>
              <a:gd name="adj1" fmla="val 57579"/>
            </a:avLst>
          </a:prstGeom>
          <a:noFill/>
          <a:ln w="12700" cap="flat" cmpd="sng" algn="ctr">
            <a:solidFill>
              <a:srgbClr val="0072C6"/>
            </a:solidFill>
            <a:prstDash val="sysDot"/>
          </a:ln>
          <a:effectLst/>
        </p:spPr>
      </p:cxnSp>
      <p:cxnSp>
        <p:nvCxnSpPr>
          <p:cNvPr id="3201" name="Straight Connector 3200"/>
          <p:cNvCxnSpPr/>
          <p:nvPr/>
        </p:nvCxnSpPr>
        <p:spPr>
          <a:xfrm>
            <a:off x="8434739" y="4693415"/>
            <a:ext cx="0" cy="554288"/>
          </a:xfrm>
          <a:prstGeom prst="line">
            <a:avLst/>
          </a:prstGeom>
          <a:noFill/>
          <a:ln w="12700" cap="flat" cmpd="sng" algn="ctr">
            <a:solidFill>
              <a:srgbClr val="0072C6"/>
            </a:solidFill>
            <a:prstDash val="sysDot"/>
          </a:ln>
          <a:effectLst/>
        </p:spPr>
      </p:cxnSp>
      <p:sp>
        <p:nvSpPr>
          <p:cNvPr id="533" name="Rectangle 532"/>
          <p:cNvSpPr/>
          <p:nvPr/>
        </p:nvSpPr>
        <p:spPr bwMode="auto">
          <a:xfrm>
            <a:off x="466633" y="2084745"/>
            <a:ext cx="10081918" cy="4480853"/>
          </a:xfrm>
          <a:prstGeom prst="rect">
            <a:avLst/>
          </a:prstGeom>
          <a:noFill/>
          <a:ln w="381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b" anchorCtr="0" forceAA="0" compatLnSpc="1">
            <a:prstTxWarp prst="textNoShape">
              <a:avLst/>
            </a:prstTxWarp>
            <a:noAutofit/>
          </a:bodyPr>
          <a:lstStyle/>
          <a:p>
            <a:pPr defTabSz="913751" fontAlgn="base">
              <a:lnSpc>
                <a:spcPct val="90000"/>
              </a:lnSpc>
              <a:spcBef>
                <a:spcPct val="0"/>
              </a:spcBef>
              <a:spcAft>
                <a:spcPct val="0"/>
              </a:spcAft>
              <a:defRPr/>
            </a:pPr>
            <a:endParaRPr lang="en-US" sz="980" b="1" kern="0" dirty="0">
              <a:solidFill>
                <a:srgbClr val="0072C6"/>
              </a:solidFill>
              <a:ea typeface="Segoe UI" pitchFamily="34" charset="0"/>
              <a:cs typeface="Segoe UI" pitchFamily="34" charset="0"/>
            </a:endParaRPr>
          </a:p>
        </p:txBody>
      </p:sp>
      <p:sp>
        <p:nvSpPr>
          <p:cNvPr id="3107" name="Rectangle 3106"/>
          <p:cNvSpPr/>
          <p:nvPr/>
        </p:nvSpPr>
        <p:spPr bwMode="auto">
          <a:xfrm>
            <a:off x="8134537" y="5259139"/>
            <a:ext cx="2509989" cy="1310177"/>
          </a:xfrm>
          <a:prstGeom prst="rect">
            <a:avLst/>
          </a:prstGeom>
          <a:solidFill>
            <a:schemeClr val="bg1"/>
          </a:solidFill>
          <a:ln w="3810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b" anchorCtr="0" forceAA="0" compatLnSpc="1">
            <a:prstTxWarp prst="textNoShape">
              <a:avLst/>
            </a:prstTxWarp>
            <a:noAutofit/>
          </a:bodyPr>
          <a:lstStyle/>
          <a:p>
            <a:pPr defTabSz="913751" fontAlgn="base">
              <a:lnSpc>
                <a:spcPct val="90000"/>
              </a:lnSpc>
              <a:spcBef>
                <a:spcPct val="0"/>
              </a:spcBef>
              <a:spcAft>
                <a:spcPct val="0"/>
              </a:spcAft>
              <a:defRPr/>
            </a:pPr>
            <a:endParaRPr lang="en-US" sz="980" b="1" kern="0" dirty="0" err="1">
              <a:solidFill>
                <a:srgbClr val="0072C6"/>
              </a:solidFill>
              <a:ea typeface="Segoe UI" pitchFamily="34" charset="0"/>
              <a:cs typeface="Segoe UI" pitchFamily="34" charset="0"/>
            </a:endParaRPr>
          </a:p>
        </p:txBody>
      </p:sp>
      <p:sp>
        <p:nvSpPr>
          <p:cNvPr id="390" name="Rectangle 389"/>
          <p:cNvSpPr/>
          <p:nvPr/>
        </p:nvSpPr>
        <p:spPr bwMode="auto">
          <a:xfrm>
            <a:off x="8131858" y="5824385"/>
            <a:ext cx="2509989" cy="38906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dirty="0" err="1">
              <a:solidFill>
                <a:srgbClr val="505050"/>
              </a:solidFill>
            </a:endParaRPr>
          </a:p>
        </p:txBody>
      </p:sp>
      <p:sp>
        <p:nvSpPr>
          <p:cNvPr id="1380" name="Rectangle 1379"/>
          <p:cNvSpPr/>
          <p:nvPr/>
        </p:nvSpPr>
        <p:spPr bwMode="auto">
          <a:xfrm>
            <a:off x="4377698" y="2578162"/>
            <a:ext cx="3584682" cy="44808"/>
          </a:xfrm>
          <a:prstGeom prst="rect">
            <a:avLst/>
          </a:pr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45700" tIns="0" rIns="0" bIns="0" numCol="1" spcCol="0" rtlCol="0" fromWordArt="0" anchor="ctr" anchorCtr="0" forceAA="0" compatLnSpc="1">
            <a:prstTxWarp prst="textNoShape">
              <a:avLst/>
            </a:prstTxWarp>
            <a:noAutofit/>
          </a:bodyPr>
          <a:lstStyle/>
          <a:p>
            <a:pPr defTabSz="913397" fontAlgn="base">
              <a:spcBef>
                <a:spcPct val="0"/>
              </a:spcBef>
              <a:spcAft>
                <a:spcPct val="0"/>
              </a:spcAft>
              <a:defRPr/>
            </a:pPr>
            <a:endParaRPr lang="en-US" sz="1174"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377" name="Rectangle 1376"/>
          <p:cNvSpPr/>
          <p:nvPr/>
        </p:nvSpPr>
        <p:spPr bwMode="auto">
          <a:xfrm>
            <a:off x="617132" y="2578162"/>
            <a:ext cx="3584682" cy="44808"/>
          </a:xfrm>
          <a:prstGeom prst="rect">
            <a:avLst/>
          </a:pr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45700" tIns="0" rIns="0" bIns="0" numCol="1" spcCol="0" rtlCol="0" fromWordArt="0" anchor="ctr" anchorCtr="0" forceAA="0" compatLnSpc="1">
            <a:prstTxWarp prst="textNoShape">
              <a:avLst/>
            </a:prstTxWarp>
            <a:noAutofit/>
          </a:bodyPr>
          <a:lstStyle/>
          <a:p>
            <a:pPr defTabSz="913397" fontAlgn="base">
              <a:spcBef>
                <a:spcPct val="0"/>
              </a:spcBef>
              <a:spcAft>
                <a:spcPct val="0"/>
              </a:spcAft>
              <a:defRPr/>
            </a:pPr>
            <a:endParaRPr lang="en-US" sz="1174"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2794" name="Straight Connector 2793"/>
          <p:cNvCxnSpPr>
            <a:stCxn id="2015" idx="4"/>
          </p:cNvCxnSpPr>
          <p:nvPr/>
        </p:nvCxnSpPr>
        <p:spPr>
          <a:xfrm>
            <a:off x="6962387" y="5276282"/>
            <a:ext cx="1705" cy="224921"/>
          </a:xfrm>
          <a:prstGeom prst="line">
            <a:avLst/>
          </a:prstGeom>
          <a:noFill/>
          <a:ln w="12700" cap="flat" cmpd="sng" algn="ctr">
            <a:solidFill>
              <a:srgbClr val="0072C6"/>
            </a:solidFill>
            <a:prstDash val="sysDot"/>
          </a:ln>
          <a:effectLst/>
        </p:spPr>
      </p:cxnSp>
      <p:sp>
        <p:nvSpPr>
          <p:cNvPr id="2672" name="Rectangle 2671"/>
          <p:cNvSpPr/>
          <p:nvPr/>
        </p:nvSpPr>
        <p:spPr bwMode="auto">
          <a:xfrm>
            <a:off x="8128057" y="2578162"/>
            <a:ext cx="3367677" cy="44808"/>
          </a:xfrm>
          <a:prstGeom prst="rect">
            <a:avLst/>
          </a:prstGeom>
          <a:solidFill>
            <a:schemeClr val="bg2">
              <a:lumMod val="50000"/>
            </a:schemeClr>
          </a:solid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45700" tIns="0" rIns="0" bIns="0" numCol="1" spcCol="0" rtlCol="0" fromWordArt="0" anchor="ctr" anchorCtr="0" forceAA="0" compatLnSpc="1">
            <a:prstTxWarp prst="textNoShape">
              <a:avLst/>
            </a:prstTxWarp>
            <a:noAutofit/>
          </a:bodyPr>
          <a:lstStyle/>
          <a:p>
            <a:pPr defTabSz="913397" fontAlgn="base">
              <a:spcBef>
                <a:spcPct val="0"/>
              </a:spcBef>
              <a:spcAft>
                <a:spcPct val="0"/>
              </a:spcAft>
              <a:defRPr/>
            </a:pPr>
            <a:endParaRPr lang="en-US" sz="12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140" name="Rectangle 3139"/>
          <p:cNvSpPr/>
          <p:nvPr/>
        </p:nvSpPr>
        <p:spPr bwMode="auto">
          <a:xfrm>
            <a:off x="8134537" y="6207131"/>
            <a:ext cx="2509989" cy="3584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79234"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980" kern="0" cap="all" dirty="0">
                <a:solidFill>
                  <a:srgbClr val="505050"/>
                </a:solidFill>
                <a:latin typeface="Segoe UI Semibold" panose="020B0702040204020203" pitchFamily="34" charset="0"/>
                <a:ea typeface="Segoe UI" pitchFamily="34" charset="0"/>
                <a:cs typeface="Segoe UI Semibold" panose="020B0702040204020203" pitchFamily="34" charset="0"/>
              </a:rPr>
              <a:t>Third-party logistics</a:t>
            </a:r>
          </a:p>
        </p:txBody>
      </p:sp>
      <p:cxnSp>
        <p:nvCxnSpPr>
          <p:cNvPr id="385" name="Straight Connector 384"/>
          <p:cNvCxnSpPr/>
          <p:nvPr/>
        </p:nvCxnSpPr>
        <p:spPr>
          <a:xfrm>
            <a:off x="8136785" y="6224164"/>
            <a:ext cx="2509989" cy="0"/>
          </a:xfrm>
          <a:prstGeom prst="line">
            <a:avLst/>
          </a:prstGeom>
          <a:noFill/>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73" name="Rectangle 30"/>
          <p:cNvSpPr>
            <a:spLocks noChangeArrowheads="1"/>
          </p:cNvSpPr>
          <p:nvPr/>
        </p:nvSpPr>
        <p:spPr bwMode="auto">
          <a:xfrm>
            <a:off x="8127488" y="5242965"/>
            <a:ext cx="583852" cy="750225"/>
          </a:xfrm>
          <a:prstGeom prst="rect">
            <a:avLst/>
          </a:prstGeom>
          <a:solidFill>
            <a:schemeClr val="accent1">
              <a:lumMod val="20000"/>
              <a:lumOff val="80000"/>
            </a:schemeClr>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186" name="Rectangle 3185"/>
          <p:cNvSpPr/>
          <p:nvPr/>
        </p:nvSpPr>
        <p:spPr bwMode="auto">
          <a:xfrm>
            <a:off x="8234776" y="5583100"/>
            <a:ext cx="391344" cy="41009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87" name="Rectangle 3186"/>
          <p:cNvSpPr/>
          <p:nvPr/>
        </p:nvSpPr>
        <p:spPr bwMode="auto">
          <a:xfrm>
            <a:off x="8345012" y="5583100"/>
            <a:ext cx="281109" cy="410091"/>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88" name="Isosceles Triangle 3187"/>
          <p:cNvSpPr/>
          <p:nvPr/>
        </p:nvSpPr>
        <p:spPr bwMode="auto">
          <a:xfrm>
            <a:off x="8147082" y="5868849"/>
            <a:ext cx="705481" cy="124341"/>
          </a:xfrm>
          <a:prstGeom prst="triangle">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6168" tIns="38082" rIns="38082" bIns="76168" numCol="1" spcCol="0" rtlCol="0" fromWordArt="0" anchor="b" anchorCtr="0" forceAA="0" compatLnSpc="1">
            <a:prstTxWarp prst="textNoShape">
              <a:avLst/>
            </a:prstTxWarp>
            <a:noAutofit/>
          </a:bodyPr>
          <a:lstStyle/>
          <a:p>
            <a:pPr algn="ctr" defTabSz="761296" fontAlgn="base">
              <a:spcBef>
                <a:spcPct val="0"/>
              </a:spcBef>
              <a:spcAft>
                <a:spcPct val="0"/>
              </a:spcAft>
              <a:defRPr/>
            </a:pPr>
            <a:endParaRPr lang="en-US" sz="1831" kern="0" dirty="0">
              <a:ln w="3175">
                <a:noFill/>
              </a:ln>
              <a:gradFill flip="none" rotWithShape="1">
                <a:gsLst>
                  <a:gs pos="0">
                    <a:srgbClr val="1B3B41">
                      <a:lumMod val="65000"/>
                      <a:lumOff val="35000"/>
                    </a:srgbClr>
                  </a:gs>
                  <a:gs pos="86000">
                    <a:srgbClr val="1B3B41">
                      <a:lumMod val="65000"/>
                      <a:lumOff val="35000"/>
                    </a:srgbClr>
                  </a:gs>
                </a:gsLst>
                <a:lin ang="5400000" scaled="0"/>
                <a:tileRect/>
              </a:gradFill>
              <a:cs typeface="Arial" charset="0"/>
            </a:endParaRPr>
          </a:p>
        </p:txBody>
      </p:sp>
      <p:grpSp>
        <p:nvGrpSpPr>
          <p:cNvPr id="391" name="Group 390"/>
          <p:cNvGrpSpPr/>
          <p:nvPr/>
        </p:nvGrpSpPr>
        <p:grpSpPr>
          <a:xfrm>
            <a:off x="8320374" y="5452668"/>
            <a:ext cx="210364" cy="35466"/>
            <a:chOff x="4369547" y="1609320"/>
            <a:chExt cx="214643" cy="36187"/>
          </a:xfrm>
          <a:solidFill>
            <a:schemeClr val="accent1">
              <a:lumMod val="60000"/>
              <a:lumOff val="40000"/>
            </a:schemeClr>
          </a:solidFill>
        </p:grpSpPr>
        <p:sp>
          <p:nvSpPr>
            <p:cNvPr id="3198" name="Rectangle 33"/>
            <p:cNvSpPr>
              <a:spLocks noChangeArrowheads="1"/>
            </p:cNvSpPr>
            <p:nvPr/>
          </p:nvSpPr>
          <p:spPr bwMode="auto">
            <a:xfrm>
              <a:off x="4369547" y="1609320"/>
              <a:ext cx="35691" cy="361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199" name="Rectangle 34"/>
            <p:cNvSpPr>
              <a:spLocks noChangeArrowheads="1"/>
            </p:cNvSpPr>
            <p:nvPr/>
          </p:nvSpPr>
          <p:spPr bwMode="auto">
            <a:xfrm>
              <a:off x="4460758" y="1609320"/>
              <a:ext cx="34204" cy="361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sp>
          <p:nvSpPr>
            <p:cNvPr id="3200" name="Rectangle 35"/>
            <p:cNvSpPr>
              <a:spLocks noChangeArrowheads="1"/>
            </p:cNvSpPr>
            <p:nvPr/>
          </p:nvSpPr>
          <p:spPr bwMode="auto">
            <a:xfrm>
              <a:off x="4550482" y="1609320"/>
              <a:ext cx="33708" cy="361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sp>
        <p:nvSpPr>
          <p:cNvPr id="3141" name="Rectangle 3140"/>
          <p:cNvSpPr/>
          <p:nvPr/>
        </p:nvSpPr>
        <p:spPr bwMode="auto">
          <a:xfrm>
            <a:off x="8134536" y="5247701"/>
            <a:ext cx="2509989" cy="1317370"/>
          </a:xfrm>
          <a:prstGeom prst="rect">
            <a:avLst/>
          </a:prstGeom>
          <a:noFill/>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b" anchorCtr="0" forceAA="0" compatLnSpc="1">
            <a:prstTxWarp prst="textNoShape">
              <a:avLst/>
            </a:prstTxWarp>
            <a:noAutofit/>
          </a:bodyPr>
          <a:lstStyle/>
          <a:p>
            <a:pPr defTabSz="913751" fontAlgn="base">
              <a:lnSpc>
                <a:spcPct val="90000"/>
              </a:lnSpc>
              <a:spcBef>
                <a:spcPct val="0"/>
              </a:spcBef>
              <a:spcAft>
                <a:spcPct val="0"/>
              </a:spcAft>
              <a:defRPr/>
            </a:pPr>
            <a:endParaRPr lang="en-US" sz="980" b="1" kern="0" dirty="0" err="1">
              <a:solidFill>
                <a:srgbClr val="0072C6"/>
              </a:solidFill>
              <a:ea typeface="Segoe UI" pitchFamily="34" charset="0"/>
              <a:cs typeface="Segoe UI" pitchFamily="34" charset="0"/>
            </a:endParaRPr>
          </a:p>
        </p:txBody>
      </p:sp>
      <p:sp>
        <p:nvSpPr>
          <p:cNvPr id="640" name="Cube 639"/>
          <p:cNvSpPr/>
          <p:nvPr/>
        </p:nvSpPr>
        <p:spPr bwMode="auto">
          <a:xfrm flipH="1">
            <a:off x="5401697" y="4213251"/>
            <a:ext cx="283260" cy="378388"/>
          </a:xfrm>
          <a:prstGeom prst="cube">
            <a:avLst>
              <a:gd name="adj" fmla="val 24335"/>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5685" tIns="140548" rIns="175685" bIns="140548" numCol="1" spcCol="0" rtlCol="0" fromWordArt="0" anchor="t" anchorCtr="0" forceAA="0" compatLnSpc="1">
            <a:prstTxWarp prst="textNoShape">
              <a:avLst/>
            </a:prstTxWarp>
            <a:noAutofit/>
          </a:bodyPr>
          <a:lstStyle/>
          <a:p>
            <a:pPr algn="ctr" defTabSz="895579"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ea typeface="Segoe UI" pitchFamily="34" charset="0"/>
              <a:cs typeface="Segoe UI" pitchFamily="34" charset="0"/>
            </a:endParaRPr>
          </a:p>
        </p:txBody>
      </p:sp>
      <p:sp>
        <p:nvSpPr>
          <p:cNvPr id="641" name="Cube 640"/>
          <p:cNvSpPr/>
          <p:nvPr/>
        </p:nvSpPr>
        <p:spPr bwMode="auto">
          <a:xfrm flipH="1">
            <a:off x="5770093" y="4266172"/>
            <a:ext cx="41315" cy="193064"/>
          </a:xfrm>
          <a:prstGeom prst="cube">
            <a:avLst>
              <a:gd name="adj" fmla="val 24335"/>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5685" tIns="140548" rIns="175685" bIns="140548" numCol="1" spcCol="0" rtlCol="0" fromWordArt="0" anchor="t" anchorCtr="0" forceAA="0" compatLnSpc="1">
            <a:prstTxWarp prst="textNoShape">
              <a:avLst/>
            </a:prstTxWarp>
            <a:noAutofit/>
          </a:bodyPr>
          <a:lstStyle/>
          <a:p>
            <a:pPr algn="ctr" defTabSz="895579"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ea typeface="Segoe UI" pitchFamily="34" charset="0"/>
              <a:cs typeface="Segoe UI" pitchFamily="34" charset="0"/>
            </a:endParaRPr>
          </a:p>
        </p:txBody>
      </p:sp>
      <p:sp>
        <p:nvSpPr>
          <p:cNvPr id="642" name="Cube 641"/>
          <p:cNvSpPr/>
          <p:nvPr/>
        </p:nvSpPr>
        <p:spPr bwMode="auto">
          <a:xfrm flipH="1">
            <a:off x="5367269" y="4167659"/>
            <a:ext cx="130688" cy="256815"/>
          </a:xfrm>
          <a:prstGeom prst="cube">
            <a:avLst>
              <a:gd name="adj" fmla="val 74709"/>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75685" tIns="140548" rIns="175685" bIns="140548" numCol="1" spcCol="0" rtlCol="0" fromWordArt="0" anchor="t" anchorCtr="0" forceAA="0" compatLnSpc="1">
            <a:prstTxWarp prst="textNoShape">
              <a:avLst/>
            </a:prstTxWarp>
            <a:noAutofit/>
          </a:bodyPr>
          <a:lstStyle/>
          <a:p>
            <a:pPr algn="ctr" defTabSz="895579"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ea typeface="Segoe UI" pitchFamily="34" charset="0"/>
              <a:cs typeface="Segoe UI" pitchFamily="34" charset="0"/>
            </a:endParaRPr>
          </a:p>
        </p:txBody>
      </p:sp>
      <p:sp>
        <p:nvSpPr>
          <p:cNvPr id="643" name="Rectangle 4"/>
          <p:cNvSpPr/>
          <p:nvPr/>
        </p:nvSpPr>
        <p:spPr bwMode="auto">
          <a:xfrm rot="4500000" flipH="1">
            <a:off x="4776933" y="3971127"/>
            <a:ext cx="450319" cy="886492"/>
          </a:xfrm>
          <a:prstGeom prst="trapezoid">
            <a:avLst>
              <a:gd name="adj" fmla="val 38028"/>
            </a:avLst>
          </a:prstGeom>
          <a:gradFill>
            <a:gsLst>
              <a:gs pos="0">
                <a:srgbClr val="0072C6">
                  <a:alpha val="66000"/>
                </a:srgbClr>
              </a:gs>
              <a:gs pos="100000">
                <a:srgbClr val="FFFFFF">
                  <a:alpha val="0"/>
                </a:srgbClr>
              </a:gs>
            </a:gsLst>
            <a:lin ang="5400000" scaled="1"/>
          </a:gradFill>
          <a:ln w="9525" cap="flat" cmpd="sng" algn="ctr">
            <a:noFill/>
            <a:prstDash val="solid"/>
            <a:headEnd type="none" w="med" len="med"/>
            <a:tailEnd type="none" w="med" len="med"/>
          </a:ln>
          <a:effectLst/>
        </p:spPr>
        <p:txBody>
          <a:bodyPr rot="0" spcFirstLastPara="0" vertOverflow="overflow" horzOverflow="overflow" vert="horz" wrap="square" lIns="89592" tIns="44796" rIns="44796" bIns="89592" numCol="1" spcCol="0" rtlCol="0" fromWordArt="0" anchor="b" anchorCtr="0" forceAA="0" compatLnSpc="1">
            <a:prstTxWarp prst="textNoShape">
              <a:avLst/>
            </a:prstTxWarp>
            <a:noAutofit/>
          </a:bodyPr>
          <a:lstStyle/>
          <a:p>
            <a:pPr algn="ctr" defTabSz="895403" fontAlgn="base">
              <a:spcBef>
                <a:spcPct val="0"/>
              </a:spcBef>
              <a:spcAft>
                <a:spcPct val="0"/>
              </a:spcAft>
              <a:defRPr/>
            </a:pPr>
            <a:endParaRPr lang="en-US" sz="1961"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44" name="Rectangle 643"/>
          <p:cNvSpPr/>
          <p:nvPr/>
        </p:nvSpPr>
        <p:spPr bwMode="auto">
          <a:xfrm>
            <a:off x="5197475" y="4106974"/>
            <a:ext cx="474767" cy="387306"/>
          </a:xfrm>
          <a:prstGeom prst="rect">
            <a:avLst/>
          </a:prstGeom>
          <a:solidFill>
            <a:srgbClr val="FFFFFF">
              <a:alpha val="20000"/>
            </a:srgbClr>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89592" tIns="44796" rIns="44796" bIns="89592" numCol="1" spcCol="0" rtlCol="0" fromWordArt="0" anchor="b" anchorCtr="0" forceAA="0" compatLnSpc="1">
            <a:prstTxWarp prst="textNoShape">
              <a:avLst/>
            </a:prstTxWarp>
            <a:noAutofit/>
          </a:bodyPr>
          <a:lstStyle/>
          <a:p>
            <a:pPr algn="ctr" defTabSz="895403" fontAlgn="base">
              <a:spcBef>
                <a:spcPct val="0"/>
              </a:spcBef>
              <a:spcAft>
                <a:spcPct val="0"/>
              </a:spcAft>
              <a:defRPr/>
            </a:pPr>
            <a:endParaRPr lang="en-US" sz="1567" kern="0" spc="-49" dirty="0">
              <a:gradFill>
                <a:gsLst>
                  <a:gs pos="0">
                    <a:srgbClr val="FFFFFF"/>
                  </a:gs>
                  <a:gs pos="100000">
                    <a:srgbClr val="FFFFFF"/>
                  </a:gs>
                </a:gsLst>
                <a:lin ang="5400000" scaled="0"/>
              </a:gradFill>
              <a:ea typeface="Segoe UI" pitchFamily="34" charset="0"/>
              <a:cs typeface="Segoe UI" pitchFamily="34" charset="0"/>
            </a:endParaRPr>
          </a:p>
        </p:txBody>
      </p:sp>
      <p:cxnSp>
        <p:nvCxnSpPr>
          <p:cNvPr id="1964" name="Elbow Connector 1963"/>
          <p:cNvCxnSpPr>
            <a:stCxn id="644" idx="3"/>
            <a:endCxn id="2015" idx="2"/>
          </p:cNvCxnSpPr>
          <p:nvPr/>
        </p:nvCxnSpPr>
        <p:spPr>
          <a:xfrm>
            <a:off x="5672239" y="4300627"/>
            <a:ext cx="1023883" cy="709128"/>
          </a:xfrm>
          <a:prstGeom prst="bentConnector3">
            <a:avLst>
              <a:gd name="adj1" fmla="val 60941"/>
            </a:avLst>
          </a:prstGeom>
          <a:noFill/>
          <a:ln w="12700" cap="flat" cmpd="sng" algn="ctr">
            <a:solidFill>
              <a:srgbClr val="0072C6"/>
            </a:solidFill>
            <a:prstDash val="sysDot"/>
          </a:ln>
          <a:effectLst/>
        </p:spPr>
      </p:cxnSp>
      <p:grpSp>
        <p:nvGrpSpPr>
          <p:cNvPr id="11" name="Group 10"/>
          <p:cNvGrpSpPr/>
          <p:nvPr/>
        </p:nvGrpSpPr>
        <p:grpSpPr>
          <a:xfrm>
            <a:off x="5166907" y="2515820"/>
            <a:ext cx="822224" cy="720720"/>
            <a:chOff x="5070521" y="2565507"/>
            <a:chExt cx="838949" cy="735380"/>
          </a:xfrm>
        </p:grpSpPr>
        <p:grpSp>
          <p:nvGrpSpPr>
            <p:cNvPr id="2917" name="Group 2916"/>
            <p:cNvGrpSpPr/>
            <p:nvPr/>
          </p:nvGrpSpPr>
          <p:grpSpPr>
            <a:xfrm>
              <a:off x="5070521" y="2565507"/>
              <a:ext cx="692660" cy="678561"/>
              <a:chOff x="5178899" y="2671679"/>
              <a:chExt cx="584282" cy="572389"/>
            </a:xfrm>
          </p:grpSpPr>
          <p:sp>
            <p:nvSpPr>
              <p:cNvPr id="2402" name="Freeform 6"/>
              <p:cNvSpPr>
                <a:spLocks/>
              </p:cNvSpPr>
              <p:nvPr/>
            </p:nvSpPr>
            <p:spPr bwMode="auto">
              <a:xfrm flipH="1">
                <a:off x="5281581" y="3123471"/>
                <a:ext cx="356328" cy="77003"/>
              </a:xfrm>
              <a:custGeom>
                <a:avLst/>
                <a:gdLst>
                  <a:gd name="T0" fmla="*/ 3851 w 3851"/>
                  <a:gd name="T1" fmla="*/ 414 h 828"/>
                  <a:gd name="T2" fmla="*/ 3849 w 3851"/>
                  <a:gd name="T3" fmla="*/ 393 h 828"/>
                  <a:gd name="T4" fmla="*/ 3841 w 3851"/>
                  <a:gd name="T5" fmla="*/ 371 h 828"/>
                  <a:gd name="T6" fmla="*/ 3813 w 3851"/>
                  <a:gd name="T7" fmla="*/ 331 h 828"/>
                  <a:gd name="T8" fmla="*/ 3764 w 3851"/>
                  <a:gd name="T9" fmla="*/ 290 h 828"/>
                  <a:gd name="T10" fmla="*/ 3700 w 3851"/>
                  <a:gd name="T11" fmla="*/ 252 h 828"/>
                  <a:gd name="T12" fmla="*/ 3619 w 3851"/>
                  <a:gd name="T13" fmla="*/ 216 h 828"/>
                  <a:gd name="T14" fmla="*/ 3523 w 3851"/>
                  <a:gd name="T15" fmla="*/ 182 h 828"/>
                  <a:gd name="T16" fmla="*/ 3412 w 3851"/>
                  <a:gd name="T17" fmla="*/ 150 h 828"/>
                  <a:gd name="T18" fmla="*/ 3288 w 3851"/>
                  <a:gd name="T19" fmla="*/ 120 h 828"/>
                  <a:gd name="T20" fmla="*/ 3151 w 3851"/>
                  <a:gd name="T21" fmla="*/ 94 h 828"/>
                  <a:gd name="T22" fmla="*/ 3002 w 3851"/>
                  <a:gd name="T23" fmla="*/ 70 h 828"/>
                  <a:gd name="T24" fmla="*/ 2674 w 3851"/>
                  <a:gd name="T25" fmla="*/ 32 h 828"/>
                  <a:gd name="T26" fmla="*/ 2313 w 3851"/>
                  <a:gd name="T27" fmla="*/ 7 h 828"/>
                  <a:gd name="T28" fmla="*/ 1925 w 3851"/>
                  <a:gd name="T29" fmla="*/ 0 h 828"/>
                  <a:gd name="T30" fmla="*/ 1730 w 3851"/>
                  <a:gd name="T31" fmla="*/ 2 h 828"/>
                  <a:gd name="T32" fmla="*/ 1353 w 3851"/>
                  <a:gd name="T33" fmla="*/ 17 h 828"/>
                  <a:gd name="T34" fmla="*/ 1009 w 3851"/>
                  <a:gd name="T35" fmla="*/ 49 h 828"/>
                  <a:gd name="T36" fmla="*/ 774 w 3851"/>
                  <a:gd name="T37" fmla="*/ 81 h 828"/>
                  <a:gd name="T38" fmla="*/ 631 w 3851"/>
                  <a:gd name="T39" fmla="*/ 107 h 828"/>
                  <a:gd name="T40" fmla="*/ 501 w 3851"/>
                  <a:gd name="T41" fmla="*/ 135 h 828"/>
                  <a:gd name="T42" fmla="*/ 382 w 3851"/>
                  <a:gd name="T43" fmla="*/ 166 h 828"/>
                  <a:gd name="T44" fmla="*/ 279 w 3851"/>
                  <a:gd name="T45" fmla="*/ 199 h 828"/>
                  <a:gd name="T46" fmla="*/ 191 w 3851"/>
                  <a:gd name="T47" fmla="*/ 233 h 828"/>
                  <a:gd name="T48" fmla="*/ 117 w 3851"/>
                  <a:gd name="T49" fmla="*/ 271 h 828"/>
                  <a:gd name="T50" fmla="*/ 61 w 3851"/>
                  <a:gd name="T51" fmla="*/ 310 h 828"/>
                  <a:gd name="T52" fmla="*/ 23 w 3851"/>
                  <a:gd name="T53" fmla="*/ 350 h 828"/>
                  <a:gd name="T54" fmla="*/ 6 w 3851"/>
                  <a:gd name="T55" fmla="*/ 382 h 828"/>
                  <a:gd name="T56" fmla="*/ 0 w 3851"/>
                  <a:gd name="T57" fmla="*/ 403 h 828"/>
                  <a:gd name="T58" fmla="*/ 0 w 3851"/>
                  <a:gd name="T59" fmla="*/ 414 h 828"/>
                  <a:gd name="T60" fmla="*/ 2 w 3851"/>
                  <a:gd name="T61" fmla="*/ 435 h 828"/>
                  <a:gd name="T62" fmla="*/ 10 w 3851"/>
                  <a:gd name="T63" fmla="*/ 457 h 828"/>
                  <a:gd name="T64" fmla="*/ 40 w 3851"/>
                  <a:gd name="T65" fmla="*/ 497 h 828"/>
                  <a:gd name="T66" fmla="*/ 87 w 3851"/>
                  <a:gd name="T67" fmla="*/ 538 h 828"/>
                  <a:gd name="T68" fmla="*/ 151 w 3851"/>
                  <a:gd name="T69" fmla="*/ 576 h 828"/>
                  <a:gd name="T70" fmla="*/ 234 w 3851"/>
                  <a:gd name="T71" fmla="*/ 612 h 828"/>
                  <a:gd name="T72" fmla="*/ 330 w 3851"/>
                  <a:gd name="T73" fmla="*/ 645 h 828"/>
                  <a:gd name="T74" fmla="*/ 441 w 3851"/>
                  <a:gd name="T75" fmla="*/ 677 h 828"/>
                  <a:gd name="T76" fmla="*/ 565 w 3851"/>
                  <a:gd name="T77" fmla="*/ 708 h 828"/>
                  <a:gd name="T78" fmla="*/ 700 w 3851"/>
                  <a:gd name="T79" fmla="*/ 734 h 828"/>
                  <a:gd name="T80" fmla="*/ 849 w 3851"/>
                  <a:gd name="T81" fmla="*/ 758 h 828"/>
                  <a:gd name="T82" fmla="*/ 1177 w 3851"/>
                  <a:gd name="T83" fmla="*/ 796 h 828"/>
                  <a:gd name="T84" fmla="*/ 1538 w 3851"/>
                  <a:gd name="T85" fmla="*/ 820 h 828"/>
                  <a:gd name="T86" fmla="*/ 1925 w 3851"/>
                  <a:gd name="T87" fmla="*/ 828 h 828"/>
                  <a:gd name="T88" fmla="*/ 2123 w 3851"/>
                  <a:gd name="T89" fmla="*/ 826 h 828"/>
                  <a:gd name="T90" fmla="*/ 2498 w 3851"/>
                  <a:gd name="T91" fmla="*/ 811 h 828"/>
                  <a:gd name="T92" fmla="*/ 2844 w 3851"/>
                  <a:gd name="T93" fmla="*/ 779 h 828"/>
                  <a:gd name="T94" fmla="*/ 3077 w 3851"/>
                  <a:gd name="T95" fmla="*/ 747 h 828"/>
                  <a:gd name="T96" fmla="*/ 3220 w 3851"/>
                  <a:gd name="T97" fmla="*/ 721 h 828"/>
                  <a:gd name="T98" fmla="*/ 3352 w 3851"/>
                  <a:gd name="T99" fmla="*/ 692 h 828"/>
                  <a:gd name="T100" fmla="*/ 3469 w 3851"/>
                  <a:gd name="T101" fmla="*/ 662 h 828"/>
                  <a:gd name="T102" fmla="*/ 3572 w 3851"/>
                  <a:gd name="T103" fmla="*/ 629 h 828"/>
                  <a:gd name="T104" fmla="*/ 3660 w 3851"/>
                  <a:gd name="T105" fmla="*/ 595 h 828"/>
                  <a:gd name="T106" fmla="*/ 3734 w 3851"/>
                  <a:gd name="T107" fmla="*/ 557 h 828"/>
                  <a:gd name="T108" fmla="*/ 3790 w 3851"/>
                  <a:gd name="T109" fmla="*/ 517 h 828"/>
                  <a:gd name="T110" fmla="*/ 3830 w 3851"/>
                  <a:gd name="T111" fmla="*/ 478 h 828"/>
                  <a:gd name="T112" fmla="*/ 3845 w 3851"/>
                  <a:gd name="T113" fmla="*/ 446 h 828"/>
                  <a:gd name="T114" fmla="*/ 3851 w 3851"/>
                  <a:gd name="T115" fmla="*/ 425 h 828"/>
                  <a:gd name="T116" fmla="*/ 3851 w 3851"/>
                  <a:gd name="T117" fmla="*/ 414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51" h="828">
                    <a:moveTo>
                      <a:pt x="3851" y="414"/>
                    </a:moveTo>
                    <a:lnTo>
                      <a:pt x="3851" y="414"/>
                    </a:lnTo>
                    <a:lnTo>
                      <a:pt x="3851" y="403"/>
                    </a:lnTo>
                    <a:lnTo>
                      <a:pt x="3849" y="393"/>
                    </a:lnTo>
                    <a:lnTo>
                      <a:pt x="3845" y="382"/>
                    </a:lnTo>
                    <a:lnTo>
                      <a:pt x="3841" y="371"/>
                    </a:lnTo>
                    <a:lnTo>
                      <a:pt x="3830" y="350"/>
                    </a:lnTo>
                    <a:lnTo>
                      <a:pt x="3813" y="331"/>
                    </a:lnTo>
                    <a:lnTo>
                      <a:pt x="3790" y="310"/>
                    </a:lnTo>
                    <a:lnTo>
                      <a:pt x="3764" y="290"/>
                    </a:lnTo>
                    <a:lnTo>
                      <a:pt x="3734" y="271"/>
                    </a:lnTo>
                    <a:lnTo>
                      <a:pt x="3700" y="252"/>
                    </a:lnTo>
                    <a:lnTo>
                      <a:pt x="3660" y="233"/>
                    </a:lnTo>
                    <a:lnTo>
                      <a:pt x="3619" y="216"/>
                    </a:lnTo>
                    <a:lnTo>
                      <a:pt x="3572" y="199"/>
                    </a:lnTo>
                    <a:lnTo>
                      <a:pt x="3523" y="182"/>
                    </a:lnTo>
                    <a:lnTo>
                      <a:pt x="3469" y="166"/>
                    </a:lnTo>
                    <a:lnTo>
                      <a:pt x="3412" y="150"/>
                    </a:lnTo>
                    <a:lnTo>
                      <a:pt x="3352" y="135"/>
                    </a:lnTo>
                    <a:lnTo>
                      <a:pt x="3288" y="120"/>
                    </a:lnTo>
                    <a:lnTo>
                      <a:pt x="3220" y="107"/>
                    </a:lnTo>
                    <a:lnTo>
                      <a:pt x="3151" y="94"/>
                    </a:lnTo>
                    <a:lnTo>
                      <a:pt x="3077" y="81"/>
                    </a:lnTo>
                    <a:lnTo>
                      <a:pt x="3002" y="70"/>
                    </a:lnTo>
                    <a:lnTo>
                      <a:pt x="2844" y="49"/>
                    </a:lnTo>
                    <a:lnTo>
                      <a:pt x="2674" y="32"/>
                    </a:lnTo>
                    <a:lnTo>
                      <a:pt x="2498" y="17"/>
                    </a:lnTo>
                    <a:lnTo>
                      <a:pt x="2313" y="7"/>
                    </a:lnTo>
                    <a:lnTo>
                      <a:pt x="2123" y="2"/>
                    </a:lnTo>
                    <a:lnTo>
                      <a:pt x="1925" y="0"/>
                    </a:lnTo>
                    <a:lnTo>
                      <a:pt x="1925" y="0"/>
                    </a:lnTo>
                    <a:lnTo>
                      <a:pt x="1730" y="2"/>
                    </a:lnTo>
                    <a:lnTo>
                      <a:pt x="1538" y="7"/>
                    </a:lnTo>
                    <a:lnTo>
                      <a:pt x="1353" y="17"/>
                    </a:lnTo>
                    <a:lnTo>
                      <a:pt x="1177" y="32"/>
                    </a:lnTo>
                    <a:lnTo>
                      <a:pt x="1009" y="49"/>
                    </a:lnTo>
                    <a:lnTo>
                      <a:pt x="849" y="70"/>
                    </a:lnTo>
                    <a:lnTo>
                      <a:pt x="774" y="81"/>
                    </a:lnTo>
                    <a:lnTo>
                      <a:pt x="700" y="94"/>
                    </a:lnTo>
                    <a:lnTo>
                      <a:pt x="631" y="107"/>
                    </a:lnTo>
                    <a:lnTo>
                      <a:pt x="565" y="120"/>
                    </a:lnTo>
                    <a:lnTo>
                      <a:pt x="501" y="135"/>
                    </a:lnTo>
                    <a:lnTo>
                      <a:pt x="441" y="150"/>
                    </a:lnTo>
                    <a:lnTo>
                      <a:pt x="382" y="166"/>
                    </a:lnTo>
                    <a:lnTo>
                      <a:pt x="330" y="182"/>
                    </a:lnTo>
                    <a:lnTo>
                      <a:pt x="279" y="199"/>
                    </a:lnTo>
                    <a:lnTo>
                      <a:pt x="234" y="216"/>
                    </a:lnTo>
                    <a:lnTo>
                      <a:pt x="191" y="233"/>
                    </a:lnTo>
                    <a:lnTo>
                      <a:pt x="151" y="252"/>
                    </a:lnTo>
                    <a:lnTo>
                      <a:pt x="117" y="271"/>
                    </a:lnTo>
                    <a:lnTo>
                      <a:pt x="87" y="290"/>
                    </a:lnTo>
                    <a:lnTo>
                      <a:pt x="61" y="310"/>
                    </a:lnTo>
                    <a:lnTo>
                      <a:pt x="40" y="331"/>
                    </a:lnTo>
                    <a:lnTo>
                      <a:pt x="23" y="350"/>
                    </a:lnTo>
                    <a:lnTo>
                      <a:pt x="10" y="371"/>
                    </a:lnTo>
                    <a:lnTo>
                      <a:pt x="6" y="382"/>
                    </a:lnTo>
                    <a:lnTo>
                      <a:pt x="2" y="393"/>
                    </a:lnTo>
                    <a:lnTo>
                      <a:pt x="0" y="403"/>
                    </a:lnTo>
                    <a:lnTo>
                      <a:pt x="0" y="414"/>
                    </a:lnTo>
                    <a:lnTo>
                      <a:pt x="0" y="414"/>
                    </a:lnTo>
                    <a:lnTo>
                      <a:pt x="0" y="425"/>
                    </a:lnTo>
                    <a:lnTo>
                      <a:pt x="2" y="435"/>
                    </a:lnTo>
                    <a:lnTo>
                      <a:pt x="6" y="446"/>
                    </a:lnTo>
                    <a:lnTo>
                      <a:pt x="10" y="457"/>
                    </a:lnTo>
                    <a:lnTo>
                      <a:pt x="23" y="478"/>
                    </a:lnTo>
                    <a:lnTo>
                      <a:pt x="40" y="497"/>
                    </a:lnTo>
                    <a:lnTo>
                      <a:pt x="61" y="517"/>
                    </a:lnTo>
                    <a:lnTo>
                      <a:pt x="87" y="538"/>
                    </a:lnTo>
                    <a:lnTo>
                      <a:pt x="117" y="557"/>
                    </a:lnTo>
                    <a:lnTo>
                      <a:pt x="151" y="576"/>
                    </a:lnTo>
                    <a:lnTo>
                      <a:pt x="191" y="595"/>
                    </a:lnTo>
                    <a:lnTo>
                      <a:pt x="234" y="612"/>
                    </a:lnTo>
                    <a:lnTo>
                      <a:pt x="279" y="629"/>
                    </a:lnTo>
                    <a:lnTo>
                      <a:pt x="330" y="645"/>
                    </a:lnTo>
                    <a:lnTo>
                      <a:pt x="382" y="662"/>
                    </a:lnTo>
                    <a:lnTo>
                      <a:pt x="441" y="677"/>
                    </a:lnTo>
                    <a:lnTo>
                      <a:pt x="501" y="692"/>
                    </a:lnTo>
                    <a:lnTo>
                      <a:pt x="565" y="708"/>
                    </a:lnTo>
                    <a:lnTo>
                      <a:pt x="631" y="721"/>
                    </a:lnTo>
                    <a:lnTo>
                      <a:pt x="700" y="734"/>
                    </a:lnTo>
                    <a:lnTo>
                      <a:pt x="774" y="747"/>
                    </a:lnTo>
                    <a:lnTo>
                      <a:pt x="849" y="758"/>
                    </a:lnTo>
                    <a:lnTo>
                      <a:pt x="1009" y="779"/>
                    </a:lnTo>
                    <a:lnTo>
                      <a:pt x="1177" y="796"/>
                    </a:lnTo>
                    <a:lnTo>
                      <a:pt x="1353" y="811"/>
                    </a:lnTo>
                    <a:lnTo>
                      <a:pt x="1538" y="820"/>
                    </a:lnTo>
                    <a:lnTo>
                      <a:pt x="1730" y="826"/>
                    </a:lnTo>
                    <a:lnTo>
                      <a:pt x="1925" y="828"/>
                    </a:lnTo>
                    <a:lnTo>
                      <a:pt x="1925" y="828"/>
                    </a:lnTo>
                    <a:lnTo>
                      <a:pt x="2123" y="826"/>
                    </a:lnTo>
                    <a:lnTo>
                      <a:pt x="2313" y="820"/>
                    </a:lnTo>
                    <a:lnTo>
                      <a:pt x="2498" y="811"/>
                    </a:lnTo>
                    <a:lnTo>
                      <a:pt x="2674" y="796"/>
                    </a:lnTo>
                    <a:lnTo>
                      <a:pt x="2844" y="779"/>
                    </a:lnTo>
                    <a:lnTo>
                      <a:pt x="3002" y="758"/>
                    </a:lnTo>
                    <a:lnTo>
                      <a:pt x="3077" y="747"/>
                    </a:lnTo>
                    <a:lnTo>
                      <a:pt x="3151" y="734"/>
                    </a:lnTo>
                    <a:lnTo>
                      <a:pt x="3220" y="721"/>
                    </a:lnTo>
                    <a:lnTo>
                      <a:pt x="3288" y="708"/>
                    </a:lnTo>
                    <a:lnTo>
                      <a:pt x="3352" y="692"/>
                    </a:lnTo>
                    <a:lnTo>
                      <a:pt x="3412" y="677"/>
                    </a:lnTo>
                    <a:lnTo>
                      <a:pt x="3469" y="662"/>
                    </a:lnTo>
                    <a:lnTo>
                      <a:pt x="3523" y="645"/>
                    </a:lnTo>
                    <a:lnTo>
                      <a:pt x="3572" y="629"/>
                    </a:lnTo>
                    <a:lnTo>
                      <a:pt x="3619" y="612"/>
                    </a:lnTo>
                    <a:lnTo>
                      <a:pt x="3660" y="595"/>
                    </a:lnTo>
                    <a:lnTo>
                      <a:pt x="3700" y="576"/>
                    </a:lnTo>
                    <a:lnTo>
                      <a:pt x="3734" y="557"/>
                    </a:lnTo>
                    <a:lnTo>
                      <a:pt x="3764" y="538"/>
                    </a:lnTo>
                    <a:lnTo>
                      <a:pt x="3790" y="517"/>
                    </a:lnTo>
                    <a:lnTo>
                      <a:pt x="3813" y="497"/>
                    </a:lnTo>
                    <a:lnTo>
                      <a:pt x="3830" y="478"/>
                    </a:lnTo>
                    <a:lnTo>
                      <a:pt x="3841" y="457"/>
                    </a:lnTo>
                    <a:lnTo>
                      <a:pt x="3845" y="446"/>
                    </a:lnTo>
                    <a:lnTo>
                      <a:pt x="3849" y="435"/>
                    </a:lnTo>
                    <a:lnTo>
                      <a:pt x="3851" y="425"/>
                    </a:lnTo>
                    <a:lnTo>
                      <a:pt x="3851" y="414"/>
                    </a:lnTo>
                    <a:lnTo>
                      <a:pt x="3851" y="414"/>
                    </a:lnTo>
                    <a:close/>
                  </a:path>
                </a:pathLst>
              </a:custGeom>
              <a:solidFill>
                <a:srgbClr val="FFFFFF">
                  <a:lumMod val="8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1" name="Freeform 8"/>
              <p:cNvSpPr>
                <a:spLocks/>
              </p:cNvSpPr>
              <p:nvPr/>
            </p:nvSpPr>
            <p:spPr bwMode="auto">
              <a:xfrm flipH="1">
                <a:off x="5281581" y="3161977"/>
                <a:ext cx="356328" cy="50032"/>
              </a:xfrm>
              <a:custGeom>
                <a:avLst/>
                <a:gdLst>
                  <a:gd name="T0" fmla="*/ 1925 w 3851"/>
                  <a:gd name="T1" fmla="*/ 414 h 536"/>
                  <a:gd name="T2" fmla="*/ 1538 w 3851"/>
                  <a:gd name="T3" fmla="*/ 406 h 536"/>
                  <a:gd name="T4" fmla="*/ 1177 w 3851"/>
                  <a:gd name="T5" fmla="*/ 382 h 536"/>
                  <a:gd name="T6" fmla="*/ 849 w 3851"/>
                  <a:gd name="T7" fmla="*/ 344 h 536"/>
                  <a:gd name="T8" fmla="*/ 700 w 3851"/>
                  <a:gd name="T9" fmla="*/ 320 h 536"/>
                  <a:gd name="T10" fmla="*/ 565 w 3851"/>
                  <a:gd name="T11" fmla="*/ 294 h 536"/>
                  <a:gd name="T12" fmla="*/ 441 w 3851"/>
                  <a:gd name="T13" fmla="*/ 263 h 536"/>
                  <a:gd name="T14" fmla="*/ 330 w 3851"/>
                  <a:gd name="T15" fmla="*/ 231 h 536"/>
                  <a:gd name="T16" fmla="*/ 234 w 3851"/>
                  <a:gd name="T17" fmla="*/ 198 h 536"/>
                  <a:gd name="T18" fmla="*/ 151 w 3851"/>
                  <a:gd name="T19" fmla="*/ 162 h 536"/>
                  <a:gd name="T20" fmla="*/ 87 w 3851"/>
                  <a:gd name="T21" fmla="*/ 124 h 536"/>
                  <a:gd name="T22" fmla="*/ 40 w 3851"/>
                  <a:gd name="T23" fmla="*/ 83 h 536"/>
                  <a:gd name="T24" fmla="*/ 10 w 3851"/>
                  <a:gd name="T25" fmla="*/ 43 h 536"/>
                  <a:gd name="T26" fmla="*/ 2 w 3851"/>
                  <a:gd name="T27" fmla="*/ 21 h 536"/>
                  <a:gd name="T28" fmla="*/ 0 w 3851"/>
                  <a:gd name="T29" fmla="*/ 0 h 536"/>
                  <a:gd name="T30" fmla="*/ 0 w 3851"/>
                  <a:gd name="T31" fmla="*/ 122 h 536"/>
                  <a:gd name="T32" fmla="*/ 0 w 3851"/>
                  <a:gd name="T33" fmla="*/ 132 h 536"/>
                  <a:gd name="T34" fmla="*/ 6 w 3851"/>
                  <a:gd name="T35" fmla="*/ 154 h 536"/>
                  <a:gd name="T36" fmla="*/ 23 w 3851"/>
                  <a:gd name="T37" fmla="*/ 184 h 536"/>
                  <a:gd name="T38" fmla="*/ 61 w 3851"/>
                  <a:gd name="T39" fmla="*/ 226 h 536"/>
                  <a:gd name="T40" fmla="*/ 117 w 3851"/>
                  <a:gd name="T41" fmla="*/ 265 h 536"/>
                  <a:gd name="T42" fmla="*/ 191 w 3851"/>
                  <a:gd name="T43" fmla="*/ 301 h 536"/>
                  <a:gd name="T44" fmla="*/ 279 w 3851"/>
                  <a:gd name="T45" fmla="*/ 337 h 536"/>
                  <a:gd name="T46" fmla="*/ 382 w 3851"/>
                  <a:gd name="T47" fmla="*/ 371 h 536"/>
                  <a:gd name="T48" fmla="*/ 501 w 3851"/>
                  <a:gd name="T49" fmla="*/ 401 h 536"/>
                  <a:gd name="T50" fmla="*/ 631 w 3851"/>
                  <a:gd name="T51" fmla="*/ 429 h 536"/>
                  <a:gd name="T52" fmla="*/ 774 w 3851"/>
                  <a:gd name="T53" fmla="*/ 454 h 536"/>
                  <a:gd name="T54" fmla="*/ 1009 w 3851"/>
                  <a:gd name="T55" fmla="*/ 487 h 536"/>
                  <a:gd name="T56" fmla="*/ 1353 w 3851"/>
                  <a:gd name="T57" fmla="*/ 518 h 536"/>
                  <a:gd name="T58" fmla="*/ 1730 w 3851"/>
                  <a:gd name="T59" fmla="*/ 534 h 536"/>
                  <a:gd name="T60" fmla="*/ 1925 w 3851"/>
                  <a:gd name="T61" fmla="*/ 536 h 536"/>
                  <a:gd name="T62" fmla="*/ 2313 w 3851"/>
                  <a:gd name="T63" fmla="*/ 529 h 536"/>
                  <a:gd name="T64" fmla="*/ 2674 w 3851"/>
                  <a:gd name="T65" fmla="*/ 504 h 536"/>
                  <a:gd name="T66" fmla="*/ 3002 w 3851"/>
                  <a:gd name="T67" fmla="*/ 467 h 536"/>
                  <a:gd name="T68" fmla="*/ 3151 w 3851"/>
                  <a:gd name="T69" fmla="*/ 442 h 536"/>
                  <a:gd name="T70" fmla="*/ 3288 w 3851"/>
                  <a:gd name="T71" fmla="*/ 416 h 536"/>
                  <a:gd name="T72" fmla="*/ 3412 w 3851"/>
                  <a:gd name="T73" fmla="*/ 386 h 536"/>
                  <a:gd name="T74" fmla="*/ 3523 w 3851"/>
                  <a:gd name="T75" fmla="*/ 354 h 536"/>
                  <a:gd name="T76" fmla="*/ 3619 w 3851"/>
                  <a:gd name="T77" fmla="*/ 320 h 536"/>
                  <a:gd name="T78" fmla="*/ 3700 w 3851"/>
                  <a:gd name="T79" fmla="*/ 284 h 536"/>
                  <a:gd name="T80" fmla="*/ 3764 w 3851"/>
                  <a:gd name="T81" fmla="*/ 245 h 536"/>
                  <a:gd name="T82" fmla="*/ 3813 w 3851"/>
                  <a:gd name="T83" fmla="*/ 205 h 536"/>
                  <a:gd name="T84" fmla="*/ 3841 w 3851"/>
                  <a:gd name="T85" fmla="*/ 164 h 536"/>
                  <a:gd name="T86" fmla="*/ 3849 w 3851"/>
                  <a:gd name="T87" fmla="*/ 143 h 536"/>
                  <a:gd name="T88" fmla="*/ 3851 w 3851"/>
                  <a:gd name="T89" fmla="*/ 122 h 536"/>
                  <a:gd name="T90" fmla="*/ 3849 w 3851"/>
                  <a:gd name="T91" fmla="*/ 17 h 536"/>
                  <a:gd name="T92" fmla="*/ 3847 w 3851"/>
                  <a:gd name="T93" fmla="*/ 28 h 536"/>
                  <a:gd name="T94" fmla="*/ 3832 w 3851"/>
                  <a:gd name="T95" fmla="*/ 58 h 536"/>
                  <a:gd name="T96" fmla="*/ 3798 w 3851"/>
                  <a:gd name="T97" fmla="*/ 98 h 536"/>
                  <a:gd name="T98" fmla="*/ 3745 w 3851"/>
                  <a:gd name="T99" fmla="*/ 135 h 536"/>
                  <a:gd name="T100" fmla="*/ 3677 w 3851"/>
                  <a:gd name="T101" fmla="*/ 173 h 536"/>
                  <a:gd name="T102" fmla="*/ 3595 w 3851"/>
                  <a:gd name="T103" fmla="*/ 207 h 536"/>
                  <a:gd name="T104" fmla="*/ 3497 w 3851"/>
                  <a:gd name="T105" fmla="*/ 241 h 536"/>
                  <a:gd name="T106" fmla="*/ 3384 w 3851"/>
                  <a:gd name="T107" fmla="*/ 271 h 536"/>
                  <a:gd name="T108" fmla="*/ 3262 w 3851"/>
                  <a:gd name="T109" fmla="*/ 299 h 536"/>
                  <a:gd name="T110" fmla="*/ 3126 w 3851"/>
                  <a:gd name="T111" fmla="*/ 324 h 536"/>
                  <a:gd name="T112" fmla="*/ 2823 w 3851"/>
                  <a:gd name="T113" fmla="*/ 367 h 536"/>
                  <a:gd name="T114" fmla="*/ 2484 w 3851"/>
                  <a:gd name="T115" fmla="*/ 397 h 536"/>
                  <a:gd name="T116" fmla="*/ 2117 w 3851"/>
                  <a:gd name="T117" fmla="*/ 412 h 536"/>
                  <a:gd name="T118" fmla="*/ 1925 w 3851"/>
                  <a:gd name="T119" fmla="*/ 414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51" h="536">
                    <a:moveTo>
                      <a:pt x="1925" y="414"/>
                    </a:moveTo>
                    <a:lnTo>
                      <a:pt x="1925" y="414"/>
                    </a:lnTo>
                    <a:lnTo>
                      <a:pt x="1730" y="412"/>
                    </a:lnTo>
                    <a:lnTo>
                      <a:pt x="1538" y="406"/>
                    </a:lnTo>
                    <a:lnTo>
                      <a:pt x="1353" y="397"/>
                    </a:lnTo>
                    <a:lnTo>
                      <a:pt x="1177" y="382"/>
                    </a:lnTo>
                    <a:lnTo>
                      <a:pt x="1009" y="365"/>
                    </a:lnTo>
                    <a:lnTo>
                      <a:pt x="849" y="344"/>
                    </a:lnTo>
                    <a:lnTo>
                      <a:pt x="774" y="333"/>
                    </a:lnTo>
                    <a:lnTo>
                      <a:pt x="700" y="320"/>
                    </a:lnTo>
                    <a:lnTo>
                      <a:pt x="631" y="307"/>
                    </a:lnTo>
                    <a:lnTo>
                      <a:pt x="565" y="294"/>
                    </a:lnTo>
                    <a:lnTo>
                      <a:pt x="501" y="278"/>
                    </a:lnTo>
                    <a:lnTo>
                      <a:pt x="441" y="263"/>
                    </a:lnTo>
                    <a:lnTo>
                      <a:pt x="382" y="248"/>
                    </a:lnTo>
                    <a:lnTo>
                      <a:pt x="330" y="231"/>
                    </a:lnTo>
                    <a:lnTo>
                      <a:pt x="279" y="215"/>
                    </a:lnTo>
                    <a:lnTo>
                      <a:pt x="234" y="198"/>
                    </a:lnTo>
                    <a:lnTo>
                      <a:pt x="191" y="181"/>
                    </a:lnTo>
                    <a:lnTo>
                      <a:pt x="151" y="162"/>
                    </a:lnTo>
                    <a:lnTo>
                      <a:pt x="117" y="143"/>
                    </a:lnTo>
                    <a:lnTo>
                      <a:pt x="87" y="124"/>
                    </a:lnTo>
                    <a:lnTo>
                      <a:pt x="61" y="103"/>
                    </a:lnTo>
                    <a:lnTo>
                      <a:pt x="40" y="83"/>
                    </a:lnTo>
                    <a:lnTo>
                      <a:pt x="23" y="64"/>
                    </a:lnTo>
                    <a:lnTo>
                      <a:pt x="10" y="43"/>
                    </a:lnTo>
                    <a:lnTo>
                      <a:pt x="6" y="32"/>
                    </a:lnTo>
                    <a:lnTo>
                      <a:pt x="2" y="21"/>
                    </a:lnTo>
                    <a:lnTo>
                      <a:pt x="0" y="11"/>
                    </a:lnTo>
                    <a:lnTo>
                      <a:pt x="0" y="0"/>
                    </a:lnTo>
                    <a:lnTo>
                      <a:pt x="0" y="0"/>
                    </a:lnTo>
                    <a:lnTo>
                      <a:pt x="0" y="122"/>
                    </a:lnTo>
                    <a:lnTo>
                      <a:pt x="0" y="122"/>
                    </a:lnTo>
                    <a:lnTo>
                      <a:pt x="0" y="132"/>
                    </a:lnTo>
                    <a:lnTo>
                      <a:pt x="2" y="143"/>
                    </a:lnTo>
                    <a:lnTo>
                      <a:pt x="6" y="154"/>
                    </a:lnTo>
                    <a:lnTo>
                      <a:pt x="10" y="164"/>
                    </a:lnTo>
                    <a:lnTo>
                      <a:pt x="23" y="184"/>
                    </a:lnTo>
                    <a:lnTo>
                      <a:pt x="40" y="205"/>
                    </a:lnTo>
                    <a:lnTo>
                      <a:pt x="61" y="226"/>
                    </a:lnTo>
                    <a:lnTo>
                      <a:pt x="87" y="245"/>
                    </a:lnTo>
                    <a:lnTo>
                      <a:pt x="117" y="265"/>
                    </a:lnTo>
                    <a:lnTo>
                      <a:pt x="151" y="284"/>
                    </a:lnTo>
                    <a:lnTo>
                      <a:pt x="191" y="301"/>
                    </a:lnTo>
                    <a:lnTo>
                      <a:pt x="234" y="320"/>
                    </a:lnTo>
                    <a:lnTo>
                      <a:pt x="279" y="337"/>
                    </a:lnTo>
                    <a:lnTo>
                      <a:pt x="330" y="354"/>
                    </a:lnTo>
                    <a:lnTo>
                      <a:pt x="382" y="371"/>
                    </a:lnTo>
                    <a:lnTo>
                      <a:pt x="441" y="386"/>
                    </a:lnTo>
                    <a:lnTo>
                      <a:pt x="501" y="401"/>
                    </a:lnTo>
                    <a:lnTo>
                      <a:pt x="565" y="416"/>
                    </a:lnTo>
                    <a:lnTo>
                      <a:pt x="631" y="429"/>
                    </a:lnTo>
                    <a:lnTo>
                      <a:pt x="700" y="442"/>
                    </a:lnTo>
                    <a:lnTo>
                      <a:pt x="774" y="454"/>
                    </a:lnTo>
                    <a:lnTo>
                      <a:pt x="849" y="467"/>
                    </a:lnTo>
                    <a:lnTo>
                      <a:pt x="1009" y="487"/>
                    </a:lnTo>
                    <a:lnTo>
                      <a:pt x="1177" y="504"/>
                    </a:lnTo>
                    <a:lnTo>
                      <a:pt x="1353" y="518"/>
                    </a:lnTo>
                    <a:lnTo>
                      <a:pt x="1538" y="529"/>
                    </a:lnTo>
                    <a:lnTo>
                      <a:pt x="1730" y="534"/>
                    </a:lnTo>
                    <a:lnTo>
                      <a:pt x="1925" y="536"/>
                    </a:lnTo>
                    <a:lnTo>
                      <a:pt x="1925" y="536"/>
                    </a:lnTo>
                    <a:lnTo>
                      <a:pt x="2123" y="534"/>
                    </a:lnTo>
                    <a:lnTo>
                      <a:pt x="2313" y="529"/>
                    </a:lnTo>
                    <a:lnTo>
                      <a:pt x="2498" y="518"/>
                    </a:lnTo>
                    <a:lnTo>
                      <a:pt x="2674" y="504"/>
                    </a:lnTo>
                    <a:lnTo>
                      <a:pt x="2844" y="487"/>
                    </a:lnTo>
                    <a:lnTo>
                      <a:pt x="3002" y="467"/>
                    </a:lnTo>
                    <a:lnTo>
                      <a:pt x="3077" y="454"/>
                    </a:lnTo>
                    <a:lnTo>
                      <a:pt x="3151" y="442"/>
                    </a:lnTo>
                    <a:lnTo>
                      <a:pt x="3220" y="429"/>
                    </a:lnTo>
                    <a:lnTo>
                      <a:pt x="3288" y="416"/>
                    </a:lnTo>
                    <a:lnTo>
                      <a:pt x="3352" y="401"/>
                    </a:lnTo>
                    <a:lnTo>
                      <a:pt x="3412" y="386"/>
                    </a:lnTo>
                    <a:lnTo>
                      <a:pt x="3469" y="371"/>
                    </a:lnTo>
                    <a:lnTo>
                      <a:pt x="3523" y="354"/>
                    </a:lnTo>
                    <a:lnTo>
                      <a:pt x="3572" y="337"/>
                    </a:lnTo>
                    <a:lnTo>
                      <a:pt x="3619" y="320"/>
                    </a:lnTo>
                    <a:lnTo>
                      <a:pt x="3660" y="301"/>
                    </a:lnTo>
                    <a:lnTo>
                      <a:pt x="3700" y="284"/>
                    </a:lnTo>
                    <a:lnTo>
                      <a:pt x="3734" y="265"/>
                    </a:lnTo>
                    <a:lnTo>
                      <a:pt x="3764" y="245"/>
                    </a:lnTo>
                    <a:lnTo>
                      <a:pt x="3790" y="226"/>
                    </a:lnTo>
                    <a:lnTo>
                      <a:pt x="3813" y="205"/>
                    </a:lnTo>
                    <a:lnTo>
                      <a:pt x="3830" y="184"/>
                    </a:lnTo>
                    <a:lnTo>
                      <a:pt x="3841" y="164"/>
                    </a:lnTo>
                    <a:lnTo>
                      <a:pt x="3845" y="154"/>
                    </a:lnTo>
                    <a:lnTo>
                      <a:pt x="3849" y="143"/>
                    </a:lnTo>
                    <a:lnTo>
                      <a:pt x="3851" y="132"/>
                    </a:lnTo>
                    <a:lnTo>
                      <a:pt x="3851" y="122"/>
                    </a:lnTo>
                    <a:lnTo>
                      <a:pt x="3851" y="122"/>
                    </a:lnTo>
                    <a:lnTo>
                      <a:pt x="3849" y="17"/>
                    </a:lnTo>
                    <a:lnTo>
                      <a:pt x="3849" y="17"/>
                    </a:lnTo>
                    <a:lnTo>
                      <a:pt x="3847" y="28"/>
                    </a:lnTo>
                    <a:lnTo>
                      <a:pt x="3843" y="38"/>
                    </a:lnTo>
                    <a:lnTo>
                      <a:pt x="3832" y="58"/>
                    </a:lnTo>
                    <a:lnTo>
                      <a:pt x="3817" y="77"/>
                    </a:lnTo>
                    <a:lnTo>
                      <a:pt x="3798" y="98"/>
                    </a:lnTo>
                    <a:lnTo>
                      <a:pt x="3773" y="117"/>
                    </a:lnTo>
                    <a:lnTo>
                      <a:pt x="3745" y="135"/>
                    </a:lnTo>
                    <a:lnTo>
                      <a:pt x="3713" y="154"/>
                    </a:lnTo>
                    <a:lnTo>
                      <a:pt x="3677" y="173"/>
                    </a:lnTo>
                    <a:lnTo>
                      <a:pt x="3638" y="190"/>
                    </a:lnTo>
                    <a:lnTo>
                      <a:pt x="3595" y="207"/>
                    </a:lnTo>
                    <a:lnTo>
                      <a:pt x="3546" y="224"/>
                    </a:lnTo>
                    <a:lnTo>
                      <a:pt x="3497" y="241"/>
                    </a:lnTo>
                    <a:lnTo>
                      <a:pt x="3442" y="256"/>
                    </a:lnTo>
                    <a:lnTo>
                      <a:pt x="3384" y="271"/>
                    </a:lnTo>
                    <a:lnTo>
                      <a:pt x="3324" y="286"/>
                    </a:lnTo>
                    <a:lnTo>
                      <a:pt x="3262" y="299"/>
                    </a:lnTo>
                    <a:lnTo>
                      <a:pt x="3194" y="312"/>
                    </a:lnTo>
                    <a:lnTo>
                      <a:pt x="3126" y="324"/>
                    </a:lnTo>
                    <a:lnTo>
                      <a:pt x="2979" y="348"/>
                    </a:lnTo>
                    <a:lnTo>
                      <a:pt x="2823" y="367"/>
                    </a:lnTo>
                    <a:lnTo>
                      <a:pt x="2657" y="384"/>
                    </a:lnTo>
                    <a:lnTo>
                      <a:pt x="2484" y="397"/>
                    </a:lnTo>
                    <a:lnTo>
                      <a:pt x="2304" y="406"/>
                    </a:lnTo>
                    <a:lnTo>
                      <a:pt x="2117" y="412"/>
                    </a:lnTo>
                    <a:lnTo>
                      <a:pt x="1925" y="414"/>
                    </a:lnTo>
                    <a:lnTo>
                      <a:pt x="1925" y="414"/>
                    </a:lnTo>
                    <a:close/>
                  </a:path>
                </a:pathLst>
              </a:custGeom>
              <a:solidFill>
                <a:srgbClr val="505050">
                  <a:lumMod val="60000"/>
                  <a:lumOff val="40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2" name="Freeform 2411"/>
              <p:cNvSpPr>
                <a:spLocks/>
              </p:cNvSpPr>
              <p:nvPr/>
            </p:nvSpPr>
            <p:spPr bwMode="auto">
              <a:xfrm flipH="1">
                <a:off x="5412821" y="3084970"/>
                <a:ext cx="124392" cy="77003"/>
              </a:xfrm>
              <a:custGeom>
                <a:avLst/>
                <a:gdLst>
                  <a:gd name="T0" fmla="*/ 0 w 1346"/>
                  <a:gd name="T1" fmla="*/ 0 h 830"/>
                  <a:gd name="T2" fmla="*/ 459 w 1346"/>
                  <a:gd name="T3" fmla="*/ 734 h 830"/>
                  <a:gd name="T4" fmla="*/ 1346 w 1346"/>
                  <a:gd name="T5" fmla="*/ 830 h 830"/>
                  <a:gd name="T6" fmla="*/ 1088 w 1346"/>
                  <a:gd name="T7" fmla="*/ 0 h 830"/>
                  <a:gd name="T8" fmla="*/ 0 w 1346"/>
                  <a:gd name="T9" fmla="*/ 0 h 830"/>
                </a:gdLst>
                <a:ahLst/>
                <a:cxnLst>
                  <a:cxn ang="0">
                    <a:pos x="T0" y="T1"/>
                  </a:cxn>
                  <a:cxn ang="0">
                    <a:pos x="T2" y="T3"/>
                  </a:cxn>
                  <a:cxn ang="0">
                    <a:pos x="T4" y="T5"/>
                  </a:cxn>
                  <a:cxn ang="0">
                    <a:pos x="T6" y="T7"/>
                  </a:cxn>
                  <a:cxn ang="0">
                    <a:pos x="T8" y="T9"/>
                  </a:cxn>
                </a:cxnLst>
                <a:rect l="0" t="0" r="r" b="b"/>
                <a:pathLst>
                  <a:path w="1346" h="830">
                    <a:moveTo>
                      <a:pt x="0" y="0"/>
                    </a:moveTo>
                    <a:lnTo>
                      <a:pt x="459" y="734"/>
                    </a:lnTo>
                    <a:lnTo>
                      <a:pt x="1346" y="830"/>
                    </a:lnTo>
                    <a:lnTo>
                      <a:pt x="1088" y="0"/>
                    </a:lnTo>
                    <a:lnTo>
                      <a:pt x="0" y="0"/>
                    </a:lnTo>
                    <a:close/>
                  </a:path>
                </a:pathLst>
              </a:custGeom>
              <a:solidFill>
                <a:srgbClr val="FFFFFF">
                  <a:lumMod val="8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3" name="Freeform 7"/>
              <p:cNvSpPr>
                <a:spLocks/>
              </p:cNvSpPr>
              <p:nvPr/>
            </p:nvSpPr>
            <p:spPr bwMode="auto">
              <a:xfrm flipH="1">
                <a:off x="5221223" y="3159927"/>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FFFFFF"/>
              </a:solidFill>
              <a:ln w="4">
                <a:solidFill>
                  <a:srgbClr val="000000"/>
                </a:solid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4" name="Freeform 9"/>
              <p:cNvSpPr>
                <a:spLocks/>
              </p:cNvSpPr>
              <p:nvPr/>
            </p:nvSpPr>
            <p:spPr bwMode="auto">
              <a:xfrm flipH="1">
                <a:off x="5658979" y="3161601"/>
                <a:ext cx="0" cy="373"/>
              </a:xfrm>
              <a:custGeom>
                <a:avLst/>
                <a:gdLst>
                  <a:gd name="T0" fmla="*/ 0 h 6"/>
                  <a:gd name="T1" fmla="*/ 0 h 6"/>
                  <a:gd name="T2" fmla="*/ 6 h 6"/>
                  <a:gd name="T3" fmla="*/ 6 h 6"/>
                  <a:gd name="T4" fmla="*/ 0 h 6"/>
                  <a:gd name="T5" fmla="*/ 0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lnTo>
                      <a:pt x="0" y="0"/>
                    </a:lnTo>
                    <a:lnTo>
                      <a:pt x="0" y="6"/>
                    </a:lnTo>
                    <a:lnTo>
                      <a:pt x="0" y="6"/>
                    </a:lnTo>
                    <a:lnTo>
                      <a:pt x="0" y="0"/>
                    </a:lnTo>
                    <a:lnTo>
                      <a:pt x="0" y="0"/>
                    </a:lnTo>
                    <a:lnTo>
                      <a:pt x="0" y="0"/>
                    </a:lnTo>
                    <a:lnTo>
                      <a:pt x="0" y="0"/>
                    </a:lnTo>
                    <a:close/>
                  </a:path>
                </a:pathLst>
              </a:custGeom>
              <a:solidFill>
                <a:srgbClr val="FFFFFF"/>
              </a:solidFill>
              <a:ln w="4">
                <a:solidFill>
                  <a:srgbClr val="000000"/>
                </a:solid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5" name="Freeform 2414"/>
              <p:cNvSpPr>
                <a:spLocks/>
              </p:cNvSpPr>
              <p:nvPr/>
            </p:nvSpPr>
            <p:spPr bwMode="auto">
              <a:xfrm flipH="1">
                <a:off x="5178899" y="2671679"/>
                <a:ext cx="584282" cy="433195"/>
              </a:xfrm>
              <a:custGeom>
                <a:avLst/>
                <a:gdLst>
                  <a:gd name="T0" fmla="*/ 4723 w 5135"/>
                  <a:gd name="T1" fmla="*/ 4658 h 4658"/>
                  <a:gd name="T2" fmla="*/ 412 w 5135"/>
                  <a:gd name="T3" fmla="*/ 4383 h 4658"/>
                  <a:gd name="T4" fmla="*/ 371 w 5135"/>
                  <a:gd name="T5" fmla="*/ 4377 h 4658"/>
                  <a:gd name="T6" fmla="*/ 290 w 5135"/>
                  <a:gd name="T7" fmla="*/ 4356 h 4658"/>
                  <a:gd name="T8" fmla="*/ 216 w 5135"/>
                  <a:gd name="T9" fmla="*/ 4321 h 4658"/>
                  <a:gd name="T10" fmla="*/ 150 w 5135"/>
                  <a:gd name="T11" fmla="*/ 4272 h 4658"/>
                  <a:gd name="T12" fmla="*/ 94 w 5135"/>
                  <a:gd name="T13" fmla="*/ 4212 h 4658"/>
                  <a:gd name="T14" fmla="*/ 49 w 5135"/>
                  <a:gd name="T15" fmla="*/ 4144 h 4658"/>
                  <a:gd name="T16" fmla="*/ 19 w 5135"/>
                  <a:gd name="T17" fmla="*/ 4067 h 4658"/>
                  <a:gd name="T18" fmla="*/ 2 w 5135"/>
                  <a:gd name="T19" fmla="*/ 3986 h 4658"/>
                  <a:gd name="T20" fmla="*/ 0 w 5135"/>
                  <a:gd name="T21" fmla="*/ 1321 h 4658"/>
                  <a:gd name="T22" fmla="*/ 2 w 5135"/>
                  <a:gd name="T23" fmla="*/ 1279 h 4658"/>
                  <a:gd name="T24" fmla="*/ 17 w 5135"/>
                  <a:gd name="T25" fmla="*/ 1200 h 4658"/>
                  <a:gd name="T26" fmla="*/ 45 w 5135"/>
                  <a:gd name="T27" fmla="*/ 1125 h 4658"/>
                  <a:gd name="T28" fmla="*/ 85 w 5135"/>
                  <a:gd name="T29" fmla="*/ 1054 h 4658"/>
                  <a:gd name="T30" fmla="*/ 137 w 5135"/>
                  <a:gd name="T31" fmla="*/ 992 h 4658"/>
                  <a:gd name="T32" fmla="*/ 197 w 5135"/>
                  <a:gd name="T33" fmla="*/ 939 h 4658"/>
                  <a:gd name="T34" fmla="*/ 265 w 5135"/>
                  <a:gd name="T35" fmla="*/ 896 h 4658"/>
                  <a:gd name="T36" fmla="*/ 341 w 5135"/>
                  <a:gd name="T37" fmla="*/ 865 h 4658"/>
                  <a:gd name="T38" fmla="*/ 4672 w 5135"/>
                  <a:gd name="T39" fmla="*/ 9 h 4658"/>
                  <a:gd name="T40" fmla="*/ 4712 w 5135"/>
                  <a:gd name="T41" fmla="*/ 2 h 4658"/>
                  <a:gd name="T42" fmla="*/ 4753 w 5135"/>
                  <a:gd name="T43" fmla="*/ 0 h 4658"/>
                  <a:gd name="T44" fmla="*/ 4830 w 5135"/>
                  <a:gd name="T45" fmla="*/ 7 h 4658"/>
                  <a:gd name="T46" fmla="*/ 4904 w 5135"/>
                  <a:gd name="T47" fmla="*/ 30 h 4658"/>
                  <a:gd name="T48" fmla="*/ 4968 w 5135"/>
                  <a:gd name="T49" fmla="*/ 66 h 4658"/>
                  <a:gd name="T50" fmla="*/ 5024 w 5135"/>
                  <a:gd name="T51" fmla="*/ 113 h 4658"/>
                  <a:gd name="T52" fmla="*/ 5071 w 5135"/>
                  <a:gd name="T53" fmla="*/ 171 h 4658"/>
                  <a:gd name="T54" fmla="*/ 5105 w 5135"/>
                  <a:gd name="T55" fmla="*/ 237 h 4658"/>
                  <a:gd name="T56" fmla="*/ 5128 w 5135"/>
                  <a:gd name="T57" fmla="*/ 310 h 4658"/>
                  <a:gd name="T58" fmla="*/ 5135 w 5135"/>
                  <a:gd name="T59" fmla="*/ 389 h 4658"/>
                  <a:gd name="T60" fmla="*/ 5135 w 5135"/>
                  <a:gd name="T61" fmla="*/ 4244 h 4658"/>
                  <a:gd name="T62" fmla="*/ 5128 w 5135"/>
                  <a:gd name="T63" fmla="*/ 4326 h 4658"/>
                  <a:gd name="T64" fmla="*/ 5103 w 5135"/>
                  <a:gd name="T65" fmla="*/ 4404 h 4658"/>
                  <a:gd name="T66" fmla="*/ 5066 w 5135"/>
                  <a:gd name="T67" fmla="*/ 4475 h 4658"/>
                  <a:gd name="T68" fmla="*/ 5015 w 5135"/>
                  <a:gd name="T69" fmla="*/ 4535 h 4658"/>
                  <a:gd name="T70" fmla="*/ 4953 w 5135"/>
                  <a:gd name="T71" fmla="*/ 4586 h 4658"/>
                  <a:gd name="T72" fmla="*/ 4883 w 5135"/>
                  <a:gd name="T73" fmla="*/ 4624 h 4658"/>
                  <a:gd name="T74" fmla="*/ 4806 w 5135"/>
                  <a:gd name="T75" fmla="*/ 4648 h 4658"/>
                  <a:gd name="T76" fmla="*/ 4723 w 5135"/>
                  <a:gd name="T77" fmla="*/ 4658 h 4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35" h="4658">
                    <a:moveTo>
                      <a:pt x="4723" y="4658"/>
                    </a:moveTo>
                    <a:lnTo>
                      <a:pt x="4723" y="4658"/>
                    </a:lnTo>
                    <a:lnTo>
                      <a:pt x="4695" y="4656"/>
                    </a:lnTo>
                    <a:lnTo>
                      <a:pt x="412" y="4383"/>
                    </a:lnTo>
                    <a:lnTo>
                      <a:pt x="412" y="4383"/>
                    </a:lnTo>
                    <a:lnTo>
                      <a:pt x="371" y="4377"/>
                    </a:lnTo>
                    <a:lnTo>
                      <a:pt x="329" y="4370"/>
                    </a:lnTo>
                    <a:lnTo>
                      <a:pt x="290" y="4356"/>
                    </a:lnTo>
                    <a:lnTo>
                      <a:pt x="252" y="4340"/>
                    </a:lnTo>
                    <a:lnTo>
                      <a:pt x="216" y="4321"/>
                    </a:lnTo>
                    <a:lnTo>
                      <a:pt x="181" y="4296"/>
                    </a:lnTo>
                    <a:lnTo>
                      <a:pt x="150" y="4272"/>
                    </a:lnTo>
                    <a:lnTo>
                      <a:pt x="120" y="4244"/>
                    </a:lnTo>
                    <a:lnTo>
                      <a:pt x="94" y="4212"/>
                    </a:lnTo>
                    <a:lnTo>
                      <a:pt x="70" y="4178"/>
                    </a:lnTo>
                    <a:lnTo>
                      <a:pt x="49" y="4144"/>
                    </a:lnTo>
                    <a:lnTo>
                      <a:pt x="32" y="4106"/>
                    </a:lnTo>
                    <a:lnTo>
                      <a:pt x="19" y="4067"/>
                    </a:lnTo>
                    <a:lnTo>
                      <a:pt x="7" y="4027"/>
                    </a:lnTo>
                    <a:lnTo>
                      <a:pt x="2" y="3986"/>
                    </a:lnTo>
                    <a:lnTo>
                      <a:pt x="0" y="3942"/>
                    </a:lnTo>
                    <a:lnTo>
                      <a:pt x="0" y="1321"/>
                    </a:lnTo>
                    <a:lnTo>
                      <a:pt x="0" y="1321"/>
                    </a:lnTo>
                    <a:lnTo>
                      <a:pt x="2" y="1279"/>
                    </a:lnTo>
                    <a:lnTo>
                      <a:pt x="7" y="1240"/>
                    </a:lnTo>
                    <a:lnTo>
                      <a:pt x="17" y="1200"/>
                    </a:lnTo>
                    <a:lnTo>
                      <a:pt x="28" y="1161"/>
                    </a:lnTo>
                    <a:lnTo>
                      <a:pt x="45" y="1125"/>
                    </a:lnTo>
                    <a:lnTo>
                      <a:pt x="64" y="1089"/>
                    </a:lnTo>
                    <a:lnTo>
                      <a:pt x="85" y="1054"/>
                    </a:lnTo>
                    <a:lnTo>
                      <a:pt x="109" y="1022"/>
                    </a:lnTo>
                    <a:lnTo>
                      <a:pt x="137" y="992"/>
                    </a:lnTo>
                    <a:lnTo>
                      <a:pt x="166" y="963"/>
                    </a:lnTo>
                    <a:lnTo>
                      <a:pt x="197" y="939"/>
                    </a:lnTo>
                    <a:lnTo>
                      <a:pt x="231" y="916"/>
                    </a:lnTo>
                    <a:lnTo>
                      <a:pt x="265" y="896"/>
                    </a:lnTo>
                    <a:lnTo>
                      <a:pt x="303" y="879"/>
                    </a:lnTo>
                    <a:lnTo>
                      <a:pt x="341" y="865"/>
                    </a:lnTo>
                    <a:lnTo>
                      <a:pt x="380" y="856"/>
                    </a:lnTo>
                    <a:lnTo>
                      <a:pt x="4672" y="9"/>
                    </a:lnTo>
                    <a:lnTo>
                      <a:pt x="4672" y="9"/>
                    </a:lnTo>
                    <a:lnTo>
                      <a:pt x="4712" y="2"/>
                    </a:lnTo>
                    <a:lnTo>
                      <a:pt x="4753" y="0"/>
                    </a:lnTo>
                    <a:lnTo>
                      <a:pt x="4753" y="0"/>
                    </a:lnTo>
                    <a:lnTo>
                      <a:pt x="4793" y="2"/>
                    </a:lnTo>
                    <a:lnTo>
                      <a:pt x="4830" y="7"/>
                    </a:lnTo>
                    <a:lnTo>
                      <a:pt x="4868" y="17"/>
                    </a:lnTo>
                    <a:lnTo>
                      <a:pt x="4904" y="30"/>
                    </a:lnTo>
                    <a:lnTo>
                      <a:pt x="4936" y="47"/>
                    </a:lnTo>
                    <a:lnTo>
                      <a:pt x="4968" y="66"/>
                    </a:lnTo>
                    <a:lnTo>
                      <a:pt x="4998" y="88"/>
                    </a:lnTo>
                    <a:lnTo>
                      <a:pt x="5024" y="113"/>
                    </a:lnTo>
                    <a:lnTo>
                      <a:pt x="5049" y="141"/>
                    </a:lnTo>
                    <a:lnTo>
                      <a:pt x="5071" y="171"/>
                    </a:lnTo>
                    <a:lnTo>
                      <a:pt x="5090" y="203"/>
                    </a:lnTo>
                    <a:lnTo>
                      <a:pt x="5105" y="237"/>
                    </a:lnTo>
                    <a:lnTo>
                      <a:pt x="5118" y="273"/>
                    </a:lnTo>
                    <a:lnTo>
                      <a:pt x="5128" y="310"/>
                    </a:lnTo>
                    <a:lnTo>
                      <a:pt x="5133" y="350"/>
                    </a:lnTo>
                    <a:lnTo>
                      <a:pt x="5135" y="389"/>
                    </a:lnTo>
                    <a:lnTo>
                      <a:pt x="5135" y="4244"/>
                    </a:lnTo>
                    <a:lnTo>
                      <a:pt x="5135" y="4244"/>
                    </a:lnTo>
                    <a:lnTo>
                      <a:pt x="5133" y="4285"/>
                    </a:lnTo>
                    <a:lnTo>
                      <a:pt x="5128" y="4326"/>
                    </a:lnTo>
                    <a:lnTo>
                      <a:pt x="5116" y="4366"/>
                    </a:lnTo>
                    <a:lnTo>
                      <a:pt x="5103" y="4404"/>
                    </a:lnTo>
                    <a:lnTo>
                      <a:pt x="5086" y="4441"/>
                    </a:lnTo>
                    <a:lnTo>
                      <a:pt x="5066" y="4475"/>
                    </a:lnTo>
                    <a:lnTo>
                      <a:pt x="5041" y="4507"/>
                    </a:lnTo>
                    <a:lnTo>
                      <a:pt x="5015" y="4535"/>
                    </a:lnTo>
                    <a:lnTo>
                      <a:pt x="4985" y="4562"/>
                    </a:lnTo>
                    <a:lnTo>
                      <a:pt x="4953" y="4586"/>
                    </a:lnTo>
                    <a:lnTo>
                      <a:pt x="4919" y="4607"/>
                    </a:lnTo>
                    <a:lnTo>
                      <a:pt x="4883" y="4624"/>
                    </a:lnTo>
                    <a:lnTo>
                      <a:pt x="4845" y="4639"/>
                    </a:lnTo>
                    <a:lnTo>
                      <a:pt x="4806" y="4648"/>
                    </a:lnTo>
                    <a:lnTo>
                      <a:pt x="4765" y="4654"/>
                    </a:lnTo>
                    <a:lnTo>
                      <a:pt x="4723" y="4658"/>
                    </a:lnTo>
                    <a:lnTo>
                      <a:pt x="4723" y="4658"/>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21839" tIns="60918" rIns="60918" bIns="121839" numCol="1" spcCol="0" rtlCol="0" fromWordArt="0" anchor="b" anchorCtr="0" forceAA="0" compatLnSpc="1">
                <a:prstTxWarp prst="textNoShape">
                  <a:avLst/>
                </a:prstTxWarp>
                <a:noAutofit/>
              </a:bodyPr>
              <a:lstStyle/>
              <a:p>
                <a:pPr algn="ctr" defTabSz="1217862" fontAlgn="base">
                  <a:spcBef>
                    <a:spcPct val="0"/>
                  </a:spcBef>
                  <a:spcAft>
                    <a:spcPct val="0"/>
                  </a:spcAft>
                  <a:defRPr/>
                </a:pPr>
                <a:endParaRPr lang="en-US" sz="2930" kern="0" spc="-133" dirty="0">
                  <a:ln w="3175">
                    <a:noFill/>
                  </a:ln>
                  <a:gradFill flip="none" rotWithShape="1">
                    <a:gsLst>
                      <a:gs pos="0">
                        <a:srgbClr val="1B3B41">
                          <a:lumMod val="65000"/>
                          <a:lumOff val="35000"/>
                        </a:srgbClr>
                      </a:gs>
                      <a:gs pos="86000">
                        <a:srgbClr val="1B3B41">
                          <a:lumMod val="65000"/>
                          <a:lumOff val="35000"/>
                        </a:srgbClr>
                      </a:gs>
                    </a:gsLst>
                    <a:lin ang="5400000" scaled="0"/>
                    <a:tileRect/>
                  </a:gradFill>
                  <a:cs typeface="Arial" charset="0"/>
                </a:endParaRPr>
              </a:p>
            </p:txBody>
          </p:sp>
          <p:sp>
            <p:nvSpPr>
              <p:cNvPr id="2417" name="Freeform 2416"/>
              <p:cNvSpPr>
                <a:spLocks/>
              </p:cNvSpPr>
              <p:nvPr/>
            </p:nvSpPr>
            <p:spPr bwMode="auto">
              <a:xfrm flipH="1">
                <a:off x="5212801" y="2691581"/>
                <a:ext cx="535819" cy="393392"/>
              </a:xfrm>
              <a:custGeom>
                <a:avLst/>
                <a:gdLst>
                  <a:gd name="T0" fmla="*/ 0 w 4708"/>
                  <a:gd name="T1" fmla="*/ 1107 h 4229"/>
                  <a:gd name="T2" fmla="*/ 4 w 4708"/>
                  <a:gd name="T3" fmla="*/ 1062 h 4229"/>
                  <a:gd name="T4" fmla="*/ 15 w 4708"/>
                  <a:gd name="T5" fmla="*/ 1020 h 4229"/>
                  <a:gd name="T6" fmla="*/ 36 w 4708"/>
                  <a:gd name="T7" fmla="*/ 981 h 4229"/>
                  <a:gd name="T8" fmla="*/ 60 w 4708"/>
                  <a:gd name="T9" fmla="*/ 943 h 4229"/>
                  <a:gd name="T10" fmla="*/ 92 w 4708"/>
                  <a:gd name="T11" fmla="*/ 911 h 4229"/>
                  <a:gd name="T12" fmla="*/ 128 w 4708"/>
                  <a:gd name="T13" fmla="*/ 885 h 4229"/>
                  <a:gd name="T14" fmla="*/ 167 w 4708"/>
                  <a:gd name="T15" fmla="*/ 864 h 4229"/>
                  <a:gd name="T16" fmla="*/ 209 w 4708"/>
                  <a:gd name="T17" fmla="*/ 851 h 4229"/>
                  <a:gd name="T18" fmla="*/ 4499 w 4708"/>
                  <a:gd name="T19" fmla="*/ 4 h 4229"/>
                  <a:gd name="T20" fmla="*/ 4542 w 4708"/>
                  <a:gd name="T21" fmla="*/ 0 h 4229"/>
                  <a:gd name="T22" fmla="*/ 4580 w 4708"/>
                  <a:gd name="T23" fmla="*/ 4 h 4229"/>
                  <a:gd name="T24" fmla="*/ 4616 w 4708"/>
                  <a:gd name="T25" fmla="*/ 17 h 4229"/>
                  <a:gd name="T26" fmla="*/ 4648 w 4708"/>
                  <a:gd name="T27" fmla="*/ 38 h 4229"/>
                  <a:gd name="T28" fmla="*/ 4672 w 4708"/>
                  <a:gd name="T29" fmla="*/ 64 h 4229"/>
                  <a:gd name="T30" fmla="*/ 4693 w 4708"/>
                  <a:gd name="T31" fmla="*/ 96 h 4229"/>
                  <a:gd name="T32" fmla="*/ 4704 w 4708"/>
                  <a:gd name="T33" fmla="*/ 134 h 4229"/>
                  <a:gd name="T34" fmla="*/ 4708 w 4708"/>
                  <a:gd name="T35" fmla="*/ 175 h 4229"/>
                  <a:gd name="T36" fmla="*/ 4708 w 4708"/>
                  <a:gd name="T37" fmla="*/ 4030 h 4229"/>
                  <a:gd name="T38" fmla="*/ 4704 w 4708"/>
                  <a:gd name="T39" fmla="*/ 4073 h 4229"/>
                  <a:gd name="T40" fmla="*/ 4691 w 4708"/>
                  <a:gd name="T41" fmla="*/ 4110 h 4229"/>
                  <a:gd name="T42" fmla="*/ 4672 w 4708"/>
                  <a:gd name="T43" fmla="*/ 4146 h 4229"/>
                  <a:gd name="T44" fmla="*/ 4646 w 4708"/>
                  <a:gd name="T45" fmla="*/ 4176 h 4229"/>
                  <a:gd name="T46" fmla="*/ 4614 w 4708"/>
                  <a:gd name="T47" fmla="*/ 4201 h 4229"/>
                  <a:gd name="T48" fmla="*/ 4578 w 4708"/>
                  <a:gd name="T49" fmla="*/ 4218 h 4229"/>
                  <a:gd name="T50" fmla="*/ 4539 w 4708"/>
                  <a:gd name="T51" fmla="*/ 4227 h 4229"/>
                  <a:gd name="T52" fmla="*/ 4495 w 4708"/>
                  <a:gd name="T53" fmla="*/ 4229 h 4229"/>
                  <a:gd name="T54" fmla="*/ 213 w 4708"/>
                  <a:gd name="T55" fmla="*/ 3956 h 4229"/>
                  <a:gd name="T56" fmla="*/ 169 w 4708"/>
                  <a:gd name="T57" fmla="*/ 3949 h 4229"/>
                  <a:gd name="T58" fmla="*/ 130 w 4708"/>
                  <a:gd name="T59" fmla="*/ 3934 h 4229"/>
                  <a:gd name="T60" fmla="*/ 94 w 4708"/>
                  <a:gd name="T61" fmla="*/ 3911 h 4229"/>
                  <a:gd name="T62" fmla="*/ 62 w 4708"/>
                  <a:gd name="T63" fmla="*/ 3883 h 4229"/>
                  <a:gd name="T64" fmla="*/ 36 w 4708"/>
                  <a:gd name="T65" fmla="*/ 3851 h 4229"/>
                  <a:gd name="T66" fmla="*/ 17 w 4708"/>
                  <a:gd name="T67" fmla="*/ 3813 h 4229"/>
                  <a:gd name="T68" fmla="*/ 4 w 4708"/>
                  <a:gd name="T69" fmla="*/ 3772 h 4229"/>
                  <a:gd name="T70" fmla="*/ 0 w 4708"/>
                  <a:gd name="T71" fmla="*/ 3728 h 4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08" h="4229">
                    <a:moveTo>
                      <a:pt x="0" y="1107"/>
                    </a:moveTo>
                    <a:lnTo>
                      <a:pt x="0" y="1107"/>
                    </a:lnTo>
                    <a:lnTo>
                      <a:pt x="0" y="1084"/>
                    </a:lnTo>
                    <a:lnTo>
                      <a:pt x="4" y="1062"/>
                    </a:lnTo>
                    <a:lnTo>
                      <a:pt x="9" y="1041"/>
                    </a:lnTo>
                    <a:lnTo>
                      <a:pt x="15" y="1020"/>
                    </a:lnTo>
                    <a:lnTo>
                      <a:pt x="24" y="1000"/>
                    </a:lnTo>
                    <a:lnTo>
                      <a:pt x="36" y="981"/>
                    </a:lnTo>
                    <a:lnTo>
                      <a:pt x="47" y="962"/>
                    </a:lnTo>
                    <a:lnTo>
                      <a:pt x="60" y="943"/>
                    </a:lnTo>
                    <a:lnTo>
                      <a:pt x="75" y="926"/>
                    </a:lnTo>
                    <a:lnTo>
                      <a:pt x="92" y="911"/>
                    </a:lnTo>
                    <a:lnTo>
                      <a:pt x="109" y="896"/>
                    </a:lnTo>
                    <a:lnTo>
                      <a:pt x="128" y="885"/>
                    </a:lnTo>
                    <a:lnTo>
                      <a:pt x="147" y="874"/>
                    </a:lnTo>
                    <a:lnTo>
                      <a:pt x="167" y="864"/>
                    </a:lnTo>
                    <a:lnTo>
                      <a:pt x="188" y="857"/>
                    </a:lnTo>
                    <a:lnTo>
                      <a:pt x="209" y="851"/>
                    </a:lnTo>
                    <a:lnTo>
                      <a:pt x="4499" y="4"/>
                    </a:lnTo>
                    <a:lnTo>
                      <a:pt x="4499" y="4"/>
                    </a:lnTo>
                    <a:lnTo>
                      <a:pt x="4522" y="0"/>
                    </a:lnTo>
                    <a:lnTo>
                      <a:pt x="4542" y="0"/>
                    </a:lnTo>
                    <a:lnTo>
                      <a:pt x="4561" y="0"/>
                    </a:lnTo>
                    <a:lnTo>
                      <a:pt x="4580" y="4"/>
                    </a:lnTo>
                    <a:lnTo>
                      <a:pt x="4599" y="10"/>
                    </a:lnTo>
                    <a:lnTo>
                      <a:pt x="4616" y="17"/>
                    </a:lnTo>
                    <a:lnTo>
                      <a:pt x="4633" y="27"/>
                    </a:lnTo>
                    <a:lnTo>
                      <a:pt x="4648" y="38"/>
                    </a:lnTo>
                    <a:lnTo>
                      <a:pt x="4661" y="49"/>
                    </a:lnTo>
                    <a:lnTo>
                      <a:pt x="4672" y="64"/>
                    </a:lnTo>
                    <a:lnTo>
                      <a:pt x="4684" y="79"/>
                    </a:lnTo>
                    <a:lnTo>
                      <a:pt x="4693" y="96"/>
                    </a:lnTo>
                    <a:lnTo>
                      <a:pt x="4699" y="115"/>
                    </a:lnTo>
                    <a:lnTo>
                      <a:pt x="4704" y="134"/>
                    </a:lnTo>
                    <a:lnTo>
                      <a:pt x="4708" y="155"/>
                    </a:lnTo>
                    <a:lnTo>
                      <a:pt x="4708" y="175"/>
                    </a:lnTo>
                    <a:lnTo>
                      <a:pt x="4708" y="4030"/>
                    </a:lnTo>
                    <a:lnTo>
                      <a:pt x="4708" y="4030"/>
                    </a:lnTo>
                    <a:lnTo>
                      <a:pt x="4708" y="4050"/>
                    </a:lnTo>
                    <a:lnTo>
                      <a:pt x="4704" y="4073"/>
                    </a:lnTo>
                    <a:lnTo>
                      <a:pt x="4699" y="4092"/>
                    </a:lnTo>
                    <a:lnTo>
                      <a:pt x="4691" y="4110"/>
                    </a:lnTo>
                    <a:lnTo>
                      <a:pt x="4684" y="4129"/>
                    </a:lnTo>
                    <a:lnTo>
                      <a:pt x="4672" y="4146"/>
                    </a:lnTo>
                    <a:lnTo>
                      <a:pt x="4659" y="4161"/>
                    </a:lnTo>
                    <a:lnTo>
                      <a:pt x="4646" y="4176"/>
                    </a:lnTo>
                    <a:lnTo>
                      <a:pt x="4631" y="4190"/>
                    </a:lnTo>
                    <a:lnTo>
                      <a:pt x="4614" y="4201"/>
                    </a:lnTo>
                    <a:lnTo>
                      <a:pt x="4597" y="4210"/>
                    </a:lnTo>
                    <a:lnTo>
                      <a:pt x="4578" y="4218"/>
                    </a:lnTo>
                    <a:lnTo>
                      <a:pt x="4559" y="4223"/>
                    </a:lnTo>
                    <a:lnTo>
                      <a:pt x="4539" y="4227"/>
                    </a:lnTo>
                    <a:lnTo>
                      <a:pt x="4518" y="4229"/>
                    </a:lnTo>
                    <a:lnTo>
                      <a:pt x="4495" y="4229"/>
                    </a:lnTo>
                    <a:lnTo>
                      <a:pt x="213" y="3956"/>
                    </a:lnTo>
                    <a:lnTo>
                      <a:pt x="213" y="3956"/>
                    </a:lnTo>
                    <a:lnTo>
                      <a:pt x="190" y="3952"/>
                    </a:lnTo>
                    <a:lnTo>
                      <a:pt x="169" y="3949"/>
                    </a:lnTo>
                    <a:lnTo>
                      <a:pt x="149" y="3941"/>
                    </a:lnTo>
                    <a:lnTo>
                      <a:pt x="130" y="3934"/>
                    </a:lnTo>
                    <a:lnTo>
                      <a:pt x="111" y="3924"/>
                    </a:lnTo>
                    <a:lnTo>
                      <a:pt x="94" y="3911"/>
                    </a:lnTo>
                    <a:lnTo>
                      <a:pt x="77" y="3898"/>
                    </a:lnTo>
                    <a:lnTo>
                      <a:pt x="62" y="3883"/>
                    </a:lnTo>
                    <a:lnTo>
                      <a:pt x="49" y="3868"/>
                    </a:lnTo>
                    <a:lnTo>
                      <a:pt x="36" y="3851"/>
                    </a:lnTo>
                    <a:lnTo>
                      <a:pt x="24" y="3832"/>
                    </a:lnTo>
                    <a:lnTo>
                      <a:pt x="17" y="3813"/>
                    </a:lnTo>
                    <a:lnTo>
                      <a:pt x="9" y="3792"/>
                    </a:lnTo>
                    <a:lnTo>
                      <a:pt x="4" y="3772"/>
                    </a:lnTo>
                    <a:lnTo>
                      <a:pt x="0" y="3751"/>
                    </a:lnTo>
                    <a:lnTo>
                      <a:pt x="0" y="3728"/>
                    </a:lnTo>
                    <a:lnTo>
                      <a:pt x="0" y="1107"/>
                    </a:lnTo>
                    <a:close/>
                  </a:path>
                </a:pathLst>
              </a:custGeom>
              <a:solidFill>
                <a:srgbClr val="FFFFFF"/>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8" name="Freeform 21"/>
              <p:cNvSpPr>
                <a:spLocks/>
              </p:cNvSpPr>
              <p:nvPr/>
            </p:nvSpPr>
            <p:spPr bwMode="auto">
              <a:xfrm flipH="1">
                <a:off x="5230538" y="2701929"/>
                <a:ext cx="498731" cy="92257"/>
              </a:xfrm>
              <a:custGeom>
                <a:avLst/>
                <a:gdLst>
                  <a:gd name="T0" fmla="*/ 4385 w 4385"/>
                  <a:gd name="T1" fmla="*/ 0 h 992"/>
                  <a:gd name="T2" fmla="*/ 0 w 4385"/>
                  <a:gd name="T3" fmla="*/ 832 h 992"/>
                  <a:gd name="T4" fmla="*/ 0 w 4385"/>
                  <a:gd name="T5" fmla="*/ 992 h 992"/>
                  <a:gd name="T6" fmla="*/ 4385 w 4385"/>
                  <a:gd name="T7" fmla="*/ 244 h 992"/>
                  <a:gd name="T8" fmla="*/ 4385 w 4385"/>
                  <a:gd name="T9" fmla="*/ 0 h 992"/>
                </a:gdLst>
                <a:ahLst/>
                <a:cxnLst>
                  <a:cxn ang="0">
                    <a:pos x="T0" y="T1"/>
                  </a:cxn>
                  <a:cxn ang="0">
                    <a:pos x="T2" y="T3"/>
                  </a:cxn>
                  <a:cxn ang="0">
                    <a:pos x="T4" y="T5"/>
                  </a:cxn>
                  <a:cxn ang="0">
                    <a:pos x="T6" y="T7"/>
                  </a:cxn>
                  <a:cxn ang="0">
                    <a:pos x="T8" y="T9"/>
                  </a:cxn>
                </a:cxnLst>
                <a:rect l="0" t="0" r="r" b="b"/>
                <a:pathLst>
                  <a:path w="4385" h="992">
                    <a:moveTo>
                      <a:pt x="4385" y="0"/>
                    </a:moveTo>
                    <a:lnTo>
                      <a:pt x="0" y="832"/>
                    </a:lnTo>
                    <a:lnTo>
                      <a:pt x="0" y="992"/>
                    </a:lnTo>
                    <a:lnTo>
                      <a:pt x="4385" y="244"/>
                    </a:lnTo>
                    <a:lnTo>
                      <a:pt x="4385" y="0"/>
                    </a:lnTo>
                    <a:close/>
                  </a:path>
                </a:pathLst>
              </a:custGeom>
              <a:solidFill>
                <a:srgbClr val="FFFFFF">
                  <a:lumMod val="8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19" name="Freeform 24"/>
              <p:cNvSpPr>
                <a:spLocks/>
              </p:cNvSpPr>
              <p:nvPr/>
            </p:nvSpPr>
            <p:spPr bwMode="auto">
              <a:xfrm flipH="1">
                <a:off x="5230544" y="2736975"/>
                <a:ext cx="498732" cy="329953"/>
              </a:xfrm>
              <a:custGeom>
                <a:avLst/>
                <a:gdLst>
                  <a:gd name="T0" fmla="*/ 4385 w 4385"/>
                  <a:gd name="T1" fmla="*/ 0 h 3338"/>
                  <a:gd name="T2" fmla="*/ 0 w 4385"/>
                  <a:gd name="T3" fmla="*/ 726 h 3338"/>
                  <a:gd name="T4" fmla="*/ 0 w 4385"/>
                  <a:gd name="T5" fmla="*/ 3105 h 3338"/>
                  <a:gd name="T6" fmla="*/ 4385 w 4385"/>
                  <a:gd name="T7" fmla="*/ 3338 h 3338"/>
                  <a:gd name="T8" fmla="*/ 4385 w 4385"/>
                  <a:gd name="T9" fmla="*/ 0 h 3338"/>
                </a:gdLst>
                <a:ahLst/>
                <a:cxnLst>
                  <a:cxn ang="0">
                    <a:pos x="T0" y="T1"/>
                  </a:cxn>
                  <a:cxn ang="0">
                    <a:pos x="T2" y="T3"/>
                  </a:cxn>
                  <a:cxn ang="0">
                    <a:pos x="T4" y="T5"/>
                  </a:cxn>
                  <a:cxn ang="0">
                    <a:pos x="T6" y="T7"/>
                  </a:cxn>
                  <a:cxn ang="0">
                    <a:pos x="T8" y="T9"/>
                  </a:cxn>
                </a:cxnLst>
                <a:rect l="0" t="0" r="r" b="b"/>
                <a:pathLst>
                  <a:path w="4385" h="3338">
                    <a:moveTo>
                      <a:pt x="4385" y="0"/>
                    </a:moveTo>
                    <a:lnTo>
                      <a:pt x="0" y="726"/>
                    </a:lnTo>
                    <a:lnTo>
                      <a:pt x="0" y="3105"/>
                    </a:lnTo>
                    <a:lnTo>
                      <a:pt x="4385" y="3338"/>
                    </a:lnTo>
                    <a:lnTo>
                      <a:pt x="4385" y="0"/>
                    </a:lnTo>
                    <a:close/>
                  </a:path>
                </a:pathLst>
              </a:custGeom>
              <a:solidFill>
                <a:srgbClr val="FFFFFF">
                  <a:lumMod val="9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0" name="Freeform 131"/>
              <p:cNvSpPr>
                <a:spLocks noChangeAspect="1" noEditPoints="1"/>
              </p:cNvSpPr>
              <p:nvPr/>
            </p:nvSpPr>
            <p:spPr bwMode="black">
              <a:xfrm flipH="1">
                <a:off x="5260135" y="2812783"/>
                <a:ext cx="197905" cy="90401"/>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1" name="Oval 2420"/>
              <p:cNvSpPr/>
              <p:nvPr/>
            </p:nvSpPr>
            <p:spPr bwMode="auto">
              <a:xfrm flipH="1">
                <a:off x="5488899" y="2826705"/>
                <a:ext cx="205211" cy="196696"/>
              </a:xfrm>
              <a:prstGeom prst="ellipse">
                <a:avLst/>
              </a:prstGeom>
              <a:solidFill>
                <a:srgbClr val="FFFFFF"/>
              </a:solidFill>
              <a:ln w="9525" cap="flat" cmpd="sng" algn="ctr">
                <a:solidFill>
                  <a:srgbClr val="0072C6"/>
                </a:solidFill>
                <a:prstDash val="solid"/>
                <a:headEnd type="none" w="med" len="med"/>
                <a:tailEnd type="none" w="med" len="med"/>
              </a:ln>
              <a:effectLst/>
              <a:scene3d>
                <a:camera prst="perspectiveLeft">
                  <a:rot lat="0" lon="1800000" rev="0"/>
                </a:camera>
                <a:lightRig rig="threePt" dir="t"/>
              </a:scene3d>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22" name="Group 2421"/>
              <p:cNvGrpSpPr/>
              <p:nvPr/>
            </p:nvGrpSpPr>
            <p:grpSpPr>
              <a:xfrm>
                <a:off x="5581035" y="2878007"/>
                <a:ext cx="27524" cy="74279"/>
                <a:chOff x="7010073" y="1548130"/>
                <a:chExt cx="1648459" cy="4218939"/>
              </a:xfrm>
              <a:solidFill>
                <a:srgbClr val="00188F"/>
              </a:solidFill>
            </p:grpSpPr>
            <p:sp>
              <p:nvSpPr>
                <p:cNvPr id="2432"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0072C6">
                    <a:lumMod val="20000"/>
                    <a:lumOff val="80000"/>
                  </a:srgbClr>
                </a:solidFill>
                <a:ln w="9525">
                  <a:noFill/>
                  <a:round/>
                  <a:headEnd/>
                  <a:tailEnd/>
                </a:ln>
              </p:spPr>
              <p:txBody>
                <a:bodyPr vert="horz" wrap="square" lIns="91388" tIns="45694" rIns="91388" bIns="45694" numCol="1" anchor="t" anchorCtr="0" compatLnSpc="1">
                  <a:prstTxWarp prst="textNoShape">
                    <a:avLst/>
                  </a:prstTxWarp>
                </a:bodyPr>
                <a:lstStyle/>
                <a:p>
                  <a:pPr defTabSz="913698">
                    <a:defRPr/>
                  </a:pPr>
                  <a:endParaRPr lang="en-US" sz="1600" kern="0" dirty="0">
                    <a:solidFill>
                      <a:srgbClr val="00188F"/>
                    </a:solidFill>
                  </a:endParaRPr>
                </a:p>
              </p:txBody>
            </p:sp>
            <p:sp>
              <p:nvSpPr>
                <p:cNvPr id="2433"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0072C6"/>
                </a:solidFill>
                <a:ln w="3175">
                  <a:noFill/>
                  <a:round/>
                  <a:headEnd/>
                  <a:tailEnd/>
                </a:ln>
              </p:spPr>
              <p:txBody>
                <a:bodyPr vert="horz" wrap="square" lIns="91388" tIns="45694" rIns="91388" bIns="45694" numCol="1" anchor="t" anchorCtr="0" compatLnSpc="1">
                  <a:prstTxWarp prst="textNoShape">
                    <a:avLst/>
                  </a:prstTxWarp>
                </a:bodyPr>
                <a:lstStyle/>
                <a:p>
                  <a:pPr defTabSz="913698">
                    <a:defRPr/>
                  </a:pPr>
                  <a:endParaRPr lang="en-US" sz="1600" kern="0" dirty="0">
                    <a:solidFill>
                      <a:srgbClr val="00188F"/>
                    </a:solidFill>
                  </a:endParaRPr>
                </a:p>
              </p:txBody>
            </p:sp>
          </p:grpSp>
          <p:sp>
            <p:nvSpPr>
              <p:cNvPr id="2423" name="Rounded Rectangle 94"/>
              <p:cNvSpPr>
                <a:spLocks noChangeAspect="1"/>
              </p:cNvSpPr>
              <p:nvPr/>
            </p:nvSpPr>
            <p:spPr bwMode="auto">
              <a:xfrm>
                <a:off x="5540361" y="2860550"/>
                <a:ext cx="105445" cy="127360"/>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424" name="Freeform 2423"/>
              <p:cNvSpPr>
                <a:spLocks/>
              </p:cNvSpPr>
              <p:nvPr/>
            </p:nvSpPr>
            <p:spPr bwMode="auto">
              <a:xfrm flipH="1">
                <a:off x="5405231" y="3140716"/>
                <a:ext cx="329462" cy="90902"/>
              </a:xfrm>
              <a:custGeom>
                <a:avLst/>
                <a:gdLst>
                  <a:gd name="T0" fmla="*/ 4354 w 4414"/>
                  <a:gd name="T1" fmla="*/ 514 h 1212"/>
                  <a:gd name="T2" fmla="*/ 4384 w 4414"/>
                  <a:gd name="T3" fmla="*/ 487 h 1212"/>
                  <a:gd name="T4" fmla="*/ 4403 w 4414"/>
                  <a:gd name="T5" fmla="*/ 463 h 1212"/>
                  <a:gd name="T6" fmla="*/ 4412 w 4414"/>
                  <a:gd name="T7" fmla="*/ 439 h 1212"/>
                  <a:gd name="T8" fmla="*/ 4412 w 4414"/>
                  <a:gd name="T9" fmla="*/ 416 h 1212"/>
                  <a:gd name="T10" fmla="*/ 4401 w 4414"/>
                  <a:gd name="T11" fmla="*/ 397 h 1212"/>
                  <a:gd name="T12" fmla="*/ 4380 w 4414"/>
                  <a:gd name="T13" fmla="*/ 382 h 1212"/>
                  <a:gd name="T14" fmla="*/ 4352 w 4414"/>
                  <a:gd name="T15" fmla="*/ 369 h 1212"/>
                  <a:gd name="T16" fmla="*/ 4312 w 4414"/>
                  <a:gd name="T17" fmla="*/ 361 h 1212"/>
                  <a:gd name="T18" fmla="*/ 1302 w 4414"/>
                  <a:gd name="T19" fmla="*/ 0 h 1212"/>
                  <a:gd name="T20" fmla="*/ 1270 w 4414"/>
                  <a:gd name="T21" fmla="*/ 2 h 1212"/>
                  <a:gd name="T22" fmla="*/ 1215 w 4414"/>
                  <a:gd name="T23" fmla="*/ 15 h 1212"/>
                  <a:gd name="T24" fmla="*/ 1059 w 4414"/>
                  <a:gd name="T25" fmla="*/ 62 h 1212"/>
                  <a:gd name="T26" fmla="*/ 858 w 4414"/>
                  <a:gd name="T27" fmla="*/ 132 h 1212"/>
                  <a:gd name="T28" fmla="*/ 423 w 4414"/>
                  <a:gd name="T29" fmla="*/ 294 h 1212"/>
                  <a:gd name="T30" fmla="*/ 62 w 4414"/>
                  <a:gd name="T31" fmla="*/ 437 h 1212"/>
                  <a:gd name="T32" fmla="*/ 45 w 4414"/>
                  <a:gd name="T33" fmla="*/ 448 h 1212"/>
                  <a:gd name="T34" fmla="*/ 20 w 4414"/>
                  <a:gd name="T35" fmla="*/ 474 h 1212"/>
                  <a:gd name="T36" fmla="*/ 3 w 4414"/>
                  <a:gd name="T37" fmla="*/ 501 h 1212"/>
                  <a:gd name="T38" fmla="*/ 0 w 4414"/>
                  <a:gd name="T39" fmla="*/ 525 h 1212"/>
                  <a:gd name="T40" fmla="*/ 3 w 4414"/>
                  <a:gd name="T41" fmla="*/ 548 h 1212"/>
                  <a:gd name="T42" fmla="*/ 18 w 4414"/>
                  <a:gd name="T43" fmla="*/ 567 h 1212"/>
                  <a:gd name="T44" fmla="*/ 43 w 4414"/>
                  <a:gd name="T45" fmla="*/ 585 h 1212"/>
                  <a:gd name="T46" fmla="*/ 77 w 4414"/>
                  <a:gd name="T47" fmla="*/ 599 h 1212"/>
                  <a:gd name="T48" fmla="*/ 3118 w 4414"/>
                  <a:gd name="T49" fmla="*/ 1206 h 1212"/>
                  <a:gd name="T50" fmla="*/ 3140 w 4414"/>
                  <a:gd name="T51" fmla="*/ 1210 h 1212"/>
                  <a:gd name="T52" fmla="*/ 3187 w 4414"/>
                  <a:gd name="T53" fmla="*/ 1212 h 1212"/>
                  <a:gd name="T54" fmla="*/ 3238 w 4414"/>
                  <a:gd name="T55" fmla="*/ 1212 h 1212"/>
                  <a:gd name="T56" fmla="*/ 3289 w 4414"/>
                  <a:gd name="T57" fmla="*/ 1204 h 1212"/>
                  <a:gd name="T58" fmla="*/ 3342 w 4414"/>
                  <a:gd name="T59" fmla="*/ 1193 h 1212"/>
                  <a:gd name="T60" fmla="*/ 3390 w 4414"/>
                  <a:gd name="T61" fmla="*/ 1178 h 1212"/>
                  <a:gd name="T62" fmla="*/ 3437 w 4414"/>
                  <a:gd name="T63" fmla="*/ 1157 h 1212"/>
                  <a:gd name="T64" fmla="*/ 3479 w 4414"/>
                  <a:gd name="T65" fmla="*/ 1135 h 1212"/>
                  <a:gd name="T66" fmla="*/ 4354 w 4414"/>
                  <a:gd name="T67" fmla="*/ 514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14" h="1212">
                    <a:moveTo>
                      <a:pt x="4354" y="514"/>
                    </a:moveTo>
                    <a:lnTo>
                      <a:pt x="4354" y="514"/>
                    </a:lnTo>
                    <a:lnTo>
                      <a:pt x="4369" y="501"/>
                    </a:lnTo>
                    <a:lnTo>
                      <a:pt x="4384" y="487"/>
                    </a:lnTo>
                    <a:lnTo>
                      <a:pt x="4393" y="476"/>
                    </a:lnTo>
                    <a:lnTo>
                      <a:pt x="4403" y="463"/>
                    </a:lnTo>
                    <a:lnTo>
                      <a:pt x="4408" y="450"/>
                    </a:lnTo>
                    <a:lnTo>
                      <a:pt x="4412" y="439"/>
                    </a:lnTo>
                    <a:lnTo>
                      <a:pt x="4414" y="427"/>
                    </a:lnTo>
                    <a:lnTo>
                      <a:pt x="4412" y="416"/>
                    </a:lnTo>
                    <a:lnTo>
                      <a:pt x="4408" y="407"/>
                    </a:lnTo>
                    <a:lnTo>
                      <a:pt x="4401" y="397"/>
                    </a:lnTo>
                    <a:lnTo>
                      <a:pt x="4392" y="390"/>
                    </a:lnTo>
                    <a:lnTo>
                      <a:pt x="4380" y="382"/>
                    </a:lnTo>
                    <a:lnTo>
                      <a:pt x="4367" y="375"/>
                    </a:lnTo>
                    <a:lnTo>
                      <a:pt x="4352" y="369"/>
                    </a:lnTo>
                    <a:lnTo>
                      <a:pt x="4333" y="365"/>
                    </a:lnTo>
                    <a:lnTo>
                      <a:pt x="4312" y="361"/>
                    </a:lnTo>
                    <a:lnTo>
                      <a:pt x="1302" y="0"/>
                    </a:lnTo>
                    <a:lnTo>
                      <a:pt x="1302" y="0"/>
                    </a:lnTo>
                    <a:lnTo>
                      <a:pt x="1289" y="0"/>
                    </a:lnTo>
                    <a:lnTo>
                      <a:pt x="1270" y="2"/>
                    </a:lnTo>
                    <a:lnTo>
                      <a:pt x="1245" y="8"/>
                    </a:lnTo>
                    <a:lnTo>
                      <a:pt x="1215" y="15"/>
                    </a:lnTo>
                    <a:lnTo>
                      <a:pt x="1144" y="36"/>
                    </a:lnTo>
                    <a:lnTo>
                      <a:pt x="1059" y="62"/>
                    </a:lnTo>
                    <a:lnTo>
                      <a:pt x="963" y="94"/>
                    </a:lnTo>
                    <a:lnTo>
                      <a:pt x="858" y="132"/>
                    </a:lnTo>
                    <a:lnTo>
                      <a:pt x="637" y="213"/>
                    </a:lnTo>
                    <a:lnTo>
                      <a:pt x="423" y="294"/>
                    </a:lnTo>
                    <a:lnTo>
                      <a:pt x="238" y="365"/>
                    </a:lnTo>
                    <a:lnTo>
                      <a:pt x="62" y="437"/>
                    </a:lnTo>
                    <a:lnTo>
                      <a:pt x="62" y="437"/>
                    </a:lnTo>
                    <a:lnTo>
                      <a:pt x="45" y="448"/>
                    </a:lnTo>
                    <a:lnTo>
                      <a:pt x="31" y="461"/>
                    </a:lnTo>
                    <a:lnTo>
                      <a:pt x="20" y="474"/>
                    </a:lnTo>
                    <a:lnTo>
                      <a:pt x="11" y="487"/>
                    </a:lnTo>
                    <a:lnTo>
                      <a:pt x="3" y="501"/>
                    </a:lnTo>
                    <a:lnTo>
                      <a:pt x="0" y="512"/>
                    </a:lnTo>
                    <a:lnTo>
                      <a:pt x="0" y="525"/>
                    </a:lnTo>
                    <a:lnTo>
                      <a:pt x="0" y="536"/>
                    </a:lnTo>
                    <a:lnTo>
                      <a:pt x="3" y="548"/>
                    </a:lnTo>
                    <a:lnTo>
                      <a:pt x="9" y="557"/>
                    </a:lnTo>
                    <a:lnTo>
                      <a:pt x="18" y="567"/>
                    </a:lnTo>
                    <a:lnTo>
                      <a:pt x="30" y="576"/>
                    </a:lnTo>
                    <a:lnTo>
                      <a:pt x="43" y="585"/>
                    </a:lnTo>
                    <a:lnTo>
                      <a:pt x="58" y="593"/>
                    </a:lnTo>
                    <a:lnTo>
                      <a:pt x="77" y="599"/>
                    </a:lnTo>
                    <a:lnTo>
                      <a:pt x="95" y="604"/>
                    </a:lnTo>
                    <a:lnTo>
                      <a:pt x="3118" y="1206"/>
                    </a:lnTo>
                    <a:lnTo>
                      <a:pt x="3118" y="1206"/>
                    </a:lnTo>
                    <a:lnTo>
                      <a:pt x="3140" y="1210"/>
                    </a:lnTo>
                    <a:lnTo>
                      <a:pt x="3163" y="1212"/>
                    </a:lnTo>
                    <a:lnTo>
                      <a:pt x="3187" y="1212"/>
                    </a:lnTo>
                    <a:lnTo>
                      <a:pt x="3212" y="1212"/>
                    </a:lnTo>
                    <a:lnTo>
                      <a:pt x="3238" y="1212"/>
                    </a:lnTo>
                    <a:lnTo>
                      <a:pt x="3264" y="1208"/>
                    </a:lnTo>
                    <a:lnTo>
                      <a:pt x="3289" y="1204"/>
                    </a:lnTo>
                    <a:lnTo>
                      <a:pt x="3315" y="1199"/>
                    </a:lnTo>
                    <a:lnTo>
                      <a:pt x="3342" y="1193"/>
                    </a:lnTo>
                    <a:lnTo>
                      <a:pt x="3366" y="1186"/>
                    </a:lnTo>
                    <a:lnTo>
                      <a:pt x="3390" y="1178"/>
                    </a:lnTo>
                    <a:lnTo>
                      <a:pt x="3415" y="1169"/>
                    </a:lnTo>
                    <a:lnTo>
                      <a:pt x="3437" y="1157"/>
                    </a:lnTo>
                    <a:lnTo>
                      <a:pt x="3458" y="1146"/>
                    </a:lnTo>
                    <a:lnTo>
                      <a:pt x="3479" y="1135"/>
                    </a:lnTo>
                    <a:lnTo>
                      <a:pt x="3498" y="1122"/>
                    </a:lnTo>
                    <a:lnTo>
                      <a:pt x="4354" y="514"/>
                    </a:lnTo>
                    <a:close/>
                  </a:path>
                </a:pathLst>
              </a:custGeom>
              <a:solidFill>
                <a:srgbClr val="FFFFFF">
                  <a:lumMod val="7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5" name="Freeform 2424"/>
              <p:cNvSpPr>
                <a:spLocks/>
              </p:cNvSpPr>
              <p:nvPr/>
            </p:nvSpPr>
            <p:spPr bwMode="auto">
              <a:xfrm flipH="1">
                <a:off x="5404177" y="3172217"/>
                <a:ext cx="330505" cy="71851"/>
              </a:xfrm>
              <a:custGeom>
                <a:avLst/>
                <a:gdLst>
                  <a:gd name="T0" fmla="*/ 4412 w 4427"/>
                  <a:gd name="T1" fmla="*/ 0 h 958"/>
                  <a:gd name="T2" fmla="*/ 4412 w 4427"/>
                  <a:gd name="T3" fmla="*/ 20 h 958"/>
                  <a:gd name="T4" fmla="*/ 4401 w 4427"/>
                  <a:gd name="T5" fmla="*/ 45 h 958"/>
                  <a:gd name="T6" fmla="*/ 4382 w 4427"/>
                  <a:gd name="T7" fmla="*/ 69 h 958"/>
                  <a:gd name="T8" fmla="*/ 4354 w 4427"/>
                  <a:gd name="T9" fmla="*/ 94 h 958"/>
                  <a:gd name="T10" fmla="*/ 3498 w 4427"/>
                  <a:gd name="T11" fmla="*/ 702 h 958"/>
                  <a:gd name="T12" fmla="*/ 3458 w 4427"/>
                  <a:gd name="T13" fmla="*/ 726 h 958"/>
                  <a:gd name="T14" fmla="*/ 3415 w 4427"/>
                  <a:gd name="T15" fmla="*/ 749 h 958"/>
                  <a:gd name="T16" fmla="*/ 3366 w 4427"/>
                  <a:gd name="T17" fmla="*/ 766 h 958"/>
                  <a:gd name="T18" fmla="*/ 3315 w 4427"/>
                  <a:gd name="T19" fmla="*/ 779 h 958"/>
                  <a:gd name="T20" fmla="*/ 3264 w 4427"/>
                  <a:gd name="T21" fmla="*/ 788 h 958"/>
                  <a:gd name="T22" fmla="*/ 3212 w 4427"/>
                  <a:gd name="T23" fmla="*/ 792 h 958"/>
                  <a:gd name="T24" fmla="*/ 3163 w 4427"/>
                  <a:gd name="T25" fmla="*/ 792 h 958"/>
                  <a:gd name="T26" fmla="*/ 3118 w 4427"/>
                  <a:gd name="T27" fmla="*/ 786 h 958"/>
                  <a:gd name="T28" fmla="*/ 95 w 4427"/>
                  <a:gd name="T29" fmla="*/ 184 h 958"/>
                  <a:gd name="T30" fmla="*/ 62 w 4427"/>
                  <a:gd name="T31" fmla="*/ 173 h 958"/>
                  <a:gd name="T32" fmla="*/ 33 w 4427"/>
                  <a:gd name="T33" fmla="*/ 160 h 958"/>
                  <a:gd name="T34" fmla="*/ 15 w 4427"/>
                  <a:gd name="T35" fmla="*/ 145 h 958"/>
                  <a:gd name="T36" fmla="*/ 3 w 4427"/>
                  <a:gd name="T37" fmla="*/ 126 h 958"/>
                  <a:gd name="T38" fmla="*/ 0 w 4427"/>
                  <a:gd name="T39" fmla="*/ 143 h 958"/>
                  <a:gd name="T40" fmla="*/ 0 w 4427"/>
                  <a:gd name="T41" fmla="*/ 197 h 958"/>
                  <a:gd name="T42" fmla="*/ 5 w 4427"/>
                  <a:gd name="T43" fmla="*/ 233 h 958"/>
                  <a:gd name="T44" fmla="*/ 15 w 4427"/>
                  <a:gd name="T45" fmla="*/ 265 h 958"/>
                  <a:gd name="T46" fmla="*/ 28 w 4427"/>
                  <a:gd name="T47" fmla="*/ 295 h 958"/>
                  <a:gd name="T48" fmla="*/ 47 w 4427"/>
                  <a:gd name="T49" fmla="*/ 320 h 958"/>
                  <a:gd name="T50" fmla="*/ 69 w 4427"/>
                  <a:gd name="T51" fmla="*/ 338 h 958"/>
                  <a:gd name="T52" fmla="*/ 95 w 4427"/>
                  <a:gd name="T53" fmla="*/ 350 h 958"/>
                  <a:gd name="T54" fmla="*/ 3118 w 4427"/>
                  <a:gd name="T55" fmla="*/ 950 h 958"/>
                  <a:gd name="T56" fmla="*/ 3163 w 4427"/>
                  <a:gd name="T57" fmla="*/ 958 h 958"/>
                  <a:gd name="T58" fmla="*/ 3212 w 4427"/>
                  <a:gd name="T59" fmla="*/ 958 h 958"/>
                  <a:gd name="T60" fmla="*/ 3264 w 4427"/>
                  <a:gd name="T61" fmla="*/ 954 h 958"/>
                  <a:gd name="T62" fmla="*/ 3315 w 4427"/>
                  <a:gd name="T63" fmla="*/ 944 h 958"/>
                  <a:gd name="T64" fmla="*/ 3366 w 4427"/>
                  <a:gd name="T65" fmla="*/ 931 h 958"/>
                  <a:gd name="T66" fmla="*/ 3415 w 4427"/>
                  <a:gd name="T67" fmla="*/ 914 h 958"/>
                  <a:gd name="T68" fmla="*/ 3458 w 4427"/>
                  <a:gd name="T69" fmla="*/ 892 h 958"/>
                  <a:gd name="T70" fmla="*/ 3498 w 4427"/>
                  <a:gd name="T71" fmla="*/ 867 h 958"/>
                  <a:gd name="T72" fmla="*/ 4354 w 4427"/>
                  <a:gd name="T73" fmla="*/ 259 h 958"/>
                  <a:gd name="T74" fmla="*/ 4376 w 4427"/>
                  <a:gd name="T75" fmla="*/ 237 h 958"/>
                  <a:gd name="T76" fmla="*/ 4395 w 4427"/>
                  <a:gd name="T77" fmla="*/ 209 h 958"/>
                  <a:gd name="T78" fmla="*/ 4410 w 4427"/>
                  <a:gd name="T79" fmla="*/ 175 h 958"/>
                  <a:gd name="T80" fmla="*/ 4422 w 4427"/>
                  <a:gd name="T81" fmla="*/ 139 h 958"/>
                  <a:gd name="T82" fmla="*/ 4427 w 4427"/>
                  <a:gd name="T83" fmla="*/ 101 h 958"/>
                  <a:gd name="T84" fmla="*/ 4427 w 4427"/>
                  <a:gd name="T85" fmla="*/ 64 h 958"/>
                  <a:gd name="T86" fmla="*/ 4422 w 4427"/>
                  <a:gd name="T87" fmla="*/ 30 h 958"/>
                  <a:gd name="T88" fmla="*/ 4412 w 4427"/>
                  <a:gd name="T89" fmla="*/ 0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27" h="958">
                    <a:moveTo>
                      <a:pt x="4412" y="0"/>
                    </a:moveTo>
                    <a:lnTo>
                      <a:pt x="4412" y="0"/>
                    </a:lnTo>
                    <a:lnTo>
                      <a:pt x="4412" y="9"/>
                    </a:lnTo>
                    <a:lnTo>
                      <a:pt x="4412" y="20"/>
                    </a:lnTo>
                    <a:lnTo>
                      <a:pt x="4408" y="32"/>
                    </a:lnTo>
                    <a:lnTo>
                      <a:pt x="4401" y="45"/>
                    </a:lnTo>
                    <a:lnTo>
                      <a:pt x="4393" y="56"/>
                    </a:lnTo>
                    <a:lnTo>
                      <a:pt x="4382" y="69"/>
                    </a:lnTo>
                    <a:lnTo>
                      <a:pt x="4369" y="83"/>
                    </a:lnTo>
                    <a:lnTo>
                      <a:pt x="4354" y="94"/>
                    </a:lnTo>
                    <a:lnTo>
                      <a:pt x="3498" y="702"/>
                    </a:lnTo>
                    <a:lnTo>
                      <a:pt x="3498" y="702"/>
                    </a:lnTo>
                    <a:lnTo>
                      <a:pt x="3479" y="715"/>
                    </a:lnTo>
                    <a:lnTo>
                      <a:pt x="3458" y="726"/>
                    </a:lnTo>
                    <a:lnTo>
                      <a:pt x="3437" y="737"/>
                    </a:lnTo>
                    <a:lnTo>
                      <a:pt x="3415" y="749"/>
                    </a:lnTo>
                    <a:lnTo>
                      <a:pt x="3390" y="758"/>
                    </a:lnTo>
                    <a:lnTo>
                      <a:pt x="3366" y="766"/>
                    </a:lnTo>
                    <a:lnTo>
                      <a:pt x="3342" y="773"/>
                    </a:lnTo>
                    <a:lnTo>
                      <a:pt x="3315" y="779"/>
                    </a:lnTo>
                    <a:lnTo>
                      <a:pt x="3289" y="784"/>
                    </a:lnTo>
                    <a:lnTo>
                      <a:pt x="3264" y="788"/>
                    </a:lnTo>
                    <a:lnTo>
                      <a:pt x="3238" y="792"/>
                    </a:lnTo>
                    <a:lnTo>
                      <a:pt x="3212" y="792"/>
                    </a:lnTo>
                    <a:lnTo>
                      <a:pt x="3187" y="792"/>
                    </a:lnTo>
                    <a:lnTo>
                      <a:pt x="3163" y="792"/>
                    </a:lnTo>
                    <a:lnTo>
                      <a:pt x="3140" y="790"/>
                    </a:lnTo>
                    <a:lnTo>
                      <a:pt x="3118" y="786"/>
                    </a:lnTo>
                    <a:lnTo>
                      <a:pt x="95" y="184"/>
                    </a:lnTo>
                    <a:lnTo>
                      <a:pt x="95" y="184"/>
                    </a:lnTo>
                    <a:lnTo>
                      <a:pt x="79" y="179"/>
                    </a:lnTo>
                    <a:lnTo>
                      <a:pt x="62" y="173"/>
                    </a:lnTo>
                    <a:lnTo>
                      <a:pt x="47" y="167"/>
                    </a:lnTo>
                    <a:lnTo>
                      <a:pt x="33" y="160"/>
                    </a:lnTo>
                    <a:lnTo>
                      <a:pt x="24" y="152"/>
                    </a:lnTo>
                    <a:lnTo>
                      <a:pt x="15" y="145"/>
                    </a:lnTo>
                    <a:lnTo>
                      <a:pt x="7" y="135"/>
                    </a:lnTo>
                    <a:lnTo>
                      <a:pt x="3" y="126"/>
                    </a:lnTo>
                    <a:lnTo>
                      <a:pt x="3" y="126"/>
                    </a:lnTo>
                    <a:lnTo>
                      <a:pt x="0" y="143"/>
                    </a:lnTo>
                    <a:lnTo>
                      <a:pt x="0" y="162"/>
                    </a:lnTo>
                    <a:lnTo>
                      <a:pt x="0" y="197"/>
                    </a:lnTo>
                    <a:lnTo>
                      <a:pt x="1" y="214"/>
                    </a:lnTo>
                    <a:lnTo>
                      <a:pt x="5" y="233"/>
                    </a:lnTo>
                    <a:lnTo>
                      <a:pt x="9" y="250"/>
                    </a:lnTo>
                    <a:lnTo>
                      <a:pt x="15" y="265"/>
                    </a:lnTo>
                    <a:lnTo>
                      <a:pt x="20" y="282"/>
                    </a:lnTo>
                    <a:lnTo>
                      <a:pt x="28" y="295"/>
                    </a:lnTo>
                    <a:lnTo>
                      <a:pt x="37" y="308"/>
                    </a:lnTo>
                    <a:lnTo>
                      <a:pt x="47" y="320"/>
                    </a:lnTo>
                    <a:lnTo>
                      <a:pt x="58" y="331"/>
                    </a:lnTo>
                    <a:lnTo>
                      <a:pt x="69" y="338"/>
                    </a:lnTo>
                    <a:lnTo>
                      <a:pt x="82" y="344"/>
                    </a:lnTo>
                    <a:lnTo>
                      <a:pt x="95" y="350"/>
                    </a:lnTo>
                    <a:lnTo>
                      <a:pt x="3118" y="950"/>
                    </a:lnTo>
                    <a:lnTo>
                      <a:pt x="3118" y="950"/>
                    </a:lnTo>
                    <a:lnTo>
                      <a:pt x="3140" y="954"/>
                    </a:lnTo>
                    <a:lnTo>
                      <a:pt x="3163" y="958"/>
                    </a:lnTo>
                    <a:lnTo>
                      <a:pt x="3187" y="958"/>
                    </a:lnTo>
                    <a:lnTo>
                      <a:pt x="3212" y="958"/>
                    </a:lnTo>
                    <a:lnTo>
                      <a:pt x="3238" y="956"/>
                    </a:lnTo>
                    <a:lnTo>
                      <a:pt x="3264" y="954"/>
                    </a:lnTo>
                    <a:lnTo>
                      <a:pt x="3289" y="950"/>
                    </a:lnTo>
                    <a:lnTo>
                      <a:pt x="3315" y="944"/>
                    </a:lnTo>
                    <a:lnTo>
                      <a:pt x="3342" y="939"/>
                    </a:lnTo>
                    <a:lnTo>
                      <a:pt x="3366" y="931"/>
                    </a:lnTo>
                    <a:lnTo>
                      <a:pt x="3390" y="924"/>
                    </a:lnTo>
                    <a:lnTo>
                      <a:pt x="3415" y="914"/>
                    </a:lnTo>
                    <a:lnTo>
                      <a:pt x="3437" y="903"/>
                    </a:lnTo>
                    <a:lnTo>
                      <a:pt x="3458" y="892"/>
                    </a:lnTo>
                    <a:lnTo>
                      <a:pt x="3479" y="880"/>
                    </a:lnTo>
                    <a:lnTo>
                      <a:pt x="3498" y="867"/>
                    </a:lnTo>
                    <a:lnTo>
                      <a:pt x="4354" y="259"/>
                    </a:lnTo>
                    <a:lnTo>
                      <a:pt x="4354" y="259"/>
                    </a:lnTo>
                    <a:lnTo>
                      <a:pt x="4365" y="250"/>
                    </a:lnTo>
                    <a:lnTo>
                      <a:pt x="4376" y="237"/>
                    </a:lnTo>
                    <a:lnTo>
                      <a:pt x="4388" y="224"/>
                    </a:lnTo>
                    <a:lnTo>
                      <a:pt x="4395" y="209"/>
                    </a:lnTo>
                    <a:lnTo>
                      <a:pt x="4405" y="192"/>
                    </a:lnTo>
                    <a:lnTo>
                      <a:pt x="4410" y="175"/>
                    </a:lnTo>
                    <a:lnTo>
                      <a:pt x="4418" y="158"/>
                    </a:lnTo>
                    <a:lnTo>
                      <a:pt x="4422" y="139"/>
                    </a:lnTo>
                    <a:lnTo>
                      <a:pt x="4425" y="120"/>
                    </a:lnTo>
                    <a:lnTo>
                      <a:pt x="4427" y="101"/>
                    </a:lnTo>
                    <a:lnTo>
                      <a:pt x="4427" y="83"/>
                    </a:lnTo>
                    <a:lnTo>
                      <a:pt x="4427" y="64"/>
                    </a:lnTo>
                    <a:lnTo>
                      <a:pt x="4425" y="47"/>
                    </a:lnTo>
                    <a:lnTo>
                      <a:pt x="4422" y="30"/>
                    </a:lnTo>
                    <a:lnTo>
                      <a:pt x="4418" y="15"/>
                    </a:lnTo>
                    <a:lnTo>
                      <a:pt x="4412" y="0"/>
                    </a:lnTo>
                    <a:lnTo>
                      <a:pt x="4412" y="0"/>
                    </a:lnTo>
                    <a:close/>
                  </a:path>
                </a:pathLst>
              </a:custGeom>
              <a:solidFill>
                <a:srgbClr val="505050">
                  <a:lumMod val="60000"/>
                  <a:lumOff val="40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grpSp>
        <p:sp>
          <p:nvSpPr>
            <p:cNvPr id="2426" name="Freeform 2425"/>
            <p:cNvSpPr>
              <a:spLocks/>
            </p:cNvSpPr>
            <p:nvPr/>
          </p:nvSpPr>
          <p:spPr bwMode="auto">
            <a:xfrm flipH="1">
              <a:off x="5496453" y="3044367"/>
              <a:ext cx="347524" cy="237301"/>
            </a:xfrm>
            <a:custGeom>
              <a:avLst/>
              <a:gdLst>
                <a:gd name="T0" fmla="*/ 4553 w 4655"/>
                <a:gd name="T1" fmla="*/ 830 h 3163"/>
                <a:gd name="T2" fmla="*/ 4493 w 4655"/>
                <a:gd name="T3" fmla="*/ 768 h 3163"/>
                <a:gd name="T4" fmla="*/ 4424 w 4655"/>
                <a:gd name="T5" fmla="*/ 719 h 3163"/>
                <a:gd name="T6" fmla="*/ 4346 w 4655"/>
                <a:gd name="T7" fmla="*/ 681 h 3163"/>
                <a:gd name="T8" fmla="*/ 4262 w 4655"/>
                <a:gd name="T9" fmla="*/ 657 h 3163"/>
                <a:gd name="T10" fmla="*/ 4171 w 4655"/>
                <a:gd name="T11" fmla="*/ 645 h 3163"/>
                <a:gd name="T12" fmla="*/ 4077 w 4655"/>
                <a:gd name="T13" fmla="*/ 645 h 3163"/>
                <a:gd name="T14" fmla="*/ 3983 w 4655"/>
                <a:gd name="T15" fmla="*/ 659 h 3163"/>
                <a:gd name="T16" fmla="*/ 3887 w 4655"/>
                <a:gd name="T17" fmla="*/ 685 h 3163"/>
                <a:gd name="T18" fmla="*/ 3791 w 4655"/>
                <a:gd name="T19" fmla="*/ 723 h 3163"/>
                <a:gd name="T20" fmla="*/ 3699 w 4655"/>
                <a:gd name="T21" fmla="*/ 775 h 3163"/>
                <a:gd name="T22" fmla="*/ 1074 w 4655"/>
                <a:gd name="T23" fmla="*/ 331 h 3163"/>
                <a:gd name="T24" fmla="*/ 1031 w 4655"/>
                <a:gd name="T25" fmla="*/ 275 h 3163"/>
                <a:gd name="T26" fmla="*/ 959 w 4655"/>
                <a:gd name="T27" fmla="*/ 199 h 3163"/>
                <a:gd name="T28" fmla="*/ 880 w 4655"/>
                <a:gd name="T29" fmla="*/ 135 h 3163"/>
                <a:gd name="T30" fmla="*/ 796 w 4655"/>
                <a:gd name="T31" fmla="*/ 83 h 3163"/>
                <a:gd name="T32" fmla="*/ 709 w 4655"/>
                <a:gd name="T33" fmla="*/ 41 h 3163"/>
                <a:gd name="T34" fmla="*/ 621 w 4655"/>
                <a:gd name="T35" fmla="*/ 15 h 3163"/>
                <a:gd name="T36" fmla="*/ 532 w 4655"/>
                <a:gd name="T37" fmla="*/ 2 h 3163"/>
                <a:gd name="T38" fmla="*/ 446 w 4655"/>
                <a:gd name="T39" fmla="*/ 0 h 3163"/>
                <a:gd name="T40" fmla="*/ 361 w 4655"/>
                <a:gd name="T41" fmla="*/ 15 h 3163"/>
                <a:gd name="T42" fmla="*/ 280 w 4655"/>
                <a:gd name="T43" fmla="*/ 43 h 3163"/>
                <a:gd name="T44" fmla="*/ 205 w 4655"/>
                <a:gd name="T45" fmla="*/ 87 h 3163"/>
                <a:gd name="T46" fmla="*/ 161 w 4655"/>
                <a:gd name="T47" fmla="*/ 122 h 3163"/>
                <a:gd name="T48" fmla="*/ 103 w 4655"/>
                <a:gd name="T49" fmla="*/ 186 h 3163"/>
                <a:gd name="T50" fmla="*/ 58 w 4655"/>
                <a:gd name="T51" fmla="*/ 258 h 3163"/>
                <a:gd name="T52" fmla="*/ 26 w 4655"/>
                <a:gd name="T53" fmla="*/ 339 h 3163"/>
                <a:gd name="T54" fmla="*/ 7 w 4655"/>
                <a:gd name="T55" fmla="*/ 425 h 3163"/>
                <a:gd name="T56" fmla="*/ 0 w 4655"/>
                <a:gd name="T57" fmla="*/ 517 h 3163"/>
                <a:gd name="T58" fmla="*/ 3 w 4655"/>
                <a:gd name="T59" fmla="*/ 612 h 3163"/>
                <a:gd name="T60" fmla="*/ 22 w 4655"/>
                <a:gd name="T61" fmla="*/ 708 h 3163"/>
                <a:gd name="T62" fmla="*/ 52 w 4655"/>
                <a:gd name="T63" fmla="*/ 802 h 3163"/>
                <a:gd name="T64" fmla="*/ 96 w 4655"/>
                <a:gd name="T65" fmla="*/ 896 h 3163"/>
                <a:gd name="T66" fmla="*/ 152 w 4655"/>
                <a:gd name="T67" fmla="*/ 988 h 3163"/>
                <a:gd name="T68" fmla="*/ 1486 w 4655"/>
                <a:gd name="T69" fmla="*/ 2860 h 3163"/>
                <a:gd name="T70" fmla="*/ 1593 w 4655"/>
                <a:gd name="T71" fmla="*/ 2972 h 3163"/>
                <a:gd name="T72" fmla="*/ 1631 w 4655"/>
                <a:gd name="T73" fmla="*/ 3013 h 3163"/>
                <a:gd name="T74" fmla="*/ 1695 w 4655"/>
                <a:gd name="T75" fmla="*/ 3068 h 3163"/>
                <a:gd name="T76" fmla="*/ 1767 w 4655"/>
                <a:gd name="T77" fmla="*/ 3109 h 3163"/>
                <a:gd name="T78" fmla="*/ 1848 w 4655"/>
                <a:gd name="T79" fmla="*/ 3139 h 3163"/>
                <a:gd name="T80" fmla="*/ 1932 w 4655"/>
                <a:gd name="T81" fmla="*/ 3158 h 3163"/>
                <a:gd name="T82" fmla="*/ 2023 w 4655"/>
                <a:gd name="T83" fmla="*/ 3163 h 3163"/>
                <a:gd name="T84" fmla="*/ 2115 w 4655"/>
                <a:gd name="T85" fmla="*/ 3158 h 3163"/>
                <a:gd name="T86" fmla="*/ 2209 w 4655"/>
                <a:gd name="T87" fmla="*/ 3141 h 3163"/>
                <a:gd name="T88" fmla="*/ 2303 w 4655"/>
                <a:gd name="T89" fmla="*/ 3111 h 3163"/>
                <a:gd name="T90" fmla="*/ 2395 w 4655"/>
                <a:gd name="T91" fmla="*/ 3068 h 3163"/>
                <a:gd name="T92" fmla="*/ 2484 w 4655"/>
                <a:gd name="T93" fmla="*/ 3013 h 3163"/>
                <a:gd name="T94" fmla="*/ 4350 w 4655"/>
                <a:gd name="T95" fmla="*/ 1699 h 3163"/>
                <a:gd name="T96" fmla="*/ 4429 w 4655"/>
                <a:gd name="T97" fmla="*/ 1630 h 3163"/>
                <a:gd name="T98" fmla="*/ 4499 w 4655"/>
                <a:gd name="T99" fmla="*/ 1554 h 3163"/>
                <a:gd name="T100" fmla="*/ 4555 w 4655"/>
                <a:gd name="T101" fmla="*/ 1472 h 3163"/>
                <a:gd name="T102" fmla="*/ 4601 w 4655"/>
                <a:gd name="T103" fmla="*/ 1387 h 3163"/>
                <a:gd name="T104" fmla="*/ 4631 w 4655"/>
                <a:gd name="T105" fmla="*/ 1298 h 3163"/>
                <a:gd name="T106" fmla="*/ 4651 w 4655"/>
                <a:gd name="T107" fmla="*/ 1210 h 3163"/>
                <a:gd name="T108" fmla="*/ 4655 w 4655"/>
                <a:gd name="T109" fmla="*/ 1122 h 3163"/>
                <a:gd name="T110" fmla="*/ 4648 w 4655"/>
                <a:gd name="T111" fmla="*/ 1037 h 3163"/>
                <a:gd name="T112" fmla="*/ 4625 w 4655"/>
                <a:gd name="T113" fmla="*/ 954 h 3163"/>
                <a:gd name="T114" fmla="*/ 4587 w 4655"/>
                <a:gd name="T115" fmla="*/ 877 h 3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55" h="3163">
                  <a:moveTo>
                    <a:pt x="4570" y="852"/>
                  </a:moveTo>
                  <a:lnTo>
                    <a:pt x="4570" y="852"/>
                  </a:lnTo>
                  <a:lnTo>
                    <a:pt x="4553" y="830"/>
                  </a:lnTo>
                  <a:lnTo>
                    <a:pt x="4535" y="807"/>
                  </a:lnTo>
                  <a:lnTo>
                    <a:pt x="4514" y="787"/>
                  </a:lnTo>
                  <a:lnTo>
                    <a:pt x="4493" y="768"/>
                  </a:lnTo>
                  <a:lnTo>
                    <a:pt x="4471" y="751"/>
                  </a:lnTo>
                  <a:lnTo>
                    <a:pt x="4448" y="734"/>
                  </a:lnTo>
                  <a:lnTo>
                    <a:pt x="4424" y="719"/>
                  </a:lnTo>
                  <a:lnTo>
                    <a:pt x="4399" y="706"/>
                  </a:lnTo>
                  <a:lnTo>
                    <a:pt x="4373" y="692"/>
                  </a:lnTo>
                  <a:lnTo>
                    <a:pt x="4346" y="681"/>
                  </a:lnTo>
                  <a:lnTo>
                    <a:pt x="4318" y="672"/>
                  </a:lnTo>
                  <a:lnTo>
                    <a:pt x="4290" y="664"/>
                  </a:lnTo>
                  <a:lnTo>
                    <a:pt x="4262" y="657"/>
                  </a:lnTo>
                  <a:lnTo>
                    <a:pt x="4232" y="651"/>
                  </a:lnTo>
                  <a:lnTo>
                    <a:pt x="4202" y="647"/>
                  </a:lnTo>
                  <a:lnTo>
                    <a:pt x="4171" y="645"/>
                  </a:lnTo>
                  <a:lnTo>
                    <a:pt x="4141" y="644"/>
                  </a:lnTo>
                  <a:lnTo>
                    <a:pt x="4109" y="644"/>
                  </a:lnTo>
                  <a:lnTo>
                    <a:pt x="4077" y="645"/>
                  </a:lnTo>
                  <a:lnTo>
                    <a:pt x="4047" y="647"/>
                  </a:lnTo>
                  <a:lnTo>
                    <a:pt x="4015" y="653"/>
                  </a:lnTo>
                  <a:lnTo>
                    <a:pt x="3983" y="659"/>
                  </a:lnTo>
                  <a:lnTo>
                    <a:pt x="3951" y="666"/>
                  </a:lnTo>
                  <a:lnTo>
                    <a:pt x="3919" y="674"/>
                  </a:lnTo>
                  <a:lnTo>
                    <a:pt x="3887" y="685"/>
                  </a:lnTo>
                  <a:lnTo>
                    <a:pt x="3855" y="696"/>
                  </a:lnTo>
                  <a:lnTo>
                    <a:pt x="3823" y="709"/>
                  </a:lnTo>
                  <a:lnTo>
                    <a:pt x="3791" y="723"/>
                  </a:lnTo>
                  <a:lnTo>
                    <a:pt x="3761" y="740"/>
                  </a:lnTo>
                  <a:lnTo>
                    <a:pt x="3729" y="756"/>
                  </a:lnTo>
                  <a:lnTo>
                    <a:pt x="3699" y="775"/>
                  </a:lnTo>
                  <a:lnTo>
                    <a:pt x="3669" y="794"/>
                  </a:lnTo>
                  <a:lnTo>
                    <a:pt x="2160" y="1857"/>
                  </a:lnTo>
                  <a:lnTo>
                    <a:pt x="1074" y="331"/>
                  </a:lnTo>
                  <a:lnTo>
                    <a:pt x="1074" y="331"/>
                  </a:lnTo>
                  <a:lnTo>
                    <a:pt x="1053" y="303"/>
                  </a:lnTo>
                  <a:lnTo>
                    <a:pt x="1031" y="275"/>
                  </a:lnTo>
                  <a:lnTo>
                    <a:pt x="1008" y="248"/>
                  </a:lnTo>
                  <a:lnTo>
                    <a:pt x="984" y="222"/>
                  </a:lnTo>
                  <a:lnTo>
                    <a:pt x="959" y="199"/>
                  </a:lnTo>
                  <a:lnTo>
                    <a:pt x="933" y="177"/>
                  </a:lnTo>
                  <a:lnTo>
                    <a:pt x="907" y="154"/>
                  </a:lnTo>
                  <a:lnTo>
                    <a:pt x="880" y="135"/>
                  </a:lnTo>
                  <a:lnTo>
                    <a:pt x="852" y="117"/>
                  </a:lnTo>
                  <a:lnTo>
                    <a:pt x="824" y="98"/>
                  </a:lnTo>
                  <a:lnTo>
                    <a:pt x="796" y="83"/>
                  </a:lnTo>
                  <a:lnTo>
                    <a:pt x="767" y="68"/>
                  </a:lnTo>
                  <a:lnTo>
                    <a:pt x="739" y="55"/>
                  </a:lnTo>
                  <a:lnTo>
                    <a:pt x="709" y="41"/>
                  </a:lnTo>
                  <a:lnTo>
                    <a:pt x="681" y="32"/>
                  </a:lnTo>
                  <a:lnTo>
                    <a:pt x="651" y="23"/>
                  </a:lnTo>
                  <a:lnTo>
                    <a:pt x="621" y="15"/>
                  </a:lnTo>
                  <a:lnTo>
                    <a:pt x="592" y="9"/>
                  </a:lnTo>
                  <a:lnTo>
                    <a:pt x="562" y="4"/>
                  </a:lnTo>
                  <a:lnTo>
                    <a:pt x="532" y="2"/>
                  </a:lnTo>
                  <a:lnTo>
                    <a:pt x="504" y="0"/>
                  </a:lnTo>
                  <a:lnTo>
                    <a:pt x="474" y="0"/>
                  </a:lnTo>
                  <a:lnTo>
                    <a:pt x="446" y="0"/>
                  </a:lnTo>
                  <a:lnTo>
                    <a:pt x="417" y="4"/>
                  </a:lnTo>
                  <a:lnTo>
                    <a:pt x="389" y="7"/>
                  </a:lnTo>
                  <a:lnTo>
                    <a:pt x="361" y="15"/>
                  </a:lnTo>
                  <a:lnTo>
                    <a:pt x="333" y="23"/>
                  </a:lnTo>
                  <a:lnTo>
                    <a:pt x="306" y="32"/>
                  </a:lnTo>
                  <a:lnTo>
                    <a:pt x="280" y="43"/>
                  </a:lnTo>
                  <a:lnTo>
                    <a:pt x="256" y="55"/>
                  </a:lnTo>
                  <a:lnTo>
                    <a:pt x="229" y="70"/>
                  </a:lnTo>
                  <a:lnTo>
                    <a:pt x="205" y="87"/>
                  </a:lnTo>
                  <a:lnTo>
                    <a:pt x="205" y="87"/>
                  </a:lnTo>
                  <a:lnTo>
                    <a:pt x="182" y="103"/>
                  </a:lnTo>
                  <a:lnTo>
                    <a:pt x="161" y="122"/>
                  </a:lnTo>
                  <a:lnTo>
                    <a:pt x="141" y="143"/>
                  </a:lnTo>
                  <a:lnTo>
                    <a:pt x="122" y="164"/>
                  </a:lnTo>
                  <a:lnTo>
                    <a:pt x="103" y="186"/>
                  </a:lnTo>
                  <a:lnTo>
                    <a:pt x="88" y="209"/>
                  </a:lnTo>
                  <a:lnTo>
                    <a:pt x="73" y="233"/>
                  </a:lnTo>
                  <a:lnTo>
                    <a:pt x="58" y="258"/>
                  </a:lnTo>
                  <a:lnTo>
                    <a:pt x="47" y="284"/>
                  </a:lnTo>
                  <a:lnTo>
                    <a:pt x="35" y="310"/>
                  </a:lnTo>
                  <a:lnTo>
                    <a:pt x="26" y="339"/>
                  </a:lnTo>
                  <a:lnTo>
                    <a:pt x="18" y="367"/>
                  </a:lnTo>
                  <a:lnTo>
                    <a:pt x="11" y="397"/>
                  </a:lnTo>
                  <a:lnTo>
                    <a:pt x="7" y="425"/>
                  </a:lnTo>
                  <a:lnTo>
                    <a:pt x="2" y="455"/>
                  </a:lnTo>
                  <a:lnTo>
                    <a:pt x="0" y="485"/>
                  </a:lnTo>
                  <a:lnTo>
                    <a:pt x="0" y="517"/>
                  </a:lnTo>
                  <a:lnTo>
                    <a:pt x="0" y="548"/>
                  </a:lnTo>
                  <a:lnTo>
                    <a:pt x="2" y="580"/>
                  </a:lnTo>
                  <a:lnTo>
                    <a:pt x="3" y="612"/>
                  </a:lnTo>
                  <a:lnTo>
                    <a:pt x="9" y="644"/>
                  </a:lnTo>
                  <a:lnTo>
                    <a:pt x="15" y="676"/>
                  </a:lnTo>
                  <a:lnTo>
                    <a:pt x="22" y="708"/>
                  </a:lnTo>
                  <a:lnTo>
                    <a:pt x="30" y="740"/>
                  </a:lnTo>
                  <a:lnTo>
                    <a:pt x="41" y="772"/>
                  </a:lnTo>
                  <a:lnTo>
                    <a:pt x="52" y="802"/>
                  </a:lnTo>
                  <a:lnTo>
                    <a:pt x="65" y="834"/>
                  </a:lnTo>
                  <a:lnTo>
                    <a:pt x="81" y="866"/>
                  </a:lnTo>
                  <a:lnTo>
                    <a:pt x="96" y="896"/>
                  </a:lnTo>
                  <a:lnTo>
                    <a:pt x="113" y="928"/>
                  </a:lnTo>
                  <a:lnTo>
                    <a:pt x="133" y="958"/>
                  </a:lnTo>
                  <a:lnTo>
                    <a:pt x="152" y="988"/>
                  </a:lnTo>
                  <a:lnTo>
                    <a:pt x="1454" y="2817"/>
                  </a:lnTo>
                  <a:lnTo>
                    <a:pt x="1454" y="2817"/>
                  </a:lnTo>
                  <a:lnTo>
                    <a:pt x="1486" y="2860"/>
                  </a:lnTo>
                  <a:lnTo>
                    <a:pt x="1520" y="2900"/>
                  </a:lnTo>
                  <a:lnTo>
                    <a:pt x="1556" y="2938"/>
                  </a:lnTo>
                  <a:lnTo>
                    <a:pt x="1593" y="2972"/>
                  </a:lnTo>
                  <a:lnTo>
                    <a:pt x="1593" y="2972"/>
                  </a:lnTo>
                  <a:lnTo>
                    <a:pt x="1612" y="2992"/>
                  </a:lnTo>
                  <a:lnTo>
                    <a:pt x="1631" y="3013"/>
                  </a:lnTo>
                  <a:lnTo>
                    <a:pt x="1652" y="3032"/>
                  </a:lnTo>
                  <a:lnTo>
                    <a:pt x="1673" y="3051"/>
                  </a:lnTo>
                  <a:lnTo>
                    <a:pt x="1695" y="3068"/>
                  </a:lnTo>
                  <a:lnTo>
                    <a:pt x="1718" y="3083"/>
                  </a:lnTo>
                  <a:lnTo>
                    <a:pt x="1742" y="3096"/>
                  </a:lnTo>
                  <a:lnTo>
                    <a:pt x="1767" y="3109"/>
                  </a:lnTo>
                  <a:lnTo>
                    <a:pt x="1793" y="3120"/>
                  </a:lnTo>
                  <a:lnTo>
                    <a:pt x="1819" y="3131"/>
                  </a:lnTo>
                  <a:lnTo>
                    <a:pt x="1848" y="3139"/>
                  </a:lnTo>
                  <a:lnTo>
                    <a:pt x="1876" y="3147"/>
                  </a:lnTo>
                  <a:lnTo>
                    <a:pt x="1904" y="3154"/>
                  </a:lnTo>
                  <a:lnTo>
                    <a:pt x="1932" y="3158"/>
                  </a:lnTo>
                  <a:lnTo>
                    <a:pt x="1962" y="3162"/>
                  </a:lnTo>
                  <a:lnTo>
                    <a:pt x="1992" y="3163"/>
                  </a:lnTo>
                  <a:lnTo>
                    <a:pt x="2023" y="3163"/>
                  </a:lnTo>
                  <a:lnTo>
                    <a:pt x="2053" y="3163"/>
                  </a:lnTo>
                  <a:lnTo>
                    <a:pt x="2083" y="3162"/>
                  </a:lnTo>
                  <a:lnTo>
                    <a:pt x="2115" y="3158"/>
                  </a:lnTo>
                  <a:lnTo>
                    <a:pt x="2145" y="3154"/>
                  </a:lnTo>
                  <a:lnTo>
                    <a:pt x="2177" y="3148"/>
                  </a:lnTo>
                  <a:lnTo>
                    <a:pt x="2209" y="3141"/>
                  </a:lnTo>
                  <a:lnTo>
                    <a:pt x="2239" y="3131"/>
                  </a:lnTo>
                  <a:lnTo>
                    <a:pt x="2271" y="3122"/>
                  </a:lnTo>
                  <a:lnTo>
                    <a:pt x="2303" y="3111"/>
                  </a:lnTo>
                  <a:lnTo>
                    <a:pt x="2333" y="3098"/>
                  </a:lnTo>
                  <a:lnTo>
                    <a:pt x="2363" y="3084"/>
                  </a:lnTo>
                  <a:lnTo>
                    <a:pt x="2395" y="3068"/>
                  </a:lnTo>
                  <a:lnTo>
                    <a:pt x="2425" y="3051"/>
                  </a:lnTo>
                  <a:lnTo>
                    <a:pt x="2453" y="3034"/>
                  </a:lnTo>
                  <a:lnTo>
                    <a:pt x="2484" y="3013"/>
                  </a:lnTo>
                  <a:lnTo>
                    <a:pt x="4320" y="1720"/>
                  </a:lnTo>
                  <a:lnTo>
                    <a:pt x="4320" y="1720"/>
                  </a:lnTo>
                  <a:lnTo>
                    <a:pt x="4350" y="1699"/>
                  </a:lnTo>
                  <a:lnTo>
                    <a:pt x="4378" y="1677"/>
                  </a:lnTo>
                  <a:lnTo>
                    <a:pt x="4405" y="1654"/>
                  </a:lnTo>
                  <a:lnTo>
                    <a:pt x="4429" y="1630"/>
                  </a:lnTo>
                  <a:lnTo>
                    <a:pt x="4454" y="1605"/>
                  </a:lnTo>
                  <a:lnTo>
                    <a:pt x="4476" y="1579"/>
                  </a:lnTo>
                  <a:lnTo>
                    <a:pt x="4499" y="1554"/>
                  </a:lnTo>
                  <a:lnTo>
                    <a:pt x="4518" y="1526"/>
                  </a:lnTo>
                  <a:lnTo>
                    <a:pt x="4537" y="1500"/>
                  </a:lnTo>
                  <a:lnTo>
                    <a:pt x="4555" y="1472"/>
                  </a:lnTo>
                  <a:lnTo>
                    <a:pt x="4570" y="1443"/>
                  </a:lnTo>
                  <a:lnTo>
                    <a:pt x="4585" y="1415"/>
                  </a:lnTo>
                  <a:lnTo>
                    <a:pt x="4601" y="1387"/>
                  </a:lnTo>
                  <a:lnTo>
                    <a:pt x="4612" y="1357"/>
                  </a:lnTo>
                  <a:lnTo>
                    <a:pt x="4623" y="1329"/>
                  </a:lnTo>
                  <a:lnTo>
                    <a:pt x="4631" y="1298"/>
                  </a:lnTo>
                  <a:lnTo>
                    <a:pt x="4640" y="1268"/>
                  </a:lnTo>
                  <a:lnTo>
                    <a:pt x="4646" y="1240"/>
                  </a:lnTo>
                  <a:lnTo>
                    <a:pt x="4651" y="1210"/>
                  </a:lnTo>
                  <a:lnTo>
                    <a:pt x="4653" y="1180"/>
                  </a:lnTo>
                  <a:lnTo>
                    <a:pt x="4655" y="1152"/>
                  </a:lnTo>
                  <a:lnTo>
                    <a:pt x="4655" y="1122"/>
                  </a:lnTo>
                  <a:lnTo>
                    <a:pt x="4655" y="1093"/>
                  </a:lnTo>
                  <a:lnTo>
                    <a:pt x="4651" y="1065"/>
                  </a:lnTo>
                  <a:lnTo>
                    <a:pt x="4648" y="1037"/>
                  </a:lnTo>
                  <a:lnTo>
                    <a:pt x="4642" y="1009"/>
                  </a:lnTo>
                  <a:lnTo>
                    <a:pt x="4634" y="980"/>
                  </a:lnTo>
                  <a:lnTo>
                    <a:pt x="4625" y="954"/>
                  </a:lnTo>
                  <a:lnTo>
                    <a:pt x="4614" y="928"/>
                  </a:lnTo>
                  <a:lnTo>
                    <a:pt x="4601" y="901"/>
                  </a:lnTo>
                  <a:lnTo>
                    <a:pt x="4587" y="877"/>
                  </a:lnTo>
                  <a:lnTo>
                    <a:pt x="4570" y="852"/>
                  </a:lnTo>
                  <a:lnTo>
                    <a:pt x="4570" y="852"/>
                  </a:ln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7" name="Freeform 2426"/>
            <p:cNvSpPr>
              <a:spLocks/>
            </p:cNvSpPr>
            <p:nvPr/>
          </p:nvSpPr>
          <p:spPr bwMode="auto">
            <a:xfrm flipH="1">
              <a:off x="5755944" y="3037768"/>
              <a:ext cx="131964" cy="206457"/>
            </a:xfrm>
            <a:custGeom>
              <a:avLst/>
              <a:gdLst>
                <a:gd name="connsiteX0" fmla="*/ 0 w 172345"/>
                <a:gd name="connsiteY0" fmla="*/ 0 h 268897"/>
                <a:gd name="connsiteX1" fmla="*/ 65633 w 172345"/>
                <a:gd name="connsiteY1" fmla="*/ 557 h 268897"/>
                <a:gd name="connsiteX2" fmla="*/ 73921 w 172345"/>
                <a:gd name="connsiteY2" fmla="*/ 654 h 268897"/>
                <a:gd name="connsiteX3" fmla="*/ 82013 w 172345"/>
                <a:gd name="connsiteY3" fmla="*/ 1239 h 268897"/>
                <a:gd name="connsiteX4" fmla="*/ 89912 w 172345"/>
                <a:gd name="connsiteY4" fmla="*/ 2019 h 268897"/>
                <a:gd name="connsiteX5" fmla="*/ 97420 w 172345"/>
                <a:gd name="connsiteY5" fmla="*/ 3286 h 268897"/>
                <a:gd name="connsiteX6" fmla="*/ 104733 w 172345"/>
                <a:gd name="connsiteY6" fmla="*/ 4553 h 268897"/>
                <a:gd name="connsiteX7" fmla="*/ 111558 w 172345"/>
                <a:gd name="connsiteY7" fmla="*/ 6209 h 268897"/>
                <a:gd name="connsiteX8" fmla="*/ 117993 w 172345"/>
                <a:gd name="connsiteY8" fmla="*/ 8256 h 268897"/>
                <a:gd name="connsiteX9" fmla="*/ 124038 w 172345"/>
                <a:gd name="connsiteY9" fmla="*/ 10205 h 268897"/>
                <a:gd name="connsiteX10" fmla="*/ 129499 w 172345"/>
                <a:gd name="connsiteY10" fmla="*/ 12642 h 268897"/>
                <a:gd name="connsiteX11" fmla="*/ 134472 w 172345"/>
                <a:gd name="connsiteY11" fmla="*/ 14980 h 268897"/>
                <a:gd name="connsiteX12" fmla="*/ 136714 w 172345"/>
                <a:gd name="connsiteY12" fmla="*/ 16247 h 268897"/>
                <a:gd name="connsiteX13" fmla="*/ 138664 w 172345"/>
                <a:gd name="connsiteY13" fmla="*/ 17807 h 268897"/>
                <a:gd name="connsiteX14" fmla="*/ 140712 w 172345"/>
                <a:gd name="connsiteY14" fmla="*/ 19074 h 268897"/>
                <a:gd name="connsiteX15" fmla="*/ 142564 w 172345"/>
                <a:gd name="connsiteY15" fmla="*/ 20536 h 268897"/>
                <a:gd name="connsiteX16" fmla="*/ 144222 w 172345"/>
                <a:gd name="connsiteY16" fmla="*/ 21997 h 268897"/>
                <a:gd name="connsiteX17" fmla="*/ 145490 w 172345"/>
                <a:gd name="connsiteY17" fmla="*/ 23459 h 268897"/>
                <a:gd name="connsiteX18" fmla="*/ 146757 w 172345"/>
                <a:gd name="connsiteY18" fmla="*/ 25116 h 268897"/>
                <a:gd name="connsiteX19" fmla="*/ 147830 w 172345"/>
                <a:gd name="connsiteY19" fmla="*/ 26578 h 268897"/>
                <a:gd name="connsiteX20" fmla="*/ 148805 w 172345"/>
                <a:gd name="connsiteY20" fmla="*/ 28235 h 268897"/>
                <a:gd name="connsiteX21" fmla="*/ 149487 w 172345"/>
                <a:gd name="connsiteY21" fmla="*/ 29696 h 268897"/>
                <a:gd name="connsiteX22" fmla="*/ 149877 w 172345"/>
                <a:gd name="connsiteY22" fmla="*/ 31353 h 268897"/>
                <a:gd name="connsiteX23" fmla="*/ 150268 w 172345"/>
                <a:gd name="connsiteY23" fmla="*/ 33010 h 268897"/>
                <a:gd name="connsiteX24" fmla="*/ 154850 w 172345"/>
                <a:gd name="connsiteY24" fmla="*/ 79204 h 268897"/>
                <a:gd name="connsiteX25" fmla="*/ 161286 w 172345"/>
                <a:gd name="connsiteY25" fmla="*/ 145571 h 268897"/>
                <a:gd name="connsiteX26" fmla="*/ 172345 w 172345"/>
                <a:gd name="connsiteY26" fmla="*/ 268897 h 268897"/>
                <a:gd name="connsiteX27" fmla="*/ 0 w 172345"/>
                <a:gd name="connsiteY27" fmla="*/ 268897 h 268897"/>
                <a:gd name="connsiteX0" fmla="*/ 0 w 172345"/>
                <a:gd name="connsiteY0" fmla="*/ 1980 h 268341"/>
                <a:gd name="connsiteX1" fmla="*/ 65633 w 172345"/>
                <a:gd name="connsiteY1" fmla="*/ 1 h 268341"/>
                <a:gd name="connsiteX2" fmla="*/ 73921 w 172345"/>
                <a:gd name="connsiteY2" fmla="*/ 98 h 268341"/>
                <a:gd name="connsiteX3" fmla="*/ 82013 w 172345"/>
                <a:gd name="connsiteY3" fmla="*/ 683 h 268341"/>
                <a:gd name="connsiteX4" fmla="*/ 89912 w 172345"/>
                <a:gd name="connsiteY4" fmla="*/ 1463 h 268341"/>
                <a:gd name="connsiteX5" fmla="*/ 97420 w 172345"/>
                <a:gd name="connsiteY5" fmla="*/ 2730 h 268341"/>
                <a:gd name="connsiteX6" fmla="*/ 104733 w 172345"/>
                <a:gd name="connsiteY6" fmla="*/ 3997 h 268341"/>
                <a:gd name="connsiteX7" fmla="*/ 111558 w 172345"/>
                <a:gd name="connsiteY7" fmla="*/ 5653 h 268341"/>
                <a:gd name="connsiteX8" fmla="*/ 117993 w 172345"/>
                <a:gd name="connsiteY8" fmla="*/ 7700 h 268341"/>
                <a:gd name="connsiteX9" fmla="*/ 124038 w 172345"/>
                <a:gd name="connsiteY9" fmla="*/ 9649 h 268341"/>
                <a:gd name="connsiteX10" fmla="*/ 129499 w 172345"/>
                <a:gd name="connsiteY10" fmla="*/ 12086 h 268341"/>
                <a:gd name="connsiteX11" fmla="*/ 134472 w 172345"/>
                <a:gd name="connsiteY11" fmla="*/ 14424 h 268341"/>
                <a:gd name="connsiteX12" fmla="*/ 136714 w 172345"/>
                <a:gd name="connsiteY12" fmla="*/ 15691 h 268341"/>
                <a:gd name="connsiteX13" fmla="*/ 138664 w 172345"/>
                <a:gd name="connsiteY13" fmla="*/ 17251 h 268341"/>
                <a:gd name="connsiteX14" fmla="*/ 140712 w 172345"/>
                <a:gd name="connsiteY14" fmla="*/ 18518 h 268341"/>
                <a:gd name="connsiteX15" fmla="*/ 142564 w 172345"/>
                <a:gd name="connsiteY15" fmla="*/ 19980 h 268341"/>
                <a:gd name="connsiteX16" fmla="*/ 144222 w 172345"/>
                <a:gd name="connsiteY16" fmla="*/ 21441 h 268341"/>
                <a:gd name="connsiteX17" fmla="*/ 145490 w 172345"/>
                <a:gd name="connsiteY17" fmla="*/ 22903 h 268341"/>
                <a:gd name="connsiteX18" fmla="*/ 146757 w 172345"/>
                <a:gd name="connsiteY18" fmla="*/ 24560 h 268341"/>
                <a:gd name="connsiteX19" fmla="*/ 147830 w 172345"/>
                <a:gd name="connsiteY19" fmla="*/ 26022 h 268341"/>
                <a:gd name="connsiteX20" fmla="*/ 148805 w 172345"/>
                <a:gd name="connsiteY20" fmla="*/ 27679 h 268341"/>
                <a:gd name="connsiteX21" fmla="*/ 149487 w 172345"/>
                <a:gd name="connsiteY21" fmla="*/ 29140 h 268341"/>
                <a:gd name="connsiteX22" fmla="*/ 149877 w 172345"/>
                <a:gd name="connsiteY22" fmla="*/ 30797 h 268341"/>
                <a:gd name="connsiteX23" fmla="*/ 150268 w 172345"/>
                <a:gd name="connsiteY23" fmla="*/ 32454 h 268341"/>
                <a:gd name="connsiteX24" fmla="*/ 154850 w 172345"/>
                <a:gd name="connsiteY24" fmla="*/ 78648 h 268341"/>
                <a:gd name="connsiteX25" fmla="*/ 161286 w 172345"/>
                <a:gd name="connsiteY25" fmla="*/ 145015 h 268341"/>
                <a:gd name="connsiteX26" fmla="*/ 172345 w 172345"/>
                <a:gd name="connsiteY26" fmla="*/ 268341 h 268341"/>
                <a:gd name="connsiteX27" fmla="*/ 0 w 172345"/>
                <a:gd name="connsiteY27" fmla="*/ 268341 h 268341"/>
                <a:gd name="connsiteX28" fmla="*/ 0 w 172345"/>
                <a:gd name="connsiteY28" fmla="*/ 1980 h 268341"/>
                <a:gd name="connsiteX0" fmla="*/ 0 w 172345"/>
                <a:gd name="connsiteY0" fmla="*/ 4515 h 268340"/>
                <a:gd name="connsiteX1" fmla="*/ 65633 w 172345"/>
                <a:gd name="connsiteY1" fmla="*/ 0 h 268340"/>
                <a:gd name="connsiteX2" fmla="*/ 73921 w 172345"/>
                <a:gd name="connsiteY2" fmla="*/ 97 h 268340"/>
                <a:gd name="connsiteX3" fmla="*/ 82013 w 172345"/>
                <a:gd name="connsiteY3" fmla="*/ 682 h 268340"/>
                <a:gd name="connsiteX4" fmla="*/ 89912 w 172345"/>
                <a:gd name="connsiteY4" fmla="*/ 1462 h 268340"/>
                <a:gd name="connsiteX5" fmla="*/ 97420 w 172345"/>
                <a:gd name="connsiteY5" fmla="*/ 2729 h 268340"/>
                <a:gd name="connsiteX6" fmla="*/ 104733 w 172345"/>
                <a:gd name="connsiteY6" fmla="*/ 3996 h 268340"/>
                <a:gd name="connsiteX7" fmla="*/ 111558 w 172345"/>
                <a:gd name="connsiteY7" fmla="*/ 5652 h 268340"/>
                <a:gd name="connsiteX8" fmla="*/ 117993 w 172345"/>
                <a:gd name="connsiteY8" fmla="*/ 7699 h 268340"/>
                <a:gd name="connsiteX9" fmla="*/ 124038 w 172345"/>
                <a:gd name="connsiteY9" fmla="*/ 9648 h 268340"/>
                <a:gd name="connsiteX10" fmla="*/ 129499 w 172345"/>
                <a:gd name="connsiteY10" fmla="*/ 12085 h 268340"/>
                <a:gd name="connsiteX11" fmla="*/ 134472 w 172345"/>
                <a:gd name="connsiteY11" fmla="*/ 14423 h 268340"/>
                <a:gd name="connsiteX12" fmla="*/ 136714 w 172345"/>
                <a:gd name="connsiteY12" fmla="*/ 15690 h 268340"/>
                <a:gd name="connsiteX13" fmla="*/ 138664 w 172345"/>
                <a:gd name="connsiteY13" fmla="*/ 17250 h 268340"/>
                <a:gd name="connsiteX14" fmla="*/ 140712 w 172345"/>
                <a:gd name="connsiteY14" fmla="*/ 18517 h 268340"/>
                <a:gd name="connsiteX15" fmla="*/ 142564 w 172345"/>
                <a:gd name="connsiteY15" fmla="*/ 19979 h 268340"/>
                <a:gd name="connsiteX16" fmla="*/ 144222 w 172345"/>
                <a:gd name="connsiteY16" fmla="*/ 21440 h 268340"/>
                <a:gd name="connsiteX17" fmla="*/ 145490 w 172345"/>
                <a:gd name="connsiteY17" fmla="*/ 22902 h 268340"/>
                <a:gd name="connsiteX18" fmla="*/ 146757 w 172345"/>
                <a:gd name="connsiteY18" fmla="*/ 24559 h 268340"/>
                <a:gd name="connsiteX19" fmla="*/ 147830 w 172345"/>
                <a:gd name="connsiteY19" fmla="*/ 26021 h 268340"/>
                <a:gd name="connsiteX20" fmla="*/ 148805 w 172345"/>
                <a:gd name="connsiteY20" fmla="*/ 27678 h 268340"/>
                <a:gd name="connsiteX21" fmla="*/ 149487 w 172345"/>
                <a:gd name="connsiteY21" fmla="*/ 29139 h 268340"/>
                <a:gd name="connsiteX22" fmla="*/ 149877 w 172345"/>
                <a:gd name="connsiteY22" fmla="*/ 30796 h 268340"/>
                <a:gd name="connsiteX23" fmla="*/ 150268 w 172345"/>
                <a:gd name="connsiteY23" fmla="*/ 32453 h 268340"/>
                <a:gd name="connsiteX24" fmla="*/ 154850 w 172345"/>
                <a:gd name="connsiteY24" fmla="*/ 78647 h 268340"/>
                <a:gd name="connsiteX25" fmla="*/ 161286 w 172345"/>
                <a:gd name="connsiteY25" fmla="*/ 145014 h 268340"/>
                <a:gd name="connsiteX26" fmla="*/ 172345 w 172345"/>
                <a:gd name="connsiteY26" fmla="*/ 268340 h 268340"/>
                <a:gd name="connsiteX27" fmla="*/ 0 w 172345"/>
                <a:gd name="connsiteY27" fmla="*/ 268340 h 268340"/>
                <a:gd name="connsiteX28" fmla="*/ 0 w 172345"/>
                <a:gd name="connsiteY28" fmla="*/ 4515 h 26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2345" h="268340">
                  <a:moveTo>
                    <a:pt x="0" y="4515"/>
                  </a:moveTo>
                  <a:lnTo>
                    <a:pt x="65633" y="0"/>
                  </a:lnTo>
                  <a:lnTo>
                    <a:pt x="73921" y="97"/>
                  </a:lnTo>
                  <a:lnTo>
                    <a:pt x="82013" y="682"/>
                  </a:lnTo>
                  <a:lnTo>
                    <a:pt x="89912" y="1462"/>
                  </a:lnTo>
                  <a:lnTo>
                    <a:pt x="97420" y="2729"/>
                  </a:lnTo>
                  <a:lnTo>
                    <a:pt x="104733" y="3996"/>
                  </a:lnTo>
                  <a:lnTo>
                    <a:pt x="111558" y="5652"/>
                  </a:lnTo>
                  <a:lnTo>
                    <a:pt x="117993" y="7699"/>
                  </a:lnTo>
                  <a:lnTo>
                    <a:pt x="124038" y="9648"/>
                  </a:lnTo>
                  <a:lnTo>
                    <a:pt x="129499" y="12085"/>
                  </a:lnTo>
                  <a:lnTo>
                    <a:pt x="134472" y="14423"/>
                  </a:lnTo>
                  <a:lnTo>
                    <a:pt x="136714" y="15690"/>
                  </a:lnTo>
                  <a:lnTo>
                    <a:pt x="138664" y="17250"/>
                  </a:lnTo>
                  <a:lnTo>
                    <a:pt x="140712" y="18517"/>
                  </a:lnTo>
                  <a:lnTo>
                    <a:pt x="142564" y="19979"/>
                  </a:lnTo>
                  <a:lnTo>
                    <a:pt x="144222" y="21440"/>
                  </a:lnTo>
                  <a:lnTo>
                    <a:pt x="145490" y="22902"/>
                  </a:lnTo>
                  <a:lnTo>
                    <a:pt x="146757" y="24559"/>
                  </a:lnTo>
                  <a:lnTo>
                    <a:pt x="147830" y="26021"/>
                  </a:lnTo>
                  <a:lnTo>
                    <a:pt x="148805" y="27678"/>
                  </a:lnTo>
                  <a:lnTo>
                    <a:pt x="149487" y="29139"/>
                  </a:lnTo>
                  <a:lnTo>
                    <a:pt x="149877" y="30796"/>
                  </a:lnTo>
                  <a:lnTo>
                    <a:pt x="150268" y="32453"/>
                  </a:lnTo>
                  <a:lnTo>
                    <a:pt x="154850" y="78647"/>
                  </a:lnTo>
                  <a:lnTo>
                    <a:pt x="161286" y="145014"/>
                  </a:lnTo>
                  <a:lnTo>
                    <a:pt x="172345" y="268340"/>
                  </a:lnTo>
                  <a:lnTo>
                    <a:pt x="0" y="268340"/>
                  </a:lnTo>
                  <a:lnTo>
                    <a:pt x="0" y="4515"/>
                  </a:ln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8" name="Freeform 2427"/>
            <p:cNvSpPr>
              <a:spLocks/>
            </p:cNvSpPr>
            <p:nvPr/>
          </p:nvSpPr>
          <p:spPr bwMode="auto">
            <a:xfrm flipH="1">
              <a:off x="5745845" y="2844490"/>
              <a:ext cx="110379" cy="183650"/>
            </a:xfrm>
            <a:custGeom>
              <a:avLst/>
              <a:gdLst>
                <a:gd name="connsiteX0" fmla="*/ 29448 w 170844"/>
                <a:gd name="connsiteY0" fmla="*/ 0 h 282890"/>
                <a:gd name="connsiteX1" fmla="*/ 36761 w 170844"/>
                <a:gd name="connsiteY1" fmla="*/ 195 h 282890"/>
                <a:gd name="connsiteX2" fmla="*/ 43880 w 170844"/>
                <a:gd name="connsiteY2" fmla="*/ 780 h 282890"/>
                <a:gd name="connsiteX3" fmla="*/ 51096 w 170844"/>
                <a:gd name="connsiteY3" fmla="*/ 1657 h 282890"/>
                <a:gd name="connsiteX4" fmla="*/ 58020 w 170844"/>
                <a:gd name="connsiteY4" fmla="*/ 3022 h 282890"/>
                <a:gd name="connsiteX5" fmla="*/ 64846 w 170844"/>
                <a:gd name="connsiteY5" fmla="*/ 4484 h 282890"/>
                <a:gd name="connsiteX6" fmla="*/ 71574 w 170844"/>
                <a:gd name="connsiteY6" fmla="*/ 6434 h 282890"/>
                <a:gd name="connsiteX7" fmla="*/ 78010 w 170844"/>
                <a:gd name="connsiteY7" fmla="*/ 8676 h 282890"/>
                <a:gd name="connsiteX8" fmla="*/ 84446 w 170844"/>
                <a:gd name="connsiteY8" fmla="*/ 11211 h 282890"/>
                <a:gd name="connsiteX9" fmla="*/ 90882 w 170844"/>
                <a:gd name="connsiteY9" fmla="*/ 13940 h 282890"/>
                <a:gd name="connsiteX10" fmla="*/ 96928 w 170844"/>
                <a:gd name="connsiteY10" fmla="*/ 17059 h 282890"/>
                <a:gd name="connsiteX11" fmla="*/ 102779 w 170844"/>
                <a:gd name="connsiteY11" fmla="*/ 20569 h 282890"/>
                <a:gd name="connsiteX12" fmla="*/ 108532 w 170844"/>
                <a:gd name="connsiteY12" fmla="*/ 24273 h 282890"/>
                <a:gd name="connsiteX13" fmla="*/ 114188 w 170844"/>
                <a:gd name="connsiteY13" fmla="*/ 28075 h 282890"/>
                <a:gd name="connsiteX14" fmla="*/ 119551 w 170844"/>
                <a:gd name="connsiteY14" fmla="*/ 32364 h 282890"/>
                <a:gd name="connsiteX15" fmla="*/ 124622 w 170844"/>
                <a:gd name="connsiteY15" fmla="*/ 36751 h 282890"/>
                <a:gd name="connsiteX16" fmla="*/ 129400 w 170844"/>
                <a:gd name="connsiteY16" fmla="*/ 41527 h 282890"/>
                <a:gd name="connsiteX17" fmla="*/ 134179 w 170844"/>
                <a:gd name="connsiteY17" fmla="*/ 46499 h 282890"/>
                <a:gd name="connsiteX18" fmla="*/ 138567 w 170844"/>
                <a:gd name="connsiteY18" fmla="*/ 51373 h 282890"/>
                <a:gd name="connsiteX19" fmla="*/ 142857 w 170844"/>
                <a:gd name="connsiteY19" fmla="*/ 56929 h 282890"/>
                <a:gd name="connsiteX20" fmla="*/ 146855 w 170844"/>
                <a:gd name="connsiteY20" fmla="*/ 62388 h 282890"/>
                <a:gd name="connsiteX21" fmla="*/ 150561 w 170844"/>
                <a:gd name="connsiteY21" fmla="*/ 68139 h 282890"/>
                <a:gd name="connsiteX22" fmla="*/ 153779 w 170844"/>
                <a:gd name="connsiteY22" fmla="*/ 73988 h 282890"/>
                <a:gd name="connsiteX23" fmla="*/ 156899 w 170844"/>
                <a:gd name="connsiteY23" fmla="*/ 80227 h 282890"/>
                <a:gd name="connsiteX24" fmla="*/ 159922 w 170844"/>
                <a:gd name="connsiteY24" fmla="*/ 86466 h 282890"/>
                <a:gd name="connsiteX25" fmla="*/ 162263 w 170844"/>
                <a:gd name="connsiteY25" fmla="*/ 92900 h 282890"/>
                <a:gd name="connsiteX26" fmla="*/ 164603 w 170844"/>
                <a:gd name="connsiteY26" fmla="*/ 99431 h 282890"/>
                <a:gd name="connsiteX27" fmla="*/ 166456 w 170844"/>
                <a:gd name="connsiteY27" fmla="*/ 106060 h 282890"/>
                <a:gd name="connsiteX28" fmla="*/ 167919 w 170844"/>
                <a:gd name="connsiteY28" fmla="*/ 112883 h 282890"/>
                <a:gd name="connsiteX29" fmla="*/ 169284 w 170844"/>
                <a:gd name="connsiteY29" fmla="*/ 119804 h 282890"/>
                <a:gd name="connsiteX30" fmla="*/ 170161 w 170844"/>
                <a:gd name="connsiteY30" fmla="*/ 127018 h 282890"/>
                <a:gd name="connsiteX31" fmla="*/ 170747 w 170844"/>
                <a:gd name="connsiteY31" fmla="*/ 134134 h 282890"/>
                <a:gd name="connsiteX32" fmla="*/ 170844 w 170844"/>
                <a:gd name="connsiteY32" fmla="*/ 141445 h 282890"/>
                <a:gd name="connsiteX33" fmla="*/ 170747 w 170844"/>
                <a:gd name="connsiteY33" fmla="*/ 148659 h 282890"/>
                <a:gd name="connsiteX34" fmla="*/ 170161 w 170844"/>
                <a:gd name="connsiteY34" fmla="*/ 155970 h 282890"/>
                <a:gd name="connsiteX35" fmla="*/ 169284 w 170844"/>
                <a:gd name="connsiteY35" fmla="*/ 162989 h 282890"/>
                <a:gd name="connsiteX36" fmla="*/ 167919 w 170844"/>
                <a:gd name="connsiteY36" fmla="*/ 169910 h 282890"/>
                <a:gd name="connsiteX37" fmla="*/ 166456 w 170844"/>
                <a:gd name="connsiteY37" fmla="*/ 176733 h 282890"/>
                <a:gd name="connsiteX38" fmla="*/ 164603 w 170844"/>
                <a:gd name="connsiteY38" fmla="*/ 183460 h 282890"/>
                <a:gd name="connsiteX39" fmla="*/ 162263 w 170844"/>
                <a:gd name="connsiteY39" fmla="*/ 190088 h 282890"/>
                <a:gd name="connsiteX40" fmla="*/ 159922 w 170844"/>
                <a:gd name="connsiteY40" fmla="*/ 196522 h 282890"/>
                <a:gd name="connsiteX41" fmla="*/ 156899 w 170844"/>
                <a:gd name="connsiteY41" fmla="*/ 202761 h 282890"/>
                <a:gd name="connsiteX42" fmla="*/ 153779 w 170844"/>
                <a:gd name="connsiteY42" fmla="*/ 208805 h 282890"/>
                <a:gd name="connsiteX43" fmla="*/ 150561 w 170844"/>
                <a:gd name="connsiteY43" fmla="*/ 214848 h 282890"/>
                <a:gd name="connsiteX44" fmla="*/ 146855 w 170844"/>
                <a:gd name="connsiteY44" fmla="*/ 220600 h 282890"/>
                <a:gd name="connsiteX45" fmla="*/ 142857 w 170844"/>
                <a:gd name="connsiteY45" fmla="*/ 226059 h 282890"/>
                <a:gd name="connsiteX46" fmla="*/ 138567 w 170844"/>
                <a:gd name="connsiteY46" fmla="*/ 231420 h 282890"/>
                <a:gd name="connsiteX47" fmla="*/ 134179 w 170844"/>
                <a:gd name="connsiteY47" fmla="*/ 236489 h 282890"/>
                <a:gd name="connsiteX48" fmla="*/ 129400 w 170844"/>
                <a:gd name="connsiteY48" fmla="*/ 241461 h 282890"/>
                <a:gd name="connsiteX49" fmla="*/ 124622 w 170844"/>
                <a:gd name="connsiteY49" fmla="*/ 246042 h 282890"/>
                <a:gd name="connsiteX50" fmla="*/ 119551 w 170844"/>
                <a:gd name="connsiteY50" fmla="*/ 250624 h 282890"/>
                <a:gd name="connsiteX51" fmla="*/ 114188 w 170844"/>
                <a:gd name="connsiteY51" fmla="*/ 254816 h 282890"/>
                <a:gd name="connsiteX52" fmla="*/ 108532 w 170844"/>
                <a:gd name="connsiteY52" fmla="*/ 258715 h 282890"/>
                <a:gd name="connsiteX53" fmla="*/ 102779 w 170844"/>
                <a:gd name="connsiteY53" fmla="*/ 262419 h 282890"/>
                <a:gd name="connsiteX54" fmla="*/ 96928 w 170844"/>
                <a:gd name="connsiteY54" fmla="*/ 265831 h 282890"/>
                <a:gd name="connsiteX55" fmla="*/ 90882 w 170844"/>
                <a:gd name="connsiteY55" fmla="*/ 268950 h 282890"/>
                <a:gd name="connsiteX56" fmla="*/ 84446 w 170844"/>
                <a:gd name="connsiteY56" fmla="*/ 271777 h 282890"/>
                <a:gd name="connsiteX57" fmla="*/ 78010 w 170844"/>
                <a:gd name="connsiteY57" fmla="*/ 274312 h 282890"/>
                <a:gd name="connsiteX58" fmla="*/ 71574 w 170844"/>
                <a:gd name="connsiteY58" fmla="*/ 276554 h 282890"/>
                <a:gd name="connsiteX59" fmla="*/ 64846 w 170844"/>
                <a:gd name="connsiteY59" fmla="*/ 278309 h 282890"/>
                <a:gd name="connsiteX60" fmla="*/ 58020 w 170844"/>
                <a:gd name="connsiteY60" fmla="*/ 279966 h 282890"/>
                <a:gd name="connsiteX61" fmla="*/ 51096 w 170844"/>
                <a:gd name="connsiteY61" fmla="*/ 281233 h 282890"/>
                <a:gd name="connsiteX62" fmla="*/ 43880 w 170844"/>
                <a:gd name="connsiteY62" fmla="*/ 282208 h 282890"/>
                <a:gd name="connsiteX63" fmla="*/ 36761 w 170844"/>
                <a:gd name="connsiteY63" fmla="*/ 282793 h 282890"/>
                <a:gd name="connsiteX64" fmla="*/ 29448 w 170844"/>
                <a:gd name="connsiteY64" fmla="*/ 282890 h 282890"/>
                <a:gd name="connsiteX65" fmla="*/ 22232 w 170844"/>
                <a:gd name="connsiteY65" fmla="*/ 282793 h 282890"/>
                <a:gd name="connsiteX66" fmla="*/ 15113 w 170844"/>
                <a:gd name="connsiteY66" fmla="*/ 282208 h 282890"/>
                <a:gd name="connsiteX67" fmla="*/ 7897 w 170844"/>
                <a:gd name="connsiteY67" fmla="*/ 281233 h 282890"/>
                <a:gd name="connsiteX68" fmla="*/ 974 w 170844"/>
                <a:gd name="connsiteY68" fmla="*/ 279966 h 282890"/>
                <a:gd name="connsiteX69" fmla="*/ 0 w 170844"/>
                <a:gd name="connsiteY69" fmla="*/ 279729 h 282890"/>
                <a:gd name="connsiteX70" fmla="*/ 0 w 170844"/>
                <a:gd name="connsiteY70" fmla="*/ 3231 h 282890"/>
                <a:gd name="connsiteX71" fmla="*/ 974 w 170844"/>
                <a:gd name="connsiteY71" fmla="*/ 3022 h 282890"/>
                <a:gd name="connsiteX72" fmla="*/ 7897 w 170844"/>
                <a:gd name="connsiteY72" fmla="*/ 1657 h 282890"/>
                <a:gd name="connsiteX73" fmla="*/ 15113 w 170844"/>
                <a:gd name="connsiteY73" fmla="*/ 780 h 282890"/>
                <a:gd name="connsiteX74" fmla="*/ 22232 w 170844"/>
                <a:gd name="connsiteY74" fmla="*/ 195 h 28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70844" h="282890">
                  <a:moveTo>
                    <a:pt x="29448" y="0"/>
                  </a:moveTo>
                  <a:lnTo>
                    <a:pt x="36761" y="195"/>
                  </a:lnTo>
                  <a:lnTo>
                    <a:pt x="43880" y="780"/>
                  </a:lnTo>
                  <a:lnTo>
                    <a:pt x="51096" y="1657"/>
                  </a:lnTo>
                  <a:lnTo>
                    <a:pt x="58020" y="3022"/>
                  </a:lnTo>
                  <a:lnTo>
                    <a:pt x="64846" y="4484"/>
                  </a:lnTo>
                  <a:lnTo>
                    <a:pt x="71574" y="6434"/>
                  </a:lnTo>
                  <a:lnTo>
                    <a:pt x="78010" y="8676"/>
                  </a:lnTo>
                  <a:lnTo>
                    <a:pt x="84446" y="11211"/>
                  </a:lnTo>
                  <a:lnTo>
                    <a:pt x="90882" y="13940"/>
                  </a:lnTo>
                  <a:lnTo>
                    <a:pt x="96928" y="17059"/>
                  </a:lnTo>
                  <a:lnTo>
                    <a:pt x="102779" y="20569"/>
                  </a:lnTo>
                  <a:lnTo>
                    <a:pt x="108532" y="24273"/>
                  </a:lnTo>
                  <a:lnTo>
                    <a:pt x="114188" y="28075"/>
                  </a:lnTo>
                  <a:lnTo>
                    <a:pt x="119551" y="32364"/>
                  </a:lnTo>
                  <a:lnTo>
                    <a:pt x="124622" y="36751"/>
                  </a:lnTo>
                  <a:lnTo>
                    <a:pt x="129400" y="41527"/>
                  </a:lnTo>
                  <a:lnTo>
                    <a:pt x="134179" y="46499"/>
                  </a:lnTo>
                  <a:lnTo>
                    <a:pt x="138567" y="51373"/>
                  </a:lnTo>
                  <a:lnTo>
                    <a:pt x="142857" y="56929"/>
                  </a:lnTo>
                  <a:lnTo>
                    <a:pt x="146855" y="62388"/>
                  </a:lnTo>
                  <a:lnTo>
                    <a:pt x="150561" y="68139"/>
                  </a:lnTo>
                  <a:lnTo>
                    <a:pt x="153779" y="73988"/>
                  </a:lnTo>
                  <a:lnTo>
                    <a:pt x="156899" y="80227"/>
                  </a:lnTo>
                  <a:lnTo>
                    <a:pt x="159922" y="86466"/>
                  </a:lnTo>
                  <a:lnTo>
                    <a:pt x="162263" y="92900"/>
                  </a:lnTo>
                  <a:lnTo>
                    <a:pt x="164603" y="99431"/>
                  </a:lnTo>
                  <a:lnTo>
                    <a:pt x="166456" y="106060"/>
                  </a:lnTo>
                  <a:lnTo>
                    <a:pt x="167919" y="112883"/>
                  </a:lnTo>
                  <a:lnTo>
                    <a:pt x="169284" y="119804"/>
                  </a:lnTo>
                  <a:lnTo>
                    <a:pt x="170161" y="127018"/>
                  </a:lnTo>
                  <a:lnTo>
                    <a:pt x="170747" y="134134"/>
                  </a:lnTo>
                  <a:lnTo>
                    <a:pt x="170844" y="141445"/>
                  </a:lnTo>
                  <a:lnTo>
                    <a:pt x="170747" y="148659"/>
                  </a:lnTo>
                  <a:lnTo>
                    <a:pt x="170161" y="155970"/>
                  </a:lnTo>
                  <a:lnTo>
                    <a:pt x="169284" y="162989"/>
                  </a:lnTo>
                  <a:lnTo>
                    <a:pt x="167919" y="169910"/>
                  </a:lnTo>
                  <a:lnTo>
                    <a:pt x="166456" y="176733"/>
                  </a:lnTo>
                  <a:lnTo>
                    <a:pt x="164603" y="183460"/>
                  </a:lnTo>
                  <a:lnTo>
                    <a:pt x="162263" y="190088"/>
                  </a:lnTo>
                  <a:lnTo>
                    <a:pt x="159922" y="196522"/>
                  </a:lnTo>
                  <a:lnTo>
                    <a:pt x="156899" y="202761"/>
                  </a:lnTo>
                  <a:lnTo>
                    <a:pt x="153779" y="208805"/>
                  </a:lnTo>
                  <a:lnTo>
                    <a:pt x="150561" y="214848"/>
                  </a:lnTo>
                  <a:lnTo>
                    <a:pt x="146855" y="220600"/>
                  </a:lnTo>
                  <a:lnTo>
                    <a:pt x="142857" y="226059"/>
                  </a:lnTo>
                  <a:lnTo>
                    <a:pt x="138567" y="231420"/>
                  </a:lnTo>
                  <a:lnTo>
                    <a:pt x="134179" y="236489"/>
                  </a:lnTo>
                  <a:lnTo>
                    <a:pt x="129400" y="241461"/>
                  </a:lnTo>
                  <a:lnTo>
                    <a:pt x="124622" y="246042"/>
                  </a:lnTo>
                  <a:lnTo>
                    <a:pt x="119551" y="250624"/>
                  </a:lnTo>
                  <a:lnTo>
                    <a:pt x="114188" y="254816"/>
                  </a:lnTo>
                  <a:lnTo>
                    <a:pt x="108532" y="258715"/>
                  </a:lnTo>
                  <a:lnTo>
                    <a:pt x="102779" y="262419"/>
                  </a:lnTo>
                  <a:lnTo>
                    <a:pt x="96928" y="265831"/>
                  </a:lnTo>
                  <a:lnTo>
                    <a:pt x="90882" y="268950"/>
                  </a:lnTo>
                  <a:lnTo>
                    <a:pt x="84446" y="271777"/>
                  </a:lnTo>
                  <a:lnTo>
                    <a:pt x="78010" y="274312"/>
                  </a:lnTo>
                  <a:lnTo>
                    <a:pt x="71574" y="276554"/>
                  </a:lnTo>
                  <a:lnTo>
                    <a:pt x="64846" y="278309"/>
                  </a:lnTo>
                  <a:lnTo>
                    <a:pt x="58020" y="279966"/>
                  </a:lnTo>
                  <a:lnTo>
                    <a:pt x="51096" y="281233"/>
                  </a:lnTo>
                  <a:lnTo>
                    <a:pt x="43880" y="282208"/>
                  </a:lnTo>
                  <a:lnTo>
                    <a:pt x="36761" y="282793"/>
                  </a:lnTo>
                  <a:lnTo>
                    <a:pt x="29448" y="282890"/>
                  </a:lnTo>
                  <a:lnTo>
                    <a:pt x="22232" y="282793"/>
                  </a:lnTo>
                  <a:lnTo>
                    <a:pt x="15113" y="282208"/>
                  </a:lnTo>
                  <a:lnTo>
                    <a:pt x="7897" y="281233"/>
                  </a:lnTo>
                  <a:lnTo>
                    <a:pt x="974" y="279966"/>
                  </a:lnTo>
                  <a:lnTo>
                    <a:pt x="0" y="279729"/>
                  </a:lnTo>
                  <a:lnTo>
                    <a:pt x="0" y="3231"/>
                  </a:lnTo>
                  <a:lnTo>
                    <a:pt x="974" y="3022"/>
                  </a:lnTo>
                  <a:lnTo>
                    <a:pt x="7897" y="1657"/>
                  </a:lnTo>
                  <a:lnTo>
                    <a:pt x="15113" y="780"/>
                  </a:lnTo>
                  <a:lnTo>
                    <a:pt x="22232" y="195"/>
                  </a:ln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429" name="Freeform 2428"/>
            <p:cNvSpPr>
              <a:spLocks/>
            </p:cNvSpPr>
            <p:nvPr/>
          </p:nvSpPr>
          <p:spPr bwMode="auto">
            <a:xfrm>
              <a:off x="5832935" y="2844356"/>
              <a:ext cx="76514" cy="183650"/>
            </a:xfrm>
            <a:custGeom>
              <a:avLst/>
              <a:gdLst>
                <a:gd name="connsiteX0" fmla="*/ 18332 w 74758"/>
                <a:gd name="connsiteY0" fmla="*/ 0 h 176096"/>
                <a:gd name="connsiteX1" fmla="*/ 22884 w 74758"/>
                <a:gd name="connsiteY1" fmla="*/ 122 h 176096"/>
                <a:gd name="connsiteX2" fmla="*/ 27315 w 74758"/>
                <a:gd name="connsiteY2" fmla="*/ 486 h 176096"/>
                <a:gd name="connsiteX3" fmla="*/ 31807 w 74758"/>
                <a:gd name="connsiteY3" fmla="*/ 1032 h 176096"/>
                <a:gd name="connsiteX4" fmla="*/ 36118 w 74758"/>
                <a:gd name="connsiteY4" fmla="*/ 1881 h 176096"/>
                <a:gd name="connsiteX5" fmla="*/ 40367 w 74758"/>
                <a:gd name="connsiteY5" fmla="*/ 2791 h 176096"/>
                <a:gd name="connsiteX6" fmla="*/ 44555 w 74758"/>
                <a:gd name="connsiteY6" fmla="*/ 4005 h 176096"/>
                <a:gd name="connsiteX7" fmla="*/ 48561 w 74758"/>
                <a:gd name="connsiteY7" fmla="*/ 5401 h 176096"/>
                <a:gd name="connsiteX8" fmla="*/ 52568 w 74758"/>
                <a:gd name="connsiteY8" fmla="*/ 6979 h 176096"/>
                <a:gd name="connsiteX9" fmla="*/ 56574 w 74758"/>
                <a:gd name="connsiteY9" fmla="*/ 8678 h 176096"/>
                <a:gd name="connsiteX10" fmla="*/ 60338 w 74758"/>
                <a:gd name="connsiteY10" fmla="*/ 10619 h 176096"/>
                <a:gd name="connsiteX11" fmla="*/ 63980 w 74758"/>
                <a:gd name="connsiteY11" fmla="*/ 12804 h 176096"/>
                <a:gd name="connsiteX12" fmla="*/ 67561 w 74758"/>
                <a:gd name="connsiteY12" fmla="*/ 15110 h 176096"/>
                <a:gd name="connsiteX13" fmla="*/ 71082 w 74758"/>
                <a:gd name="connsiteY13" fmla="*/ 17477 h 176096"/>
                <a:gd name="connsiteX14" fmla="*/ 74420 w 74758"/>
                <a:gd name="connsiteY14" fmla="*/ 20146 h 176096"/>
                <a:gd name="connsiteX15" fmla="*/ 74758 w 74758"/>
                <a:gd name="connsiteY15" fmla="*/ 20439 h 176096"/>
                <a:gd name="connsiteX16" fmla="*/ 74758 w 74758"/>
                <a:gd name="connsiteY16" fmla="*/ 155706 h 176096"/>
                <a:gd name="connsiteX17" fmla="*/ 74420 w 74758"/>
                <a:gd name="connsiteY17" fmla="*/ 156011 h 176096"/>
                <a:gd name="connsiteX18" fmla="*/ 71082 w 74758"/>
                <a:gd name="connsiteY18" fmla="*/ 158620 h 176096"/>
                <a:gd name="connsiteX19" fmla="*/ 67561 w 74758"/>
                <a:gd name="connsiteY19" fmla="*/ 161047 h 176096"/>
                <a:gd name="connsiteX20" fmla="*/ 63980 w 74758"/>
                <a:gd name="connsiteY20" fmla="*/ 163353 h 176096"/>
                <a:gd name="connsiteX21" fmla="*/ 60338 w 74758"/>
                <a:gd name="connsiteY21" fmla="*/ 165477 h 176096"/>
                <a:gd name="connsiteX22" fmla="*/ 56574 w 74758"/>
                <a:gd name="connsiteY22" fmla="*/ 167419 h 176096"/>
                <a:gd name="connsiteX23" fmla="*/ 52568 w 74758"/>
                <a:gd name="connsiteY23" fmla="*/ 169178 h 176096"/>
                <a:gd name="connsiteX24" fmla="*/ 48561 w 74758"/>
                <a:gd name="connsiteY24" fmla="*/ 170756 h 176096"/>
                <a:gd name="connsiteX25" fmla="*/ 44555 w 74758"/>
                <a:gd name="connsiteY25" fmla="*/ 172152 h 176096"/>
                <a:gd name="connsiteX26" fmla="*/ 40367 w 74758"/>
                <a:gd name="connsiteY26" fmla="*/ 173245 h 176096"/>
                <a:gd name="connsiteX27" fmla="*/ 36118 w 74758"/>
                <a:gd name="connsiteY27" fmla="*/ 174276 h 176096"/>
                <a:gd name="connsiteX28" fmla="*/ 31807 w 74758"/>
                <a:gd name="connsiteY28" fmla="*/ 175065 h 176096"/>
                <a:gd name="connsiteX29" fmla="*/ 27315 w 74758"/>
                <a:gd name="connsiteY29" fmla="*/ 175672 h 176096"/>
                <a:gd name="connsiteX30" fmla="*/ 22884 w 74758"/>
                <a:gd name="connsiteY30" fmla="*/ 176036 h 176096"/>
                <a:gd name="connsiteX31" fmla="*/ 18332 w 74758"/>
                <a:gd name="connsiteY31" fmla="*/ 176096 h 176096"/>
                <a:gd name="connsiteX32" fmla="*/ 13840 w 74758"/>
                <a:gd name="connsiteY32" fmla="*/ 176036 h 176096"/>
                <a:gd name="connsiteX33" fmla="*/ 9408 w 74758"/>
                <a:gd name="connsiteY33" fmla="*/ 175672 h 176096"/>
                <a:gd name="connsiteX34" fmla="*/ 4916 w 74758"/>
                <a:gd name="connsiteY34" fmla="*/ 175065 h 176096"/>
                <a:gd name="connsiteX35" fmla="*/ 607 w 74758"/>
                <a:gd name="connsiteY35" fmla="*/ 174276 h 176096"/>
                <a:gd name="connsiteX36" fmla="*/ 0 w 74758"/>
                <a:gd name="connsiteY36" fmla="*/ 174128 h 176096"/>
                <a:gd name="connsiteX37" fmla="*/ 0 w 74758"/>
                <a:gd name="connsiteY37" fmla="*/ 2011 h 176096"/>
                <a:gd name="connsiteX38" fmla="*/ 607 w 74758"/>
                <a:gd name="connsiteY38" fmla="*/ 1881 h 176096"/>
                <a:gd name="connsiteX39" fmla="*/ 4916 w 74758"/>
                <a:gd name="connsiteY39" fmla="*/ 1032 h 176096"/>
                <a:gd name="connsiteX40" fmla="*/ 9408 w 74758"/>
                <a:gd name="connsiteY40" fmla="*/ 486 h 176096"/>
                <a:gd name="connsiteX41" fmla="*/ 13840 w 74758"/>
                <a:gd name="connsiteY41" fmla="*/ 122 h 17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4758" h="176096">
                  <a:moveTo>
                    <a:pt x="18332" y="0"/>
                  </a:moveTo>
                  <a:lnTo>
                    <a:pt x="22884" y="122"/>
                  </a:lnTo>
                  <a:lnTo>
                    <a:pt x="27315" y="486"/>
                  </a:lnTo>
                  <a:lnTo>
                    <a:pt x="31807" y="1032"/>
                  </a:lnTo>
                  <a:lnTo>
                    <a:pt x="36118" y="1881"/>
                  </a:lnTo>
                  <a:lnTo>
                    <a:pt x="40367" y="2791"/>
                  </a:lnTo>
                  <a:lnTo>
                    <a:pt x="44555" y="4005"/>
                  </a:lnTo>
                  <a:lnTo>
                    <a:pt x="48561" y="5401"/>
                  </a:lnTo>
                  <a:lnTo>
                    <a:pt x="52568" y="6979"/>
                  </a:lnTo>
                  <a:lnTo>
                    <a:pt x="56574" y="8678"/>
                  </a:lnTo>
                  <a:lnTo>
                    <a:pt x="60338" y="10619"/>
                  </a:lnTo>
                  <a:lnTo>
                    <a:pt x="63980" y="12804"/>
                  </a:lnTo>
                  <a:lnTo>
                    <a:pt x="67561" y="15110"/>
                  </a:lnTo>
                  <a:lnTo>
                    <a:pt x="71082" y="17477"/>
                  </a:lnTo>
                  <a:lnTo>
                    <a:pt x="74420" y="20146"/>
                  </a:lnTo>
                  <a:lnTo>
                    <a:pt x="74758" y="20439"/>
                  </a:lnTo>
                  <a:lnTo>
                    <a:pt x="74758" y="155706"/>
                  </a:lnTo>
                  <a:lnTo>
                    <a:pt x="74420" y="156011"/>
                  </a:lnTo>
                  <a:lnTo>
                    <a:pt x="71082" y="158620"/>
                  </a:lnTo>
                  <a:lnTo>
                    <a:pt x="67561" y="161047"/>
                  </a:lnTo>
                  <a:lnTo>
                    <a:pt x="63980" y="163353"/>
                  </a:lnTo>
                  <a:lnTo>
                    <a:pt x="60338" y="165477"/>
                  </a:lnTo>
                  <a:lnTo>
                    <a:pt x="56574" y="167419"/>
                  </a:lnTo>
                  <a:lnTo>
                    <a:pt x="52568" y="169178"/>
                  </a:lnTo>
                  <a:lnTo>
                    <a:pt x="48561" y="170756"/>
                  </a:lnTo>
                  <a:lnTo>
                    <a:pt x="44555" y="172152"/>
                  </a:lnTo>
                  <a:lnTo>
                    <a:pt x="40367" y="173245"/>
                  </a:lnTo>
                  <a:lnTo>
                    <a:pt x="36118" y="174276"/>
                  </a:lnTo>
                  <a:lnTo>
                    <a:pt x="31807" y="175065"/>
                  </a:lnTo>
                  <a:lnTo>
                    <a:pt x="27315" y="175672"/>
                  </a:lnTo>
                  <a:lnTo>
                    <a:pt x="22884" y="176036"/>
                  </a:lnTo>
                  <a:lnTo>
                    <a:pt x="18332" y="176096"/>
                  </a:lnTo>
                  <a:lnTo>
                    <a:pt x="13840" y="176036"/>
                  </a:lnTo>
                  <a:lnTo>
                    <a:pt x="9408" y="175672"/>
                  </a:lnTo>
                  <a:lnTo>
                    <a:pt x="4916" y="175065"/>
                  </a:lnTo>
                  <a:lnTo>
                    <a:pt x="607" y="174276"/>
                  </a:lnTo>
                  <a:lnTo>
                    <a:pt x="0" y="174128"/>
                  </a:lnTo>
                  <a:lnTo>
                    <a:pt x="0" y="2011"/>
                  </a:lnTo>
                  <a:lnTo>
                    <a:pt x="607" y="1881"/>
                  </a:lnTo>
                  <a:lnTo>
                    <a:pt x="4916" y="1032"/>
                  </a:lnTo>
                  <a:lnTo>
                    <a:pt x="9408" y="486"/>
                  </a:lnTo>
                  <a:lnTo>
                    <a:pt x="13840" y="122"/>
                  </a:ln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noAutofit/>
            </a:bodyPr>
            <a:lstStyle/>
            <a:p>
              <a:pPr defTabSz="1218118">
                <a:defRPr/>
              </a:pPr>
              <a:endParaRPr lang="en-US" sz="4220" kern="0" dirty="0">
                <a:solidFill>
                  <a:srgbClr val="505050"/>
                </a:solidFill>
              </a:endParaRPr>
            </a:p>
          </p:txBody>
        </p:sp>
        <p:sp>
          <p:nvSpPr>
            <p:cNvPr id="2430" name="Freeform 2429"/>
            <p:cNvSpPr>
              <a:spLocks/>
            </p:cNvSpPr>
            <p:nvPr/>
          </p:nvSpPr>
          <p:spPr bwMode="auto">
            <a:xfrm>
              <a:off x="5843466" y="3040095"/>
              <a:ext cx="65982" cy="204578"/>
            </a:xfrm>
            <a:custGeom>
              <a:avLst/>
              <a:gdLst>
                <a:gd name="connsiteX0" fmla="*/ 0 w 63574"/>
                <a:gd name="connsiteY0" fmla="*/ 0 h 196163"/>
                <a:gd name="connsiteX1" fmla="*/ 48421 w 63574"/>
                <a:gd name="connsiteY1" fmla="*/ 406 h 196163"/>
                <a:gd name="connsiteX2" fmla="*/ 54535 w 63574"/>
                <a:gd name="connsiteY2" fmla="*/ 477 h 196163"/>
                <a:gd name="connsiteX3" fmla="*/ 60505 w 63574"/>
                <a:gd name="connsiteY3" fmla="*/ 904 h 196163"/>
                <a:gd name="connsiteX4" fmla="*/ 63574 w 63574"/>
                <a:gd name="connsiteY4" fmla="*/ 1204 h 196163"/>
                <a:gd name="connsiteX5" fmla="*/ 63574 w 63574"/>
                <a:gd name="connsiteY5" fmla="*/ 196163 h 196163"/>
                <a:gd name="connsiteX6" fmla="*/ 0 w 63574"/>
                <a:gd name="connsiteY6" fmla="*/ 196163 h 19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74" h="196163">
                  <a:moveTo>
                    <a:pt x="0" y="0"/>
                  </a:moveTo>
                  <a:lnTo>
                    <a:pt x="48421" y="406"/>
                  </a:lnTo>
                  <a:lnTo>
                    <a:pt x="54535" y="477"/>
                  </a:lnTo>
                  <a:lnTo>
                    <a:pt x="60505" y="904"/>
                  </a:lnTo>
                  <a:lnTo>
                    <a:pt x="63574" y="1204"/>
                  </a:lnTo>
                  <a:lnTo>
                    <a:pt x="63574" y="196163"/>
                  </a:lnTo>
                  <a:lnTo>
                    <a:pt x="0" y="196163"/>
                  </a:ln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noAutofit/>
            </a:bodyPr>
            <a:lstStyle/>
            <a:p>
              <a:pPr defTabSz="1218118">
                <a:defRPr/>
              </a:pPr>
              <a:endParaRPr lang="en-US" sz="4220" kern="0" dirty="0">
                <a:solidFill>
                  <a:srgbClr val="505050"/>
                </a:solidFill>
              </a:endParaRPr>
            </a:p>
          </p:txBody>
        </p:sp>
        <p:sp>
          <p:nvSpPr>
            <p:cNvPr id="2431" name="Freeform 2430"/>
            <p:cNvSpPr/>
            <p:nvPr/>
          </p:nvSpPr>
          <p:spPr bwMode="auto">
            <a:xfrm flipH="1">
              <a:off x="5754669" y="3091757"/>
              <a:ext cx="154801" cy="209130"/>
            </a:xfrm>
            <a:custGeom>
              <a:avLst/>
              <a:gdLst>
                <a:gd name="connsiteX0" fmla="*/ 115729 w 149151"/>
                <a:gd name="connsiteY0" fmla="*/ 0 h 200527"/>
                <a:gd name="connsiteX1" fmla="*/ 0 w 149151"/>
                <a:gd name="connsiteY1" fmla="*/ 0 h 200527"/>
                <a:gd name="connsiteX2" fmla="*/ 0 w 149151"/>
                <a:gd name="connsiteY2" fmla="*/ 200527 h 200527"/>
                <a:gd name="connsiteX3" fmla="*/ 115729 w 149151"/>
                <a:gd name="connsiteY3" fmla="*/ 200527 h 200527"/>
                <a:gd name="connsiteX4" fmla="*/ 149151 w 149151"/>
                <a:gd name="connsiteY4" fmla="*/ 167105 h 200527"/>
                <a:gd name="connsiteX5" fmla="*/ 149151 w 149151"/>
                <a:gd name="connsiteY5" fmla="*/ 33422 h 200527"/>
                <a:gd name="connsiteX6" fmla="*/ 115729 w 149151"/>
                <a:gd name="connsiteY6" fmla="*/ 0 h 20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151" h="200527">
                  <a:moveTo>
                    <a:pt x="115729" y="0"/>
                  </a:moveTo>
                  <a:lnTo>
                    <a:pt x="0" y="0"/>
                  </a:lnTo>
                  <a:lnTo>
                    <a:pt x="0" y="200527"/>
                  </a:lnTo>
                  <a:lnTo>
                    <a:pt x="115729" y="200527"/>
                  </a:lnTo>
                  <a:cubicBezTo>
                    <a:pt x="134187" y="200527"/>
                    <a:pt x="149151" y="185563"/>
                    <a:pt x="149151" y="167105"/>
                  </a:cubicBezTo>
                  <a:lnTo>
                    <a:pt x="149151" y="33422"/>
                  </a:lnTo>
                  <a:cubicBezTo>
                    <a:pt x="149151" y="14964"/>
                    <a:pt x="134187" y="0"/>
                    <a:pt x="115729" y="0"/>
                  </a:cubicBezTo>
                  <a:close/>
                </a:path>
              </a:pathLst>
            </a:custGeom>
            <a:solidFill>
              <a:srgbClr val="FFFFFF">
                <a:lumMod val="65000"/>
              </a:srgbClr>
            </a:solidFill>
            <a:ln w="4">
              <a:noFill/>
              <a:prstDash val="solid"/>
              <a:round/>
              <a:headEnd/>
              <a:tailEnd/>
            </a:ln>
          </p:spPr>
          <p:txBody>
            <a:bodyPr vert="horz" wrap="square" lIns="121839" tIns="60918" rIns="121839" bIns="60918" numCol="1" anchor="t" anchorCtr="0" compatLnSpc="1">
              <a:prstTxWarp prst="textNoShape">
                <a:avLst/>
              </a:prstTxWarp>
              <a:noAutofit/>
            </a:bodyPr>
            <a:lstStyle/>
            <a:p>
              <a:pPr defTabSz="1218118">
                <a:defRPr/>
              </a:pPr>
              <a:endParaRPr lang="en-US" sz="4220" kern="0" dirty="0">
                <a:solidFill>
                  <a:srgbClr val="505050"/>
                </a:solidFill>
              </a:endParaRPr>
            </a:p>
          </p:txBody>
        </p:sp>
      </p:grpSp>
      <p:grpSp>
        <p:nvGrpSpPr>
          <p:cNvPr id="12" name="Group 11"/>
          <p:cNvGrpSpPr/>
          <p:nvPr/>
        </p:nvGrpSpPr>
        <p:grpSpPr>
          <a:xfrm>
            <a:off x="2762359" y="3099591"/>
            <a:ext cx="219143" cy="219144"/>
            <a:chOff x="2617061" y="3161153"/>
            <a:chExt cx="223601" cy="223602"/>
          </a:xfrm>
        </p:grpSpPr>
        <p:grpSp>
          <p:nvGrpSpPr>
            <p:cNvPr id="2215" name="Group 2214"/>
            <p:cNvGrpSpPr/>
            <p:nvPr/>
          </p:nvGrpSpPr>
          <p:grpSpPr>
            <a:xfrm>
              <a:off x="2647858" y="3246249"/>
              <a:ext cx="119322" cy="119375"/>
              <a:chOff x="4480937" y="2167997"/>
              <a:chExt cx="616667" cy="616940"/>
            </a:xfrm>
          </p:grpSpPr>
          <p:sp>
            <p:nvSpPr>
              <p:cNvPr id="2226" name="Freeform 2225"/>
              <p:cNvSpPr>
                <a:spLocks noChangeAspect="1"/>
              </p:cNvSpPr>
              <p:nvPr/>
            </p:nvSpPr>
            <p:spPr bwMode="auto">
              <a:xfrm>
                <a:off x="4599588" y="2269227"/>
                <a:ext cx="379362" cy="515710"/>
              </a:xfrm>
              <a:custGeom>
                <a:avLst/>
                <a:gdLst>
                  <a:gd name="connsiteX0" fmla="*/ 103478 w 309222"/>
                  <a:gd name="connsiteY0" fmla="*/ 145662 h 420358"/>
                  <a:gd name="connsiteX1" fmla="*/ 211389 w 309222"/>
                  <a:gd name="connsiteY1" fmla="*/ 145662 h 420358"/>
                  <a:gd name="connsiteX2" fmla="*/ 211389 w 309222"/>
                  <a:gd name="connsiteY2" fmla="*/ 145757 h 420358"/>
                  <a:gd name="connsiteX3" fmla="*/ 214426 w 309222"/>
                  <a:gd name="connsiteY3" fmla="*/ 145757 h 420358"/>
                  <a:gd name="connsiteX4" fmla="*/ 226315 w 309222"/>
                  <a:gd name="connsiteY4" fmla="*/ 145757 h 420358"/>
                  <a:gd name="connsiteX5" fmla="*/ 309222 w 309222"/>
                  <a:gd name="connsiteY5" fmla="*/ 228659 h 420358"/>
                  <a:gd name="connsiteX6" fmla="*/ 309222 w 309222"/>
                  <a:gd name="connsiteY6" fmla="*/ 331538 h 420358"/>
                  <a:gd name="connsiteX7" fmla="*/ 309222 w 309222"/>
                  <a:gd name="connsiteY7" fmla="*/ 357708 h 420358"/>
                  <a:gd name="connsiteX8" fmla="*/ 253204 w 309222"/>
                  <a:gd name="connsiteY8" fmla="*/ 395476 h 420358"/>
                  <a:gd name="connsiteX9" fmla="*/ 253204 w 309222"/>
                  <a:gd name="connsiteY9" fmla="*/ 393014 h 420358"/>
                  <a:gd name="connsiteX10" fmla="*/ 253204 w 309222"/>
                  <a:gd name="connsiteY10" fmla="*/ 248077 h 420358"/>
                  <a:gd name="connsiteX11" fmla="*/ 238265 w 309222"/>
                  <a:gd name="connsiteY11" fmla="*/ 248077 h 420358"/>
                  <a:gd name="connsiteX12" fmla="*/ 238265 w 309222"/>
                  <a:gd name="connsiteY12" fmla="*/ 397921 h 420358"/>
                  <a:gd name="connsiteX13" fmla="*/ 238265 w 309222"/>
                  <a:gd name="connsiteY13" fmla="*/ 403469 h 420358"/>
                  <a:gd name="connsiteX14" fmla="*/ 154612 w 309222"/>
                  <a:gd name="connsiteY14" fmla="*/ 420358 h 420358"/>
                  <a:gd name="connsiteX15" fmla="*/ 70957 w 309222"/>
                  <a:gd name="connsiteY15" fmla="*/ 403469 h 420358"/>
                  <a:gd name="connsiteX16" fmla="*/ 70957 w 309222"/>
                  <a:gd name="connsiteY16" fmla="*/ 397897 h 420358"/>
                  <a:gd name="connsiteX17" fmla="*/ 70957 w 309222"/>
                  <a:gd name="connsiteY17" fmla="*/ 248077 h 420358"/>
                  <a:gd name="connsiteX18" fmla="*/ 56018 w 309222"/>
                  <a:gd name="connsiteY18" fmla="*/ 248077 h 420358"/>
                  <a:gd name="connsiteX19" fmla="*/ 56018 w 309222"/>
                  <a:gd name="connsiteY19" fmla="*/ 393021 h 420358"/>
                  <a:gd name="connsiteX20" fmla="*/ 56018 w 309222"/>
                  <a:gd name="connsiteY20" fmla="*/ 395475 h 420358"/>
                  <a:gd name="connsiteX21" fmla="*/ 0 w 309222"/>
                  <a:gd name="connsiteY21" fmla="*/ 357706 h 420358"/>
                  <a:gd name="connsiteX22" fmla="*/ 0 w 309222"/>
                  <a:gd name="connsiteY22" fmla="*/ 331538 h 420358"/>
                  <a:gd name="connsiteX23" fmla="*/ 0 w 309222"/>
                  <a:gd name="connsiteY23" fmla="*/ 228659 h 420358"/>
                  <a:gd name="connsiteX24" fmla="*/ 83654 w 309222"/>
                  <a:gd name="connsiteY24" fmla="*/ 145757 h 420358"/>
                  <a:gd name="connsiteX25" fmla="*/ 95053 w 309222"/>
                  <a:gd name="connsiteY25" fmla="*/ 145757 h 420358"/>
                  <a:gd name="connsiteX26" fmla="*/ 103478 w 309222"/>
                  <a:gd name="connsiteY26" fmla="*/ 145757 h 420358"/>
                  <a:gd name="connsiteX27" fmla="*/ 154927 w 309222"/>
                  <a:gd name="connsiteY27" fmla="*/ 0 h 420358"/>
                  <a:gd name="connsiteX28" fmla="*/ 219428 w 309222"/>
                  <a:gd name="connsiteY28" fmla="*/ 64658 h 420358"/>
                  <a:gd name="connsiteX29" fmla="*/ 154927 w 309222"/>
                  <a:gd name="connsiteY29" fmla="*/ 129316 h 420358"/>
                  <a:gd name="connsiteX30" fmla="*/ 90427 w 309222"/>
                  <a:gd name="connsiteY30" fmla="*/ 64658 h 420358"/>
                  <a:gd name="connsiteX31" fmla="*/ 154927 w 309222"/>
                  <a:gd name="connsiteY31" fmla="*/ 0 h 42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09222" h="420358">
                    <a:moveTo>
                      <a:pt x="103478" y="145662"/>
                    </a:moveTo>
                    <a:lnTo>
                      <a:pt x="211389" y="145662"/>
                    </a:lnTo>
                    <a:lnTo>
                      <a:pt x="211389" y="145757"/>
                    </a:lnTo>
                    <a:lnTo>
                      <a:pt x="214426" y="145757"/>
                    </a:lnTo>
                    <a:cubicBezTo>
                      <a:pt x="219359" y="145757"/>
                      <a:pt x="223420" y="145757"/>
                      <a:pt x="226315" y="145757"/>
                    </a:cubicBezTo>
                    <a:cubicBezTo>
                      <a:pt x="271876" y="145757"/>
                      <a:pt x="309222" y="183100"/>
                      <a:pt x="309222" y="228659"/>
                    </a:cubicBezTo>
                    <a:cubicBezTo>
                      <a:pt x="309222" y="240235"/>
                      <a:pt x="309222" y="286353"/>
                      <a:pt x="309222" y="331538"/>
                    </a:cubicBezTo>
                    <a:lnTo>
                      <a:pt x="309222" y="357708"/>
                    </a:lnTo>
                    <a:lnTo>
                      <a:pt x="253204" y="395476"/>
                    </a:lnTo>
                    <a:lnTo>
                      <a:pt x="253204" y="393014"/>
                    </a:lnTo>
                    <a:cubicBezTo>
                      <a:pt x="253204" y="339660"/>
                      <a:pt x="253204" y="248077"/>
                      <a:pt x="253204" y="248077"/>
                    </a:cubicBezTo>
                    <a:cubicBezTo>
                      <a:pt x="238265" y="248077"/>
                      <a:pt x="238265" y="248077"/>
                      <a:pt x="238265" y="248077"/>
                    </a:cubicBezTo>
                    <a:cubicBezTo>
                      <a:pt x="238265" y="248096"/>
                      <a:pt x="238265" y="313953"/>
                      <a:pt x="238265" y="397921"/>
                    </a:cubicBezTo>
                    <a:lnTo>
                      <a:pt x="238265" y="403469"/>
                    </a:lnTo>
                    <a:lnTo>
                      <a:pt x="154612" y="420358"/>
                    </a:lnTo>
                    <a:lnTo>
                      <a:pt x="70957" y="403469"/>
                    </a:lnTo>
                    <a:lnTo>
                      <a:pt x="70957" y="397897"/>
                    </a:lnTo>
                    <a:cubicBezTo>
                      <a:pt x="70957" y="313929"/>
                      <a:pt x="70957" y="248077"/>
                      <a:pt x="70957" y="248077"/>
                    </a:cubicBezTo>
                    <a:cubicBezTo>
                      <a:pt x="56018" y="248077"/>
                      <a:pt x="56018" y="248077"/>
                      <a:pt x="56018" y="248077"/>
                    </a:cubicBezTo>
                    <a:cubicBezTo>
                      <a:pt x="56018" y="248111"/>
                      <a:pt x="56018" y="339679"/>
                      <a:pt x="56018" y="393021"/>
                    </a:cubicBezTo>
                    <a:lnTo>
                      <a:pt x="56018" y="395475"/>
                    </a:lnTo>
                    <a:lnTo>
                      <a:pt x="0" y="357706"/>
                    </a:lnTo>
                    <a:lnTo>
                      <a:pt x="0" y="331538"/>
                    </a:lnTo>
                    <a:cubicBezTo>
                      <a:pt x="0" y="286353"/>
                      <a:pt x="0" y="240235"/>
                      <a:pt x="0" y="228659"/>
                    </a:cubicBezTo>
                    <a:cubicBezTo>
                      <a:pt x="0" y="183100"/>
                      <a:pt x="37346" y="145757"/>
                      <a:pt x="83654" y="145757"/>
                    </a:cubicBezTo>
                    <a:cubicBezTo>
                      <a:pt x="86362" y="145757"/>
                      <a:pt x="90260" y="145757"/>
                      <a:pt x="95053" y="145757"/>
                    </a:cubicBezTo>
                    <a:lnTo>
                      <a:pt x="103478" y="145757"/>
                    </a:lnTo>
                    <a:close/>
                    <a:moveTo>
                      <a:pt x="154927" y="0"/>
                    </a:moveTo>
                    <a:cubicBezTo>
                      <a:pt x="190550" y="0"/>
                      <a:pt x="219428" y="28949"/>
                      <a:pt x="219428" y="64658"/>
                    </a:cubicBezTo>
                    <a:cubicBezTo>
                      <a:pt x="219428" y="100368"/>
                      <a:pt x="190550" y="129316"/>
                      <a:pt x="154927" y="129316"/>
                    </a:cubicBezTo>
                    <a:cubicBezTo>
                      <a:pt x="119305" y="129316"/>
                      <a:pt x="90427" y="100368"/>
                      <a:pt x="90427" y="64658"/>
                    </a:cubicBezTo>
                    <a:cubicBezTo>
                      <a:pt x="90427" y="28949"/>
                      <a:pt x="119305" y="0"/>
                      <a:pt x="154927" y="0"/>
                    </a:cubicBezTo>
                    <a:close/>
                  </a:path>
                </a:pathLst>
              </a:custGeom>
              <a:solidFill>
                <a:srgbClr val="FFFFFF">
                  <a:lumMod val="65000"/>
                </a:srgbClr>
              </a:solidFill>
              <a:ln>
                <a:noFill/>
              </a:ln>
              <a:effectLst/>
            </p:spPr>
            <p:txBody>
              <a:bodyPr vert="horz" wrap="square" lIns="91377" tIns="45690" rIns="91377" bIns="4569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18244">
                  <a:defRPr/>
                </a:pPr>
                <a:endParaRPr lang="en-US" dirty="0">
                  <a:solidFill>
                    <a:srgbClr val="5B6770"/>
                  </a:solidFill>
                </a:endParaRPr>
              </a:p>
            </p:txBody>
          </p:sp>
          <p:sp>
            <p:nvSpPr>
              <p:cNvPr id="2227" name="Oval 2226"/>
              <p:cNvSpPr/>
              <p:nvPr/>
            </p:nvSpPr>
            <p:spPr bwMode="auto">
              <a:xfrm>
                <a:off x="4480937" y="2167997"/>
                <a:ext cx="616667" cy="616667"/>
              </a:xfrm>
              <a:prstGeom prst="ellipse">
                <a:avLst/>
              </a:prstGeom>
              <a:no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16" name="Oval 2215"/>
            <p:cNvSpPr/>
            <p:nvPr/>
          </p:nvSpPr>
          <p:spPr bwMode="auto">
            <a:xfrm>
              <a:off x="2617061" y="3161153"/>
              <a:ext cx="223601" cy="223602"/>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7" name="Oval 2216"/>
            <p:cNvSpPr/>
            <p:nvPr/>
          </p:nvSpPr>
          <p:spPr bwMode="auto">
            <a:xfrm>
              <a:off x="2617061" y="3161153"/>
              <a:ext cx="223601" cy="223602"/>
            </a:xfrm>
            <a:prstGeom prst="ellipse">
              <a:avLst/>
            </a:prstGeom>
            <a:no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8" name="Rectangle 2217"/>
            <p:cNvSpPr/>
            <p:nvPr/>
          </p:nvSpPr>
          <p:spPr bwMode="auto">
            <a:xfrm>
              <a:off x="2663323" y="3205768"/>
              <a:ext cx="131078" cy="10016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9" name="Rectangle 2218"/>
            <p:cNvSpPr/>
            <p:nvPr/>
          </p:nvSpPr>
          <p:spPr bwMode="auto">
            <a:xfrm>
              <a:off x="2674240" y="3219176"/>
              <a:ext cx="109250" cy="7502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2000" kern="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2220" name="Trapezoid 2219"/>
            <p:cNvSpPr/>
            <p:nvPr/>
          </p:nvSpPr>
          <p:spPr bwMode="auto">
            <a:xfrm>
              <a:off x="2653418" y="3314797"/>
              <a:ext cx="150887" cy="28030"/>
            </a:xfrm>
            <a:prstGeom prst="trapezoid">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221" name="Group 2220"/>
            <p:cNvGrpSpPr/>
            <p:nvPr/>
          </p:nvGrpSpPr>
          <p:grpSpPr>
            <a:xfrm>
              <a:off x="2693949" y="3238188"/>
              <a:ext cx="70110" cy="43574"/>
              <a:chOff x="3579136" y="2492721"/>
              <a:chExt cx="296198" cy="184087"/>
            </a:xfrm>
            <a:solidFill>
              <a:schemeClr val="accent2"/>
            </a:solidFill>
          </p:grpSpPr>
          <p:sp>
            <p:nvSpPr>
              <p:cNvPr id="2222" name="Rectangle 2221"/>
              <p:cNvSpPr/>
              <p:nvPr/>
            </p:nvSpPr>
            <p:spPr bwMode="auto">
              <a:xfrm>
                <a:off x="3579136" y="2492721"/>
                <a:ext cx="45719" cy="18408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3" name="Rectangle 2222"/>
              <p:cNvSpPr/>
              <p:nvPr/>
            </p:nvSpPr>
            <p:spPr bwMode="auto">
              <a:xfrm>
                <a:off x="3660617" y="2518163"/>
                <a:ext cx="45719" cy="1586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4" name="Rectangle 2223"/>
              <p:cNvSpPr/>
              <p:nvPr/>
            </p:nvSpPr>
            <p:spPr bwMode="auto">
              <a:xfrm>
                <a:off x="3742098" y="2555761"/>
                <a:ext cx="45719" cy="1210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5" name="Rectangle 2224"/>
              <p:cNvSpPr/>
              <p:nvPr/>
            </p:nvSpPr>
            <p:spPr bwMode="auto">
              <a:xfrm>
                <a:off x="3829615" y="2586940"/>
                <a:ext cx="45719" cy="8986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5" name="Group 14"/>
          <p:cNvGrpSpPr/>
          <p:nvPr/>
        </p:nvGrpSpPr>
        <p:grpSpPr>
          <a:xfrm>
            <a:off x="774695" y="4526418"/>
            <a:ext cx="549426" cy="549427"/>
            <a:chOff x="626815" y="4654851"/>
            <a:chExt cx="484903" cy="484904"/>
          </a:xfrm>
        </p:grpSpPr>
        <p:sp>
          <p:nvSpPr>
            <p:cNvPr id="2248" name="Oval 2247"/>
            <p:cNvSpPr/>
            <p:nvPr/>
          </p:nvSpPr>
          <p:spPr bwMode="auto">
            <a:xfrm>
              <a:off x="626815" y="4654851"/>
              <a:ext cx="484903" cy="484904"/>
            </a:xfrm>
            <a:prstGeom prst="ellipse">
              <a:avLst/>
            </a:prstGeom>
            <a:solidFill>
              <a:schemeClr val="bg1"/>
            </a:solidFill>
            <a:ln w="19050" cap="flat" cmpd="sng" algn="ctr">
              <a:solidFill>
                <a:schemeClr val="accent1"/>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765"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61" name="Group 60"/>
            <p:cNvGrpSpPr/>
            <p:nvPr/>
          </p:nvGrpSpPr>
          <p:grpSpPr>
            <a:xfrm>
              <a:off x="699856" y="4765629"/>
              <a:ext cx="340237" cy="255418"/>
              <a:chOff x="2805818" y="3358168"/>
              <a:chExt cx="150887" cy="137059"/>
            </a:xfrm>
          </p:grpSpPr>
          <p:sp>
            <p:nvSpPr>
              <p:cNvPr id="2245" name="Rectangle 2244"/>
              <p:cNvSpPr/>
              <p:nvPr/>
            </p:nvSpPr>
            <p:spPr bwMode="auto">
              <a:xfrm>
                <a:off x="2815723" y="3358168"/>
                <a:ext cx="131078" cy="100161"/>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765" kern="0" dirty="0">
                  <a:gradFill>
                    <a:gsLst>
                      <a:gs pos="0">
                        <a:srgbClr val="FFFFFF"/>
                      </a:gs>
                      <a:gs pos="100000">
                        <a:srgbClr val="FFFFFF"/>
                      </a:gs>
                    </a:gsLst>
                    <a:lin ang="5400000" scaled="0"/>
                  </a:gradFill>
                  <a:ea typeface="Segoe UI" pitchFamily="34" charset="0"/>
                  <a:cs typeface="Segoe UI" pitchFamily="34" charset="0"/>
                </a:endParaRPr>
              </a:p>
            </p:txBody>
          </p:sp>
          <p:sp>
            <p:nvSpPr>
              <p:cNvPr id="2246" name="Rectangle 2245"/>
              <p:cNvSpPr/>
              <p:nvPr/>
            </p:nvSpPr>
            <p:spPr bwMode="auto">
              <a:xfrm>
                <a:off x="2826640" y="3371576"/>
                <a:ext cx="109250" cy="7502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765" kern="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2247" name="Trapezoid 2246"/>
              <p:cNvSpPr/>
              <p:nvPr/>
            </p:nvSpPr>
            <p:spPr bwMode="auto">
              <a:xfrm>
                <a:off x="2805818" y="3467197"/>
                <a:ext cx="150887" cy="28030"/>
              </a:xfrm>
              <a:prstGeom prst="trapezoid">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765"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924" name="Group 1923"/>
            <p:cNvGrpSpPr/>
            <p:nvPr/>
          </p:nvGrpSpPr>
          <p:grpSpPr>
            <a:xfrm>
              <a:off x="806371" y="4802256"/>
              <a:ext cx="110405" cy="119767"/>
              <a:chOff x="8223250" y="-6018213"/>
              <a:chExt cx="4492626" cy="4852988"/>
            </a:xfrm>
            <a:solidFill>
              <a:srgbClr val="0072C6"/>
            </a:solidFill>
          </p:grpSpPr>
          <p:sp>
            <p:nvSpPr>
              <p:cNvPr id="1953" name="Freeform 25"/>
              <p:cNvSpPr>
                <a:spLocks/>
              </p:cNvSpPr>
              <p:nvPr/>
            </p:nvSpPr>
            <p:spPr bwMode="auto">
              <a:xfrm>
                <a:off x="8223250" y="-6018213"/>
                <a:ext cx="4238625" cy="4852988"/>
              </a:xfrm>
              <a:custGeom>
                <a:avLst/>
                <a:gdLst>
                  <a:gd name="T0" fmla="*/ 539 w 2670"/>
                  <a:gd name="T1" fmla="*/ 2708 h 3057"/>
                  <a:gd name="T2" fmla="*/ 628 w 2670"/>
                  <a:gd name="T3" fmla="*/ 2471 h 3057"/>
                  <a:gd name="T4" fmla="*/ 623 w 2670"/>
                  <a:gd name="T5" fmla="*/ 2450 h 3057"/>
                  <a:gd name="T6" fmla="*/ 462 w 2670"/>
                  <a:gd name="T7" fmla="*/ 2262 h 3057"/>
                  <a:gd name="T8" fmla="*/ 405 w 2670"/>
                  <a:gd name="T9" fmla="*/ 2183 h 3057"/>
                  <a:gd name="T10" fmla="*/ 26 w 2670"/>
                  <a:gd name="T11" fmla="*/ 1904 h 3057"/>
                  <a:gd name="T12" fmla="*/ 251 w 2670"/>
                  <a:gd name="T13" fmla="*/ 1764 h 3057"/>
                  <a:gd name="T14" fmla="*/ 235 w 2670"/>
                  <a:gd name="T15" fmla="*/ 1631 h 3057"/>
                  <a:gd name="T16" fmla="*/ 236 w 2670"/>
                  <a:gd name="T17" fmla="*/ 1424 h 3057"/>
                  <a:gd name="T18" fmla="*/ 119 w 2670"/>
                  <a:gd name="T19" fmla="*/ 1351 h 3057"/>
                  <a:gd name="T20" fmla="*/ 90 w 2670"/>
                  <a:gd name="T21" fmla="*/ 960 h 3057"/>
                  <a:gd name="T22" fmla="*/ 350 w 2670"/>
                  <a:gd name="T23" fmla="*/ 979 h 3057"/>
                  <a:gd name="T24" fmla="*/ 400 w 2670"/>
                  <a:gd name="T25" fmla="*/ 895 h 3057"/>
                  <a:gd name="T26" fmla="*/ 543 w 2670"/>
                  <a:gd name="T27" fmla="*/ 693 h 3057"/>
                  <a:gd name="T28" fmla="*/ 544 w 2670"/>
                  <a:gd name="T29" fmla="*/ 670 h 3057"/>
                  <a:gd name="T30" fmla="*/ 436 w 2670"/>
                  <a:gd name="T31" fmla="*/ 439 h 3057"/>
                  <a:gd name="T32" fmla="*/ 899 w 2670"/>
                  <a:gd name="T33" fmla="*/ 404 h 3057"/>
                  <a:gd name="T34" fmla="*/ 1022 w 2670"/>
                  <a:gd name="T35" fmla="*/ 346 h 3057"/>
                  <a:gd name="T36" fmla="*/ 1218 w 2670"/>
                  <a:gd name="T37" fmla="*/ 282 h 3057"/>
                  <a:gd name="T38" fmla="*/ 1270 w 2670"/>
                  <a:gd name="T39" fmla="*/ 28 h 3057"/>
                  <a:gd name="T40" fmla="*/ 1284 w 2670"/>
                  <a:gd name="T41" fmla="*/ 14 h 3057"/>
                  <a:gd name="T42" fmla="*/ 1647 w 2670"/>
                  <a:gd name="T43" fmla="*/ 557 h 3057"/>
                  <a:gd name="T44" fmla="*/ 1482 w 2670"/>
                  <a:gd name="T45" fmla="*/ 549 h 3057"/>
                  <a:gd name="T46" fmla="*/ 1326 w 2670"/>
                  <a:gd name="T47" fmla="*/ 566 h 3057"/>
                  <a:gd name="T48" fmla="*/ 1176 w 2670"/>
                  <a:gd name="T49" fmla="*/ 607 h 3057"/>
                  <a:gd name="T50" fmla="*/ 1035 w 2670"/>
                  <a:gd name="T51" fmla="*/ 672 h 3057"/>
                  <a:gd name="T52" fmla="*/ 902 w 2670"/>
                  <a:gd name="T53" fmla="*/ 763 h 3057"/>
                  <a:gd name="T54" fmla="*/ 770 w 2670"/>
                  <a:gd name="T55" fmla="*/ 887 h 3057"/>
                  <a:gd name="T56" fmla="*/ 635 w 2670"/>
                  <a:gd name="T57" fmla="*/ 1089 h 3057"/>
                  <a:gd name="T58" fmla="*/ 555 w 2670"/>
                  <a:gd name="T59" fmla="*/ 1320 h 3057"/>
                  <a:gd name="T60" fmla="*/ 532 w 2670"/>
                  <a:gd name="T61" fmla="*/ 1535 h 3057"/>
                  <a:gd name="T62" fmla="*/ 565 w 2670"/>
                  <a:gd name="T63" fmla="*/ 1785 h 3057"/>
                  <a:gd name="T64" fmla="*/ 661 w 2670"/>
                  <a:gd name="T65" fmla="*/ 2015 h 3057"/>
                  <a:gd name="T66" fmla="*/ 811 w 2670"/>
                  <a:gd name="T67" fmla="*/ 2214 h 3057"/>
                  <a:gd name="T68" fmla="*/ 1008 w 2670"/>
                  <a:gd name="T69" fmla="*/ 2369 h 3057"/>
                  <a:gd name="T70" fmla="*/ 1207 w 2670"/>
                  <a:gd name="T71" fmla="*/ 2459 h 3057"/>
                  <a:gd name="T72" fmla="*/ 1475 w 2670"/>
                  <a:gd name="T73" fmla="*/ 2510 h 3057"/>
                  <a:gd name="T74" fmla="*/ 1743 w 2670"/>
                  <a:gd name="T75" fmla="*/ 2482 h 3057"/>
                  <a:gd name="T76" fmla="*/ 1962 w 2670"/>
                  <a:gd name="T77" fmla="*/ 2399 h 3057"/>
                  <a:gd name="T78" fmla="*/ 2184 w 2670"/>
                  <a:gd name="T79" fmla="*/ 2245 h 3057"/>
                  <a:gd name="T80" fmla="*/ 2353 w 2670"/>
                  <a:gd name="T81" fmla="*/ 2033 h 3057"/>
                  <a:gd name="T82" fmla="*/ 2649 w 2670"/>
                  <a:gd name="T83" fmla="*/ 2121 h 3057"/>
                  <a:gd name="T84" fmla="*/ 2560 w 2670"/>
                  <a:gd name="T85" fmla="*/ 2266 h 3057"/>
                  <a:gd name="T86" fmla="*/ 2479 w 2670"/>
                  <a:gd name="T87" fmla="*/ 2369 h 3057"/>
                  <a:gd name="T88" fmla="*/ 2596 w 2670"/>
                  <a:gd name="T89" fmla="*/ 2608 h 3057"/>
                  <a:gd name="T90" fmla="*/ 2136 w 2670"/>
                  <a:gd name="T91" fmla="*/ 2662 h 3057"/>
                  <a:gd name="T92" fmla="*/ 2113 w 2670"/>
                  <a:gd name="T93" fmla="*/ 2659 h 3057"/>
                  <a:gd name="T94" fmla="*/ 1887 w 2670"/>
                  <a:gd name="T95" fmla="*/ 2753 h 3057"/>
                  <a:gd name="T96" fmla="*/ 1793 w 2670"/>
                  <a:gd name="T97" fmla="*/ 2785 h 3057"/>
                  <a:gd name="T98" fmla="*/ 1755 w 2670"/>
                  <a:gd name="T99" fmla="*/ 3039 h 3057"/>
                  <a:gd name="T100" fmla="*/ 1415 w 2670"/>
                  <a:gd name="T101" fmla="*/ 3057 h 3057"/>
                  <a:gd name="T102" fmla="*/ 1351 w 2670"/>
                  <a:gd name="T103" fmla="*/ 2811 h 3057"/>
                  <a:gd name="T104" fmla="*/ 1336 w 2670"/>
                  <a:gd name="T105" fmla="*/ 2796 h 3057"/>
                  <a:gd name="T106" fmla="*/ 1092 w 2670"/>
                  <a:gd name="T107" fmla="*/ 2738 h 3057"/>
                  <a:gd name="T108" fmla="*/ 1000 w 2670"/>
                  <a:gd name="T109" fmla="*/ 2709 h 3057"/>
                  <a:gd name="T110" fmla="*/ 819 w 2670"/>
                  <a:gd name="T111" fmla="*/ 2894 h 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70" h="3057">
                    <a:moveTo>
                      <a:pt x="819" y="2894"/>
                    </a:moveTo>
                    <a:lnTo>
                      <a:pt x="819" y="2894"/>
                    </a:lnTo>
                    <a:lnTo>
                      <a:pt x="560" y="2724"/>
                    </a:lnTo>
                    <a:lnTo>
                      <a:pt x="560" y="2724"/>
                    </a:lnTo>
                    <a:lnTo>
                      <a:pt x="544" y="2713"/>
                    </a:lnTo>
                    <a:lnTo>
                      <a:pt x="539" y="2708"/>
                    </a:lnTo>
                    <a:lnTo>
                      <a:pt x="537" y="2704"/>
                    </a:lnTo>
                    <a:lnTo>
                      <a:pt x="536" y="2699"/>
                    </a:lnTo>
                    <a:lnTo>
                      <a:pt x="537" y="2692"/>
                    </a:lnTo>
                    <a:lnTo>
                      <a:pt x="544" y="2673"/>
                    </a:lnTo>
                    <a:lnTo>
                      <a:pt x="544" y="2673"/>
                    </a:lnTo>
                    <a:lnTo>
                      <a:pt x="628" y="2471"/>
                    </a:lnTo>
                    <a:lnTo>
                      <a:pt x="628" y="2471"/>
                    </a:lnTo>
                    <a:lnTo>
                      <a:pt x="629" y="2465"/>
                    </a:lnTo>
                    <a:lnTo>
                      <a:pt x="629" y="2459"/>
                    </a:lnTo>
                    <a:lnTo>
                      <a:pt x="627" y="2454"/>
                    </a:lnTo>
                    <a:lnTo>
                      <a:pt x="623" y="2450"/>
                    </a:lnTo>
                    <a:lnTo>
                      <a:pt x="623" y="2450"/>
                    </a:lnTo>
                    <a:lnTo>
                      <a:pt x="593" y="2421"/>
                    </a:lnTo>
                    <a:lnTo>
                      <a:pt x="565" y="2391"/>
                    </a:lnTo>
                    <a:lnTo>
                      <a:pt x="538" y="2359"/>
                    </a:lnTo>
                    <a:lnTo>
                      <a:pt x="512" y="2328"/>
                    </a:lnTo>
                    <a:lnTo>
                      <a:pt x="487" y="2296"/>
                    </a:lnTo>
                    <a:lnTo>
                      <a:pt x="462" y="2262"/>
                    </a:lnTo>
                    <a:lnTo>
                      <a:pt x="440" y="2227"/>
                    </a:lnTo>
                    <a:lnTo>
                      <a:pt x="417" y="2192"/>
                    </a:lnTo>
                    <a:lnTo>
                      <a:pt x="417" y="2192"/>
                    </a:lnTo>
                    <a:lnTo>
                      <a:pt x="414" y="2187"/>
                    </a:lnTo>
                    <a:lnTo>
                      <a:pt x="410" y="2184"/>
                    </a:lnTo>
                    <a:lnTo>
                      <a:pt x="405" y="2183"/>
                    </a:lnTo>
                    <a:lnTo>
                      <a:pt x="399" y="2184"/>
                    </a:lnTo>
                    <a:lnTo>
                      <a:pt x="399" y="2184"/>
                    </a:lnTo>
                    <a:lnTo>
                      <a:pt x="148" y="2226"/>
                    </a:lnTo>
                    <a:lnTo>
                      <a:pt x="148" y="2226"/>
                    </a:lnTo>
                    <a:lnTo>
                      <a:pt x="26" y="1904"/>
                    </a:lnTo>
                    <a:lnTo>
                      <a:pt x="26" y="1904"/>
                    </a:lnTo>
                    <a:lnTo>
                      <a:pt x="140" y="1834"/>
                    </a:lnTo>
                    <a:lnTo>
                      <a:pt x="140" y="1834"/>
                    </a:lnTo>
                    <a:lnTo>
                      <a:pt x="245" y="1769"/>
                    </a:lnTo>
                    <a:lnTo>
                      <a:pt x="245" y="1769"/>
                    </a:lnTo>
                    <a:lnTo>
                      <a:pt x="248" y="1767"/>
                    </a:lnTo>
                    <a:lnTo>
                      <a:pt x="251" y="1764"/>
                    </a:lnTo>
                    <a:lnTo>
                      <a:pt x="252" y="1760"/>
                    </a:lnTo>
                    <a:lnTo>
                      <a:pt x="252" y="1755"/>
                    </a:lnTo>
                    <a:lnTo>
                      <a:pt x="252" y="1755"/>
                    </a:lnTo>
                    <a:lnTo>
                      <a:pt x="245" y="1714"/>
                    </a:lnTo>
                    <a:lnTo>
                      <a:pt x="239" y="1673"/>
                    </a:lnTo>
                    <a:lnTo>
                      <a:pt x="235" y="1631"/>
                    </a:lnTo>
                    <a:lnTo>
                      <a:pt x="233" y="1590"/>
                    </a:lnTo>
                    <a:lnTo>
                      <a:pt x="232" y="1548"/>
                    </a:lnTo>
                    <a:lnTo>
                      <a:pt x="232" y="1507"/>
                    </a:lnTo>
                    <a:lnTo>
                      <a:pt x="233" y="1465"/>
                    </a:lnTo>
                    <a:lnTo>
                      <a:pt x="236" y="1424"/>
                    </a:lnTo>
                    <a:lnTo>
                      <a:pt x="236" y="1424"/>
                    </a:lnTo>
                    <a:lnTo>
                      <a:pt x="236" y="1417"/>
                    </a:lnTo>
                    <a:lnTo>
                      <a:pt x="234" y="1411"/>
                    </a:lnTo>
                    <a:lnTo>
                      <a:pt x="230" y="1407"/>
                    </a:lnTo>
                    <a:lnTo>
                      <a:pt x="225" y="1404"/>
                    </a:lnTo>
                    <a:lnTo>
                      <a:pt x="225" y="1404"/>
                    </a:lnTo>
                    <a:lnTo>
                      <a:pt x="119" y="1351"/>
                    </a:lnTo>
                    <a:lnTo>
                      <a:pt x="14" y="1298"/>
                    </a:lnTo>
                    <a:lnTo>
                      <a:pt x="14" y="1298"/>
                    </a:lnTo>
                    <a:lnTo>
                      <a:pt x="0" y="1290"/>
                    </a:lnTo>
                    <a:lnTo>
                      <a:pt x="0" y="1290"/>
                    </a:lnTo>
                    <a:lnTo>
                      <a:pt x="90" y="960"/>
                    </a:lnTo>
                    <a:lnTo>
                      <a:pt x="90" y="960"/>
                    </a:lnTo>
                    <a:lnTo>
                      <a:pt x="158" y="965"/>
                    </a:lnTo>
                    <a:lnTo>
                      <a:pt x="158" y="965"/>
                    </a:lnTo>
                    <a:lnTo>
                      <a:pt x="250" y="972"/>
                    </a:lnTo>
                    <a:lnTo>
                      <a:pt x="343" y="979"/>
                    </a:lnTo>
                    <a:lnTo>
                      <a:pt x="343" y="979"/>
                    </a:lnTo>
                    <a:lnTo>
                      <a:pt x="350" y="979"/>
                    </a:lnTo>
                    <a:lnTo>
                      <a:pt x="355" y="977"/>
                    </a:lnTo>
                    <a:lnTo>
                      <a:pt x="358" y="974"/>
                    </a:lnTo>
                    <a:lnTo>
                      <a:pt x="362" y="968"/>
                    </a:lnTo>
                    <a:lnTo>
                      <a:pt x="362" y="968"/>
                    </a:lnTo>
                    <a:lnTo>
                      <a:pt x="380" y="931"/>
                    </a:lnTo>
                    <a:lnTo>
                      <a:pt x="400" y="895"/>
                    </a:lnTo>
                    <a:lnTo>
                      <a:pt x="420" y="859"/>
                    </a:lnTo>
                    <a:lnTo>
                      <a:pt x="443" y="825"/>
                    </a:lnTo>
                    <a:lnTo>
                      <a:pt x="466" y="790"/>
                    </a:lnTo>
                    <a:lnTo>
                      <a:pt x="491" y="757"/>
                    </a:lnTo>
                    <a:lnTo>
                      <a:pt x="515" y="724"/>
                    </a:lnTo>
                    <a:lnTo>
                      <a:pt x="543" y="693"/>
                    </a:lnTo>
                    <a:lnTo>
                      <a:pt x="543" y="693"/>
                    </a:lnTo>
                    <a:lnTo>
                      <a:pt x="546" y="686"/>
                    </a:lnTo>
                    <a:lnTo>
                      <a:pt x="548" y="681"/>
                    </a:lnTo>
                    <a:lnTo>
                      <a:pt x="547" y="676"/>
                    </a:lnTo>
                    <a:lnTo>
                      <a:pt x="544" y="670"/>
                    </a:lnTo>
                    <a:lnTo>
                      <a:pt x="544" y="670"/>
                    </a:lnTo>
                    <a:lnTo>
                      <a:pt x="433" y="457"/>
                    </a:lnTo>
                    <a:lnTo>
                      <a:pt x="433" y="457"/>
                    </a:lnTo>
                    <a:lnTo>
                      <a:pt x="430" y="452"/>
                    </a:lnTo>
                    <a:lnTo>
                      <a:pt x="430" y="448"/>
                    </a:lnTo>
                    <a:lnTo>
                      <a:pt x="431" y="444"/>
                    </a:lnTo>
                    <a:lnTo>
                      <a:pt x="436" y="439"/>
                    </a:lnTo>
                    <a:lnTo>
                      <a:pt x="436" y="439"/>
                    </a:lnTo>
                    <a:lnTo>
                      <a:pt x="689" y="237"/>
                    </a:lnTo>
                    <a:lnTo>
                      <a:pt x="689" y="237"/>
                    </a:lnTo>
                    <a:lnTo>
                      <a:pt x="696" y="232"/>
                    </a:lnTo>
                    <a:lnTo>
                      <a:pt x="696" y="232"/>
                    </a:lnTo>
                    <a:lnTo>
                      <a:pt x="899" y="404"/>
                    </a:lnTo>
                    <a:lnTo>
                      <a:pt x="899" y="404"/>
                    </a:lnTo>
                    <a:lnTo>
                      <a:pt x="910" y="399"/>
                    </a:lnTo>
                    <a:lnTo>
                      <a:pt x="910" y="399"/>
                    </a:lnTo>
                    <a:lnTo>
                      <a:pt x="947" y="380"/>
                    </a:lnTo>
                    <a:lnTo>
                      <a:pt x="985" y="362"/>
                    </a:lnTo>
                    <a:lnTo>
                      <a:pt x="1022" y="346"/>
                    </a:lnTo>
                    <a:lnTo>
                      <a:pt x="1061" y="330"/>
                    </a:lnTo>
                    <a:lnTo>
                      <a:pt x="1100" y="317"/>
                    </a:lnTo>
                    <a:lnTo>
                      <a:pt x="1139" y="304"/>
                    </a:lnTo>
                    <a:lnTo>
                      <a:pt x="1178" y="293"/>
                    </a:lnTo>
                    <a:lnTo>
                      <a:pt x="1218" y="282"/>
                    </a:lnTo>
                    <a:lnTo>
                      <a:pt x="1218" y="282"/>
                    </a:lnTo>
                    <a:lnTo>
                      <a:pt x="1226" y="280"/>
                    </a:lnTo>
                    <a:lnTo>
                      <a:pt x="1230" y="276"/>
                    </a:lnTo>
                    <a:lnTo>
                      <a:pt x="1233" y="271"/>
                    </a:lnTo>
                    <a:lnTo>
                      <a:pt x="1235" y="264"/>
                    </a:lnTo>
                    <a:lnTo>
                      <a:pt x="1235" y="264"/>
                    </a:lnTo>
                    <a:lnTo>
                      <a:pt x="1270" y="28"/>
                    </a:lnTo>
                    <a:lnTo>
                      <a:pt x="1270" y="28"/>
                    </a:lnTo>
                    <a:lnTo>
                      <a:pt x="1271" y="21"/>
                    </a:lnTo>
                    <a:lnTo>
                      <a:pt x="1274" y="17"/>
                    </a:lnTo>
                    <a:lnTo>
                      <a:pt x="1278" y="15"/>
                    </a:lnTo>
                    <a:lnTo>
                      <a:pt x="1284" y="14"/>
                    </a:lnTo>
                    <a:lnTo>
                      <a:pt x="1284" y="14"/>
                    </a:lnTo>
                    <a:lnTo>
                      <a:pt x="1609" y="0"/>
                    </a:lnTo>
                    <a:lnTo>
                      <a:pt x="1609" y="0"/>
                    </a:lnTo>
                    <a:lnTo>
                      <a:pt x="1615" y="1"/>
                    </a:lnTo>
                    <a:lnTo>
                      <a:pt x="1615" y="1"/>
                    </a:lnTo>
                    <a:lnTo>
                      <a:pt x="1647" y="557"/>
                    </a:lnTo>
                    <a:lnTo>
                      <a:pt x="1647" y="557"/>
                    </a:lnTo>
                    <a:lnTo>
                      <a:pt x="1618" y="553"/>
                    </a:lnTo>
                    <a:lnTo>
                      <a:pt x="1591" y="551"/>
                    </a:lnTo>
                    <a:lnTo>
                      <a:pt x="1563" y="549"/>
                    </a:lnTo>
                    <a:lnTo>
                      <a:pt x="1537" y="548"/>
                    </a:lnTo>
                    <a:lnTo>
                      <a:pt x="1509" y="548"/>
                    </a:lnTo>
                    <a:lnTo>
                      <a:pt x="1482" y="549"/>
                    </a:lnTo>
                    <a:lnTo>
                      <a:pt x="1456" y="550"/>
                    </a:lnTo>
                    <a:lnTo>
                      <a:pt x="1429" y="552"/>
                    </a:lnTo>
                    <a:lnTo>
                      <a:pt x="1404" y="555"/>
                    </a:lnTo>
                    <a:lnTo>
                      <a:pt x="1377" y="558"/>
                    </a:lnTo>
                    <a:lnTo>
                      <a:pt x="1351" y="562"/>
                    </a:lnTo>
                    <a:lnTo>
                      <a:pt x="1326" y="566"/>
                    </a:lnTo>
                    <a:lnTo>
                      <a:pt x="1300" y="571"/>
                    </a:lnTo>
                    <a:lnTo>
                      <a:pt x="1275" y="577"/>
                    </a:lnTo>
                    <a:lnTo>
                      <a:pt x="1250" y="583"/>
                    </a:lnTo>
                    <a:lnTo>
                      <a:pt x="1226" y="590"/>
                    </a:lnTo>
                    <a:lnTo>
                      <a:pt x="1201" y="599"/>
                    </a:lnTo>
                    <a:lnTo>
                      <a:pt x="1176" y="607"/>
                    </a:lnTo>
                    <a:lnTo>
                      <a:pt x="1152" y="616"/>
                    </a:lnTo>
                    <a:lnTo>
                      <a:pt x="1128" y="626"/>
                    </a:lnTo>
                    <a:lnTo>
                      <a:pt x="1105" y="636"/>
                    </a:lnTo>
                    <a:lnTo>
                      <a:pt x="1081" y="648"/>
                    </a:lnTo>
                    <a:lnTo>
                      <a:pt x="1058" y="660"/>
                    </a:lnTo>
                    <a:lnTo>
                      <a:pt x="1035" y="672"/>
                    </a:lnTo>
                    <a:lnTo>
                      <a:pt x="1013" y="685"/>
                    </a:lnTo>
                    <a:lnTo>
                      <a:pt x="990" y="700"/>
                    </a:lnTo>
                    <a:lnTo>
                      <a:pt x="968" y="715"/>
                    </a:lnTo>
                    <a:lnTo>
                      <a:pt x="945" y="730"/>
                    </a:lnTo>
                    <a:lnTo>
                      <a:pt x="924" y="746"/>
                    </a:lnTo>
                    <a:lnTo>
                      <a:pt x="902" y="763"/>
                    </a:lnTo>
                    <a:lnTo>
                      <a:pt x="881" y="781"/>
                    </a:lnTo>
                    <a:lnTo>
                      <a:pt x="859" y="799"/>
                    </a:lnTo>
                    <a:lnTo>
                      <a:pt x="859" y="799"/>
                    </a:lnTo>
                    <a:lnTo>
                      <a:pt x="828" y="828"/>
                    </a:lnTo>
                    <a:lnTo>
                      <a:pt x="799" y="857"/>
                    </a:lnTo>
                    <a:lnTo>
                      <a:pt x="770" y="887"/>
                    </a:lnTo>
                    <a:lnTo>
                      <a:pt x="745" y="919"/>
                    </a:lnTo>
                    <a:lnTo>
                      <a:pt x="719" y="950"/>
                    </a:lnTo>
                    <a:lnTo>
                      <a:pt x="696" y="984"/>
                    </a:lnTo>
                    <a:lnTo>
                      <a:pt x="674" y="1018"/>
                    </a:lnTo>
                    <a:lnTo>
                      <a:pt x="655" y="1053"/>
                    </a:lnTo>
                    <a:lnTo>
                      <a:pt x="635" y="1089"/>
                    </a:lnTo>
                    <a:lnTo>
                      <a:pt x="618" y="1124"/>
                    </a:lnTo>
                    <a:lnTo>
                      <a:pt x="602" y="1162"/>
                    </a:lnTo>
                    <a:lnTo>
                      <a:pt x="588" y="1200"/>
                    </a:lnTo>
                    <a:lnTo>
                      <a:pt x="576" y="1239"/>
                    </a:lnTo>
                    <a:lnTo>
                      <a:pt x="564" y="1279"/>
                    </a:lnTo>
                    <a:lnTo>
                      <a:pt x="555" y="1320"/>
                    </a:lnTo>
                    <a:lnTo>
                      <a:pt x="547" y="1361"/>
                    </a:lnTo>
                    <a:lnTo>
                      <a:pt x="547" y="1361"/>
                    </a:lnTo>
                    <a:lnTo>
                      <a:pt x="540" y="1405"/>
                    </a:lnTo>
                    <a:lnTo>
                      <a:pt x="536" y="1448"/>
                    </a:lnTo>
                    <a:lnTo>
                      <a:pt x="533" y="1492"/>
                    </a:lnTo>
                    <a:lnTo>
                      <a:pt x="532" y="1535"/>
                    </a:lnTo>
                    <a:lnTo>
                      <a:pt x="533" y="1577"/>
                    </a:lnTo>
                    <a:lnTo>
                      <a:pt x="536" y="1620"/>
                    </a:lnTo>
                    <a:lnTo>
                      <a:pt x="541" y="1661"/>
                    </a:lnTo>
                    <a:lnTo>
                      <a:pt x="547" y="1703"/>
                    </a:lnTo>
                    <a:lnTo>
                      <a:pt x="555" y="1744"/>
                    </a:lnTo>
                    <a:lnTo>
                      <a:pt x="565" y="1785"/>
                    </a:lnTo>
                    <a:lnTo>
                      <a:pt x="578" y="1825"/>
                    </a:lnTo>
                    <a:lnTo>
                      <a:pt x="591" y="1865"/>
                    </a:lnTo>
                    <a:lnTo>
                      <a:pt x="606" y="1903"/>
                    </a:lnTo>
                    <a:lnTo>
                      <a:pt x="623" y="1942"/>
                    </a:lnTo>
                    <a:lnTo>
                      <a:pt x="641" y="1979"/>
                    </a:lnTo>
                    <a:lnTo>
                      <a:pt x="661" y="2015"/>
                    </a:lnTo>
                    <a:lnTo>
                      <a:pt x="682" y="2051"/>
                    </a:lnTo>
                    <a:lnTo>
                      <a:pt x="705" y="2085"/>
                    </a:lnTo>
                    <a:lnTo>
                      <a:pt x="729" y="2119"/>
                    </a:lnTo>
                    <a:lnTo>
                      <a:pt x="755" y="2152"/>
                    </a:lnTo>
                    <a:lnTo>
                      <a:pt x="782" y="2183"/>
                    </a:lnTo>
                    <a:lnTo>
                      <a:pt x="811" y="2214"/>
                    </a:lnTo>
                    <a:lnTo>
                      <a:pt x="841" y="2243"/>
                    </a:lnTo>
                    <a:lnTo>
                      <a:pt x="871" y="2271"/>
                    </a:lnTo>
                    <a:lnTo>
                      <a:pt x="904" y="2298"/>
                    </a:lnTo>
                    <a:lnTo>
                      <a:pt x="937" y="2322"/>
                    </a:lnTo>
                    <a:lnTo>
                      <a:pt x="972" y="2347"/>
                    </a:lnTo>
                    <a:lnTo>
                      <a:pt x="1008" y="2369"/>
                    </a:lnTo>
                    <a:lnTo>
                      <a:pt x="1044" y="2390"/>
                    </a:lnTo>
                    <a:lnTo>
                      <a:pt x="1083" y="2409"/>
                    </a:lnTo>
                    <a:lnTo>
                      <a:pt x="1122" y="2428"/>
                    </a:lnTo>
                    <a:lnTo>
                      <a:pt x="1162" y="2444"/>
                    </a:lnTo>
                    <a:lnTo>
                      <a:pt x="1162" y="2444"/>
                    </a:lnTo>
                    <a:lnTo>
                      <a:pt x="1207" y="2459"/>
                    </a:lnTo>
                    <a:lnTo>
                      <a:pt x="1252" y="2474"/>
                    </a:lnTo>
                    <a:lnTo>
                      <a:pt x="1296" y="2485"/>
                    </a:lnTo>
                    <a:lnTo>
                      <a:pt x="1341" y="2494"/>
                    </a:lnTo>
                    <a:lnTo>
                      <a:pt x="1386" y="2501"/>
                    </a:lnTo>
                    <a:lnTo>
                      <a:pt x="1431" y="2507"/>
                    </a:lnTo>
                    <a:lnTo>
                      <a:pt x="1475" y="2510"/>
                    </a:lnTo>
                    <a:lnTo>
                      <a:pt x="1520" y="2511"/>
                    </a:lnTo>
                    <a:lnTo>
                      <a:pt x="1565" y="2509"/>
                    </a:lnTo>
                    <a:lnTo>
                      <a:pt x="1609" y="2506"/>
                    </a:lnTo>
                    <a:lnTo>
                      <a:pt x="1654" y="2499"/>
                    </a:lnTo>
                    <a:lnTo>
                      <a:pt x="1699" y="2492"/>
                    </a:lnTo>
                    <a:lnTo>
                      <a:pt x="1743" y="2482"/>
                    </a:lnTo>
                    <a:lnTo>
                      <a:pt x="1788" y="2470"/>
                    </a:lnTo>
                    <a:lnTo>
                      <a:pt x="1832" y="2455"/>
                    </a:lnTo>
                    <a:lnTo>
                      <a:pt x="1877" y="2438"/>
                    </a:lnTo>
                    <a:lnTo>
                      <a:pt x="1877" y="2438"/>
                    </a:lnTo>
                    <a:lnTo>
                      <a:pt x="1920" y="2420"/>
                    </a:lnTo>
                    <a:lnTo>
                      <a:pt x="1962" y="2399"/>
                    </a:lnTo>
                    <a:lnTo>
                      <a:pt x="2003" y="2378"/>
                    </a:lnTo>
                    <a:lnTo>
                      <a:pt x="2042" y="2354"/>
                    </a:lnTo>
                    <a:lnTo>
                      <a:pt x="2080" y="2330"/>
                    </a:lnTo>
                    <a:lnTo>
                      <a:pt x="2116" y="2303"/>
                    </a:lnTo>
                    <a:lnTo>
                      <a:pt x="2151" y="2274"/>
                    </a:lnTo>
                    <a:lnTo>
                      <a:pt x="2184" y="2245"/>
                    </a:lnTo>
                    <a:lnTo>
                      <a:pt x="2216" y="2213"/>
                    </a:lnTo>
                    <a:lnTo>
                      <a:pt x="2247" y="2180"/>
                    </a:lnTo>
                    <a:lnTo>
                      <a:pt x="2275" y="2145"/>
                    </a:lnTo>
                    <a:lnTo>
                      <a:pt x="2303" y="2110"/>
                    </a:lnTo>
                    <a:lnTo>
                      <a:pt x="2329" y="2072"/>
                    </a:lnTo>
                    <a:lnTo>
                      <a:pt x="2353" y="2033"/>
                    </a:lnTo>
                    <a:lnTo>
                      <a:pt x="2377" y="1992"/>
                    </a:lnTo>
                    <a:lnTo>
                      <a:pt x="2399" y="1950"/>
                    </a:lnTo>
                    <a:lnTo>
                      <a:pt x="2399" y="1950"/>
                    </a:lnTo>
                    <a:lnTo>
                      <a:pt x="2670" y="2079"/>
                    </a:lnTo>
                    <a:lnTo>
                      <a:pt x="2670" y="2079"/>
                    </a:lnTo>
                    <a:lnTo>
                      <a:pt x="2649" y="2121"/>
                    </a:lnTo>
                    <a:lnTo>
                      <a:pt x="2626" y="2161"/>
                    </a:lnTo>
                    <a:lnTo>
                      <a:pt x="2626" y="2161"/>
                    </a:lnTo>
                    <a:lnTo>
                      <a:pt x="2611" y="2187"/>
                    </a:lnTo>
                    <a:lnTo>
                      <a:pt x="2595" y="2214"/>
                    </a:lnTo>
                    <a:lnTo>
                      <a:pt x="2578" y="2241"/>
                    </a:lnTo>
                    <a:lnTo>
                      <a:pt x="2560" y="2266"/>
                    </a:lnTo>
                    <a:lnTo>
                      <a:pt x="2542" y="2292"/>
                    </a:lnTo>
                    <a:lnTo>
                      <a:pt x="2523" y="2316"/>
                    </a:lnTo>
                    <a:lnTo>
                      <a:pt x="2504" y="2340"/>
                    </a:lnTo>
                    <a:lnTo>
                      <a:pt x="2483" y="2364"/>
                    </a:lnTo>
                    <a:lnTo>
                      <a:pt x="2483" y="2364"/>
                    </a:lnTo>
                    <a:lnTo>
                      <a:pt x="2479" y="2369"/>
                    </a:lnTo>
                    <a:lnTo>
                      <a:pt x="2477" y="2376"/>
                    </a:lnTo>
                    <a:lnTo>
                      <a:pt x="2477" y="2382"/>
                    </a:lnTo>
                    <a:lnTo>
                      <a:pt x="2480" y="2388"/>
                    </a:lnTo>
                    <a:lnTo>
                      <a:pt x="2480" y="2388"/>
                    </a:lnTo>
                    <a:lnTo>
                      <a:pt x="2538" y="2498"/>
                    </a:lnTo>
                    <a:lnTo>
                      <a:pt x="2596" y="2608"/>
                    </a:lnTo>
                    <a:lnTo>
                      <a:pt x="2596" y="2608"/>
                    </a:lnTo>
                    <a:lnTo>
                      <a:pt x="2327" y="2823"/>
                    </a:lnTo>
                    <a:lnTo>
                      <a:pt x="2327" y="2823"/>
                    </a:lnTo>
                    <a:lnTo>
                      <a:pt x="2316" y="2814"/>
                    </a:lnTo>
                    <a:lnTo>
                      <a:pt x="2316" y="2814"/>
                    </a:lnTo>
                    <a:lnTo>
                      <a:pt x="2136" y="2662"/>
                    </a:lnTo>
                    <a:lnTo>
                      <a:pt x="2136" y="2662"/>
                    </a:lnTo>
                    <a:lnTo>
                      <a:pt x="2130" y="2658"/>
                    </a:lnTo>
                    <a:lnTo>
                      <a:pt x="2125" y="2656"/>
                    </a:lnTo>
                    <a:lnTo>
                      <a:pt x="2120" y="2656"/>
                    </a:lnTo>
                    <a:lnTo>
                      <a:pt x="2113" y="2659"/>
                    </a:lnTo>
                    <a:lnTo>
                      <a:pt x="2113" y="2659"/>
                    </a:lnTo>
                    <a:lnTo>
                      <a:pt x="2076" y="2677"/>
                    </a:lnTo>
                    <a:lnTo>
                      <a:pt x="2039" y="2696"/>
                    </a:lnTo>
                    <a:lnTo>
                      <a:pt x="2002" y="2712"/>
                    </a:lnTo>
                    <a:lnTo>
                      <a:pt x="1963" y="2728"/>
                    </a:lnTo>
                    <a:lnTo>
                      <a:pt x="1925" y="2741"/>
                    </a:lnTo>
                    <a:lnTo>
                      <a:pt x="1887" y="2753"/>
                    </a:lnTo>
                    <a:lnTo>
                      <a:pt x="1847" y="2764"/>
                    </a:lnTo>
                    <a:lnTo>
                      <a:pt x="1807" y="2775"/>
                    </a:lnTo>
                    <a:lnTo>
                      <a:pt x="1807" y="2775"/>
                    </a:lnTo>
                    <a:lnTo>
                      <a:pt x="1801" y="2777"/>
                    </a:lnTo>
                    <a:lnTo>
                      <a:pt x="1796" y="2780"/>
                    </a:lnTo>
                    <a:lnTo>
                      <a:pt x="1793" y="2785"/>
                    </a:lnTo>
                    <a:lnTo>
                      <a:pt x="1791" y="2791"/>
                    </a:lnTo>
                    <a:lnTo>
                      <a:pt x="1791" y="2791"/>
                    </a:lnTo>
                    <a:lnTo>
                      <a:pt x="1758" y="3021"/>
                    </a:lnTo>
                    <a:lnTo>
                      <a:pt x="1758" y="3021"/>
                    </a:lnTo>
                    <a:lnTo>
                      <a:pt x="1756" y="3034"/>
                    </a:lnTo>
                    <a:lnTo>
                      <a:pt x="1755" y="3039"/>
                    </a:lnTo>
                    <a:lnTo>
                      <a:pt x="1752" y="3041"/>
                    </a:lnTo>
                    <a:lnTo>
                      <a:pt x="1750" y="3042"/>
                    </a:lnTo>
                    <a:lnTo>
                      <a:pt x="1746" y="3043"/>
                    </a:lnTo>
                    <a:lnTo>
                      <a:pt x="1734" y="3043"/>
                    </a:lnTo>
                    <a:lnTo>
                      <a:pt x="1734" y="3043"/>
                    </a:lnTo>
                    <a:lnTo>
                      <a:pt x="1415" y="3057"/>
                    </a:lnTo>
                    <a:lnTo>
                      <a:pt x="1415" y="3057"/>
                    </a:lnTo>
                    <a:lnTo>
                      <a:pt x="1411" y="3056"/>
                    </a:lnTo>
                    <a:lnTo>
                      <a:pt x="1411" y="3056"/>
                    </a:lnTo>
                    <a:lnTo>
                      <a:pt x="1390" y="2975"/>
                    </a:lnTo>
                    <a:lnTo>
                      <a:pt x="1390" y="2975"/>
                    </a:lnTo>
                    <a:lnTo>
                      <a:pt x="1351" y="2811"/>
                    </a:lnTo>
                    <a:lnTo>
                      <a:pt x="1351" y="2811"/>
                    </a:lnTo>
                    <a:lnTo>
                      <a:pt x="1349" y="2805"/>
                    </a:lnTo>
                    <a:lnTo>
                      <a:pt x="1346" y="2801"/>
                    </a:lnTo>
                    <a:lnTo>
                      <a:pt x="1342" y="2798"/>
                    </a:lnTo>
                    <a:lnTo>
                      <a:pt x="1336" y="2796"/>
                    </a:lnTo>
                    <a:lnTo>
                      <a:pt x="1336" y="2796"/>
                    </a:lnTo>
                    <a:lnTo>
                      <a:pt x="1294" y="2790"/>
                    </a:lnTo>
                    <a:lnTo>
                      <a:pt x="1253" y="2783"/>
                    </a:lnTo>
                    <a:lnTo>
                      <a:pt x="1212" y="2774"/>
                    </a:lnTo>
                    <a:lnTo>
                      <a:pt x="1172" y="2763"/>
                    </a:lnTo>
                    <a:lnTo>
                      <a:pt x="1132" y="2751"/>
                    </a:lnTo>
                    <a:lnTo>
                      <a:pt x="1092" y="2738"/>
                    </a:lnTo>
                    <a:lnTo>
                      <a:pt x="1054" y="2723"/>
                    </a:lnTo>
                    <a:lnTo>
                      <a:pt x="1015" y="2708"/>
                    </a:lnTo>
                    <a:lnTo>
                      <a:pt x="1015" y="2708"/>
                    </a:lnTo>
                    <a:lnTo>
                      <a:pt x="1009" y="2707"/>
                    </a:lnTo>
                    <a:lnTo>
                      <a:pt x="1004" y="2707"/>
                    </a:lnTo>
                    <a:lnTo>
                      <a:pt x="1000" y="2709"/>
                    </a:lnTo>
                    <a:lnTo>
                      <a:pt x="996" y="2713"/>
                    </a:lnTo>
                    <a:lnTo>
                      <a:pt x="996" y="2713"/>
                    </a:lnTo>
                    <a:lnTo>
                      <a:pt x="828" y="2884"/>
                    </a:lnTo>
                    <a:lnTo>
                      <a:pt x="828" y="2884"/>
                    </a:lnTo>
                    <a:lnTo>
                      <a:pt x="819" y="2894"/>
                    </a:lnTo>
                    <a:lnTo>
                      <a:pt x="819" y="2894"/>
                    </a:lnTo>
                    <a:close/>
                  </a:path>
                </a:pathLst>
              </a:custGeom>
              <a:grp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sp>
            <p:nvSpPr>
              <p:cNvPr id="1954" name="Freeform 26"/>
              <p:cNvSpPr>
                <a:spLocks/>
              </p:cNvSpPr>
              <p:nvPr/>
            </p:nvSpPr>
            <p:spPr bwMode="auto">
              <a:xfrm>
                <a:off x="10263188" y="-4344988"/>
                <a:ext cx="1300163" cy="1050925"/>
              </a:xfrm>
              <a:custGeom>
                <a:avLst/>
                <a:gdLst>
                  <a:gd name="T0" fmla="*/ 49 w 819"/>
                  <a:gd name="T1" fmla="*/ 662 h 662"/>
                  <a:gd name="T2" fmla="*/ 0 w 819"/>
                  <a:gd name="T3" fmla="*/ 600 h 662"/>
                  <a:gd name="T4" fmla="*/ 86 w 819"/>
                  <a:gd name="T5" fmla="*/ 533 h 662"/>
                  <a:gd name="T6" fmla="*/ 74 w 819"/>
                  <a:gd name="T7" fmla="*/ 501 h 662"/>
                  <a:gd name="T8" fmla="*/ 67 w 819"/>
                  <a:gd name="T9" fmla="*/ 469 h 662"/>
                  <a:gd name="T10" fmla="*/ 68 w 819"/>
                  <a:gd name="T11" fmla="*/ 438 h 662"/>
                  <a:gd name="T12" fmla="*/ 76 w 819"/>
                  <a:gd name="T13" fmla="*/ 406 h 662"/>
                  <a:gd name="T14" fmla="*/ 81 w 819"/>
                  <a:gd name="T15" fmla="*/ 394 h 662"/>
                  <a:gd name="T16" fmla="*/ 92 w 819"/>
                  <a:gd name="T17" fmla="*/ 372 h 662"/>
                  <a:gd name="T18" fmla="*/ 106 w 819"/>
                  <a:gd name="T19" fmla="*/ 353 h 662"/>
                  <a:gd name="T20" fmla="*/ 124 w 819"/>
                  <a:gd name="T21" fmla="*/ 335 h 662"/>
                  <a:gd name="T22" fmla="*/ 134 w 819"/>
                  <a:gd name="T23" fmla="*/ 327 h 662"/>
                  <a:gd name="T24" fmla="*/ 153 w 819"/>
                  <a:gd name="T25" fmla="*/ 316 h 662"/>
                  <a:gd name="T26" fmla="*/ 175 w 819"/>
                  <a:gd name="T27" fmla="*/ 306 h 662"/>
                  <a:gd name="T28" fmla="*/ 199 w 819"/>
                  <a:gd name="T29" fmla="*/ 300 h 662"/>
                  <a:gd name="T30" fmla="*/ 225 w 819"/>
                  <a:gd name="T31" fmla="*/ 296 h 662"/>
                  <a:gd name="T32" fmla="*/ 253 w 819"/>
                  <a:gd name="T33" fmla="*/ 299 h 662"/>
                  <a:gd name="T34" fmla="*/ 281 w 819"/>
                  <a:gd name="T35" fmla="*/ 306 h 662"/>
                  <a:gd name="T36" fmla="*/ 309 w 819"/>
                  <a:gd name="T37" fmla="*/ 319 h 662"/>
                  <a:gd name="T38" fmla="*/ 338 w 819"/>
                  <a:gd name="T39" fmla="*/ 338 h 662"/>
                  <a:gd name="T40" fmla="*/ 800 w 819"/>
                  <a:gd name="T41" fmla="*/ 0 h 662"/>
                  <a:gd name="T42" fmla="*/ 819 w 819"/>
                  <a:gd name="T43" fmla="*/ 22 h 662"/>
                  <a:gd name="T44" fmla="*/ 685 w 819"/>
                  <a:gd name="T45" fmla="*/ 140 h 662"/>
                  <a:gd name="T46" fmla="*/ 393 w 819"/>
                  <a:gd name="T47" fmla="*/ 398 h 662"/>
                  <a:gd name="T48" fmla="*/ 388 w 819"/>
                  <a:gd name="T49" fmla="*/ 403 h 662"/>
                  <a:gd name="T50" fmla="*/ 384 w 819"/>
                  <a:gd name="T51" fmla="*/ 415 h 662"/>
                  <a:gd name="T52" fmla="*/ 385 w 819"/>
                  <a:gd name="T53" fmla="*/ 422 h 662"/>
                  <a:gd name="T54" fmla="*/ 388 w 819"/>
                  <a:gd name="T55" fmla="*/ 447 h 662"/>
                  <a:gd name="T56" fmla="*/ 389 w 819"/>
                  <a:gd name="T57" fmla="*/ 470 h 662"/>
                  <a:gd name="T58" fmla="*/ 386 w 819"/>
                  <a:gd name="T59" fmla="*/ 493 h 662"/>
                  <a:gd name="T60" fmla="*/ 379 w 819"/>
                  <a:gd name="T61" fmla="*/ 513 h 662"/>
                  <a:gd name="T62" fmla="*/ 370 w 819"/>
                  <a:gd name="T63" fmla="*/ 534 h 662"/>
                  <a:gd name="T64" fmla="*/ 359 w 819"/>
                  <a:gd name="T65" fmla="*/ 552 h 662"/>
                  <a:gd name="T66" fmla="*/ 344 w 819"/>
                  <a:gd name="T67" fmla="*/ 570 h 662"/>
                  <a:gd name="T68" fmla="*/ 324 w 819"/>
                  <a:gd name="T69" fmla="*/ 586 h 662"/>
                  <a:gd name="T70" fmla="*/ 314 w 819"/>
                  <a:gd name="T71" fmla="*/ 593 h 662"/>
                  <a:gd name="T72" fmla="*/ 294 w 819"/>
                  <a:gd name="T73" fmla="*/ 604 h 662"/>
                  <a:gd name="T74" fmla="*/ 272 w 819"/>
                  <a:gd name="T75" fmla="*/ 613 h 662"/>
                  <a:gd name="T76" fmla="*/ 251 w 819"/>
                  <a:gd name="T77" fmla="*/ 618 h 662"/>
                  <a:gd name="T78" fmla="*/ 229 w 819"/>
                  <a:gd name="T79" fmla="*/ 620 h 662"/>
                  <a:gd name="T80" fmla="*/ 207 w 819"/>
                  <a:gd name="T81" fmla="*/ 618 h 662"/>
                  <a:gd name="T82" fmla="*/ 184 w 819"/>
                  <a:gd name="T83" fmla="*/ 612 h 662"/>
                  <a:gd name="T84" fmla="*/ 162 w 819"/>
                  <a:gd name="T85" fmla="*/ 603 h 662"/>
                  <a:gd name="T86" fmla="*/ 150 w 819"/>
                  <a:gd name="T87" fmla="*/ 597 h 662"/>
                  <a:gd name="T88" fmla="*/ 139 w 819"/>
                  <a:gd name="T89" fmla="*/ 594 h 662"/>
                  <a:gd name="T90" fmla="*/ 133 w 819"/>
                  <a:gd name="T91" fmla="*/ 594 h 662"/>
                  <a:gd name="T92" fmla="*/ 124 w 819"/>
                  <a:gd name="T93" fmla="*/ 600 h 662"/>
                  <a:gd name="T94" fmla="*/ 87 w 819"/>
                  <a:gd name="T95" fmla="*/ 631 h 662"/>
                  <a:gd name="T96" fmla="*/ 49 w 819"/>
                  <a:gd name="T97"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9" h="662">
                    <a:moveTo>
                      <a:pt x="49" y="662"/>
                    </a:moveTo>
                    <a:lnTo>
                      <a:pt x="49" y="662"/>
                    </a:lnTo>
                    <a:lnTo>
                      <a:pt x="0" y="600"/>
                    </a:lnTo>
                    <a:lnTo>
                      <a:pt x="0" y="600"/>
                    </a:lnTo>
                    <a:lnTo>
                      <a:pt x="86" y="533"/>
                    </a:lnTo>
                    <a:lnTo>
                      <a:pt x="86" y="533"/>
                    </a:lnTo>
                    <a:lnTo>
                      <a:pt x="79" y="517"/>
                    </a:lnTo>
                    <a:lnTo>
                      <a:pt x="74" y="501"/>
                    </a:lnTo>
                    <a:lnTo>
                      <a:pt x="69" y="486"/>
                    </a:lnTo>
                    <a:lnTo>
                      <a:pt x="67" y="469"/>
                    </a:lnTo>
                    <a:lnTo>
                      <a:pt x="67" y="454"/>
                    </a:lnTo>
                    <a:lnTo>
                      <a:pt x="68" y="438"/>
                    </a:lnTo>
                    <a:lnTo>
                      <a:pt x="71" y="422"/>
                    </a:lnTo>
                    <a:lnTo>
                      <a:pt x="76" y="406"/>
                    </a:lnTo>
                    <a:lnTo>
                      <a:pt x="76" y="406"/>
                    </a:lnTo>
                    <a:lnTo>
                      <a:pt x="81" y="394"/>
                    </a:lnTo>
                    <a:lnTo>
                      <a:pt x="86" y="382"/>
                    </a:lnTo>
                    <a:lnTo>
                      <a:pt x="92" y="372"/>
                    </a:lnTo>
                    <a:lnTo>
                      <a:pt x="99" y="362"/>
                    </a:lnTo>
                    <a:lnTo>
                      <a:pt x="106" y="353"/>
                    </a:lnTo>
                    <a:lnTo>
                      <a:pt x="114" y="344"/>
                    </a:lnTo>
                    <a:lnTo>
                      <a:pt x="124" y="335"/>
                    </a:lnTo>
                    <a:lnTo>
                      <a:pt x="134" y="327"/>
                    </a:lnTo>
                    <a:lnTo>
                      <a:pt x="134" y="327"/>
                    </a:lnTo>
                    <a:lnTo>
                      <a:pt x="143" y="321"/>
                    </a:lnTo>
                    <a:lnTo>
                      <a:pt x="153" y="316"/>
                    </a:lnTo>
                    <a:lnTo>
                      <a:pt x="164" y="311"/>
                    </a:lnTo>
                    <a:lnTo>
                      <a:pt x="175" y="306"/>
                    </a:lnTo>
                    <a:lnTo>
                      <a:pt x="187" y="303"/>
                    </a:lnTo>
                    <a:lnTo>
                      <a:pt x="199" y="300"/>
                    </a:lnTo>
                    <a:lnTo>
                      <a:pt x="213" y="297"/>
                    </a:lnTo>
                    <a:lnTo>
                      <a:pt x="225" y="296"/>
                    </a:lnTo>
                    <a:lnTo>
                      <a:pt x="239" y="297"/>
                    </a:lnTo>
                    <a:lnTo>
                      <a:pt x="253" y="299"/>
                    </a:lnTo>
                    <a:lnTo>
                      <a:pt x="267" y="302"/>
                    </a:lnTo>
                    <a:lnTo>
                      <a:pt x="281" y="306"/>
                    </a:lnTo>
                    <a:lnTo>
                      <a:pt x="295" y="312"/>
                    </a:lnTo>
                    <a:lnTo>
                      <a:pt x="309" y="319"/>
                    </a:lnTo>
                    <a:lnTo>
                      <a:pt x="323" y="328"/>
                    </a:lnTo>
                    <a:lnTo>
                      <a:pt x="338" y="338"/>
                    </a:lnTo>
                    <a:lnTo>
                      <a:pt x="338" y="338"/>
                    </a:lnTo>
                    <a:lnTo>
                      <a:pt x="800" y="0"/>
                    </a:lnTo>
                    <a:lnTo>
                      <a:pt x="800" y="0"/>
                    </a:lnTo>
                    <a:lnTo>
                      <a:pt x="819" y="22"/>
                    </a:lnTo>
                    <a:lnTo>
                      <a:pt x="819" y="22"/>
                    </a:lnTo>
                    <a:lnTo>
                      <a:pt x="685" y="140"/>
                    </a:lnTo>
                    <a:lnTo>
                      <a:pt x="685" y="140"/>
                    </a:lnTo>
                    <a:lnTo>
                      <a:pt x="393" y="398"/>
                    </a:lnTo>
                    <a:lnTo>
                      <a:pt x="393" y="398"/>
                    </a:lnTo>
                    <a:lnTo>
                      <a:pt x="388" y="403"/>
                    </a:lnTo>
                    <a:lnTo>
                      <a:pt x="385" y="408"/>
                    </a:lnTo>
                    <a:lnTo>
                      <a:pt x="384" y="415"/>
                    </a:lnTo>
                    <a:lnTo>
                      <a:pt x="385" y="422"/>
                    </a:lnTo>
                    <a:lnTo>
                      <a:pt x="385" y="422"/>
                    </a:lnTo>
                    <a:lnTo>
                      <a:pt x="387" y="435"/>
                    </a:lnTo>
                    <a:lnTo>
                      <a:pt x="388" y="447"/>
                    </a:lnTo>
                    <a:lnTo>
                      <a:pt x="389" y="459"/>
                    </a:lnTo>
                    <a:lnTo>
                      <a:pt x="389" y="470"/>
                    </a:lnTo>
                    <a:lnTo>
                      <a:pt x="388" y="482"/>
                    </a:lnTo>
                    <a:lnTo>
                      <a:pt x="386" y="493"/>
                    </a:lnTo>
                    <a:lnTo>
                      <a:pt x="383" y="503"/>
                    </a:lnTo>
                    <a:lnTo>
                      <a:pt x="379" y="513"/>
                    </a:lnTo>
                    <a:lnTo>
                      <a:pt x="375" y="524"/>
                    </a:lnTo>
                    <a:lnTo>
                      <a:pt x="370" y="534"/>
                    </a:lnTo>
                    <a:lnTo>
                      <a:pt x="365" y="543"/>
                    </a:lnTo>
                    <a:lnTo>
                      <a:pt x="359" y="552"/>
                    </a:lnTo>
                    <a:lnTo>
                      <a:pt x="351" y="561"/>
                    </a:lnTo>
                    <a:lnTo>
                      <a:pt x="344" y="570"/>
                    </a:lnTo>
                    <a:lnTo>
                      <a:pt x="334" y="578"/>
                    </a:lnTo>
                    <a:lnTo>
                      <a:pt x="324" y="586"/>
                    </a:lnTo>
                    <a:lnTo>
                      <a:pt x="324" y="586"/>
                    </a:lnTo>
                    <a:lnTo>
                      <a:pt x="314" y="593"/>
                    </a:lnTo>
                    <a:lnTo>
                      <a:pt x="304" y="599"/>
                    </a:lnTo>
                    <a:lnTo>
                      <a:pt x="294" y="604"/>
                    </a:lnTo>
                    <a:lnTo>
                      <a:pt x="283" y="610"/>
                    </a:lnTo>
                    <a:lnTo>
                      <a:pt x="272" y="613"/>
                    </a:lnTo>
                    <a:lnTo>
                      <a:pt x="262" y="616"/>
                    </a:lnTo>
                    <a:lnTo>
                      <a:pt x="251" y="618"/>
                    </a:lnTo>
                    <a:lnTo>
                      <a:pt x="239" y="619"/>
                    </a:lnTo>
                    <a:lnTo>
                      <a:pt x="229" y="620"/>
                    </a:lnTo>
                    <a:lnTo>
                      <a:pt x="218" y="619"/>
                    </a:lnTo>
                    <a:lnTo>
                      <a:pt x="207" y="618"/>
                    </a:lnTo>
                    <a:lnTo>
                      <a:pt x="195" y="615"/>
                    </a:lnTo>
                    <a:lnTo>
                      <a:pt x="184" y="612"/>
                    </a:lnTo>
                    <a:lnTo>
                      <a:pt x="173" y="609"/>
                    </a:lnTo>
                    <a:lnTo>
                      <a:pt x="162" y="603"/>
                    </a:lnTo>
                    <a:lnTo>
                      <a:pt x="150" y="597"/>
                    </a:lnTo>
                    <a:lnTo>
                      <a:pt x="150" y="597"/>
                    </a:lnTo>
                    <a:lnTo>
                      <a:pt x="143" y="594"/>
                    </a:lnTo>
                    <a:lnTo>
                      <a:pt x="139" y="594"/>
                    </a:lnTo>
                    <a:lnTo>
                      <a:pt x="136" y="594"/>
                    </a:lnTo>
                    <a:lnTo>
                      <a:pt x="133" y="594"/>
                    </a:lnTo>
                    <a:lnTo>
                      <a:pt x="130" y="596"/>
                    </a:lnTo>
                    <a:lnTo>
                      <a:pt x="124" y="600"/>
                    </a:lnTo>
                    <a:lnTo>
                      <a:pt x="124" y="600"/>
                    </a:lnTo>
                    <a:lnTo>
                      <a:pt x="87" y="631"/>
                    </a:lnTo>
                    <a:lnTo>
                      <a:pt x="49" y="662"/>
                    </a:lnTo>
                    <a:lnTo>
                      <a:pt x="49" y="662"/>
                    </a:lnTo>
                    <a:close/>
                  </a:path>
                </a:pathLst>
              </a:custGeom>
              <a:grp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sp>
            <p:nvSpPr>
              <p:cNvPr id="1955" name="Freeform 27"/>
              <p:cNvSpPr>
                <a:spLocks/>
              </p:cNvSpPr>
              <p:nvPr/>
            </p:nvSpPr>
            <p:spPr bwMode="auto">
              <a:xfrm>
                <a:off x="11436350" y="-5548313"/>
                <a:ext cx="452438" cy="546100"/>
              </a:xfrm>
              <a:custGeom>
                <a:avLst/>
                <a:gdLst>
                  <a:gd name="T0" fmla="*/ 0 w 285"/>
                  <a:gd name="T1" fmla="*/ 279 h 344"/>
                  <a:gd name="T2" fmla="*/ 0 w 285"/>
                  <a:gd name="T3" fmla="*/ 279 h 344"/>
                  <a:gd name="T4" fmla="*/ 6 w 285"/>
                  <a:gd name="T5" fmla="*/ 267 h 344"/>
                  <a:gd name="T6" fmla="*/ 9 w 285"/>
                  <a:gd name="T7" fmla="*/ 261 h 344"/>
                  <a:gd name="T8" fmla="*/ 12 w 285"/>
                  <a:gd name="T9" fmla="*/ 254 h 344"/>
                  <a:gd name="T10" fmla="*/ 12 w 285"/>
                  <a:gd name="T11" fmla="*/ 254 h 344"/>
                  <a:gd name="T12" fmla="*/ 182 w 285"/>
                  <a:gd name="T13" fmla="*/ 22 h 344"/>
                  <a:gd name="T14" fmla="*/ 182 w 285"/>
                  <a:gd name="T15" fmla="*/ 22 h 344"/>
                  <a:gd name="T16" fmla="*/ 190 w 285"/>
                  <a:gd name="T17" fmla="*/ 13 h 344"/>
                  <a:gd name="T18" fmla="*/ 198 w 285"/>
                  <a:gd name="T19" fmla="*/ 7 h 344"/>
                  <a:gd name="T20" fmla="*/ 207 w 285"/>
                  <a:gd name="T21" fmla="*/ 3 h 344"/>
                  <a:gd name="T22" fmla="*/ 218 w 285"/>
                  <a:gd name="T23" fmla="*/ 0 h 344"/>
                  <a:gd name="T24" fmla="*/ 227 w 285"/>
                  <a:gd name="T25" fmla="*/ 0 h 344"/>
                  <a:gd name="T26" fmla="*/ 238 w 285"/>
                  <a:gd name="T27" fmla="*/ 2 h 344"/>
                  <a:gd name="T28" fmla="*/ 248 w 285"/>
                  <a:gd name="T29" fmla="*/ 7 h 344"/>
                  <a:gd name="T30" fmla="*/ 259 w 285"/>
                  <a:gd name="T31" fmla="*/ 13 h 344"/>
                  <a:gd name="T32" fmla="*/ 259 w 285"/>
                  <a:gd name="T33" fmla="*/ 13 h 344"/>
                  <a:gd name="T34" fmla="*/ 269 w 285"/>
                  <a:gd name="T35" fmla="*/ 21 h 344"/>
                  <a:gd name="T36" fmla="*/ 276 w 285"/>
                  <a:gd name="T37" fmla="*/ 30 h 344"/>
                  <a:gd name="T38" fmla="*/ 281 w 285"/>
                  <a:gd name="T39" fmla="*/ 40 h 344"/>
                  <a:gd name="T40" fmla="*/ 284 w 285"/>
                  <a:gd name="T41" fmla="*/ 49 h 344"/>
                  <a:gd name="T42" fmla="*/ 285 w 285"/>
                  <a:gd name="T43" fmla="*/ 59 h 344"/>
                  <a:gd name="T44" fmla="*/ 284 w 285"/>
                  <a:gd name="T45" fmla="*/ 69 h 344"/>
                  <a:gd name="T46" fmla="*/ 280 w 285"/>
                  <a:gd name="T47" fmla="*/ 79 h 344"/>
                  <a:gd name="T48" fmla="*/ 274 w 285"/>
                  <a:gd name="T49" fmla="*/ 90 h 344"/>
                  <a:gd name="T50" fmla="*/ 274 w 285"/>
                  <a:gd name="T51" fmla="*/ 90 h 344"/>
                  <a:gd name="T52" fmla="*/ 104 w 285"/>
                  <a:gd name="T53" fmla="*/ 322 h 344"/>
                  <a:gd name="T54" fmla="*/ 104 w 285"/>
                  <a:gd name="T55" fmla="*/ 322 h 344"/>
                  <a:gd name="T56" fmla="*/ 98 w 285"/>
                  <a:gd name="T57" fmla="*/ 329 h 344"/>
                  <a:gd name="T58" fmla="*/ 91 w 285"/>
                  <a:gd name="T59" fmla="*/ 335 h 344"/>
                  <a:gd name="T60" fmla="*/ 84 w 285"/>
                  <a:gd name="T61" fmla="*/ 339 h 344"/>
                  <a:gd name="T62" fmla="*/ 76 w 285"/>
                  <a:gd name="T63" fmla="*/ 342 h 344"/>
                  <a:gd name="T64" fmla="*/ 68 w 285"/>
                  <a:gd name="T65" fmla="*/ 344 h 344"/>
                  <a:gd name="T66" fmla="*/ 60 w 285"/>
                  <a:gd name="T67" fmla="*/ 344 h 344"/>
                  <a:gd name="T68" fmla="*/ 52 w 285"/>
                  <a:gd name="T69" fmla="*/ 343 h 344"/>
                  <a:gd name="T70" fmla="*/ 44 w 285"/>
                  <a:gd name="T71" fmla="*/ 340 h 344"/>
                  <a:gd name="T72" fmla="*/ 44 w 285"/>
                  <a:gd name="T73" fmla="*/ 340 h 344"/>
                  <a:gd name="T74" fmla="*/ 33 w 285"/>
                  <a:gd name="T75" fmla="*/ 335 h 344"/>
                  <a:gd name="T76" fmla="*/ 24 w 285"/>
                  <a:gd name="T77" fmla="*/ 330 h 344"/>
                  <a:gd name="T78" fmla="*/ 17 w 285"/>
                  <a:gd name="T79" fmla="*/ 323 h 344"/>
                  <a:gd name="T80" fmla="*/ 10 w 285"/>
                  <a:gd name="T81" fmla="*/ 316 h 344"/>
                  <a:gd name="T82" fmla="*/ 6 w 285"/>
                  <a:gd name="T83" fmla="*/ 308 h 344"/>
                  <a:gd name="T84" fmla="*/ 2 w 285"/>
                  <a:gd name="T85" fmla="*/ 298 h 344"/>
                  <a:gd name="T86" fmla="*/ 1 w 285"/>
                  <a:gd name="T87" fmla="*/ 289 h 344"/>
                  <a:gd name="T88" fmla="*/ 0 w 285"/>
                  <a:gd name="T89" fmla="*/ 279 h 344"/>
                  <a:gd name="T90" fmla="*/ 0 w 285"/>
                  <a:gd name="T91" fmla="*/ 27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5" h="344">
                    <a:moveTo>
                      <a:pt x="0" y="279"/>
                    </a:moveTo>
                    <a:lnTo>
                      <a:pt x="0" y="279"/>
                    </a:lnTo>
                    <a:lnTo>
                      <a:pt x="6" y="267"/>
                    </a:lnTo>
                    <a:lnTo>
                      <a:pt x="9" y="261"/>
                    </a:lnTo>
                    <a:lnTo>
                      <a:pt x="12" y="254"/>
                    </a:lnTo>
                    <a:lnTo>
                      <a:pt x="12" y="254"/>
                    </a:lnTo>
                    <a:lnTo>
                      <a:pt x="182" y="22"/>
                    </a:lnTo>
                    <a:lnTo>
                      <a:pt x="182" y="22"/>
                    </a:lnTo>
                    <a:lnTo>
                      <a:pt x="190" y="13"/>
                    </a:lnTo>
                    <a:lnTo>
                      <a:pt x="198" y="7"/>
                    </a:lnTo>
                    <a:lnTo>
                      <a:pt x="207" y="3"/>
                    </a:lnTo>
                    <a:lnTo>
                      <a:pt x="218" y="0"/>
                    </a:lnTo>
                    <a:lnTo>
                      <a:pt x="227" y="0"/>
                    </a:lnTo>
                    <a:lnTo>
                      <a:pt x="238" y="2"/>
                    </a:lnTo>
                    <a:lnTo>
                      <a:pt x="248" y="7"/>
                    </a:lnTo>
                    <a:lnTo>
                      <a:pt x="259" y="13"/>
                    </a:lnTo>
                    <a:lnTo>
                      <a:pt x="259" y="13"/>
                    </a:lnTo>
                    <a:lnTo>
                      <a:pt x="269" y="21"/>
                    </a:lnTo>
                    <a:lnTo>
                      <a:pt x="276" y="30"/>
                    </a:lnTo>
                    <a:lnTo>
                      <a:pt x="281" y="40"/>
                    </a:lnTo>
                    <a:lnTo>
                      <a:pt x="284" y="49"/>
                    </a:lnTo>
                    <a:lnTo>
                      <a:pt x="285" y="59"/>
                    </a:lnTo>
                    <a:lnTo>
                      <a:pt x="284" y="69"/>
                    </a:lnTo>
                    <a:lnTo>
                      <a:pt x="280" y="79"/>
                    </a:lnTo>
                    <a:lnTo>
                      <a:pt x="274" y="90"/>
                    </a:lnTo>
                    <a:lnTo>
                      <a:pt x="274" y="90"/>
                    </a:lnTo>
                    <a:lnTo>
                      <a:pt x="104" y="322"/>
                    </a:lnTo>
                    <a:lnTo>
                      <a:pt x="104" y="322"/>
                    </a:lnTo>
                    <a:lnTo>
                      <a:pt x="98" y="329"/>
                    </a:lnTo>
                    <a:lnTo>
                      <a:pt x="91" y="335"/>
                    </a:lnTo>
                    <a:lnTo>
                      <a:pt x="84" y="339"/>
                    </a:lnTo>
                    <a:lnTo>
                      <a:pt x="76" y="342"/>
                    </a:lnTo>
                    <a:lnTo>
                      <a:pt x="68" y="344"/>
                    </a:lnTo>
                    <a:lnTo>
                      <a:pt x="60" y="344"/>
                    </a:lnTo>
                    <a:lnTo>
                      <a:pt x="52" y="343"/>
                    </a:lnTo>
                    <a:lnTo>
                      <a:pt x="44" y="340"/>
                    </a:lnTo>
                    <a:lnTo>
                      <a:pt x="44" y="340"/>
                    </a:lnTo>
                    <a:lnTo>
                      <a:pt x="33" y="335"/>
                    </a:lnTo>
                    <a:lnTo>
                      <a:pt x="24" y="330"/>
                    </a:lnTo>
                    <a:lnTo>
                      <a:pt x="17" y="323"/>
                    </a:lnTo>
                    <a:lnTo>
                      <a:pt x="10" y="316"/>
                    </a:lnTo>
                    <a:lnTo>
                      <a:pt x="6" y="308"/>
                    </a:lnTo>
                    <a:lnTo>
                      <a:pt x="2" y="298"/>
                    </a:lnTo>
                    <a:lnTo>
                      <a:pt x="1" y="289"/>
                    </a:lnTo>
                    <a:lnTo>
                      <a:pt x="0" y="279"/>
                    </a:lnTo>
                    <a:lnTo>
                      <a:pt x="0" y="279"/>
                    </a:lnTo>
                    <a:close/>
                  </a:path>
                </a:pathLst>
              </a:custGeom>
              <a:grp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sp>
            <p:nvSpPr>
              <p:cNvPr id="1956" name="Freeform 28"/>
              <p:cNvSpPr>
                <a:spLocks/>
              </p:cNvSpPr>
              <p:nvPr/>
            </p:nvSpPr>
            <p:spPr bwMode="auto">
              <a:xfrm>
                <a:off x="12091988" y="-3597275"/>
                <a:ext cx="623888" cy="230188"/>
              </a:xfrm>
              <a:custGeom>
                <a:avLst/>
                <a:gdLst>
                  <a:gd name="T0" fmla="*/ 190 w 393"/>
                  <a:gd name="T1" fmla="*/ 130 h 145"/>
                  <a:gd name="T2" fmla="*/ 190 w 393"/>
                  <a:gd name="T3" fmla="*/ 130 h 145"/>
                  <a:gd name="T4" fmla="*/ 51 w 393"/>
                  <a:gd name="T5" fmla="*/ 115 h 145"/>
                  <a:gd name="T6" fmla="*/ 51 w 393"/>
                  <a:gd name="T7" fmla="*/ 115 h 145"/>
                  <a:gd name="T8" fmla="*/ 43 w 393"/>
                  <a:gd name="T9" fmla="*/ 114 h 145"/>
                  <a:gd name="T10" fmla="*/ 35 w 393"/>
                  <a:gd name="T11" fmla="*/ 112 h 145"/>
                  <a:gd name="T12" fmla="*/ 29 w 393"/>
                  <a:gd name="T13" fmla="*/ 109 h 145"/>
                  <a:gd name="T14" fmla="*/ 22 w 393"/>
                  <a:gd name="T15" fmla="*/ 106 h 145"/>
                  <a:gd name="T16" fmla="*/ 16 w 393"/>
                  <a:gd name="T17" fmla="*/ 101 h 145"/>
                  <a:gd name="T18" fmla="*/ 11 w 393"/>
                  <a:gd name="T19" fmla="*/ 96 h 145"/>
                  <a:gd name="T20" fmla="*/ 7 w 393"/>
                  <a:gd name="T21" fmla="*/ 89 h 145"/>
                  <a:gd name="T22" fmla="*/ 4 w 393"/>
                  <a:gd name="T23" fmla="*/ 81 h 145"/>
                  <a:gd name="T24" fmla="*/ 4 w 393"/>
                  <a:gd name="T25" fmla="*/ 81 h 145"/>
                  <a:gd name="T26" fmla="*/ 2 w 393"/>
                  <a:gd name="T27" fmla="*/ 73 h 145"/>
                  <a:gd name="T28" fmla="*/ 1 w 393"/>
                  <a:gd name="T29" fmla="*/ 64 h 145"/>
                  <a:gd name="T30" fmla="*/ 0 w 393"/>
                  <a:gd name="T31" fmla="*/ 56 h 145"/>
                  <a:gd name="T32" fmla="*/ 1 w 393"/>
                  <a:gd name="T33" fmla="*/ 47 h 145"/>
                  <a:gd name="T34" fmla="*/ 3 w 393"/>
                  <a:gd name="T35" fmla="*/ 39 h 145"/>
                  <a:gd name="T36" fmla="*/ 6 w 393"/>
                  <a:gd name="T37" fmla="*/ 31 h 145"/>
                  <a:gd name="T38" fmla="*/ 10 w 393"/>
                  <a:gd name="T39" fmla="*/ 24 h 145"/>
                  <a:gd name="T40" fmla="*/ 16 w 393"/>
                  <a:gd name="T41" fmla="*/ 17 h 145"/>
                  <a:gd name="T42" fmla="*/ 16 w 393"/>
                  <a:gd name="T43" fmla="*/ 17 h 145"/>
                  <a:gd name="T44" fmla="*/ 21 w 393"/>
                  <a:gd name="T45" fmla="*/ 13 h 145"/>
                  <a:gd name="T46" fmla="*/ 25 w 393"/>
                  <a:gd name="T47" fmla="*/ 9 h 145"/>
                  <a:gd name="T48" fmla="*/ 30 w 393"/>
                  <a:gd name="T49" fmla="*/ 6 h 145"/>
                  <a:gd name="T50" fmla="*/ 35 w 393"/>
                  <a:gd name="T51" fmla="*/ 3 h 145"/>
                  <a:gd name="T52" fmla="*/ 40 w 393"/>
                  <a:gd name="T53" fmla="*/ 2 h 145"/>
                  <a:gd name="T54" fmla="*/ 45 w 393"/>
                  <a:gd name="T55" fmla="*/ 1 h 145"/>
                  <a:gd name="T56" fmla="*/ 51 w 393"/>
                  <a:gd name="T57" fmla="*/ 0 h 145"/>
                  <a:gd name="T58" fmla="*/ 56 w 393"/>
                  <a:gd name="T59" fmla="*/ 1 h 145"/>
                  <a:gd name="T60" fmla="*/ 56 w 393"/>
                  <a:gd name="T61" fmla="*/ 1 h 145"/>
                  <a:gd name="T62" fmla="*/ 204 w 393"/>
                  <a:gd name="T63" fmla="*/ 17 h 145"/>
                  <a:gd name="T64" fmla="*/ 351 w 393"/>
                  <a:gd name="T65" fmla="*/ 32 h 145"/>
                  <a:gd name="T66" fmla="*/ 351 w 393"/>
                  <a:gd name="T67" fmla="*/ 32 h 145"/>
                  <a:gd name="T68" fmla="*/ 360 w 393"/>
                  <a:gd name="T69" fmla="*/ 34 h 145"/>
                  <a:gd name="T70" fmla="*/ 368 w 393"/>
                  <a:gd name="T71" fmla="*/ 37 h 145"/>
                  <a:gd name="T72" fmla="*/ 376 w 393"/>
                  <a:gd name="T73" fmla="*/ 42 h 145"/>
                  <a:gd name="T74" fmla="*/ 382 w 393"/>
                  <a:gd name="T75" fmla="*/ 48 h 145"/>
                  <a:gd name="T76" fmla="*/ 387 w 393"/>
                  <a:gd name="T77" fmla="*/ 57 h 145"/>
                  <a:gd name="T78" fmla="*/ 390 w 393"/>
                  <a:gd name="T79" fmla="*/ 65 h 145"/>
                  <a:gd name="T80" fmla="*/ 392 w 393"/>
                  <a:gd name="T81" fmla="*/ 73 h 145"/>
                  <a:gd name="T82" fmla="*/ 393 w 393"/>
                  <a:gd name="T83" fmla="*/ 83 h 145"/>
                  <a:gd name="T84" fmla="*/ 393 w 393"/>
                  <a:gd name="T85" fmla="*/ 83 h 145"/>
                  <a:gd name="T86" fmla="*/ 392 w 393"/>
                  <a:gd name="T87" fmla="*/ 97 h 145"/>
                  <a:gd name="T88" fmla="*/ 389 w 393"/>
                  <a:gd name="T89" fmla="*/ 108 h 145"/>
                  <a:gd name="T90" fmla="*/ 385 w 393"/>
                  <a:gd name="T91" fmla="*/ 118 h 145"/>
                  <a:gd name="T92" fmla="*/ 380 w 393"/>
                  <a:gd name="T93" fmla="*/ 126 h 145"/>
                  <a:gd name="T94" fmla="*/ 374 w 393"/>
                  <a:gd name="T95" fmla="*/ 133 h 145"/>
                  <a:gd name="T96" fmla="*/ 365 w 393"/>
                  <a:gd name="T97" fmla="*/ 139 h 145"/>
                  <a:gd name="T98" fmla="*/ 356 w 393"/>
                  <a:gd name="T99" fmla="*/ 143 h 145"/>
                  <a:gd name="T100" fmla="*/ 345 w 393"/>
                  <a:gd name="T101" fmla="*/ 144 h 145"/>
                  <a:gd name="T102" fmla="*/ 345 w 393"/>
                  <a:gd name="T103" fmla="*/ 144 h 145"/>
                  <a:gd name="T104" fmla="*/ 337 w 393"/>
                  <a:gd name="T105" fmla="*/ 145 h 145"/>
                  <a:gd name="T106" fmla="*/ 329 w 393"/>
                  <a:gd name="T107" fmla="*/ 144 h 145"/>
                  <a:gd name="T108" fmla="*/ 329 w 393"/>
                  <a:gd name="T109" fmla="*/ 144 h 145"/>
                  <a:gd name="T110" fmla="*/ 190 w 393"/>
                  <a:gd name="T111" fmla="*/ 128 h 145"/>
                  <a:gd name="T112" fmla="*/ 190 w 393"/>
                  <a:gd name="T113" fmla="*/ 128 h 145"/>
                  <a:gd name="T114" fmla="*/ 190 w 393"/>
                  <a:gd name="T115" fmla="*/ 130 h 145"/>
                  <a:gd name="T116" fmla="*/ 190 w 393"/>
                  <a:gd name="T117" fmla="*/ 1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3" h="145">
                    <a:moveTo>
                      <a:pt x="190" y="130"/>
                    </a:moveTo>
                    <a:lnTo>
                      <a:pt x="190" y="130"/>
                    </a:lnTo>
                    <a:lnTo>
                      <a:pt x="51" y="115"/>
                    </a:lnTo>
                    <a:lnTo>
                      <a:pt x="51" y="115"/>
                    </a:lnTo>
                    <a:lnTo>
                      <a:pt x="43" y="114"/>
                    </a:lnTo>
                    <a:lnTo>
                      <a:pt x="35" y="112"/>
                    </a:lnTo>
                    <a:lnTo>
                      <a:pt x="29" y="109"/>
                    </a:lnTo>
                    <a:lnTo>
                      <a:pt x="22" y="106"/>
                    </a:lnTo>
                    <a:lnTo>
                      <a:pt x="16" y="101"/>
                    </a:lnTo>
                    <a:lnTo>
                      <a:pt x="11" y="96"/>
                    </a:lnTo>
                    <a:lnTo>
                      <a:pt x="7" y="89"/>
                    </a:lnTo>
                    <a:lnTo>
                      <a:pt x="4" y="81"/>
                    </a:lnTo>
                    <a:lnTo>
                      <a:pt x="4" y="81"/>
                    </a:lnTo>
                    <a:lnTo>
                      <a:pt x="2" y="73"/>
                    </a:lnTo>
                    <a:lnTo>
                      <a:pt x="1" y="64"/>
                    </a:lnTo>
                    <a:lnTo>
                      <a:pt x="0" y="56"/>
                    </a:lnTo>
                    <a:lnTo>
                      <a:pt x="1" y="47"/>
                    </a:lnTo>
                    <a:lnTo>
                      <a:pt x="3" y="39"/>
                    </a:lnTo>
                    <a:lnTo>
                      <a:pt x="6" y="31"/>
                    </a:lnTo>
                    <a:lnTo>
                      <a:pt x="10" y="24"/>
                    </a:lnTo>
                    <a:lnTo>
                      <a:pt x="16" y="17"/>
                    </a:lnTo>
                    <a:lnTo>
                      <a:pt x="16" y="17"/>
                    </a:lnTo>
                    <a:lnTo>
                      <a:pt x="21" y="13"/>
                    </a:lnTo>
                    <a:lnTo>
                      <a:pt x="25" y="9"/>
                    </a:lnTo>
                    <a:lnTo>
                      <a:pt x="30" y="6"/>
                    </a:lnTo>
                    <a:lnTo>
                      <a:pt x="35" y="3"/>
                    </a:lnTo>
                    <a:lnTo>
                      <a:pt x="40" y="2"/>
                    </a:lnTo>
                    <a:lnTo>
                      <a:pt x="45" y="1"/>
                    </a:lnTo>
                    <a:lnTo>
                      <a:pt x="51" y="0"/>
                    </a:lnTo>
                    <a:lnTo>
                      <a:pt x="56" y="1"/>
                    </a:lnTo>
                    <a:lnTo>
                      <a:pt x="56" y="1"/>
                    </a:lnTo>
                    <a:lnTo>
                      <a:pt x="204" y="17"/>
                    </a:lnTo>
                    <a:lnTo>
                      <a:pt x="351" y="32"/>
                    </a:lnTo>
                    <a:lnTo>
                      <a:pt x="351" y="32"/>
                    </a:lnTo>
                    <a:lnTo>
                      <a:pt x="360" y="34"/>
                    </a:lnTo>
                    <a:lnTo>
                      <a:pt x="368" y="37"/>
                    </a:lnTo>
                    <a:lnTo>
                      <a:pt x="376" y="42"/>
                    </a:lnTo>
                    <a:lnTo>
                      <a:pt x="382" y="48"/>
                    </a:lnTo>
                    <a:lnTo>
                      <a:pt x="387" y="57"/>
                    </a:lnTo>
                    <a:lnTo>
                      <a:pt x="390" y="65"/>
                    </a:lnTo>
                    <a:lnTo>
                      <a:pt x="392" y="73"/>
                    </a:lnTo>
                    <a:lnTo>
                      <a:pt x="393" y="83"/>
                    </a:lnTo>
                    <a:lnTo>
                      <a:pt x="393" y="83"/>
                    </a:lnTo>
                    <a:lnTo>
                      <a:pt x="392" y="97"/>
                    </a:lnTo>
                    <a:lnTo>
                      <a:pt x="389" y="108"/>
                    </a:lnTo>
                    <a:lnTo>
                      <a:pt x="385" y="118"/>
                    </a:lnTo>
                    <a:lnTo>
                      <a:pt x="380" y="126"/>
                    </a:lnTo>
                    <a:lnTo>
                      <a:pt x="374" y="133"/>
                    </a:lnTo>
                    <a:lnTo>
                      <a:pt x="365" y="139"/>
                    </a:lnTo>
                    <a:lnTo>
                      <a:pt x="356" y="143"/>
                    </a:lnTo>
                    <a:lnTo>
                      <a:pt x="345" y="144"/>
                    </a:lnTo>
                    <a:lnTo>
                      <a:pt x="345" y="144"/>
                    </a:lnTo>
                    <a:lnTo>
                      <a:pt x="337" y="145"/>
                    </a:lnTo>
                    <a:lnTo>
                      <a:pt x="329" y="144"/>
                    </a:lnTo>
                    <a:lnTo>
                      <a:pt x="329" y="144"/>
                    </a:lnTo>
                    <a:lnTo>
                      <a:pt x="190" y="128"/>
                    </a:lnTo>
                    <a:lnTo>
                      <a:pt x="190" y="128"/>
                    </a:lnTo>
                    <a:lnTo>
                      <a:pt x="190" y="130"/>
                    </a:lnTo>
                    <a:lnTo>
                      <a:pt x="190" y="130"/>
                    </a:lnTo>
                    <a:close/>
                  </a:path>
                </a:pathLst>
              </a:custGeom>
              <a:grp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sp>
            <p:nvSpPr>
              <p:cNvPr id="1957" name="Freeform 29"/>
              <p:cNvSpPr>
                <a:spLocks/>
              </p:cNvSpPr>
              <p:nvPr/>
            </p:nvSpPr>
            <p:spPr bwMode="auto">
              <a:xfrm>
                <a:off x="11976100" y="-4660900"/>
                <a:ext cx="592138" cy="369888"/>
              </a:xfrm>
              <a:custGeom>
                <a:avLst/>
                <a:gdLst>
                  <a:gd name="T0" fmla="*/ 52 w 373"/>
                  <a:gd name="T1" fmla="*/ 233 h 233"/>
                  <a:gd name="T2" fmla="*/ 52 w 373"/>
                  <a:gd name="T3" fmla="*/ 233 h 233"/>
                  <a:gd name="T4" fmla="*/ 42 w 373"/>
                  <a:gd name="T5" fmla="*/ 230 h 233"/>
                  <a:gd name="T6" fmla="*/ 33 w 373"/>
                  <a:gd name="T7" fmla="*/ 226 h 233"/>
                  <a:gd name="T8" fmla="*/ 25 w 373"/>
                  <a:gd name="T9" fmla="*/ 221 h 233"/>
                  <a:gd name="T10" fmla="*/ 19 w 373"/>
                  <a:gd name="T11" fmla="*/ 214 h 233"/>
                  <a:gd name="T12" fmla="*/ 13 w 373"/>
                  <a:gd name="T13" fmla="*/ 207 h 233"/>
                  <a:gd name="T14" fmla="*/ 8 w 373"/>
                  <a:gd name="T15" fmla="*/ 198 h 233"/>
                  <a:gd name="T16" fmla="*/ 3 w 373"/>
                  <a:gd name="T17" fmla="*/ 188 h 233"/>
                  <a:gd name="T18" fmla="*/ 1 w 373"/>
                  <a:gd name="T19" fmla="*/ 176 h 233"/>
                  <a:gd name="T20" fmla="*/ 1 w 373"/>
                  <a:gd name="T21" fmla="*/ 176 h 233"/>
                  <a:gd name="T22" fmla="*/ 0 w 373"/>
                  <a:gd name="T23" fmla="*/ 168 h 233"/>
                  <a:gd name="T24" fmla="*/ 1 w 373"/>
                  <a:gd name="T25" fmla="*/ 160 h 233"/>
                  <a:gd name="T26" fmla="*/ 3 w 373"/>
                  <a:gd name="T27" fmla="*/ 152 h 233"/>
                  <a:gd name="T28" fmla="*/ 7 w 373"/>
                  <a:gd name="T29" fmla="*/ 145 h 233"/>
                  <a:gd name="T30" fmla="*/ 12 w 373"/>
                  <a:gd name="T31" fmla="*/ 137 h 233"/>
                  <a:gd name="T32" fmla="*/ 17 w 373"/>
                  <a:gd name="T33" fmla="*/ 132 h 233"/>
                  <a:gd name="T34" fmla="*/ 24 w 373"/>
                  <a:gd name="T35" fmla="*/ 126 h 233"/>
                  <a:gd name="T36" fmla="*/ 32 w 373"/>
                  <a:gd name="T37" fmla="*/ 122 h 233"/>
                  <a:gd name="T38" fmla="*/ 32 w 373"/>
                  <a:gd name="T39" fmla="*/ 122 h 233"/>
                  <a:gd name="T40" fmla="*/ 296 w 373"/>
                  <a:gd name="T41" fmla="*/ 5 h 233"/>
                  <a:gd name="T42" fmla="*/ 296 w 373"/>
                  <a:gd name="T43" fmla="*/ 5 h 233"/>
                  <a:gd name="T44" fmla="*/ 307 w 373"/>
                  <a:gd name="T45" fmla="*/ 1 h 233"/>
                  <a:gd name="T46" fmla="*/ 318 w 373"/>
                  <a:gd name="T47" fmla="*/ 0 h 233"/>
                  <a:gd name="T48" fmla="*/ 328 w 373"/>
                  <a:gd name="T49" fmla="*/ 1 h 233"/>
                  <a:gd name="T50" fmla="*/ 337 w 373"/>
                  <a:gd name="T51" fmla="*/ 4 h 233"/>
                  <a:gd name="T52" fmla="*/ 346 w 373"/>
                  <a:gd name="T53" fmla="*/ 10 h 233"/>
                  <a:gd name="T54" fmla="*/ 354 w 373"/>
                  <a:gd name="T55" fmla="*/ 17 h 233"/>
                  <a:gd name="T56" fmla="*/ 361 w 373"/>
                  <a:gd name="T57" fmla="*/ 26 h 233"/>
                  <a:gd name="T58" fmla="*/ 367 w 373"/>
                  <a:gd name="T59" fmla="*/ 37 h 233"/>
                  <a:gd name="T60" fmla="*/ 367 w 373"/>
                  <a:gd name="T61" fmla="*/ 37 h 233"/>
                  <a:gd name="T62" fmla="*/ 371 w 373"/>
                  <a:gd name="T63" fmla="*/ 48 h 233"/>
                  <a:gd name="T64" fmla="*/ 373 w 373"/>
                  <a:gd name="T65" fmla="*/ 60 h 233"/>
                  <a:gd name="T66" fmla="*/ 373 w 373"/>
                  <a:gd name="T67" fmla="*/ 70 h 233"/>
                  <a:gd name="T68" fmla="*/ 371 w 373"/>
                  <a:gd name="T69" fmla="*/ 79 h 233"/>
                  <a:gd name="T70" fmla="*/ 367 w 373"/>
                  <a:gd name="T71" fmla="*/ 88 h 233"/>
                  <a:gd name="T72" fmla="*/ 361 w 373"/>
                  <a:gd name="T73" fmla="*/ 96 h 233"/>
                  <a:gd name="T74" fmla="*/ 352 w 373"/>
                  <a:gd name="T75" fmla="*/ 103 h 233"/>
                  <a:gd name="T76" fmla="*/ 342 w 373"/>
                  <a:gd name="T77" fmla="*/ 109 h 233"/>
                  <a:gd name="T78" fmla="*/ 342 w 373"/>
                  <a:gd name="T79" fmla="*/ 109 h 233"/>
                  <a:gd name="T80" fmla="*/ 78 w 373"/>
                  <a:gd name="T81" fmla="*/ 225 h 233"/>
                  <a:gd name="T82" fmla="*/ 78 w 373"/>
                  <a:gd name="T83" fmla="*/ 225 h 233"/>
                  <a:gd name="T84" fmla="*/ 72 w 373"/>
                  <a:gd name="T85" fmla="*/ 228 h 233"/>
                  <a:gd name="T86" fmla="*/ 65 w 373"/>
                  <a:gd name="T87" fmla="*/ 229 h 233"/>
                  <a:gd name="T88" fmla="*/ 52 w 373"/>
                  <a:gd name="T89" fmla="*/ 233 h 233"/>
                  <a:gd name="T90" fmla="*/ 52 w 373"/>
                  <a:gd name="T91"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3" h="233">
                    <a:moveTo>
                      <a:pt x="52" y="233"/>
                    </a:moveTo>
                    <a:lnTo>
                      <a:pt x="52" y="233"/>
                    </a:lnTo>
                    <a:lnTo>
                      <a:pt x="42" y="230"/>
                    </a:lnTo>
                    <a:lnTo>
                      <a:pt x="33" y="226"/>
                    </a:lnTo>
                    <a:lnTo>
                      <a:pt x="25" y="221"/>
                    </a:lnTo>
                    <a:lnTo>
                      <a:pt x="19" y="214"/>
                    </a:lnTo>
                    <a:lnTo>
                      <a:pt x="13" y="207"/>
                    </a:lnTo>
                    <a:lnTo>
                      <a:pt x="8" y="198"/>
                    </a:lnTo>
                    <a:lnTo>
                      <a:pt x="3" y="188"/>
                    </a:lnTo>
                    <a:lnTo>
                      <a:pt x="1" y="176"/>
                    </a:lnTo>
                    <a:lnTo>
                      <a:pt x="1" y="176"/>
                    </a:lnTo>
                    <a:lnTo>
                      <a:pt x="0" y="168"/>
                    </a:lnTo>
                    <a:lnTo>
                      <a:pt x="1" y="160"/>
                    </a:lnTo>
                    <a:lnTo>
                      <a:pt x="3" y="152"/>
                    </a:lnTo>
                    <a:lnTo>
                      <a:pt x="7" y="145"/>
                    </a:lnTo>
                    <a:lnTo>
                      <a:pt x="12" y="137"/>
                    </a:lnTo>
                    <a:lnTo>
                      <a:pt x="17" y="132"/>
                    </a:lnTo>
                    <a:lnTo>
                      <a:pt x="24" y="126"/>
                    </a:lnTo>
                    <a:lnTo>
                      <a:pt x="32" y="122"/>
                    </a:lnTo>
                    <a:lnTo>
                      <a:pt x="32" y="122"/>
                    </a:lnTo>
                    <a:lnTo>
                      <a:pt x="296" y="5"/>
                    </a:lnTo>
                    <a:lnTo>
                      <a:pt x="296" y="5"/>
                    </a:lnTo>
                    <a:lnTo>
                      <a:pt x="307" y="1"/>
                    </a:lnTo>
                    <a:lnTo>
                      <a:pt x="318" y="0"/>
                    </a:lnTo>
                    <a:lnTo>
                      <a:pt x="328" y="1"/>
                    </a:lnTo>
                    <a:lnTo>
                      <a:pt x="337" y="4"/>
                    </a:lnTo>
                    <a:lnTo>
                      <a:pt x="346" y="10"/>
                    </a:lnTo>
                    <a:lnTo>
                      <a:pt x="354" y="17"/>
                    </a:lnTo>
                    <a:lnTo>
                      <a:pt x="361" y="26"/>
                    </a:lnTo>
                    <a:lnTo>
                      <a:pt x="367" y="37"/>
                    </a:lnTo>
                    <a:lnTo>
                      <a:pt x="367" y="37"/>
                    </a:lnTo>
                    <a:lnTo>
                      <a:pt x="371" y="48"/>
                    </a:lnTo>
                    <a:lnTo>
                      <a:pt x="373" y="60"/>
                    </a:lnTo>
                    <a:lnTo>
                      <a:pt x="373" y="70"/>
                    </a:lnTo>
                    <a:lnTo>
                      <a:pt x="371" y="79"/>
                    </a:lnTo>
                    <a:lnTo>
                      <a:pt x="367" y="88"/>
                    </a:lnTo>
                    <a:lnTo>
                      <a:pt x="361" y="96"/>
                    </a:lnTo>
                    <a:lnTo>
                      <a:pt x="352" y="103"/>
                    </a:lnTo>
                    <a:lnTo>
                      <a:pt x="342" y="109"/>
                    </a:lnTo>
                    <a:lnTo>
                      <a:pt x="342" y="109"/>
                    </a:lnTo>
                    <a:lnTo>
                      <a:pt x="78" y="225"/>
                    </a:lnTo>
                    <a:lnTo>
                      <a:pt x="78" y="225"/>
                    </a:lnTo>
                    <a:lnTo>
                      <a:pt x="72" y="228"/>
                    </a:lnTo>
                    <a:lnTo>
                      <a:pt x="65" y="229"/>
                    </a:lnTo>
                    <a:lnTo>
                      <a:pt x="52" y="233"/>
                    </a:lnTo>
                    <a:lnTo>
                      <a:pt x="52" y="233"/>
                    </a:lnTo>
                    <a:close/>
                  </a:path>
                </a:pathLst>
              </a:custGeom>
              <a:grp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grpSp>
      </p:grpSp>
      <p:grpSp>
        <p:nvGrpSpPr>
          <p:cNvPr id="2759" name="Group 2758"/>
          <p:cNvGrpSpPr/>
          <p:nvPr/>
        </p:nvGrpSpPr>
        <p:grpSpPr>
          <a:xfrm>
            <a:off x="6696125" y="4743225"/>
            <a:ext cx="532524" cy="533055"/>
            <a:chOff x="7933572" y="4542064"/>
            <a:chExt cx="1940798" cy="1940798"/>
          </a:xfrm>
        </p:grpSpPr>
        <p:sp>
          <p:nvSpPr>
            <p:cNvPr id="2003" name="Freeform 2002"/>
            <p:cNvSpPr>
              <a:spLocks/>
            </p:cNvSpPr>
            <p:nvPr/>
          </p:nvSpPr>
          <p:spPr bwMode="auto">
            <a:xfrm>
              <a:off x="8090149" y="5615198"/>
              <a:ext cx="393826" cy="659241"/>
            </a:xfrm>
            <a:custGeom>
              <a:avLst/>
              <a:gdLst>
                <a:gd name="connsiteX0" fmla="*/ 245554 w 517805"/>
                <a:gd name="connsiteY0" fmla="*/ 0 h 866775"/>
                <a:gd name="connsiteX1" fmla="*/ 517805 w 517805"/>
                <a:gd name="connsiteY1" fmla="*/ 273223 h 866775"/>
                <a:gd name="connsiteX2" fmla="*/ 517805 w 517805"/>
                <a:gd name="connsiteY2" fmla="*/ 423966 h 866775"/>
                <a:gd name="connsiteX3" fmla="*/ 362904 w 517805"/>
                <a:gd name="connsiteY3" fmla="*/ 668924 h 866775"/>
                <a:gd name="connsiteX4" fmla="*/ 306576 w 517805"/>
                <a:gd name="connsiteY4" fmla="*/ 866775 h 866775"/>
                <a:gd name="connsiteX5" fmla="*/ 259194 w 517805"/>
                <a:gd name="connsiteY5" fmla="*/ 866775 h 866775"/>
                <a:gd name="connsiteX6" fmla="*/ 228136 w 517805"/>
                <a:gd name="connsiteY6" fmla="*/ 843551 h 866775"/>
                <a:gd name="connsiteX7" fmla="*/ 56083 w 517805"/>
                <a:gd name="connsiteY7" fmla="*/ 671498 h 866775"/>
                <a:gd name="connsiteX8" fmla="*/ 0 w 517805"/>
                <a:gd name="connsiteY8" fmla="*/ 596499 h 866775"/>
                <a:gd name="connsiteX9" fmla="*/ 4988 w 517805"/>
                <a:gd name="connsiteY9" fmla="*/ 586487 h 866775"/>
                <a:gd name="connsiteX10" fmla="*/ 24938 w 517805"/>
                <a:gd name="connsiteY10" fmla="*/ 546445 h 866775"/>
                <a:gd name="connsiteX11" fmla="*/ 6162 w 517805"/>
                <a:gd name="connsiteY11" fmla="*/ 423966 h 866775"/>
                <a:gd name="connsiteX12" fmla="*/ 6162 w 517805"/>
                <a:gd name="connsiteY12" fmla="*/ 273223 h 866775"/>
                <a:gd name="connsiteX13" fmla="*/ 245554 w 517805"/>
                <a:gd name="connsiteY13" fmla="*/ 0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805" h="866775">
                  <a:moveTo>
                    <a:pt x="245554" y="0"/>
                  </a:moveTo>
                  <a:cubicBezTo>
                    <a:pt x="395762" y="0"/>
                    <a:pt x="517805" y="122479"/>
                    <a:pt x="517805" y="273223"/>
                  </a:cubicBezTo>
                  <a:cubicBezTo>
                    <a:pt x="517805" y="423966"/>
                    <a:pt x="517805" y="423966"/>
                    <a:pt x="517805" y="423966"/>
                  </a:cubicBezTo>
                  <a:cubicBezTo>
                    <a:pt x="517805" y="532313"/>
                    <a:pt x="456783" y="626528"/>
                    <a:pt x="362904" y="668924"/>
                  </a:cubicBezTo>
                  <a:cubicBezTo>
                    <a:pt x="306576" y="866775"/>
                    <a:pt x="306576" y="866775"/>
                    <a:pt x="306576" y="866775"/>
                  </a:cubicBezTo>
                  <a:lnTo>
                    <a:pt x="259194" y="866775"/>
                  </a:lnTo>
                  <a:lnTo>
                    <a:pt x="228136" y="843551"/>
                  </a:lnTo>
                  <a:cubicBezTo>
                    <a:pt x="165450" y="791818"/>
                    <a:pt x="107816" y="734183"/>
                    <a:pt x="56083" y="671498"/>
                  </a:cubicBezTo>
                  <a:lnTo>
                    <a:pt x="0" y="596499"/>
                  </a:lnTo>
                  <a:lnTo>
                    <a:pt x="4988" y="586487"/>
                  </a:lnTo>
                  <a:cubicBezTo>
                    <a:pt x="24938" y="546445"/>
                    <a:pt x="24938" y="546445"/>
                    <a:pt x="24938" y="546445"/>
                  </a:cubicBezTo>
                  <a:cubicBezTo>
                    <a:pt x="10856" y="508759"/>
                    <a:pt x="6162" y="466363"/>
                    <a:pt x="6162" y="423966"/>
                  </a:cubicBezTo>
                  <a:cubicBezTo>
                    <a:pt x="6162" y="273223"/>
                    <a:pt x="6162" y="273223"/>
                    <a:pt x="6162" y="273223"/>
                  </a:cubicBezTo>
                  <a:cubicBezTo>
                    <a:pt x="6162" y="122479"/>
                    <a:pt x="90653" y="0"/>
                    <a:pt x="245554" y="0"/>
                  </a:cubicBez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noAutofit/>
            </a:bodyPr>
            <a:lstStyle/>
            <a:p>
              <a:pPr defTabSz="913874">
                <a:defRPr/>
              </a:pPr>
              <a:endParaRPr lang="en-US" sz="1765" kern="0" dirty="0">
                <a:solidFill>
                  <a:srgbClr val="505050"/>
                </a:solidFill>
              </a:endParaRPr>
            </a:p>
          </p:txBody>
        </p:sp>
        <p:sp>
          <p:nvSpPr>
            <p:cNvPr id="2004" name="Freeform 9"/>
            <p:cNvSpPr>
              <a:spLocks/>
            </p:cNvSpPr>
            <p:nvPr/>
          </p:nvSpPr>
          <p:spPr bwMode="auto">
            <a:xfrm>
              <a:off x="8288374" y="5181741"/>
              <a:ext cx="1243623" cy="687011"/>
            </a:xfrm>
            <a:custGeom>
              <a:avLst/>
              <a:gdLst>
                <a:gd name="T0" fmla="*/ 348 w 348"/>
                <a:gd name="T1" fmla="*/ 187 h 192"/>
                <a:gd name="T2" fmla="*/ 343 w 348"/>
                <a:gd name="T3" fmla="*/ 192 h 192"/>
                <a:gd name="T4" fmla="*/ 5 w 348"/>
                <a:gd name="T5" fmla="*/ 192 h 192"/>
                <a:gd name="T6" fmla="*/ 0 w 348"/>
                <a:gd name="T7" fmla="*/ 187 h 192"/>
                <a:gd name="T8" fmla="*/ 0 w 348"/>
                <a:gd name="T9" fmla="*/ 5 h 192"/>
                <a:gd name="T10" fmla="*/ 5 w 348"/>
                <a:gd name="T11" fmla="*/ 0 h 192"/>
                <a:gd name="T12" fmla="*/ 343 w 348"/>
                <a:gd name="T13" fmla="*/ 0 h 192"/>
                <a:gd name="T14" fmla="*/ 348 w 348"/>
                <a:gd name="T15" fmla="*/ 5 h 192"/>
                <a:gd name="T16" fmla="*/ 348 w 348"/>
                <a:gd name="T17" fmla="*/ 18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192">
                  <a:moveTo>
                    <a:pt x="348" y="187"/>
                  </a:moveTo>
                  <a:cubicBezTo>
                    <a:pt x="348" y="190"/>
                    <a:pt x="345" y="192"/>
                    <a:pt x="343" y="192"/>
                  </a:cubicBezTo>
                  <a:cubicBezTo>
                    <a:pt x="5" y="192"/>
                    <a:pt x="5" y="192"/>
                    <a:pt x="5" y="192"/>
                  </a:cubicBezTo>
                  <a:cubicBezTo>
                    <a:pt x="2" y="192"/>
                    <a:pt x="0" y="190"/>
                    <a:pt x="0" y="187"/>
                  </a:cubicBezTo>
                  <a:cubicBezTo>
                    <a:pt x="0" y="5"/>
                    <a:pt x="0" y="5"/>
                    <a:pt x="0" y="5"/>
                  </a:cubicBezTo>
                  <a:cubicBezTo>
                    <a:pt x="0" y="2"/>
                    <a:pt x="2" y="0"/>
                    <a:pt x="5" y="0"/>
                  </a:cubicBezTo>
                  <a:cubicBezTo>
                    <a:pt x="343" y="0"/>
                    <a:pt x="343" y="0"/>
                    <a:pt x="343" y="0"/>
                  </a:cubicBezTo>
                  <a:cubicBezTo>
                    <a:pt x="345" y="0"/>
                    <a:pt x="348" y="2"/>
                    <a:pt x="348" y="5"/>
                  </a:cubicBezTo>
                  <a:lnTo>
                    <a:pt x="348" y="1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0" name="Rectangle 12"/>
            <p:cNvSpPr>
              <a:spLocks noChangeArrowheads="1"/>
            </p:cNvSpPr>
            <p:nvPr/>
          </p:nvSpPr>
          <p:spPr bwMode="auto">
            <a:xfrm>
              <a:off x="9070770" y="5178312"/>
              <a:ext cx="466056" cy="693759"/>
            </a:xfrm>
            <a:prstGeom prst="rect">
              <a:avLst/>
            </a:prstGeom>
            <a:solidFill>
              <a:schemeClr val="bg1">
                <a:lumMod val="95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1" name="Rectangle 13"/>
            <p:cNvSpPr>
              <a:spLocks noChangeArrowheads="1"/>
            </p:cNvSpPr>
            <p:nvPr/>
          </p:nvSpPr>
          <p:spPr bwMode="auto">
            <a:xfrm>
              <a:off x="9070765" y="5174496"/>
              <a:ext cx="32094" cy="693759"/>
            </a:xfrm>
            <a:prstGeom prst="rect">
              <a:avLst/>
            </a:prstGeom>
            <a:solidFill>
              <a:schemeClr val="bg1">
                <a:lumMod val="75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5" name="Rectangle 28"/>
            <p:cNvSpPr>
              <a:spLocks noChangeArrowheads="1"/>
            </p:cNvSpPr>
            <p:nvPr/>
          </p:nvSpPr>
          <p:spPr bwMode="auto">
            <a:xfrm>
              <a:off x="9149721" y="5454936"/>
              <a:ext cx="333495" cy="26776"/>
            </a:xfrm>
            <a:prstGeom prst="rect">
              <a:avLst/>
            </a:prstGeom>
            <a:solidFill>
              <a:schemeClr val="tx1">
                <a:lumMod val="60000"/>
                <a:lumOff val="40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7" name="Rectangle 30"/>
            <p:cNvSpPr>
              <a:spLocks noChangeArrowheads="1"/>
            </p:cNvSpPr>
            <p:nvPr/>
          </p:nvSpPr>
          <p:spPr bwMode="auto">
            <a:xfrm>
              <a:off x="9149721" y="5521089"/>
              <a:ext cx="333495" cy="26776"/>
            </a:xfrm>
            <a:prstGeom prst="rect">
              <a:avLst/>
            </a:prstGeom>
            <a:solidFill>
              <a:schemeClr val="tx1">
                <a:lumMod val="60000"/>
                <a:lumOff val="40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8" name="Rectangle 31"/>
            <p:cNvSpPr>
              <a:spLocks noChangeArrowheads="1"/>
            </p:cNvSpPr>
            <p:nvPr/>
          </p:nvSpPr>
          <p:spPr bwMode="auto">
            <a:xfrm>
              <a:off x="9149721" y="5587242"/>
              <a:ext cx="333495" cy="26776"/>
            </a:xfrm>
            <a:prstGeom prst="rect">
              <a:avLst/>
            </a:prstGeom>
            <a:solidFill>
              <a:schemeClr val="tx1">
                <a:lumMod val="60000"/>
                <a:lumOff val="40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59" name="Rectangle 32"/>
            <p:cNvSpPr>
              <a:spLocks noChangeArrowheads="1"/>
            </p:cNvSpPr>
            <p:nvPr/>
          </p:nvSpPr>
          <p:spPr bwMode="auto">
            <a:xfrm>
              <a:off x="9149721" y="5653395"/>
              <a:ext cx="333495" cy="26776"/>
            </a:xfrm>
            <a:prstGeom prst="rect">
              <a:avLst/>
            </a:prstGeom>
            <a:solidFill>
              <a:schemeClr val="tx1">
                <a:lumMod val="60000"/>
                <a:lumOff val="40000"/>
              </a:scheme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62" name="Rectangle 35"/>
            <p:cNvSpPr>
              <a:spLocks noChangeArrowheads="1"/>
            </p:cNvSpPr>
            <p:nvPr/>
          </p:nvSpPr>
          <p:spPr bwMode="auto">
            <a:xfrm>
              <a:off x="9139104" y="5249991"/>
              <a:ext cx="354728" cy="141322"/>
            </a:xfrm>
            <a:prstGeom prst="rect">
              <a:avLst/>
            </a:prstGeom>
            <a:solidFill>
              <a:schemeClr val="accent1"/>
            </a:solidFill>
            <a:ln>
              <a:noFill/>
            </a:ln>
          </p:spPr>
          <p:txBody>
            <a:bodyPr vert="horz" wrap="square" lIns="0" tIns="0" rIns="0" bIns="0" numCol="1" anchor="ctr" anchorCtr="0" compatLnSpc="1">
              <a:prstTxWarp prst="textNoShape">
                <a:avLst/>
              </a:prstTxWarp>
            </a:bodyPr>
            <a:lstStyle/>
            <a:p>
              <a:pPr algn="ctr" defTabSz="913874">
                <a:defRPr/>
              </a:pPr>
              <a:endParaRPr lang="en-US" sz="490" b="1" kern="0" dirty="0">
                <a:solidFill>
                  <a:prstClr val="white"/>
                </a:solidFill>
              </a:endParaRPr>
            </a:p>
          </p:txBody>
        </p:sp>
        <p:sp>
          <p:nvSpPr>
            <p:cNvPr id="2063" name="Rectangle 36"/>
            <p:cNvSpPr>
              <a:spLocks noChangeArrowheads="1"/>
            </p:cNvSpPr>
            <p:nvPr/>
          </p:nvSpPr>
          <p:spPr bwMode="auto">
            <a:xfrm>
              <a:off x="9334475" y="5769337"/>
              <a:ext cx="143724" cy="37374"/>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06" name="Freeform 165"/>
            <p:cNvSpPr>
              <a:spLocks/>
            </p:cNvSpPr>
            <p:nvPr/>
          </p:nvSpPr>
          <p:spPr bwMode="auto">
            <a:xfrm>
              <a:off x="8334256" y="5987078"/>
              <a:ext cx="143682" cy="92971"/>
            </a:xfrm>
            <a:custGeom>
              <a:avLst/>
              <a:gdLst>
                <a:gd name="T0" fmla="*/ 26 w 40"/>
                <a:gd name="T1" fmla="*/ 26 h 26"/>
                <a:gd name="T2" fmla="*/ 0 w 40"/>
                <a:gd name="T3" fmla="*/ 0 h 26"/>
                <a:gd name="T4" fmla="*/ 40 w 40"/>
                <a:gd name="T5" fmla="*/ 0 h 26"/>
                <a:gd name="T6" fmla="*/ 26 w 40"/>
                <a:gd name="T7" fmla="*/ 26 h 26"/>
              </a:gdLst>
              <a:ahLst/>
              <a:cxnLst>
                <a:cxn ang="0">
                  <a:pos x="T0" y="T1"/>
                </a:cxn>
                <a:cxn ang="0">
                  <a:pos x="T2" y="T3"/>
                </a:cxn>
                <a:cxn ang="0">
                  <a:pos x="T4" y="T5"/>
                </a:cxn>
                <a:cxn ang="0">
                  <a:pos x="T6" y="T7"/>
                </a:cxn>
              </a:cxnLst>
              <a:rect l="0" t="0" r="r" b="b"/>
              <a:pathLst>
                <a:path w="40" h="26">
                  <a:moveTo>
                    <a:pt x="26" y="26"/>
                  </a:moveTo>
                  <a:cubicBezTo>
                    <a:pt x="0" y="0"/>
                    <a:pt x="0" y="0"/>
                    <a:pt x="0" y="0"/>
                  </a:cubicBezTo>
                  <a:cubicBezTo>
                    <a:pt x="40" y="0"/>
                    <a:pt x="40" y="0"/>
                    <a:pt x="40" y="0"/>
                  </a:cubicBezTo>
                  <a:cubicBezTo>
                    <a:pt x="38" y="10"/>
                    <a:pt x="33" y="19"/>
                    <a:pt x="26" y="26"/>
                  </a:cubicBez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31" name="Freeform 132"/>
            <p:cNvSpPr>
              <a:spLocks/>
            </p:cNvSpPr>
            <p:nvPr/>
          </p:nvSpPr>
          <p:spPr bwMode="auto">
            <a:xfrm>
              <a:off x="8538391" y="5677416"/>
              <a:ext cx="44330" cy="129295"/>
            </a:xfrm>
            <a:custGeom>
              <a:avLst/>
              <a:gdLst>
                <a:gd name="T0" fmla="*/ 0 w 24"/>
                <a:gd name="T1" fmla="*/ 0 h 70"/>
                <a:gd name="T2" fmla="*/ 0 w 24"/>
                <a:gd name="T3" fmla="*/ 14 h 70"/>
                <a:gd name="T4" fmla="*/ 0 w 24"/>
                <a:gd name="T5" fmla="*/ 70 h 70"/>
                <a:gd name="T6" fmla="*/ 24 w 24"/>
                <a:gd name="T7" fmla="*/ 70 h 70"/>
                <a:gd name="T8" fmla="*/ 24 w 24"/>
                <a:gd name="T9" fmla="*/ 2 h 70"/>
                <a:gd name="T10" fmla="*/ 24 w 24"/>
                <a:gd name="T11" fmla="*/ 0 h 70"/>
                <a:gd name="T12" fmla="*/ 0 w 2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24" h="70">
                  <a:moveTo>
                    <a:pt x="0" y="0"/>
                  </a:moveTo>
                  <a:lnTo>
                    <a:pt x="0" y="14"/>
                  </a:lnTo>
                  <a:lnTo>
                    <a:pt x="0" y="70"/>
                  </a:lnTo>
                  <a:lnTo>
                    <a:pt x="24" y="70"/>
                  </a:lnTo>
                  <a:lnTo>
                    <a:pt x="24" y="2"/>
                  </a:lnTo>
                  <a:lnTo>
                    <a:pt x="24" y="0"/>
                  </a:lnTo>
                  <a:lnTo>
                    <a:pt x="0" y="0"/>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32" name="Freeform 133"/>
            <p:cNvSpPr>
              <a:spLocks/>
            </p:cNvSpPr>
            <p:nvPr/>
          </p:nvSpPr>
          <p:spPr bwMode="auto">
            <a:xfrm>
              <a:off x="8623071" y="5557356"/>
              <a:ext cx="44330" cy="249355"/>
            </a:xfrm>
            <a:custGeom>
              <a:avLst/>
              <a:gdLst>
                <a:gd name="T0" fmla="*/ 0 w 24"/>
                <a:gd name="T1" fmla="*/ 0 h 135"/>
                <a:gd name="T2" fmla="*/ 0 w 24"/>
                <a:gd name="T3" fmla="*/ 67 h 135"/>
                <a:gd name="T4" fmla="*/ 0 w 24"/>
                <a:gd name="T5" fmla="*/ 135 h 135"/>
                <a:gd name="T6" fmla="*/ 24 w 24"/>
                <a:gd name="T7" fmla="*/ 135 h 135"/>
                <a:gd name="T8" fmla="*/ 24 w 24"/>
                <a:gd name="T9" fmla="*/ 56 h 135"/>
                <a:gd name="T10" fmla="*/ 24 w 24"/>
                <a:gd name="T11" fmla="*/ 0 h 135"/>
                <a:gd name="T12" fmla="*/ 0 w 24"/>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24" h="135">
                  <a:moveTo>
                    <a:pt x="0" y="0"/>
                  </a:moveTo>
                  <a:lnTo>
                    <a:pt x="0" y="67"/>
                  </a:lnTo>
                  <a:lnTo>
                    <a:pt x="0" y="135"/>
                  </a:lnTo>
                  <a:lnTo>
                    <a:pt x="24" y="135"/>
                  </a:lnTo>
                  <a:lnTo>
                    <a:pt x="24" y="56"/>
                  </a:lnTo>
                  <a:lnTo>
                    <a:pt x="24" y="0"/>
                  </a:lnTo>
                  <a:lnTo>
                    <a:pt x="0" y="0"/>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33" name="Freeform 134"/>
            <p:cNvSpPr>
              <a:spLocks/>
            </p:cNvSpPr>
            <p:nvPr/>
          </p:nvSpPr>
          <p:spPr bwMode="auto">
            <a:xfrm>
              <a:off x="8707752" y="5444685"/>
              <a:ext cx="44330" cy="362026"/>
            </a:xfrm>
            <a:custGeom>
              <a:avLst/>
              <a:gdLst>
                <a:gd name="T0" fmla="*/ 0 w 24"/>
                <a:gd name="T1" fmla="*/ 0 h 196"/>
                <a:gd name="T2" fmla="*/ 0 w 24"/>
                <a:gd name="T3" fmla="*/ 114 h 196"/>
                <a:gd name="T4" fmla="*/ 0 w 24"/>
                <a:gd name="T5" fmla="*/ 196 h 196"/>
                <a:gd name="T6" fmla="*/ 24 w 24"/>
                <a:gd name="T7" fmla="*/ 196 h 196"/>
                <a:gd name="T8" fmla="*/ 24 w 24"/>
                <a:gd name="T9" fmla="*/ 105 h 196"/>
                <a:gd name="T10" fmla="*/ 24 w 24"/>
                <a:gd name="T11" fmla="*/ 0 h 196"/>
                <a:gd name="T12" fmla="*/ 0 w 24"/>
                <a:gd name="T13" fmla="*/ 0 h 196"/>
              </a:gdLst>
              <a:ahLst/>
              <a:cxnLst>
                <a:cxn ang="0">
                  <a:pos x="T0" y="T1"/>
                </a:cxn>
                <a:cxn ang="0">
                  <a:pos x="T2" y="T3"/>
                </a:cxn>
                <a:cxn ang="0">
                  <a:pos x="T4" y="T5"/>
                </a:cxn>
                <a:cxn ang="0">
                  <a:pos x="T6" y="T7"/>
                </a:cxn>
                <a:cxn ang="0">
                  <a:pos x="T8" y="T9"/>
                </a:cxn>
                <a:cxn ang="0">
                  <a:pos x="T10" y="T11"/>
                </a:cxn>
                <a:cxn ang="0">
                  <a:pos x="T12" y="T13"/>
                </a:cxn>
              </a:cxnLst>
              <a:rect l="0" t="0" r="r" b="b"/>
              <a:pathLst>
                <a:path w="24" h="196">
                  <a:moveTo>
                    <a:pt x="0" y="0"/>
                  </a:moveTo>
                  <a:lnTo>
                    <a:pt x="0" y="114"/>
                  </a:lnTo>
                  <a:lnTo>
                    <a:pt x="0" y="196"/>
                  </a:lnTo>
                  <a:lnTo>
                    <a:pt x="24" y="196"/>
                  </a:lnTo>
                  <a:lnTo>
                    <a:pt x="24" y="105"/>
                  </a:lnTo>
                  <a:lnTo>
                    <a:pt x="24" y="0"/>
                  </a:lnTo>
                  <a:lnTo>
                    <a:pt x="0" y="0"/>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35" name="Freeform 136"/>
            <p:cNvSpPr>
              <a:spLocks/>
            </p:cNvSpPr>
            <p:nvPr/>
          </p:nvSpPr>
          <p:spPr bwMode="auto">
            <a:xfrm>
              <a:off x="8372725" y="5681110"/>
              <a:ext cx="42483" cy="125601"/>
            </a:xfrm>
            <a:custGeom>
              <a:avLst/>
              <a:gdLst>
                <a:gd name="T0" fmla="*/ 0 w 23"/>
                <a:gd name="T1" fmla="*/ 0 h 68"/>
                <a:gd name="T2" fmla="*/ 0 w 23"/>
                <a:gd name="T3" fmla="*/ 38 h 68"/>
                <a:gd name="T4" fmla="*/ 0 w 23"/>
                <a:gd name="T5" fmla="*/ 68 h 68"/>
                <a:gd name="T6" fmla="*/ 23 w 23"/>
                <a:gd name="T7" fmla="*/ 68 h 68"/>
                <a:gd name="T8" fmla="*/ 23 w 23"/>
                <a:gd name="T9" fmla="*/ 26 h 68"/>
                <a:gd name="T10" fmla="*/ 23 w 23"/>
                <a:gd name="T11" fmla="*/ 0 h 68"/>
                <a:gd name="T12" fmla="*/ 0 w 23"/>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3" h="68">
                  <a:moveTo>
                    <a:pt x="0" y="0"/>
                  </a:moveTo>
                  <a:lnTo>
                    <a:pt x="0" y="38"/>
                  </a:lnTo>
                  <a:lnTo>
                    <a:pt x="0" y="68"/>
                  </a:lnTo>
                  <a:lnTo>
                    <a:pt x="23" y="68"/>
                  </a:lnTo>
                  <a:lnTo>
                    <a:pt x="23" y="26"/>
                  </a:lnTo>
                  <a:lnTo>
                    <a:pt x="23" y="0"/>
                  </a:lnTo>
                  <a:lnTo>
                    <a:pt x="0" y="0"/>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36" name="Freeform 137"/>
            <p:cNvSpPr>
              <a:spLocks/>
            </p:cNvSpPr>
            <p:nvPr/>
          </p:nvSpPr>
          <p:spPr bwMode="auto">
            <a:xfrm>
              <a:off x="8455558" y="5544427"/>
              <a:ext cx="42483" cy="262284"/>
            </a:xfrm>
            <a:custGeom>
              <a:avLst/>
              <a:gdLst>
                <a:gd name="T0" fmla="*/ 0 w 23"/>
                <a:gd name="T1" fmla="*/ 0 h 142"/>
                <a:gd name="T2" fmla="*/ 0 w 23"/>
                <a:gd name="T3" fmla="*/ 107 h 142"/>
                <a:gd name="T4" fmla="*/ 0 w 23"/>
                <a:gd name="T5" fmla="*/ 142 h 142"/>
                <a:gd name="T6" fmla="*/ 23 w 23"/>
                <a:gd name="T7" fmla="*/ 142 h 142"/>
                <a:gd name="T8" fmla="*/ 23 w 23"/>
                <a:gd name="T9" fmla="*/ 98 h 142"/>
                <a:gd name="T10" fmla="*/ 23 w 23"/>
                <a:gd name="T11" fmla="*/ 0 h 142"/>
                <a:gd name="T12" fmla="*/ 0 w 23"/>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23" h="142">
                  <a:moveTo>
                    <a:pt x="0" y="0"/>
                  </a:moveTo>
                  <a:lnTo>
                    <a:pt x="0" y="107"/>
                  </a:lnTo>
                  <a:lnTo>
                    <a:pt x="0" y="142"/>
                  </a:lnTo>
                  <a:lnTo>
                    <a:pt x="23" y="142"/>
                  </a:lnTo>
                  <a:lnTo>
                    <a:pt x="23" y="98"/>
                  </a:lnTo>
                  <a:lnTo>
                    <a:pt x="23" y="0"/>
                  </a:lnTo>
                  <a:lnTo>
                    <a:pt x="0" y="0"/>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09" name="Freeform 2008"/>
            <p:cNvSpPr>
              <a:spLocks/>
            </p:cNvSpPr>
            <p:nvPr/>
          </p:nvSpPr>
          <p:spPr bwMode="auto">
            <a:xfrm>
              <a:off x="8173671" y="5070661"/>
              <a:ext cx="1468199" cy="916417"/>
            </a:xfrm>
            <a:custGeom>
              <a:avLst/>
              <a:gdLst>
                <a:gd name="connsiteX0" fmla="*/ 174305 w 1930400"/>
                <a:gd name="connsiteY0" fmla="*/ 146050 h 1204913"/>
                <a:gd name="connsiteX1" fmla="*/ 150812 w 1930400"/>
                <a:gd name="connsiteY1" fmla="*/ 169573 h 1204913"/>
                <a:gd name="connsiteX2" fmla="*/ 150812 w 1930400"/>
                <a:gd name="connsiteY2" fmla="*/ 1025815 h 1204913"/>
                <a:gd name="connsiteX3" fmla="*/ 174305 w 1930400"/>
                <a:gd name="connsiteY3" fmla="*/ 1049338 h 1204913"/>
                <a:gd name="connsiteX4" fmla="*/ 1762444 w 1930400"/>
                <a:gd name="connsiteY4" fmla="*/ 1049338 h 1204913"/>
                <a:gd name="connsiteX5" fmla="*/ 1785937 w 1930400"/>
                <a:gd name="connsiteY5" fmla="*/ 1025815 h 1204913"/>
                <a:gd name="connsiteX6" fmla="*/ 1785937 w 1930400"/>
                <a:gd name="connsiteY6" fmla="*/ 169573 h 1204913"/>
                <a:gd name="connsiteX7" fmla="*/ 1762444 w 1930400"/>
                <a:gd name="connsiteY7" fmla="*/ 146050 h 1204913"/>
                <a:gd name="connsiteX8" fmla="*/ 174305 w 1930400"/>
                <a:gd name="connsiteY8" fmla="*/ 146050 h 1204913"/>
                <a:gd name="connsiteX9" fmla="*/ 28181 w 1930400"/>
                <a:gd name="connsiteY9" fmla="*/ 0 h 1204913"/>
                <a:gd name="connsiteX10" fmla="*/ 1906916 w 1930400"/>
                <a:gd name="connsiteY10" fmla="*/ 0 h 1204913"/>
                <a:gd name="connsiteX11" fmla="*/ 1930400 w 1930400"/>
                <a:gd name="connsiteY11" fmla="*/ 28240 h 1204913"/>
                <a:gd name="connsiteX12" fmla="*/ 1930400 w 1930400"/>
                <a:gd name="connsiteY12" fmla="*/ 1176673 h 1204913"/>
                <a:gd name="connsiteX13" fmla="*/ 1906916 w 1930400"/>
                <a:gd name="connsiteY13" fmla="*/ 1204913 h 1204913"/>
                <a:gd name="connsiteX14" fmla="*/ 28181 w 1930400"/>
                <a:gd name="connsiteY14" fmla="*/ 1204913 h 1204913"/>
                <a:gd name="connsiteX15" fmla="*/ 0 w 1930400"/>
                <a:gd name="connsiteY15" fmla="*/ 1176673 h 1204913"/>
                <a:gd name="connsiteX16" fmla="*/ 0 w 1930400"/>
                <a:gd name="connsiteY16" fmla="*/ 28240 h 1204913"/>
                <a:gd name="connsiteX17" fmla="*/ 28181 w 1930400"/>
                <a:gd name="connsiteY17" fmla="*/ 0 h 120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30400" h="1204913">
                  <a:moveTo>
                    <a:pt x="174305" y="146050"/>
                  </a:moveTo>
                  <a:cubicBezTo>
                    <a:pt x="160210" y="146050"/>
                    <a:pt x="150812" y="155459"/>
                    <a:pt x="150812" y="169573"/>
                  </a:cubicBezTo>
                  <a:cubicBezTo>
                    <a:pt x="150812" y="169573"/>
                    <a:pt x="150812" y="169573"/>
                    <a:pt x="150812" y="1025815"/>
                  </a:cubicBezTo>
                  <a:cubicBezTo>
                    <a:pt x="150812" y="1039929"/>
                    <a:pt x="160210" y="1049338"/>
                    <a:pt x="174305" y="1049338"/>
                  </a:cubicBezTo>
                  <a:cubicBezTo>
                    <a:pt x="174305" y="1049338"/>
                    <a:pt x="174305" y="1049338"/>
                    <a:pt x="1762444" y="1049338"/>
                  </a:cubicBezTo>
                  <a:cubicBezTo>
                    <a:pt x="1771841" y="1049338"/>
                    <a:pt x="1785937" y="1039929"/>
                    <a:pt x="1785937" y="1025815"/>
                  </a:cubicBezTo>
                  <a:lnTo>
                    <a:pt x="1785937" y="169573"/>
                  </a:lnTo>
                  <a:cubicBezTo>
                    <a:pt x="1785937" y="155459"/>
                    <a:pt x="1771841" y="146050"/>
                    <a:pt x="1762444" y="146050"/>
                  </a:cubicBezTo>
                  <a:cubicBezTo>
                    <a:pt x="1762444" y="146050"/>
                    <a:pt x="1762444" y="146050"/>
                    <a:pt x="174305" y="146050"/>
                  </a:cubicBezTo>
                  <a:close/>
                  <a:moveTo>
                    <a:pt x="28181" y="0"/>
                  </a:moveTo>
                  <a:cubicBezTo>
                    <a:pt x="1906916" y="0"/>
                    <a:pt x="1906916" y="0"/>
                    <a:pt x="1906916" y="0"/>
                  </a:cubicBezTo>
                  <a:cubicBezTo>
                    <a:pt x="1921007" y="0"/>
                    <a:pt x="1930400" y="14120"/>
                    <a:pt x="1930400" y="28240"/>
                  </a:cubicBezTo>
                  <a:lnTo>
                    <a:pt x="1930400" y="1176673"/>
                  </a:lnTo>
                  <a:cubicBezTo>
                    <a:pt x="1930400" y="1190793"/>
                    <a:pt x="1921007" y="1204913"/>
                    <a:pt x="1906916" y="1204913"/>
                  </a:cubicBezTo>
                  <a:cubicBezTo>
                    <a:pt x="28181" y="1204913"/>
                    <a:pt x="28181" y="1204913"/>
                    <a:pt x="28181" y="1204913"/>
                  </a:cubicBezTo>
                  <a:cubicBezTo>
                    <a:pt x="14091" y="1204913"/>
                    <a:pt x="0" y="1190793"/>
                    <a:pt x="0" y="1176673"/>
                  </a:cubicBezTo>
                  <a:cubicBezTo>
                    <a:pt x="0" y="28240"/>
                    <a:pt x="0" y="28240"/>
                    <a:pt x="0" y="28240"/>
                  </a:cubicBezTo>
                  <a:cubicBezTo>
                    <a:pt x="0" y="14120"/>
                    <a:pt x="14091" y="0"/>
                    <a:pt x="28181"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874">
                <a:defRPr/>
              </a:pPr>
              <a:endParaRPr lang="en-US" sz="1765" kern="0" dirty="0">
                <a:solidFill>
                  <a:srgbClr val="505050"/>
                </a:solidFill>
              </a:endParaRPr>
            </a:p>
          </p:txBody>
        </p:sp>
        <p:sp>
          <p:nvSpPr>
            <p:cNvPr id="2010" name="Freeform 161"/>
            <p:cNvSpPr>
              <a:spLocks/>
            </p:cNvSpPr>
            <p:nvPr/>
          </p:nvSpPr>
          <p:spPr bwMode="auto">
            <a:xfrm>
              <a:off x="8095190" y="5518606"/>
              <a:ext cx="171450" cy="185940"/>
            </a:xfrm>
            <a:custGeom>
              <a:avLst/>
              <a:gdLst>
                <a:gd name="T0" fmla="*/ 43 w 48"/>
                <a:gd name="T1" fmla="*/ 9 h 52"/>
                <a:gd name="T2" fmla="*/ 43 w 48"/>
                <a:gd name="T3" fmla="*/ 26 h 52"/>
                <a:gd name="T4" fmla="*/ 22 w 48"/>
                <a:gd name="T5" fmla="*/ 47 h 52"/>
                <a:gd name="T6" fmla="*/ 5 w 48"/>
                <a:gd name="T7" fmla="*/ 47 h 52"/>
                <a:gd name="T8" fmla="*/ 5 w 48"/>
                <a:gd name="T9" fmla="*/ 30 h 52"/>
                <a:gd name="T10" fmla="*/ 35 w 48"/>
                <a:gd name="T11" fmla="*/ 0 h 52"/>
                <a:gd name="T12" fmla="*/ 43 w 48"/>
                <a:gd name="T13" fmla="*/ 9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3" y="9"/>
                  </a:moveTo>
                  <a:cubicBezTo>
                    <a:pt x="48" y="14"/>
                    <a:pt x="48" y="21"/>
                    <a:pt x="43" y="26"/>
                  </a:cubicBezTo>
                  <a:cubicBezTo>
                    <a:pt x="22" y="47"/>
                    <a:pt x="22" y="47"/>
                    <a:pt x="22" y="47"/>
                  </a:cubicBezTo>
                  <a:cubicBezTo>
                    <a:pt x="17" y="52"/>
                    <a:pt x="9" y="52"/>
                    <a:pt x="5" y="47"/>
                  </a:cubicBezTo>
                  <a:cubicBezTo>
                    <a:pt x="0" y="43"/>
                    <a:pt x="0" y="35"/>
                    <a:pt x="5" y="30"/>
                  </a:cubicBezTo>
                  <a:cubicBezTo>
                    <a:pt x="35" y="0"/>
                    <a:pt x="35" y="0"/>
                    <a:pt x="35" y="0"/>
                  </a:cubicBezTo>
                  <a:lnTo>
                    <a:pt x="43" y="9"/>
                  </a:ln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11" name="Freeform 162"/>
            <p:cNvSpPr>
              <a:spLocks/>
            </p:cNvSpPr>
            <p:nvPr/>
          </p:nvSpPr>
          <p:spPr bwMode="auto">
            <a:xfrm>
              <a:off x="8095190" y="5604331"/>
              <a:ext cx="103837" cy="260799"/>
            </a:xfrm>
            <a:custGeom>
              <a:avLst/>
              <a:gdLst>
                <a:gd name="T0" fmla="*/ 0 w 29"/>
                <a:gd name="T1" fmla="*/ 55 h 73"/>
                <a:gd name="T2" fmla="*/ 15 w 29"/>
                <a:gd name="T3" fmla="*/ 70 h 73"/>
                <a:gd name="T4" fmla="*/ 15 w 29"/>
                <a:gd name="T5" fmla="*/ 70 h 73"/>
                <a:gd name="T6" fmla="*/ 29 w 29"/>
                <a:gd name="T7" fmla="*/ 65 h 73"/>
                <a:gd name="T8" fmla="*/ 29 w 29"/>
                <a:gd name="T9" fmla="*/ 8 h 73"/>
                <a:gd name="T10" fmla="*/ 15 w 29"/>
                <a:gd name="T11" fmla="*/ 3 h 73"/>
                <a:gd name="T12" fmla="*/ 15 w 29"/>
                <a:gd name="T13" fmla="*/ 3 h 73"/>
                <a:gd name="T14" fmla="*/ 0 w 29"/>
                <a:gd name="T15" fmla="*/ 18 h 73"/>
                <a:gd name="T16" fmla="*/ 0 w 29"/>
                <a:gd name="T17"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3">
                  <a:moveTo>
                    <a:pt x="0" y="55"/>
                  </a:moveTo>
                  <a:cubicBezTo>
                    <a:pt x="0" y="63"/>
                    <a:pt x="6" y="70"/>
                    <a:pt x="15" y="70"/>
                  </a:cubicBezTo>
                  <a:cubicBezTo>
                    <a:pt x="15" y="70"/>
                    <a:pt x="15" y="70"/>
                    <a:pt x="15" y="70"/>
                  </a:cubicBezTo>
                  <a:cubicBezTo>
                    <a:pt x="23" y="70"/>
                    <a:pt x="29" y="73"/>
                    <a:pt x="29" y="65"/>
                  </a:cubicBezTo>
                  <a:cubicBezTo>
                    <a:pt x="29" y="8"/>
                    <a:pt x="29" y="8"/>
                    <a:pt x="29" y="8"/>
                  </a:cubicBezTo>
                  <a:cubicBezTo>
                    <a:pt x="29" y="0"/>
                    <a:pt x="23" y="3"/>
                    <a:pt x="15" y="3"/>
                  </a:cubicBezTo>
                  <a:cubicBezTo>
                    <a:pt x="15" y="3"/>
                    <a:pt x="15" y="3"/>
                    <a:pt x="15" y="3"/>
                  </a:cubicBezTo>
                  <a:cubicBezTo>
                    <a:pt x="6" y="3"/>
                    <a:pt x="0" y="9"/>
                    <a:pt x="0" y="18"/>
                  </a:cubicBezTo>
                  <a:lnTo>
                    <a:pt x="0" y="55"/>
                  </a:ln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12" name="Freeform 163"/>
            <p:cNvSpPr>
              <a:spLocks/>
            </p:cNvSpPr>
            <p:nvPr/>
          </p:nvSpPr>
          <p:spPr bwMode="auto">
            <a:xfrm>
              <a:off x="8180916" y="5518606"/>
              <a:ext cx="49503" cy="42260"/>
            </a:xfrm>
            <a:custGeom>
              <a:avLst/>
              <a:gdLst>
                <a:gd name="T0" fmla="*/ 11 w 14"/>
                <a:gd name="T1" fmla="*/ 0 h 12"/>
                <a:gd name="T2" fmla="*/ 14 w 14"/>
                <a:gd name="T3" fmla="*/ 3 h 12"/>
                <a:gd name="T4" fmla="*/ 9 w 14"/>
                <a:gd name="T5" fmla="*/ 8 h 12"/>
                <a:gd name="T6" fmla="*/ 0 w 14"/>
                <a:gd name="T7" fmla="*/ 11 h 12"/>
                <a:gd name="T8" fmla="*/ 11 w 14"/>
                <a:gd name="T9" fmla="*/ 0 h 12"/>
              </a:gdLst>
              <a:ahLst/>
              <a:cxnLst>
                <a:cxn ang="0">
                  <a:pos x="T0" y="T1"/>
                </a:cxn>
                <a:cxn ang="0">
                  <a:pos x="T2" y="T3"/>
                </a:cxn>
                <a:cxn ang="0">
                  <a:pos x="T4" y="T5"/>
                </a:cxn>
                <a:cxn ang="0">
                  <a:pos x="T6" y="T7"/>
                </a:cxn>
                <a:cxn ang="0">
                  <a:pos x="T8" y="T9"/>
                </a:cxn>
              </a:cxnLst>
              <a:rect l="0" t="0" r="r" b="b"/>
              <a:pathLst>
                <a:path w="14" h="12">
                  <a:moveTo>
                    <a:pt x="11" y="0"/>
                  </a:moveTo>
                  <a:cubicBezTo>
                    <a:pt x="14" y="3"/>
                    <a:pt x="14" y="3"/>
                    <a:pt x="14" y="3"/>
                  </a:cubicBezTo>
                  <a:cubicBezTo>
                    <a:pt x="9" y="8"/>
                    <a:pt x="9" y="8"/>
                    <a:pt x="9" y="8"/>
                  </a:cubicBezTo>
                  <a:cubicBezTo>
                    <a:pt x="7" y="11"/>
                    <a:pt x="3" y="12"/>
                    <a:pt x="0" y="11"/>
                  </a:cubicBezTo>
                  <a:lnTo>
                    <a:pt x="11" y="0"/>
                  </a:ln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13" name="Freeform 2012"/>
            <p:cNvSpPr>
              <a:spLocks/>
            </p:cNvSpPr>
            <p:nvPr/>
          </p:nvSpPr>
          <p:spPr bwMode="auto">
            <a:xfrm>
              <a:off x="8162805" y="5783027"/>
              <a:ext cx="171450" cy="429904"/>
            </a:xfrm>
            <a:custGeom>
              <a:avLst/>
              <a:gdLst>
                <a:gd name="connsiteX0" fmla="*/ 0 w 225425"/>
                <a:gd name="connsiteY0" fmla="*/ 0 h 565240"/>
                <a:gd name="connsiteX1" fmla="*/ 225425 w 225425"/>
                <a:gd name="connsiteY1" fmla="*/ 296863 h 565240"/>
                <a:gd name="connsiteX2" fmla="*/ 90699 w 225425"/>
                <a:gd name="connsiteY2" fmla="*/ 553304 h 565240"/>
                <a:gd name="connsiteX3" fmla="*/ 69179 w 225425"/>
                <a:gd name="connsiteY3" fmla="*/ 565240 h 565240"/>
                <a:gd name="connsiteX4" fmla="*/ 42473 w 225425"/>
                <a:gd name="connsiteY4" fmla="*/ 540968 h 565240"/>
                <a:gd name="connsiteX5" fmla="*/ 0 w 225425"/>
                <a:gd name="connsiteY5" fmla="*/ 494237 h 56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425" h="565240">
                  <a:moveTo>
                    <a:pt x="0" y="0"/>
                  </a:moveTo>
                  <a:cubicBezTo>
                    <a:pt x="131498" y="37697"/>
                    <a:pt x="225425" y="155500"/>
                    <a:pt x="225425" y="296863"/>
                  </a:cubicBezTo>
                  <a:cubicBezTo>
                    <a:pt x="225425" y="402885"/>
                    <a:pt x="172591" y="498305"/>
                    <a:pt x="90699" y="553304"/>
                  </a:cubicBezTo>
                  <a:lnTo>
                    <a:pt x="69179" y="565240"/>
                  </a:lnTo>
                  <a:lnTo>
                    <a:pt x="42473" y="540968"/>
                  </a:lnTo>
                  <a:lnTo>
                    <a:pt x="0" y="494237"/>
                  </a:lnTo>
                  <a:close/>
                </a:path>
              </a:pathLst>
            </a:custGeom>
            <a:solidFill>
              <a:srgbClr val="FFFFFF">
                <a:lumMod val="65000"/>
              </a:srgbClr>
            </a:solidFill>
            <a:ln>
              <a:noFill/>
            </a:ln>
          </p:spPr>
          <p:txBody>
            <a:bodyPr vert="horz" wrap="square" lIns="89604" tIns="44802" rIns="89604" bIns="44802" numCol="1" anchor="t" anchorCtr="0" compatLnSpc="1">
              <a:prstTxWarp prst="textNoShape">
                <a:avLst/>
              </a:prstTxWarp>
              <a:noAutofit/>
            </a:bodyPr>
            <a:lstStyle/>
            <a:p>
              <a:pPr defTabSz="913874">
                <a:defRPr/>
              </a:pPr>
              <a:endParaRPr lang="en-US" sz="1765" kern="0" dirty="0">
                <a:solidFill>
                  <a:srgbClr val="505050"/>
                </a:solidFill>
              </a:endParaRPr>
            </a:p>
          </p:txBody>
        </p:sp>
        <p:grpSp>
          <p:nvGrpSpPr>
            <p:cNvPr id="2014" name="Group 2013"/>
            <p:cNvGrpSpPr/>
            <p:nvPr/>
          </p:nvGrpSpPr>
          <p:grpSpPr>
            <a:xfrm>
              <a:off x="8713379" y="5657457"/>
              <a:ext cx="873229" cy="702281"/>
              <a:chOff x="4665703" y="6298070"/>
              <a:chExt cx="594442" cy="478071"/>
            </a:xfrm>
            <a:solidFill>
              <a:srgbClr val="FFFFFF">
                <a:lumMod val="65000"/>
              </a:srgbClr>
            </a:solidFill>
          </p:grpSpPr>
          <p:sp>
            <p:nvSpPr>
              <p:cNvPr id="2016" name="Freeform 166"/>
              <p:cNvSpPr>
                <a:spLocks/>
              </p:cNvSpPr>
              <p:nvPr/>
            </p:nvSpPr>
            <p:spPr bwMode="auto">
              <a:xfrm>
                <a:off x="4665703" y="6298070"/>
                <a:ext cx="189865" cy="188221"/>
              </a:xfrm>
              <a:custGeom>
                <a:avLst/>
                <a:gdLst>
                  <a:gd name="T0" fmla="*/ 78 w 78"/>
                  <a:gd name="T1" fmla="*/ 60 h 77"/>
                  <a:gd name="T2" fmla="*/ 23 w 78"/>
                  <a:gd name="T3" fmla="*/ 5 h 77"/>
                  <a:gd name="T4" fmla="*/ 5 w 78"/>
                  <a:gd name="T5" fmla="*/ 5 h 77"/>
                  <a:gd name="T6" fmla="*/ 5 w 78"/>
                  <a:gd name="T7" fmla="*/ 22 h 77"/>
                  <a:gd name="T8" fmla="*/ 60 w 78"/>
                  <a:gd name="T9" fmla="*/ 77 h 77"/>
                  <a:gd name="T10" fmla="*/ 78 w 78"/>
                  <a:gd name="T11" fmla="*/ 60 h 77"/>
                </a:gdLst>
                <a:ahLst/>
                <a:cxnLst>
                  <a:cxn ang="0">
                    <a:pos x="T0" y="T1"/>
                  </a:cxn>
                  <a:cxn ang="0">
                    <a:pos x="T2" y="T3"/>
                  </a:cxn>
                  <a:cxn ang="0">
                    <a:pos x="T4" y="T5"/>
                  </a:cxn>
                  <a:cxn ang="0">
                    <a:pos x="T6" y="T7"/>
                  </a:cxn>
                  <a:cxn ang="0">
                    <a:pos x="T8" y="T9"/>
                  </a:cxn>
                  <a:cxn ang="0">
                    <a:pos x="T10" y="T11"/>
                  </a:cxn>
                </a:cxnLst>
                <a:rect l="0" t="0" r="r" b="b"/>
                <a:pathLst>
                  <a:path w="78" h="77">
                    <a:moveTo>
                      <a:pt x="78" y="60"/>
                    </a:moveTo>
                    <a:cubicBezTo>
                      <a:pt x="23" y="5"/>
                      <a:pt x="23" y="5"/>
                      <a:pt x="23" y="5"/>
                    </a:cubicBezTo>
                    <a:cubicBezTo>
                      <a:pt x="18" y="0"/>
                      <a:pt x="10" y="0"/>
                      <a:pt x="5" y="5"/>
                    </a:cubicBezTo>
                    <a:cubicBezTo>
                      <a:pt x="0" y="10"/>
                      <a:pt x="0" y="17"/>
                      <a:pt x="5" y="22"/>
                    </a:cubicBezTo>
                    <a:cubicBezTo>
                      <a:pt x="60" y="77"/>
                      <a:pt x="60" y="77"/>
                      <a:pt x="60" y="77"/>
                    </a:cubicBezTo>
                    <a:lnTo>
                      <a:pt x="78" y="60"/>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17" name="Freeform 178"/>
              <p:cNvSpPr>
                <a:spLocks/>
              </p:cNvSpPr>
              <p:nvPr/>
            </p:nvSpPr>
            <p:spPr bwMode="auto">
              <a:xfrm>
                <a:off x="4804609" y="6347386"/>
                <a:ext cx="327949" cy="323839"/>
              </a:xfrm>
              <a:custGeom>
                <a:avLst/>
                <a:gdLst>
                  <a:gd name="T0" fmla="*/ 233 w 399"/>
                  <a:gd name="T1" fmla="*/ 394 h 394"/>
                  <a:gd name="T2" fmla="*/ 399 w 399"/>
                  <a:gd name="T3" fmla="*/ 287 h 394"/>
                  <a:gd name="T4" fmla="*/ 254 w 399"/>
                  <a:gd name="T5" fmla="*/ 0 h 394"/>
                  <a:gd name="T6" fmla="*/ 198 w 399"/>
                  <a:gd name="T7" fmla="*/ 47 h 394"/>
                  <a:gd name="T8" fmla="*/ 130 w 399"/>
                  <a:gd name="T9" fmla="*/ 83 h 394"/>
                  <a:gd name="T10" fmla="*/ 56 w 399"/>
                  <a:gd name="T11" fmla="*/ 112 h 394"/>
                  <a:gd name="T12" fmla="*/ 0 w 399"/>
                  <a:gd name="T13" fmla="*/ 160 h 394"/>
                  <a:gd name="T14" fmla="*/ 233 w 399"/>
                  <a:gd name="T15" fmla="*/ 394 h 3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9" h="394">
                    <a:moveTo>
                      <a:pt x="233" y="394"/>
                    </a:moveTo>
                    <a:lnTo>
                      <a:pt x="399" y="287"/>
                    </a:lnTo>
                    <a:lnTo>
                      <a:pt x="254" y="0"/>
                    </a:lnTo>
                    <a:lnTo>
                      <a:pt x="198" y="47"/>
                    </a:lnTo>
                    <a:lnTo>
                      <a:pt x="130" y="83"/>
                    </a:lnTo>
                    <a:lnTo>
                      <a:pt x="56" y="112"/>
                    </a:lnTo>
                    <a:lnTo>
                      <a:pt x="0" y="160"/>
                    </a:lnTo>
                    <a:lnTo>
                      <a:pt x="233" y="394"/>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18" name="Freeform 179"/>
              <p:cNvSpPr>
                <a:spLocks/>
              </p:cNvSpPr>
              <p:nvPr/>
            </p:nvSpPr>
            <p:spPr bwMode="auto">
              <a:xfrm>
                <a:off x="4843239" y="6388482"/>
                <a:ext cx="70686" cy="70686"/>
              </a:xfrm>
              <a:custGeom>
                <a:avLst/>
                <a:gdLst>
                  <a:gd name="T0" fmla="*/ 29 w 29"/>
                  <a:gd name="T1" fmla="*/ 12 h 29"/>
                  <a:gd name="T2" fmla="*/ 22 w 29"/>
                  <a:gd name="T3" fmla="*/ 5 h 29"/>
                  <a:gd name="T4" fmla="*/ 5 w 29"/>
                  <a:gd name="T5" fmla="*/ 5 h 29"/>
                  <a:gd name="T6" fmla="*/ 5 w 29"/>
                  <a:gd name="T7" fmla="*/ 23 h 29"/>
                  <a:gd name="T8" fmla="*/ 11 w 29"/>
                  <a:gd name="T9" fmla="*/ 29 h 29"/>
                  <a:gd name="T10" fmla="*/ 29 w 29"/>
                  <a:gd name="T11" fmla="*/ 12 h 29"/>
                </a:gdLst>
                <a:ahLst/>
                <a:cxnLst>
                  <a:cxn ang="0">
                    <a:pos x="T0" y="T1"/>
                  </a:cxn>
                  <a:cxn ang="0">
                    <a:pos x="T2" y="T3"/>
                  </a:cxn>
                  <a:cxn ang="0">
                    <a:pos x="T4" y="T5"/>
                  </a:cxn>
                  <a:cxn ang="0">
                    <a:pos x="T6" y="T7"/>
                  </a:cxn>
                  <a:cxn ang="0">
                    <a:pos x="T8" y="T9"/>
                  </a:cxn>
                  <a:cxn ang="0">
                    <a:pos x="T10" y="T11"/>
                  </a:cxn>
                </a:cxnLst>
                <a:rect l="0" t="0" r="r" b="b"/>
                <a:pathLst>
                  <a:path w="29" h="29">
                    <a:moveTo>
                      <a:pt x="29" y="12"/>
                    </a:moveTo>
                    <a:cubicBezTo>
                      <a:pt x="22" y="5"/>
                      <a:pt x="22" y="5"/>
                      <a:pt x="22" y="5"/>
                    </a:cubicBezTo>
                    <a:cubicBezTo>
                      <a:pt x="17" y="0"/>
                      <a:pt x="9" y="0"/>
                      <a:pt x="5" y="5"/>
                    </a:cubicBezTo>
                    <a:cubicBezTo>
                      <a:pt x="0" y="10"/>
                      <a:pt x="0" y="18"/>
                      <a:pt x="5" y="23"/>
                    </a:cubicBezTo>
                    <a:cubicBezTo>
                      <a:pt x="11" y="29"/>
                      <a:pt x="11" y="29"/>
                      <a:pt x="11" y="29"/>
                    </a:cubicBezTo>
                    <a:lnTo>
                      <a:pt x="29" y="12"/>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19" name="Freeform 180"/>
              <p:cNvSpPr>
                <a:spLocks/>
              </p:cNvSpPr>
              <p:nvPr/>
            </p:nvSpPr>
            <p:spPr bwMode="auto">
              <a:xfrm>
                <a:off x="4896665" y="6359714"/>
                <a:ext cx="70686" cy="70686"/>
              </a:xfrm>
              <a:custGeom>
                <a:avLst/>
                <a:gdLst>
                  <a:gd name="T0" fmla="*/ 29 w 29"/>
                  <a:gd name="T1" fmla="*/ 11 h 29"/>
                  <a:gd name="T2" fmla="*/ 22 w 29"/>
                  <a:gd name="T3" fmla="*/ 4 h 29"/>
                  <a:gd name="T4" fmla="*/ 5 w 29"/>
                  <a:gd name="T5" fmla="*/ 4 h 29"/>
                  <a:gd name="T6" fmla="*/ 5 w 29"/>
                  <a:gd name="T7" fmla="*/ 22 h 29"/>
                  <a:gd name="T8" fmla="*/ 12 w 29"/>
                  <a:gd name="T9" fmla="*/ 29 h 29"/>
                  <a:gd name="T10" fmla="*/ 29 w 29"/>
                  <a:gd name="T11" fmla="*/ 11 h 29"/>
                </a:gdLst>
                <a:ahLst/>
                <a:cxnLst>
                  <a:cxn ang="0">
                    <a:pos x="T0" y="T1"/>
                  </a:cxn>
                  <a:cxn ang="0">
                    <a:pos x="T2" y="T3"/>
                  </a:cxn>
                  <a:cxn ang="0">
                    <a:pos x="T4" y="T5"/>
                  </a:cxn>
                  <a:cxn ang="0">
                    <a:pos x="T6" y="T7"/>
                  </a:cxn>
                  <a:cxn ang="0">
                    <a:pos x="T8" y="T9"/>
                  </a:cxn>
                  <a:cxn ang="0">
                    <a:pos x="T10" y="T11"/>
                  </a:cxn>
                </a:cxnLst>
                <a:rect l="0" t="0" r="r" b="b"/>
                <a:pathLst>
                  <a:path w="29" h="29">
                    <a:moveTo>
                      <a:pt x="29" y="11"/>
                    </a:moveTo>
                    <a:cubicBezTo>
                      <a:pt x="22" y="4"/>
                      <a:pt x="22" y="4"/>
                      <a:pt x="22" y="4"/>
                    </a:cubicBezTo>
                    <a:cubicBezTo>
                      <a:pt x="18" y="0"/>
                      <a:pt x="10" y="0"/>
                      <a:pt x="5" y="4"/>
                    </a:cubicBezTo>
                    <a:cubicBezTo>
                      <a:pt x="0" y="9"/>
                      <a:pt x="0" y="17"/>
                      <a:pt x="5" y="22"/>
                    </a:cubicBezTo>
                    <a:cubicBezTo>
                      <a:pt x="12" y="29"/>
                      <a:pt x="12" y="29"/>
                      <a:pt x="12" y="29"/>
                    </a:cubicBezTo>
                    <a:lnTo>
                      <a:pt x="29" y="11"/>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0" name="Freeform 181"/>
              <p:cNvSpPr>
                <a:spLocks/>
              </p:cNvSpPr>
              <p:nvPr/>
            </p:nvSpPr>
            <p:spPr bwMode="auto">
              <a:xfrm>
                <a:off x="4957487" y="6335056"/>
                <a:ext cx="58357" cy="70686"/>
              </a:xfrm>
              <a:custGeom>
                <a:avLst/>
                <a:gdLst>
                  <a:gd name="T0" fmla="*/ 24 w 24"/>
                  <a:gd name="T1" fmla="*/ 16 h 29"/>
                  <a:gd name="T2" fmla="*/ 23 w 24"/>
                  <a:gd name="T3" fmla="*/ 5 h 29"/>
                  <a:gd name="T4" fmla="*/ 5 w 24"/>
                  <a:gd name="T5" fmla="*/ 5 h 29"/>
                  <a:gd name="T6" fmla="*/ 5 w 24"/>
                  <a:gd name="T7" fmla="*/ 22 h 29"/>
                  <a:gd name="T8" fmla="*/ 12 w 24"/>
                  <a:gd name="T9" fmla="*/ 29 h 29"/>
                  <a:gd name="T10" fmla="*/ 24 w 24"/>
                  <a:gd name="T11" fmla="*/ 16 h 29"/>
                </a:gdLst>
                <a:ahLst/>
                <a:cxnLst>
                  <a:cxn ang="0">
                    <a:pos x="T0" y="T1"/>
                  </a:cxn>
                  <a:cxn ang="0">
                    <a:pos x="T2" y="T3"/>
                  </a:cxn>
                  <a:cxn ang="0">
                    <a:pos x="T4" y="T5"/>
                  </a:cxn>
                  <a:cxn ang="0">
                    <a:pos x="T6" y="T7"/>
                  </a:cxn>
                  <a:cxn ang="0">
                    <a:pos x="T8" y="T9"/>
                  </a:cxn>
                  <a:cxn ang="0">
                    <a:pos x="T10" y="T11"/>
                  </a:cxn>
                </a:cxnLst>
                <a:rect l="0" t="0" r="r" b="b"/>
                <a:pathLst>
                  <a:path w="24" h="29">
                    <a:moveTo>
                      <a:pt x="24" y="16"/>
                    </a:moveTo>
                    <a:cubicBezTo>
                      <a:pt x="23" y="5"/>
                      <a:pt x="23" y="5"/>
                      <a:pt x="23" y="5"/>
                    </a:cubicBezTo>
                    <a:cubicBezTo>
                      <a:pt x="18" y="0"/>
                      <a:pt x="10" y="0"/>
                      <a:pt x="5" y="5"/>
                    </a:cubicBezTo>
                    <a:cubicBezTo>
                      <a:pt x="0" y="9"/>
                      <a:pt x="0" y="17"/>
                      <a:pt x="5" y="22"/>
                    </a:cubicBezTo>
                    <a:cubicBezTo>
                      <a:pt x="12" y="29"/>
                      <a:pt x="12" y="29"/>
                      <a:pt x="12" y="29"/>
                    </a:cubicBezTo>
                    <a:lnTo>
                      <a:pt x="24" y="16"/>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1" name="Freeform 182"/>
              <p:cNvSpPr>
                <a:spLocks/>
              </p:cNvSpPr>
              <p:nvPr/>
            </p:nvSpPr>
            <p:spPr bwMode="auto">
              <a:xfrm>
                <a:off x="4809540" y="6501085"/>
                <a:ext cx="213701" cy="152878"/>
              </a:xfrm>
              <a:custGeom>
                <a:avLst/>
                <a:gdLst>
                  <a:gd name="T0" fmla="*/ 88 w 88"/>
                  <a:gd name="T1" fmla="*/ 63 h 63"/>
                  <a:gd name="T2" fmla="*/ 23 w 88"/>
                  <a:gd name="T3" fmla="*/ 40 h 63"/>
                  <a:gd name="T4" fmla="*/ 30 w 88"/>
                  <a:gd name="T5" fmla="*/ 0 h 63"/>
                  <a:gd name="T6" fmla="*/ 88 w 88"/>
                  <a:gd name="T7" fmla="*/ 63 h 63"/>
                </a:gdLst>
                <a:ahLst/>
                <a:cxnLst>
                  <a:cxn ang="0">
                    <a:pos x="T0" y="T1"/>
                  </a:cxn>
                  <a:cxn ang="0">
                    <a:pos x="T2" y="T3"/>
                  </a:cxn>
                  <a:cxn ang="0">
                    <a:pos x="T4" y="T5"/>
                  </a:cxn>
                  <a:cxn ang="0">
                    <a:pos x="T6" y="T7"/>
                  </a:cxn>
                </a:cxnLst>
                <a:rect l="0" t="0" r="r" b="b"/>
                <a:pathLst>
                  <a:path w="88" h="63">
                    <a:moveTo>
                      <a:pt x="88" y="63"/>
                    </a:moveTo>
                    <a:cubicBezTo>
                      <a:pt x="88" y="63"/>
                      <a:pt x="42" y="60"/>
                      <a:pt x="23" y="40"/>
                    </a:cubicBezTo>
                    <a:cubicBezTo>
                      <a:pt x="0" y="15"/>
                      <a:pt x="30" y="0"/>
                      <a:pt x="30" y="0"/>
                    </a:cubicBezTo>
                    <a:lnTo>
                      <a:pt x="88" y="63"/>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2" name="Freeform 183"/>
              <p:cNvSpPr>
                <a:spLocks/>
              </p:cNvSpPr>
              <p:nvPr/>
            </p:nvSpPr>
            <p:spPr bwMode="auto">
              <a:xfrm>
                <a:off x="4794746" y="6486291"/>
                <a:ext cx="119180" cy="124111"/>
              </a:xfrm>
              <a:custGeom>
                <a:avLst/>
                <a:gdLst>
                  <a:gd name="T0" fmla="*/ 45 w 49"/>
                  <a:gd name="T1" fmla="*/ 32 h 51"/>
                  <a:gd name="T2" fmla="*/ 44 w 49"/>
                  <a:gd name="T3" fmla="*/ 47 h 51"/>
                  <a:gd name="T4" fmla="*/ 44 w 49"/>
                  <a:gd name="T5" fmla="*/ 47 h 51"/>
                  <a:gd name="T6" fmla="*/ 29 w 49"/>
                  <a:gd name="T7" fmla="*/ 46 h 51"/>
                  <a:gd name="T8" fmla="*/ 4 w 49"/>
                  <a:gd name="T9" fmla="*/ 19 h 51"/>
                  <a:gd name="T10" fmla="*/ 5 w 49"/>
                  <a:gd name="T11" fmla="*/ 4 h 51"/>
                  <a:gd name="T12" fmla="*/ 5 w 49"/>
                  <a:gd name="T13" fmla="*/ 4 h 51"/>
                  <a:gd name="T14" fmla="*/ 20 w 49"/>
                  <a:gd name="T15" fmla="*/ 5 h 51"/>
                  <a:gd name="T16" fmla="*/ 45 w 49"/>
                  <a:gd name="T17"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1">
                    <a:moveTo>
                      <a:pt x="45" y="32"/>
                    </a:moveTo>
                    <a:cubicBezTo>
                      <a:pt x="49" y="36"/>
                      <a:pt x="49" y="43"/>
                      <a:pt x="44" y="47"/>
                    </a:cubicBezTo>
                    <a:cubicBezTo>
                      <a:pt x="44" y="47"/>
                      <a:pt x="44" y="47"/>
                      <a:pt x="44" y="47"/>
                    </a:cubicBezTo>
                    <a:cubicBezTo>
                      <a:pt x="40" y="51"/>
                      <a:pt x="33" y="50"/>
                      <a:pt x="29" y="46"/>
                    </a:cubicBezTo>
                    <a:cubicBezTo>
                      <a:pt x="4" y="19"/>
                      <a:pt x="4" y="19"/>
                      <a:pt x="4" y="19"/>
                    </a:cubicBezTo>
                    <a:cubicBezTo>
                      <a:pt x="0" y="15"/>
                      <a:pt x="1" y="8"/>
                      <a:pt x="5" y="4"/>
                    </a:cubicBezTo>
                    <a:cubicBezTo>
                      <a:pt x="5" y="4"/>
                      <a:pt x="5" y="4"/>
                      <a:pt x="5" y="4"/>
                    </a:cubicBezTo>
                    <a:cubicBezTo>
                      <a:pt x="9" y="0"/>
                      <a:pt x="16" y="1"/>
                      <a:pt x="20" y="5"/>
                    </a:cubicBezTo>
                    <a:lnTo>
                      <a:pt x="45" y="32"/>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3" name="Freeform 184"/>
              <p:cNvSpPr>
                <a:spLocks/>
              </p:cNvSpPr>
              <p:nvPr/>
            </p:nvSpPr>
            <p:spPr bwMode="auto">
              <a:xfrm>
                <a:off x="4804609" y="6478894"/>
                <a:ext cx="67398" cy="78083"/>
              </a:xfrm>
              <a:custGeom>
                <a:avLst/>
                <a:gdLst>
                  <a:gd name="T0" fmla="*/ 10 w 28"/>
                  <a:gd name="T1" fmla="*/ 27 h 32"/>
                  <a:gd name="T2" fmla="*/ 9 w 28"/>
                  <a:gd name="T3" fmla="*/ 9 h 32"/>
                  <a:gd name="T4" fmla="*/ 28 w 28"/>
                  <a:gd name="T5" fmla="*/ 18 h 32"/>
                  <a:gd name="T6" fmla="*/ 21 w 28"/>
                  <a:gd name="T7" fmla="*/ 32 h 32"/>
                  <a:gd name="T8" fmla="*/ 10 w 28"/>
                  <a:gd name="T9" fmla="*/ 27 h 32"/>
                </a:gdLst>
                <a:ahLst/>
                <a:cxnLst>
                  <a:cxn ang="0">
                    <a:pos x="T0" y="T1"/>
                  </a:cxn>
                  <a:cxn ang="0">
                    <a:pos x="T2" y="T3"/>
                  </a:cxn>
                  <a:cxn ang="0">
                    <a:pos x="T4" y="T5"/>
                  </a:cxn>
                  <a:cxn ang="0">
                    <a:pos x="T6" y="T7"/>
                  </a:cxn>
                  <a:cxn ang="0">
                    <a:pos x="T8" y="T9"/>
                  </a:cxn>
                </a:cxnLst>
                <a:rect l="0" t="0" r="r" b="b"/>
                <a:pathLst>
                  <a:path w="28" h="32">
                    <a:moveTo>
                      <a:pt x="10" y="27"/>
                    </a:moveTo>
                    <a:cubicBezTo>
                      <a:pt x="10" y="27"/>
                      <a:pt x="18" y="18"/>
                      <a:pt x="9" y="9"/>
                    </a:cubicBezTo>
                    <a:cubicBezTo>
                      <a:pt x="0" y="0"/>
                      <a:pt x="28" y="18"/>
                      <a:pt x="28" y="18"/>
                    </a:cubicBezTo>
                    <a:cubicBezTo>
                      <a:pt x="21" y="32"/>
                      <a:pt x="21" y="32"/>
                      <a:pt x="21" y="32"/>
                    </a:cubicBezTo>
                    <a:lnTo>
                      <a:pt x="10" y="27"/>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4" name="Freeform 185"/>
              <p:cNvSpPr>
                <a:spLocks/>
              </p:cNvSpPr>
              <p:nvPr/>
            </p:nvSpPr>
            <p:spPr bwMode="auto">
              <a:xfrm>
                <a:off x="4728992" y="6456701"/>
                <a:ext cx="126577" cy="87946"/>
              </a:xfrm>
              <a:custGeom>
                <a:avLst/>
                <a:gdLst>
                  <a:gd name="T0" fmla="*/ 5 w 52"/>
                  <a:gd name="T1" fmla="*/ 7 h 36"/>
                  <a:gd name="T2" fmla="*/ 0 w 52"/>
                  <a:gd name="T3" fmla="*/ 16 h 36"/>
                  <a:gd name="T4" fmla="*/ 9 w 52"/>
                  <a:gd name="T5" fmla="*/ 21 h 36"/>
                  <a:gd name="T6" fmla="*/ 36 w 52"/>
                  <a:gd name="T7" fmla="*/ 34 h 36"/>
                  <a:gd name="T8" fmla="*/ 50 w 52"/>
                  <a:gd name="T9" fmla="*/ 29 h 36"/>
                  <a:gd name="T10" fmla="*/ 45 w 52"/>
                  <a:gd name="T11" fmla="*/ 16 h 36"/>
                  <a:gd name="T12" fmla="*/ 18 w 52"/>
                  <a:gd name="T13" fmla="*/ 3 h 36"/>
                  <a:gd name="T14" fmla="*/ 5 w 52"/>
                  <a:gd name="T15" fmla="*/ 7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6">
                    <a:moveTo>
                      <a:pt x="5" y="7"/>
                    </a:moveTo>
                    <a:cubicBezTo>
                      <a:pt x="0" y="16"/>
                      <a:pt x="0" y="16"/>
                      <a:pt x="0" y="16"/>
                    </a:cubicBezTo>
                    <a:cubicBezTo>
                      <a:pt x="9" y="21"/>
                      <a:pt x="9" y="21"/>
                      <a:pt x="9" y="21"/>
                    </a:cubicBezTo>
                    <a:cubicBezTo>
                      <a:pt x="36" y="34"/>
                      <a:pt x="36" y="34"/>
                      <a:pt x="36" y="34"/>
                    </a:cubicBezTo>
                    <a:cubicBezTo>
                      <a:pt x="41" y="36"/>
                      <a:pt x="47" y="34"/>
                      <a:pt x="50" y="29"/>
                    </a:cubicBezTo>
                    <a:cubicBezTo>
                      <a:pt x="52" y="25"/>
                      <a:pt x="50" y="19"/>
                      <a:pt x="45" y="16"/>
                    </a:cubicBezTo>
                    <a:cubicBezTo>
                      <a:pt x="18" y="3"/>
                      <a:pt x="18" y="3"/>
                      <a:pt x="18" y="3"/>
                    </a:cubicBezTo>
                    <a:cubicBezTo>
                      <a:pt x="13" y="0"/>
                      <a:pt x="7" y="2"/>
                      <a:pt x="5" y="7"/>
                    </a:cubicBez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sp>
            <p:nvSpPr>
              <p:cNvPr id="2025" name="Freeform 2024"/>
              <p:cNvSpPr>
                <a:spLocks/>
              </p:cNvSpPr>
              <p:nvPr/>
            </p:nvSpPr>
            <p:spPr bwMode="auto">
              <a:xfrm>
                <a:off x="4952556" y="6512592"/>
                <a:ext cx="307589" cy="263549"/>
              </a:xfrm>
              <a:custGeom>
                <a:avLst/>
                <a:gdLst>
                  <a:gd name="connsiteX0" fmla="*/ 268305 w 594088"/>
                  <a:gd name="connsiteY0" fmla="*/ 0 h 509028"/>
                  <a:gd name="connsiteX1" fmla="*/ 594088 w 594088"/>
                  <a:gd name="connsiteY1" fmla="*/ 253686 h 509028"/>
                  <a:gd name="connsiteX2" fmla="*/ 559511 w 594088"/>
                  <a:gd name="connsiteY2" fmla="*/ 291732 h 509028"/>
                  <a:gd name="connsiteX3" fmla="*/ 371666 w 594088"/>
                  <a:gd name="connsiteY3" fmla="*/ 446717 h 509028"/>
                  <a:gd name="connsiteX4" fmla="*/ 269099 w 594088"/>
                  <a:gd name="connsiteY4" fmla="*/ 509028 h 509028"/>
                  <a:gd name="connsiteX5" fmla="*/ 0 w 594088"/>
                  <a:gd name="connsiteY5" fmla="*/ 222266 h 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4088" h="509028">
                    <a:moveTo>
                      <a:pt x="268305" y="0"/>
                    </a:moveTo>
                    <a:lnTo>
                      <a:pt x="594088" y="253686"/>
                    </a:lnTo>
                    <a:lnTo>
                      <a:pt x="559511" y="291732"/>
                    </a:lnTo>
                    <a:cubicBezTo>
                      <a:pt x="502089" y="349153"/>
                      <a:pt x="439190" y="401099"/>
                      <a:pt x="371666" y="446717"/>
                    </a:cubicBezTo>
                    <a:lnTo>
                      <a:pt x="269099" y="509028"/>
                    </a:lnTo>
                    <a:lnTo>
                      <a:pt x="0" y="222266"/>
                    </a:lnTo>
                    <a:close/>
                  </a:path>
                </a:pathLst>
              </a:custGeom>
              <a:grpFill/>
              <a:ln w="4">
                <a:noFill/>
                <a:prstDash val="solid"/>
                <a:round/>
                <a:headEnd/>
                <a:tailEnd/>
              </a:ln>
            </p:spPr>
            <p:txBody>
              <a:bodyPr vert="horz" wrap="square" lIns="121839" tIns="60918" rIns="121839" bIns="60918" numCol="1" anchor="t" anchorCtr="0" compatLnSpc="1">
                <a:prstTxWarp prst="textNoShape">
                  <a:avLst/>
                </a:prstTxWarp>
              </a:bodyPr>
              <a:lstStyle/>
              <a:p>
                <a:pPr defTabSz="1218118">
                  <a:defRPr/>
                </a:pPr>
                <a:endParaRPr lang="en-US" sz="4220" kern="0" dirty="0">
                  <a:solidFill>
                    <a:srgbClr val="505050"/>
                  </a:solidFill>
                </a:endParaRPr>
              </a:p>
            </p:txBody>
          </p:sp>
        </p:grpSp>
        <p:sp>
          <p:nvSpPr>
            <p:cNvPr id="2015" name="Oval 2014"/>
            <p:cNvSpPr/>
            <p:nvPr/>
          </p:nvSpPr>
          <p:spPr>
            <a:xfrm>
              <a:off x="7933572" y="4542064"/>
              <a:ext cx="1940798" cy="1940798"/>
            </a:xfrm>
            <a:prstGeom prst="ellipse">
              <a:avLst/>
            </a:prstGeom>
            <a:noFill/>
            <a:ln w="19050" cap="flat" cmpd="sng" algn="ctr">
              <a:solidFill>
                <a:srgbClr val="0072C6"/>
              </a:solidFill>
              <a:prstDash val="solid"/>
            </a:ln>
            <a:effectLst/>
          </p:spPr>
          <p:txBody>
            <a:bodyPr rot="0" spcFirstLastPara="0" vertOverflow="overflow" horzOverflow="overflow" vert="horz" wrap="square" lIns="89604" tIns="89604" rIns="89604" bIns="89604" numCol="1" spcCol="0" rtlCol="0" fromWordArt="0" anchor="ctr" anchorCtr="0" forceAA="0" compatLnSpc="1">
              <a:prstTxWarp prst="textNoShape">
                <a:avLst/>
              </a:prstTxWarp>
              <a:noAutofit/>
            </a:bodyPr>
            <a:lstStyle/>
            <a:p>
              <a:pPr algn="ctr" defTabSz="913874">
                <a:defRPr/>
              </a:pPr>
              <a:endParaRPr lang="en-US" sz="1567" kern="0" dirty="0">
                <a:solidFill>
                  <a:srgbClr val="0072C6"/>
                </a:solidFill>
                <a:latin typeface="Segoe UI Semibold" panose="020B0702040204020203" pitchFamily="34" charset="0"/>
                <a:cs typeface="Segoe UI Semibold" panose="020B0702040204020203" pitchFamily="34" charset="0"/>
              </a:endParaRPr>
            </a:p>
          </p:txBody>
        </p:sp>
        <p:sp>
          <p:nvSpPr>
            <p:cNvPr id="2758" name="Oval 2757"/>
            <p:cNvSpPr/>
            <p:nvPr/>
          </p:nvSpPr>
          <p:spPr bwMode="auto">
            <a:xfrm>
              <a:off x="8846820" y="5243182"/>
              <a:ext cx="154940" cy="1549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31" name="Oval 2330"/>
            <p:cNvSpPr/>
            <p:nvPr/>
          </p:nvSpPr>
          <p:spPr bwMode="auto">
            <a:xfrm>
              <a:off x="8846820" y="5451462"/>
              <a:ext cx="154940" cy="1549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65" name="Group 1964"/>
          <p:cNvGrpSpPr/>
          <p:nvPr/>
        </p:nvGrpSpPr>
        <p:grpSpPr>
          <a:xfrm>
            <a:off x="6022046" y="4740924"/>
            <a:ext cx="537699" cy="537699"/>
            <a:chOff x="3375363" y="5849391"/>
            <a:chExt cx="204644" cy="204644"/>
          </a:xfrm>
        </p:grpSpPr>
        <p:sp>
          <p:nvSpPr>
            <p:cNvPr id="1997" name="Oval 1996"/>
            <p:cNvSpPr/>
            <p:nvPr/>
          </p:nvSpPr>
          <p:spPr bwMode="auto">
            <a:xfrm>
              <a:off x="3375363" y="5849391"/>
              <a:ext cx="204644" cy="204644"/>
            </a:xfrm>
            <a:prstGeom prst="ellipse">
              <a:avLst/>
            </a:prstGeom>
            <a:solidFill>
              <a:srgbClr val="FFFFFF"/>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98" name="Group 1997"/>
            <p:cNvGrpSpPr/>
            <p:nvPr/>
          </p:nvGrpSpPr>
          <p:grpSpPr>
            <a:xfrm>
              <a:off x="3424195" y="5897768"/>
              <a:ext cx="108249" cy="95465"/>
              <a:chOff x="3424195" y="5897768"/>
              <a:chExt cx="108249" cy="95465"/>
            </a:xfrm>
          </p:grpSpPr>
          <p:sp>
            <p:nvSpPr>
              <p:cNvPr id="1999" name="Freeform 132"/>
              <p:cNvSpPr>
                <a:spLocks/>
              </p:cNvSpPr>
              <p:nvPr/>
            </p:nvSpPr>
            <p:spPr bwMode="auto">
              <a:xfrm>
                <a:off x="3483807" y="5959138"/>
                <a:ext cx="18078" cy="34095"/>
              </a:xfrm>
              <a:custGeom>
                <a:avLst/>
                <a:gdLst>
                  <a:gd name="T0" fmla="*/ 0 w 24"/>
                  <a:gd name="T1" fmla="*/ 0 h 70"/>
                  <a:gd name="T2" fmla="*/ 0 w 24"/>
                  <a:gd name="T3" fmla="*/ 14 h 70"/>
                  <a:gd name="T4" fmla="*/ 0 w 24"/>
                  <a:gd name="T5" fmla="*/ 70 h 70"/>
                  <a:gd name="T6" fmla="*/ 24 w 24"/>
                  <a:gd name="T7" fmla="*/ 70 h 70"/>
                  <a:gd name="T8" fmla="*/ 24 w 24"/>
                  <a:gd name="T9" fmla="*/ 2 h 70"/>
                  <a:gd name="T10" fmla="*/ 24 w 24"/>
                  <a:gd name="T11" fmla="*/ 0 h 70"/>
                  <a:gd name="T12" fmla="*/ 0 w 2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24" h="70">
                    <a:moveTo>
                      <a:pt x="0" y="0"/>
                    </a:moveTo>
                    <a:lnTo>
                      <a:pt x="0" y="14"/>
                    </a:lnTo>
                    <a:lnTo>
                      <a:pt x="0" y="70"/>
                    </a:lnTo>
                    <a:lnTo>
                      <a:pt x="24" y="70"/>
                    </a:lnTo>
                    <a:lnTo>
                      <a:pt x="24" y="2"/>
                    </a:lnTo>
                    <a:lnTo>
                      <a:pt x="24" y="0"/>
                    </a:lnTo>
                    <a:lnTo>
                      <a:pt x="0" y="0"/>
                    </a:lnTo>
                    <a:close/>
                  </a:path>
                </a:pathLst>
              </a:custGeom>
              <a:solidFill>
                <a:srgbClr val="0072C6"/>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00" name="Freeform 134"/>
              <p:cNvSpPr>
                <a:spLocks/>
              </p:cNvSpPr>
              <p:nvPr/>
            </p:nvSpPr>
            <p:spPr bwMode="auto">
              <a:xfrm>
                <a:off x="3514366" y="5897768"/>
                <a:ext cx="18078" cy="95465"/>
              </a:xfrm>
              <a:custGeom>
                <a:avLst/>
                <a:gdLst>
                  <a:gd name="T0" fmla="*/ 0 w 24"/>
                  <a:gd name="T1" fmla="*/ 0 h 196"/>
                  <a:gd name="T2" fmla="*/ 0 w 24"/>
                  <a:gd name="T3" fmla="*/ 114 h 196"/>
                  <a:gd name="T4" fmla="*/ 0 w 24"/>
                  <a:gd name="T5" fmla="*/ 196 h 196"/>
                  <a:gd name="T6" fmla="*/ 24 w 24"/>
                  <a:gd name="T7" fmla="*/ 196 h 196"/>
                  <a:gd name="T8" fmla="*/ 24 w 24"/>
                  <a:gd name="T9" fmla="*/ 105 h 196"/>
                  <a:gd name="T10" fmla="*/ 24 w 24"/>
                  <a:gd name="T11" fmla="*/ 0 h 196"/>
                  <a:gd name="T12" fmla="*/ 0 w 24"/>
                  <a:gd name="T13" fmla="*/ 0 h 196"/>
                </a:gdLst>
                <a:ahLst/>
                <a:cxnLst>
                  <a:cxn ang="0">
                    <a:pos x="T0" y="T1"/>
                  </a:cxn>
                  <a:cxn ang="0">
                    <a:pos x="T2" y="T3"/>
                  </a:cxn>
                  <a:cxn ang="0">
                    <a:pos x="T4" y="T5"/>
                  </a:cxn>
                  <a:cxn ang="0">
                    <a:pos x="T6" y="T7"/>
                  </a:cxn>
                  <a:cxn ang="0">
                    <a:pos x="T8" y="T9"/>
                  </a:cxn>
                  <a:cxn ang="0">
                    <a:pos x="T10" y="T11"/>
                  </a:cxn>
                  <a:cxn ang="0">
                    <a:pos x="T12" y="T13"/>
                  </a:cxn>
                </a:cxnLst>
                <a:rect l="0" t="0" r="r" b="b"/>
                <a:pathLst>
                  <a:path w="24" h="196">
                    <a:moveTo>
                      <a:pt x="0" y="0"/>
                    </a:moveTo>
                    <a:lnTo>
                      <a:pt x="0" y="114"/>
                    </a:lnTo>
                    <a:lnTo>
                      <a:pt x="0" y="196"/>
                    </a:lnTo>
                    <a:lnTo>
                      <a:pt x="24" y="196"/>
                    </a:lnTo>
                    <a:lnTo>
                      <a:pt x="24" y="105"/>
                    </a:lnTo>
                    <a:lnTo>
                      <a:pt x="24" y="0"/>
                    </a:lnTo>
                    <a:lnTo>
                      <a:pt x="0" y="0"/>
                    </a:lnTo>
                    <a:close/>
                  </a:path>
                </a:pathLst>
              </a:custGeom>
              <a:solidFill>
                <a:srgbClr val="0072C6"/>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01" name="Freeform 136"/>
              <p:cNvSpPr>
                <a:spLocks/>
              </p:cNvSpPr>
              <p:nvPr/>
            </p:nvSpPr>
            <p:spPr bwMode="auto">
              <a:xfrm>
                <a:off x="3424195" y="5960113"/>
                <a:ext cx="17325" cy="33120"/>
              </a:xfrm>
              <a:custGeom>
                <a:avLst/>
                <a:gdLst>
                  <a:gd name="T0" fmla="*/ 0 w 23"/>
                  <a:gd name="T1" fmla="*/ 0 h 68"/>
                  <a:gd name="T2" fmla="*/ 0 w 23"/>
                  <a:gd name="T3" fmla="*/ 38 h 68"/>
                  <a:gd name="T4" fmla="*/ 0 w 23"/>
                  <a:gd name="T5" fmla="*/ 68 h 68"/>
                  <a:gd name="T6" fmla="*/ 23 w 23"/>
                  <a:gd name="T7" fmla="*/ 68 h 68"/>
                  <a:gd name="T8" fmla="*/ 23 w 23"/>
                  <a:gd name="T9" fmla="*/ 26 h 68"/>
                  <a:gd name="T10" fmla="*/ 23 w 23"/>
                  <a:gd name="T11" fmla="*/ 0 h 68"/>
                  <a:gd name="T12" fmla="*/ 0 w 23"/>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3" h="68">
                    <a:moveTo>
                      <a:pt x="0" y="0"/>
                    </a:moveTo>
                    <a:lnTo>
                      <a:pt x="0" y="38"/>
                    </a:lnTo>
                    <a:lnTo>
                      <a:pt x="0" y="68"/>
                    </a:lnTo>
                    <a:lnTo>
                      <a:pt x="23" y="68"/>
                    </a:lnTo>
                    <a:lnTo>
                      <a:pt x="23" y="26"/>
                    </a:lnTo>
                    <a:lnTo>
                      <a:pt x="23" y="0"/>
                    </a:lnTo>
                    <a:lnTo>
                      <a:pt x="0" y="0"/>
                    </a:lnTo>
                    <a:close/>
                  </a:path>
                </a:pathLst>
              </a:custGeom>
              <a:solidFill>
                <a:srgbClr val="0072C6"/>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sp>
            <p:nvSpPr>
              <p:cNvPr id="2002" name="Freeform 137"/>
              <p:cNvSpPr>
                <a:spLocks/>
              </p:cNvSpPr>
              <p:nvPr/>
            </p:nvSpPr>
            <p:spPr bwMode="auto">
              <a:xfrm>
                <a:off x="3454001" y="5924070"/>
                <a:ext cx="17325" cy="69163"/>
              </a:xfrm>
              <a:custGeom>
                <a:avLst/>
                <a:gdLst>
                  <a:gd name="T0" fmla="*/ 0 w 23"/>
                  <a:gd name="T1" fmla="*/ 0 h 142"/>
                  <a:gd name="T2" fmla="*/ 0 w 23"/>
                  <a:gd name="T3" fmla="*/ 107 h 142"/>
                  <a:gd name="T4" fmla="*/ 0 w 23"/>
                  <a:gd name="T5" fmla="*/ 142 h 142"/>
                  <a:gd name="T6" fmla="*/ 23 w 23"/>
                  <a:gd name="T7" fmla="*/ 142 h 142"/>
                  <a:gd name="T8" fmla="*/ 23 w 23"/>
                  <a:gd name="T9" fmla="*/ 98 h 142"/>
                  <a:gd name="T10" fmla="*/ 23 w 23"/>
                  <a:gd name="T11" fmla="*/ 0 h 142"/>
                  <a:gd name="T12" fmla="*/ 0 w 23"/>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23" h="142">
                    <a:moveTo>
                      <a:pt x="0" y="0"/>
                    </a:moveTo>
                    <a:lnTo>
                      <a:pt x="0" y="107"/>
                    </a:lnTo>
                    <a:lnTo>
                      <a:pt x="0" y="142"/>
                    </a:lnTo>
                    <a:lnTo>
                      <a:pt x="23" y="142"/>
                    </a:lnTo>
                    <a:lnTo>
                      <a:pt x="23" y="98"/>
                    </a:lnTo>
                    <a:lnTo>
                      <a:pt x="23" y="0"/>
                    </a:lnTo>
                    <a:lnTo>
                      <a:pt x="0" y="0"/>
                    </a:lnTo>
                    <a:close/>
                  </a:path>
                </a:pathLst>
              </a:custGeom>
              <a:solidFill>
                <a:srgbClr val="0072C6"/>
              </a:solidFill>
              <a:ln>
                <a:noFill/>
              </a:ln>
            </p:spPr>
            <p:txBody>
              <a:bodyPr vert="horz" wrap="square" lIns="89604" tIns="44802" rIns="89604" bIns="44802" numCol="1" anchor="t" anchorCtr="0" compatLnSpc="1">
                <a:prstTxWarp prst="textNoShape">
                  <a:avLst/>
                </a:prstTxWarp>
              </a:bodyPr>
              <a:lstStyle/>
              <a:p>
                <a:pPr defTabSz="913874">
                  <a:defRPr/>
                </a:pPr>
                <a:endParaRPr lang="en-US" sz="1765" kern="0" dirty="0">
                  <a:solidFill>
                    <a:srgbClr val="505050"/>
                  </a:solidFill>
                </a:endParaRPr>
              </a:p>
            </p:txBody>
          </p:sp>
        </p:grpSp>
      </p:grpSp>
      <p:grpSp>
        <p:nvGrpSpPr>
          <p:cNvPr id="63" name="Group 62"/>
          <p:cNvGrpSpPr/>
          <p:nvPr/>
        </p:nvGrpSpPr>
        <p:grpSpPr>
          <a:xfrm>
            <a:off x="8265106" y="4796424"/>
            <a:ext cx="336153" cy="336153"/>
            <a:chOff x="8261200" y="4923015"/>
            <a:chExt cx="283464" cy="283464"/>
          </a:xfrm>
        </p:grpSpPr>
        <p:sp>
          <p:nvSpPr>
            <p:cNvPr id="3202" name="Oval 3201"/>
            <p:cNvSpPr/>
            <p:nvPr/>
          </p:nvSpPr>
          <p:spPr bwMode="auto">
            <a:xfrm>
              <a:off x="8261200" y="4923015"/>
              <a:ext cx="283464" cy="283464"/>
            </a:xfrm>
            <a:prstGeom prst="ellipse">
              <a:avLst/>
            </a:prstGeom>
            <a:solidFill>
              <a:srgbClr val="FFFFFF"/>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765"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05" name="Group 3204"/>
            <p:cNvGrpSpPr/>
            <p:nvPr/>
          </p:nvGrpSpPr>
          <p:grpSpPr>
            <a:xfrm>
              <a:off x="8335212" y="4980183"/>
              <a:ext cx="142807" cy="162735"/>
              <a:chOff x="7925348" y="3008686"/>
              <a:chExt cx="172282" cy="196321"/>
            </a:xfrm>
            <a:noFill/>
          </p:grpSpPr>
          <p:sp>
            <p:nvSpPr>
              <p:cNvPr id="3206" name="Freeform 32"/>
              <p:cNvSpPr>
                <a:spLocks/>
              </p:cNvSpPr>
              <p:nvPr/>
            </p:nvSpPr>
            <p:spPr bwMode="auto">
              <a:xfrm>
                <a:off x="7926005" y="3008686"/>
                <a:ext cx="170947" cy="196321"/>
              </a:xfrm>
              <a:custGeom>
                <a:avLst/>
                <a:gdLst>
                  <a:gd name="T0" fmla="*/ 64 w 128"/>
                  <a:gd name="T1" fmla="*/ 147 h 147"/>
                  <a:gd name="T2" fmla="*/ 0 w 128"/>
                  <a:gd name="T3" fmla="*/ 115 h 147"/>
                  <a:gd name="T4" fmla="*/ 0 w 128"/>
                  <a:gd name="T5" fmla="*/ 32 h 147"/>
                  <a:gd name="T6" fmla="*/ 64 w 128"/>
                  <a:gd name="T7" fmla="*/ 0 h 147"/>
                  <a:gd name="T8" fmla="*/ 128 w 128"/>
                  <a:gd name="T9" fmla="*/ 32 h 147"/>
                  <a:gd name="T10" fmla="*/ 128 w 128"/>
                  <a:gd name="T11" fmla="*/ 115 h 147"/>
                  <a:gd name="T12" fmla="*/ 64 w 128"/>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28" h="147">
                    <a:moveTo>
                      <a:pt x="64" y="147"/>
                    </a:moveTo>
                    <a:lnTo>
                      <a:pt x="0" y="115"/>
                    </a:lnTo>
                    <a:lnTo>
                      <a:pt x="0" y="32"/>
                    </a:lnTo>
                    <a:lnTo>
                      <a:pt x="64" y="0"/>
                    </a:lnTo>
                    <a:lnTo>
                      <a:pt x="128" y="32"/>
                    </a:lnTo>
                    <a:lnTo>
                      <a:pt x="128" y="115"/>
                    </a:lnTo>
                    <a:lnTo>
                      <a:pt x="64" y="147"/>
                    </a:lnTo>
                    <a:close/>
                  </a:path>
                </a:pathLst>
              </a:custGeom>
              <a:grpFill/>
              <a:ln w="12700" cap="flat">
                <a:solidFill>
                  <a:schemeClr val="accent1"/>
                </a:solidFill>
                <a:prstDash val="solid"/>
                <a:round/>
                <a:headEnd/>
                <a:tailEnd/>
              </a:ln>
            </p:spPr>
            <p:txBody>
              <a:bodyPr vert="horz" wrap="square" lIns="67195" tIns="33597" rIns="67195" bIns="33597" numCol="1" anchor="t" anchorCtr="0" compatLnSpc="1">
                <a:prstTxWarp prst="textNoShape">
                  <a:avLst/>
                </a:prstTxWarp>
              </a:bodyPr>
              <a:lstStyle/>
              <a:p>
                <a:pPr defTabSz="671886">
                  <a:defRPr/>
                </a:pPr>
                <a:endParaRPr lang="en-US" sz="765" kern="0" dirty="0">
                  <a:solidFill>
                    <a:srgbClr val="5B6770"/>
                  </a:solidFill>
                </a:endParaRPr>
              </a:p>
            </p:txBody>
          </p:sp>
          <p:sp>
            <p:nvSpPr>
              <p:cNvPr id="3207" name="Freeform 33"/>
              <p:cNvSpPr>
                <a:spLocks/>
              </p:cNvSpPr>
              <p:nvPr/>
            </p:nvSpPr>
            <p:spPr bwMode="auto">
              <a:xfrm>
                <a:off x="7925348" y="3052758"/>
                <a:ext cx="172282" cy="42736"/>
              </a:xfrm>
              <a:custGeom>
                <a:avLst/>
                <a:gdLst>
                  <a:gd name="T0" fmla="*/ 0 w 129"/>
                  <a:gd name="T1" fmla="*/ 0 h 32"/>
                  <a:gd name="T2" fmla="*/ 62 w 129"/>
                  <a:gd name="T3" fmla="*/ 32 h 32"/>
                  <a:gd name="T4" fmla="*/ 129 w 129"/>
                  <a:gd name="T5" fmla="*/ 1 h 32"/>
                </a:gdLst>
                <a:ahLst/>
                <a:cxnLst>
                  <a:cxn ang="0">
                    <a:pos x="T0" y="T1"/>
                  </a:cxn>
                  <a:cxn ang="0">
                    <a:pos x="T2" y="T3"/>
                  </a:cxn>
                  <a:cxn ang="0">
                    <a:pos x="T4" y="T5"/>
                  </a:cxn>
                </a:cxnLst>
                <a:rect l="0" t="0" r="r" b="b"/>
                <a:pathLst>
                  <a:path w="129" h="32">
                    <a:moveTo>
                      <a:pt x="0" y="0"/>
                    </a:moveTo>
                    <a:lnTo>
                      <a:pt x="62" y="32"/>
                    </a:lnTo>
                    <a:lnTo>
                      <a:pt x="129" y="1"/>
                    </a:lnTo>
                  </a:path>
                </a:pathLst>
              </a:custGeom>
              <a:grpFill/>
              <a:ln w="12700" cap="flat">
                <a:solidFill>
                  <a:schemeClr val="accent1"/>
                </a:solidFill>
                <a:prstDash val="solid"/>
                <a:round/>
                <a:headEnd/>
                <a:tailEnd/>
              </a:ln>
            </p:spPr>
            <p:txBody>
              <a:bodyPr vert="horz" wrap="square" lIns="67195" tIns="33597" rIns="67195" bIns="33597" numCol="1" anchor="t" anchorCtr="0" compatLnSpc="1">
                <a:prstTxWarp prst="textNoShape">
                  <a:avLst/>
                </a:prstTxWarp>
              </a:bodyPr>
              <a:lstStyle/>
              <a:p>
                <a:pPr defTabSz="671886">
                  <a:defRPr/>
                </a:pPr>
                <a:endParaRPr lang="en-US" sz="765" kern="0" dirty="0">
                  <a:solidFill>
                    <a:srgbClr val="5B6770"/>
                  </a:solidFill>
                </a:endParaRPr>
              </a:p>
            </p:txBody>
          </p:sp>
          <p:sp>
            <p:nvSpPr>
              <p:cNvPr id="3208" name="Freeform 32"/>
              <p:cNvSpPr>
                <a:spLocks/>
              </p:cNvSpPr>
              <p:nvPr/>
            </p:nvSpPr>
            <p:spPr bwMode="auto">
              <a:xfrm>
                <a:off x="7926005" y="3008686"/>
                <a:ext cx="170947" cy="196321"/>
              </a:xfrm>
              <a:custGeom>
                <a:avLst/>
                <a:gdLst>
                  <a:gd name="T0" fmla="*/ 64 w 128"/>
                  <a:gd name="T1" fmla="*/ 147 h 147"/>
                  <a:gd name="T2" fmla="*/ 0 w 128"/>
                  <a:gd name="T3" fmla="*/ 115 h 147"/>
                  <a:gd name="T4" fmla="*/ 0 w 128"/>
                  <a:gd name="T5" fmla="*/ 32 h 147"/>
                  <a:gd name="T6" fmla="*/ 64 w 128"/>
                  <a:gd name="T7" fmla="*/ 0 h 147"/>
                  <a:gd name="T8" fmla="*/ 128 w 128"/>
                  <a:gd name="T9" fmla="*/ 32 h 147"/>
                  <a:gd name="T10" fmla="*/ 128 w 128"/>
                  <a:gd name="T11" fmla="*/ 115 h 147"/>
                  <a:gd name="T12" fmla="*/ 64 w 128"/>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28" h="147">
                    <a:moveTo>
                      <a:pt x="64" y="147"/>
                    </a:moveTo>
                    <a:lnTo>
                      <a:pt x="0" y="115"/>
                    </a:lnTo>
                    <a:lnTo>
                      <a:pt x="0" y="32"/>
                    </a:lnTo>
                    <a:lnTo>
                      <a:pt x="64" y="0"/>
                    </a:lnTo>
                    <a:lnTo>
                      <a:pt x="128" y="32"/>
                    </a:lnTo>
                    <a:lnTo>
                      <a:pt x="128" y="115"/>
                    </a:lnTo>
                    <a:lnTo>
                      <a:pt x="64" y="147"/>
                    </a:lnTo>
                    <a:close/>
                  </a:path>
                </a:pathLst>
              </a:custGeom>
              <a:grpFill/>
              <a:ln w="12700" cap="flat">
                <a:solidFill>
                  <a:schemeClr val="accent1"/>
                </a:solidFill>
                <a:prstDash val="solid"/>
                <a:round/>
                <a:headEnd/>
                <a:tailEnd/>
              </a:ln>
            </p:spPr>
            <p:txBody>
              <a:bodyPr vert="horz" wrap="square" lIns="67195" tIns="33597" rIns="67195" bIns="33597" numCol="1" anchor="t" anchorCtr="0" compatLnSpc="1">
                <a:prstTxWarp prst="textNoShape">
                  <a:avLst/>
                </a:prstTxWarp>
              </a:bodyPr>
              <a:lstStyle/>
              <a:p>
                <a:pPr defTabSz="671886">
                  <a:defRPr/>
                </a:pPr>
                <a:endParaRPr lang="en-US" sz="765" kern="0" dirty="0">
                  <a:solidFill>
                    <a:srgbClr val="5B6770"/>
                  </a:solidFill>
                </a:endParaRPr>
              </a:p>
            </p:txBody>
          </p:sp>
        </p:grpSp>
      </p:grpSp>
      <p:grpSp>
        <p:nvGrpSpPr>
          <p:cNvPr id="60" name="Group 59"/>
          <p:cNvGrpSpPr/>
          <p:nvPr/>
        </p:nvGrpSpPr>
        <p:grpSpPr>
          <a:xfrm>
            <a:off x="4519395" y="3435785"/>
            <a:ext cx="367750" cy="367751"/>
            <a:chOff x="4426896" y="3526870"/>
            <a:chExt cx="341118" cy="341119"/>
          </a:xfrm>
        </p:grpSpPr>
        <p:sp>
          <p:nvSpPr>
            <p:cNvPr id="1428" name="Oval 1427"/>
            <p:cNvSpPr/>
            <p:nvPr/>
          </p:nvSpPr>
          <p:spPr bwMode="auto">
            <a:xfrm>
              <a:off x="4426896" y="3526870"/>
              <a:ext cx="341118" cy="341119"/>
            </a:xfrm>
            <a:prstGeom prst="ellipse">
              <a:avLst/>
            </a:prstGeom>
            <a:solidFill>
              <a:srgbClr val="FFFFFF">
                <a:alpha val="74902"/>
              </a:srgbClr>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90" name="Group 1789"/>
            <p:cNvGrpSpPr>
              <a:grpSpLocks noChangeAspect="1"/>
            </p:cNvGrpSpPr>
            <p:nvPr/>
          </p:nvGrpSpPr>
          <p:grpSpPr>
            <a:xfrm>
              <a:off x="4497389" y="3587032"/>
              <a:ext cx="195515" cy="225040"/>
              <a:chOff x="6983648" y="1445099"/>
              <a:chExt cx="547340" cy="626953"/>
            </a:xfrm>
          </p:grpSpPr>
          <p:grpSp>
            <p:nvGrpSpPr>
              <p:cNvPr id="1861" name="Group 1860"/>
              <p:cNvGrpSpPr/>
              <p:nvPr/>
            </p:nvGrpSpPr>
            <p:grpSpPr>
              <a:xfrm>
                <a:off x="7194775" y="1531034"/>
                <a:ext cx="142870" cy="365650"/>
                <a:chOff x="7010073" y="1548130"/>
                <a:chExt cx="1648459" cy="4218939"/>
              </a:xfrm>
              <a:solidFill>
                <a:srgbClr val="00188F"/>
              </a:solidFill>
            </p:grpSpPr>
            <p:sp>
              <p:nvSpPr>
                <p:cNvPr id="1863"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0072C6">
                    <a:lumMod val="40000"/>
                    <a:lumOff val="60000"/>
                  </a:srgbClr>
                </a:solidFill>
                <a:ln w="9525">
                  <a:noFill/>
                  <a:round/>
                  <a:headEnd/>
                  <a:tailEnd/>
                </a:ln>
              </p:spPr>
              <p:txBody>
                <a:bodyPr vert="horz" wrap="square" lIns="91388" tIns="45694" rIns="91388" bIns="45694" numCol="1" anchor="t" anchorCtr="0" compatLnSpc="1">
                  <a:prstTxWarp prst="textNoShape">
                    <a:avLst/>
                  </a:prstTxWarp>
                </a:bodyPr>
                <a:lstStyle/>
                <a:p>
                  <a:pPr defTabSz="913698">
                    <a:defRPr/>
                  </a:pPr>
                  <a:endParaRPr lang="en-US" sz="1600" kern="0" dirty="0">
                    <a:solidFill>
                      <a:srgbClr val="00188F"/>
                    </a:solidFill>
                  </a:endParaRPr>
                </a:p>
              </p:txBody>
            </p:sp>
            <p:sp>
              <p:nvSpPr>
                <p:cNvPr id="1864"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0072C6"/>
                </a:solidFill>
                <a:ln w="3175">
                  <a:noFill/>
                  <a:round/>
                  <a:headEnd/>
                  <a:tailEnd/>
                </a:ln>
              </p:spPr>
              <p:txBody>
                <a:bodyPr vert="horz" wrap="square" lIns="91388" tIns="45694" rIns="91388" bIns="45694" numCol="1" anchor="t" anchorCtr="0" compatLnSpc="1">
                  <a:prstTxWarp prst="textNoShape">
                    <a:avLst/>
                  </a:prstTxWarp>
                </a:bodyPr>
                <a:lstStyle/>
                <a:p>
                  <a:pPr defTabSz="913698">
                    <a:defRPr/>
                  </a:pPr>
                  <a:endParaRPr lang="en-US" sz="1600" kern="0" dirty="0">
                    <a:solidFill>
                      <a:srgbClr val="00188F"/>
                    </a:solidFill>
                  </a:endParaRPr>
                </a:p>
              </p:txBody>
            </p:sp>
          </p:grpSp>
          <p:sp>
            <p:nvSpPr>
              <p:cNvPr id="1862"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790" name="Freeform 11"/>
          <p:cNvSpPr>
            <a:spLocks/>
          </p:cNvSpPr>
          <p:nvPr/>
        </p:nvSpPr>
        <p:spPr bwMode="auto">
          <a:xfrm flipH="1">
            <a:off x="7149054" y="3422615"/>
            <a:ext cx="554323" cy="860121"/>
          </a:xfrm>
          <a:custGeom>
            <a:avLst/>
            <a:gdLst>
              <a:gd name="T0" fmla="*/ 358 w 1085"/>
              <a:gd name="T1" fmla="*/ 46 h 1681"/>
              <a:gd name="T2" fmla="*/ 397 w 1085"/>
              <a:gd name="T3" fmla="*/ 18 h 1681"/>
              <a:gd name="T4" fmla="*/ 443 w 1085"/>
              <a:gd name="T5" fmla="*/ 4 h 1681"/>
              <a:gd name="T6" fmla="*/ 526 w 1085"/>
              <a:gd name="T7" fmla="*/ 0 h 1681"/>
              <a:gd name="T8" fmla="*/ 590 w 1085"/>
              <a:gd name="T9" fmla="*/ 0 h 1681"/>
              <a:gd name="T10" fmla="*/ 740 w 1085"/>
              <a:gd name="T11" fmla="*/ 0 h 1681"/>
              <a:gd name="T12" fmla="*/ 865 w 1085"/>
              <a:gd name="T13" fmla="*/ 5 h 1681"/>
              <a:gd name="T14" fmla="*/ 938 w 1085"/>
              <a:gd name="T15" fmla="*/ 19 h 1681"/>
              <a:gd name="T16" fmla="*/ 984 w 1085"/>
              <a:gd name="T17" fmla="*/ 36 h 1681"/>
              <a:gd name="T18" fmla="*/ 1023 w 1085"/>
              <a:gd name="T19" fmla="*/ 61 h 1681"/>
              <a:gd name="T20" fmla="*/ 1050 w 1085"/>
              <a:gd name="T21" fmla="*/ 94 h 1681"/>
              <a:gd name="T22" fmla="*/ 1068 w 1085"/>
              <a:gd name="T23" fmla="*/ 136 h 1681"/>
              <a:gd name="T24" fmla="*/ 1082 w 1085"/>
              <a:gd name="T25" fmla="*/ 210 h 1681"/>
              <a:gd name="T26" fmla="*/ 1084 w 1085"/>
              <a:gd name="T27" fmla="*/ 368 h 1681"/>
              <a:gd name="T28" fmla="*/ 1084 w 1085"/>
              <a:gd name="T29" fmla="*/ 690 h 1681"/>
              <a:gd name="T30" fmla="*/ 1082 w 1085"/>
              <a:gd name="T31" fmla="*/ 762 h 1681"/>
              <a:gd name="T32" fmla="*/ 1079 w 1085"/>
              <a:gd name="T33" fmla="*/ 783 h 1681"/>
              <a:gd name="T34" fmla="*/ 1054 w 1085"/>
              <a:gd name="T35" fmla="*/ 811 h 1681"/>
              <a:gd name="T36" fmla="*/ 1018 w 1085"/>
              <a:gd name="T37" fmla="*/ 824 h 1681"/>
              <a:gd name="T38" fmla="*/ 980 w 1085"/>
              <a:gd name="T39" fmla="*/ 819 h 1681"/>
              <a:gd name="T40" fmla="*/ 953 w 1085"/>
              <a:gd name="T41" fmla="*/ 794 h 1681"/>
              <a:gd name="T42" fmla="*/ 947 w 1085"/>
              <a:gd name="T43" fmla="*/ 775 h 1681"/>
              <a:gd name="T44" fmla="*/ 944 w 1085"/>
              <a:gd name="T45" fmla="*/ 706 h 1681"/>
              <a:gd name="T46" fmla="*/ 943 w 1085"/>
              <a:gd name="T47" fmla="*/ 398 h 1681"/>
              <a:gd name="T48" fmla="*/ 891 w 1085"/>
              <a:gd name="T49" fmla="*/ 274 h 1681"/>
              <a:gd name="T50" fmla="*/ 891 w 1085"/>
              <a:gd name="T51" fmla="*/ 1573 h 1681"/>
              <a:gd name="T52" fmla="*/ 890 w 1085"/>
              <a:gd name="T53" fmla="*/ 1600 h 1681"/>
              <a:gd name="T54" fmla="*/ 874 w 1085"/>
              <a:gd name="T55" fmla="*/ 1636 h 1681"/>
              <a:gd name="T56" fmla="*/ 849 w 1085"/>
              <a:gd name="T57" fmla="*/ 1663 h 1681"/>
              <a:gd name="T58" fmla="*/ 814 w 1085"/>
              <a:gd name="T59" fmla="*/ 1679 h 1681"/>
              <a:gd name="T60" fmla="*/ 775 w 1085"/>
              <a:gd name="T61" fmla="*/ 1680 h 1681"/>
              <a:gd name="T62" fmla="*/ 749 w 1085"/>
              <a:gd name="T63" fmla="*/ 1672 h 1681"/>
              <a:gd name="T64" fmla="*/ 731 w 1085"/>
              <a:gd name="T65" fmla="*/ 1665 h 1681"/>
              <a:gd name="T66" fmla="*/ 721 w 1085"/>
              <a:gd name="T67" fmla="*/ 1650 h 1681"/>
              <a:gd name="T68" fmla="*/ 710 w 1085"/>
              <a:gd name="T69" fmla="*/ 1616 h 1681"/>
              <a:gd name="T70" fmla="*/ 707 w 1085"/>
              <a:gd name="T71" fmla="*/ 1495 h 1681"/>
              <a:gd name="T72" fmla="*/ 707 w 1085"/>
              <a:gd name="T73" fmla="*/ 1016 h 1681"/>
              <a:gd name="T74" fmla="*/ 703 w 1085"/>
              <a:gd name="T75" fmla="*/ 825 h 1681"/>
              <a:gd name="T76" fmla="*/ 655 w 1085"/>
              <a:gd name="T77" fmla="*/ 917 h 1681"/>
              <a:gd name="T78" fmla="*/ 655 w 1085"/>
              <a:gd name="T79" fmla="*/ 1411 h 1681"/>
              <a:gd name="T80" fmla="*/ 654 w 1085"/>
              <a:gd name="T81" fmla="*/ 1609 h 1681"/>
              <a:gd name="T82" fmla="*/ 645 w 1085"/>
              <a:gd name="T83" fmla="*/ 1635 h 1681"/>
              <a:gd name="T84" fmla="*/ 629 w 1085"/>
              <a:gd name="T85" fmla="*/ 1656 h 1681"/>
              <a:gd name="T86" fmla="*/ 601 w 1085"/>
              <a:gd name="T87" fmla="*/ 1672 h 1681"/>
              <a:gd name="T88" fmla="*/ 549 w 1085"/>
              <a:gd name="T89" fmla="*/ 1680 h 1681"/>
              <a:gd name="T90" fmla="*/ 501 w 1085"/>
              <a:gd name="T91" fmla="*/ 1665 h 1681"/>
              <a:gd name="T92" fmla="*/ 482 w 1085"/>
              <a:gd name="T93" fmla="*/ 1648 h 1681"/>
              <a:gd name="T94" fmla="*/ 469 w 1085"/>
              <a:gd name="T95" fmla="*/ 1627 h 1681"/>
              <a:gd name="T96" fmla="*/ 463 w 1085"/>
              <a:gd name="T97" fmla="*/ 1600 h 1681"/>
              <a:gd name="T98" fmla="*/ 461 w 1085"/>
              <a:gd name="T99" fmla="*/ 1241 h 1681"/>
              <a:gd name="T100" fmla="*/ 461 w 1085"/>
              <a:gd name="T101" fmla="*/ 190 h 1681"/>
              <a:gd name="T102" fmla="*/ 377 w 1085"/>
              <a:gd name="T103" fmla="*/ 285 h 1681"/>
              <a:gd name="T104" fmla="*/ 216 w 1085"/>
              <a:gd name="T105" fmla="*/ 482 h 1681"/>
              <a:gd name="T106" fmla="*/ 129 w 1085"/>
              <a:gd name="T107" fmla="*/ 575 h 1681"/>
              <a:gd name="T108" fmla="*/ 110 w 1085"/>
              <a:gd name="T109" fmla="*/ 586 h 1681"/>
              <a:gd name="T110" fmla="*/ 75 w 1085"/>
              <a:gd name="T111" fmla="*/ 590 h 1681"/>
              <a:gd name="T112" fmla="*/ 38 w 1085"/>
              <a:gd name="T113" fmla="*/ 575 h 1681"/>
              <a:gd name="T114" fmla="*/ 11 w 1085"/>
              <a:gd name="T115" fmla="*/ 544 h 1681"/>
              <a:gd name="T116" fmla="*/ 0 w 1085"/>
              <a:gd name="T117" fmla="*/ 504 h 1681"/>
              <a:gd name="T118" fmla="*/ 11 w 1085"/>
              <a:gd name="T119" fmla="*/ 469 h 1681"/>
              <a:gd name="T120" fmla="*/ 56 w 1085"/>
              <a:gd name="T121" fmla="*/ 411 h 1681"/>
              <a:gd name="T122" fmla="*/ 264 w 1085"/>
              <a:gd name="T123" fmla="*/ 160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5" h="1681">
                <a:moveTo>
                  <a:pt x="346" y="59"/>
                </a:moveTo>
                <a:lnTo>
                  <a:pt x="346" y="59"/>
                </a:lnTo>
                <a:lnTo>
                  <a:pt x="358" y="46"/>
                </a:lnTo>
                <a:lnTo>
                  <a:pt x="370" y="35"/>
                </a:lnTo>
                <a:lnTo>
                  <a:pt x="382" y="26"/>
                </a:lnTo>
                <a:lnTo>
                  <a:pt x="397" y="18"/>
                </a:lnTo>
                <a:lnTo>
                  <a:pt x="411" y="12"/>
                </a:lnTo>
                <a:lnTo>
                  <a:pt x="426" y="8"/>
                </a:lnTo>
                <a:lnTo>
                  <a:pt x="443" y="4"/>
                </a:lnTo>
                <a:lnTo>
                  <a:pt x="459" y="1"/>
                </a:lnTo>
                <a:lnTo>
                  <a:pt x="492" y="0"/>
                </a:lnTo>
                <a:lnTo>
                  <a:pt x="526" y="0"/>
                </a:lnTo>
                <a:lnTo>
                  <a:pt x="558" y="0"/>
                </a:lnTo>
                <a:lnTo>
                  <a:pt x="590" y="0"/>
                </a:lnTo>
                <a:lnTo>
                  <a:pt x="590" y="0"/>
                </a:lnTo>
                <a:lnTo>
                  <a:pt x="641" y="1"/>
                </a:lnTo>
                <a:lnTo>
                  <a:pt x="690" y="1"/>
                </a:lnTo>
                <a:lnTo>
                  <a:pt x="740" y="0"/>
                </a:lnTo>
                <a:lnTo>
                  <a:pt x="791" y="0"/>
                </a:lnTo>
                <a:lnTo>
                  <a:pt x="840" y="2"/>
                </a:lnTo>
                <a:lnTo>
                  <a:pt x="865" y="5"/>
                </a:lnTo>
                <a:lnTo>
                  <a:pt x="889" y="9"/>
                </a:lnTo>
                <a:lnTo>
                  <a:pt x="913" y="14"/>
                </a:lnTo>
                <a:lnTo>
                  <a:pt x="938" y="19"/>
                </a:lnTo>
                <a:lnTo>
                  <a:pt x="961" y="27"/>
                </a:lnTo>
                <a:lnTo>
                  <a:pt x="984" y="36"/>
                </a:lnTo>
                <a:lnTo>
                  <a:pt x="984" y="36"/>
                </a:lnTo>
                <a:lnTo>
                  <a:pt x="998" y="43"/>
                </a:lnTo>
                <a:lnTo>
                  <a:pt x="1011" y="50"/>
                </a:lnTo>
                <a:lnTo>
                  <a:pt x="1023" y="61"/>
                </a:lnTo>
                <a:lnTo>
                  <a:pt x="1033" y="71"/>
                </a:lnTo>
                <a:lnTo>
                  <a:pt x="1042" y="83"/>
                </a:lnTo>
                <a:lnTo>
                  <a:pt x="1050" y="94"/>
                </a:lnTo>
                <a:lnTo>
                  <a:pt x="1057" y="108"/>
                </a:lnTo>
                <a:lnTo>
                  <a:pt x="1063" y="121"/>
                </a:lnTo>
                <a:lnTo>
                  <a:pt x="1068" y="136"/>
                </a:lnTo>
                <a:lnTo>
                  <a:pt x="1072" y="151"/>
                </a:lnTo>
                <a:lnTo>
                  <a:pt x="1079" y="181"/>
                </a:lnTo>
                <a:lnTo>
                  <a:pt x="1082" y="210"/>
                </a:lnTo>
                <a:lnTo>
                  <a:pt x="1085" y="240"/>
                </a:lnTo>
                <a:lnTo>
                  <a:pt x="1085" y="240"/>
                </a:lnTo>
                <a:lnTo>
                  <a:pt x="1084" y="368"/>
                </a:lnTo>
                <a:lnTo>
                  <a:pt x="1085" y="497"/>
                </a:lnTo>
                <a:lnTo>
                  <a:pt x="1085" y="626"/>
                </a:lnTo>
                <a:lnTo>
                  <a:pt x="1084" y="690"/>
                </a:lnTo>
                <a:lnTo>
                  <a:pt x="1082" y="754"/>
                </a:lnTo>
                <a:lnTo>
                  <a:pt x="1082" y="754"/>
                </a:lnTo>
                <a:lnTo>
                  <a:pt x="1082" y="762"/>
                </a:lnTo>
                <a:lnTo>
                  <a:pt x="1082" y="770"/>
                </a:lnTo>
                <a:lnTo>
                  <a:pt x="1081" y="776"/>
                </a:lnTo>
                <a:lnTo>
                  <a:pt x="1079" y="783"/>
                </a:lnTo>
                <a:lnTo>
                  <a:pt x="1072" y="794"/>
                </a:lnTo>
                <a:lnTo>
                  <a:pt x="1064" y="803"/>
                </a:lnTo>
                <a:lnTo>
                  <a:pt x="1054" y="811"/>
                </a:lnTo>
                <a:lnTo>
                  <a:pt x="1044" y="817"/>
                </a:lnTo>
                <a:lnTo>
                  <a:pt x="1031" y="821"/>
                </a:lnTo>
                <a:lnTo>
                  <a:pt x="1018" y="824"/>
                </a:lnTo>
                <a:lnTo>
                  <a:pt x="1005" y="824"/>
                </a:lnTo>
                <a:lnTo>
                  <a:pt x="992" y="823"/>
                </a:lnTo>
                <a:lnTo>
                  <a:pt x="980" y="819"/>
                </a:lnTo>
                <a:lnTo>
                  <a:pt x="970" y="812"/>
                </a:lnTo>
                <a:lnTo>
                  <a:pt x="961" y="804"/>
                </a:lnTo>
                <a:lnTo>
                  <a:pt x="953" y="794"/>
                </a:lnTo>
                <a:lnTo>
                  <a:pt x="951" y="788"/>
                </a:lnTo>
                <a:lnTo>
                  <a:pt x="948" y="781"/>
                </a:lnTo>
                <a:lnTo>
                  <a:pt x="947" y="775"/>
                </a:lnTo>
                <a:lnTo>
                  <a:pt x="946" y="767"/>
                </a:lnTo>
                <a:lnTo>
                  <a:pt x="946" y="767"/>
                </a:lnTo>
                <a:lnTo>
                  <a:pt x="944" y="706"/>
                </a:lnTo>
                <a:lnTo>
                  <a:pt x="943" y="644"/>
                </a:lnTo>
                <a:lnTo>
                  <a:pt x="943" y="522"/>
                </a:lnTo>
                <a:lnTo>
                  <a:pt x="943" y="398"/>
                </a:lnTo>
                <a:lnTo>
                  <a:pt x="943" y="275"/>
                </a:lnTo>
                <a:lnTo>
                  <a:pt x="943" y="275"/>
                </a:lnTo>
                <a:lnTo>
                  <a:pt x="891" y="274"/>
                </a:lnTo>
                <a:lnTo>
                  <a:pt x="891" y="274"/>
                </a:lnTo>
                <a:lnTo>
                  <a:pt x="891" y="923"/>
                </a:lnTo>
                <a:lnTo>
                  <a:pt x="891" y="1573"/>
                </a:lnTo>
                <a:lnTo>
                  <a:pt x="891" y="1573"/>
                </a:lnTo>
                <a:lnTo>
                  <a:pt x="891" y="1587"/>
                </a:lnTo>
                <a:lnTo>
                  <a:pt x="890" y="1600"/>
                </a:lnTo>
                <a:lnTo>
                  <a:pt x="886" y="1613"/>
                </a:lnTo>
                <a:lnTo>
                  <a:pt x="881" y="1625"/>
                </a:lnTo>
                <a:lnTo>
                  <a:pt x="874" y="1636"/>
                </a:lnTo>
                <a:lnTo>
                  <a:pt x="867" y="1647"/>
                </a:lnTo>
                <a:lnTo>
                  <a:pt x="858" y="1656"/>
                </a:lnTo>
                <a:lnTo>
                  <a:pt x="849" y="1663"/>
                </a:lnTo>
                <a:lnTo>
                  <a:pt x="837" y="1670"/>
                </a:lnTo>
                <a:lnTo>
                  <a:pt x="825" y="1675"/>
                </a:lnTo>
                <a:lnTo>
                  <a:pt x="814" y="1679"/>
                </a:lnTo>
                <a:lnTo>
                  <a:pt x="801" y="1681"/>
                </a:lnTo>
                <a:lnTo>
                  <a:pt x="788" y="1681"/>
                </a:lnTo>
                <a:lnTo>
                  <a:pt x="775" y="1680"/>
                </a:lnTo>
                <a:lnTo>
                  <a:pt x="762" y="1678"/>
                </a:lnTo>
                <a:lnTo>
                  <a:pt x="749" y="1672"/>
                </a:lnTo>
                <a:lnTo>
                  <a:pt x="749" y="1672"/>
                </a:lnTo>
                <a:lnTo>
                  <a:pt x="743" y="1670"/>
                </a:lnTo>
                <a:lnTo>
                  <a:pt x="736" y="1667"/>
                </a:lnTo>
                <a:lnTo>
                  <a:pt x="731" y="1665"/>
                </a:lnTo>
                <a:lnTo>
                  <a:pt x="727" y="1661"/>
                </a:lnTo>
                <a:lnTo>
                  <a:pt x="723" y="1656"/>
                </a:lnTo>
                <a:lnTo>
                  <a:pt x="721" y="1650"/>
                </a:lnTo>
                <a:lnTo>
                  <a:pt x="716" y="1640"/>
                </a:lnTo>
                <a:lnTo>
                  <a:pt x="712" y="1628"/>
                </a:lnTo>
                <a:lnTo>
                  <a:pt x="710" y="1616"/>
                </a:lnTo>
                <a:lnTo>
                  <a:pt x="708" y="1591"/>
                </a:lnTo>
                <a:lnTo>
                  <a:pt x="708" y="1591"/>
                </a:lnTo>
                <a:lnTo>
                  <a:pt x="707" y="1495"/>
                </a:lnTo>
                <a:lnTo>
                  <a:pt x="707" y="1400"/>
                </a:lnTo>
                <a:lnTo>
                  <a:pt x="707" y="1207"/>
                </a:lnTo>
                <a:lnTo>
                  <a:pt x="707" y="1016"/>
                </a:lnTo>
                <a:lnTo>
                  <a:pt x="705" y="921"/>
                </a:lnTo>
                <a:lnTo>
                  <a:pt x="703" y="825"/>
                </a:lnTo>
                <a:lnTo>
                  <a:pt x="703" y="825"/>
                </a:lnTo>
                <a:lnTo>
                  <a:pt x="658" y="819"/>
                </a:lnTo>
                <a:lnTo>
                  <a:pt x="658" y="819"/>
                </a:lnTo>
                <a:lnTo>
                  <a:pt x="655" y="917"/>
                </a:lnTo>
                <a:lnTo>
                  <a:pt x="655" y="1016"/>
                </a:lnTo>
                <a:lnTo>
                  <a:pt x="655" y="1214"/>
                </a:lnTo>
                <a:lnTo>
                  <a:pt x="655" y="1411"/>
                </a:lnTo>
                <a:lnTo>
                  <a:pt x="655" y="1510"/>
                </a:lnTo>
                <a:lnTo>
                  <a:pt x="654" y="1609"/>
                </a:lnTo>
                <a:lnTo>
                  <a:pt x="654" y="1609"/>
                </a:lnTo>
                <a:lnTo>
                  <a:pt x="651" y="1618"/>
                </a:lnTo>
                <a:lnTo>
                  <a:pt x="649" y="1627"/>
                </a:lnTo>
                <a:lnTo>
                  <a:pt x="645" y="1635"/>
                </a:lnTo>
                <a:lnTo>
                  <a:pt x="639" y="1643"/>
                </a:lnTo>
                <a:lnTo>
                  <a:pt x="634" y="1649"/>
                </a:lnTo>
                <a:lnTo>
                  <a:pt x="629" y="1656"/>
                </a:lnTo>
                <a:lnTo>
                  <a:pt x="623" y="1661"/>
                </a:lnTo>
                <a:lnTo>
                  <a:pt x="615" y="1665"/>
                </a:lnTo>
                <a:lnTo>
                  <a:pt x="601" y="1672"/>
                </a:lnTo>
                <a:lnTo>
                  <a:pt x="584" y="1678"/>
                </a:lnTo>
                <a:lnTo>
                  <a:pt x="567" y="1680"/>
                </a:lnTo>
                <a:lnTo>
                  <a:pt x="549" y="1680"/>
                </a:lnTo>
                <a:lnTo>
                  <a:pt x="532" y="1678"/>
                </a:lnTo>
                <a:lnTo>
                  <a:pt x="517" y="1672"/>
                </a:lnTo>
                <a:lnTo>
                  <a:pt x="501" y="1665"/>
                </a:lnTo>
                <a:lnTo>
                  <a:pt x="495" y="1659"/>
                </a:lnTo>
                <a:lnTo>
                  <a:pt x="488" y="1654"/>
                </a:lnTo>
                <a:lnTo>
                  <a:pt x="482" y="1648"/>
                </a:lnTo>
                <a:lnTo>
                  <a:pt x="477" y="1641"/>
                </a:lnTo>
                <a:lnTo>
                  <a:pt x="473" y="1635"/>
                </a:lnTo>
                <a:lnTo>
                  <a:pt x="469" y="1627"/>
                </a:lnTo>
                <a:lnTo>
                  <a:pt x="466" y="1619"/>
                </a:lnTo>
                <a:lnTo>
                  <a:pt x="464" y="1610"/>
                </a:lnTo>
                <a:lnTo>
                  <a:pt x="463" y="1600"/>
                </a:lnTo>
                <a:lnTo>
                  <a:pt x="463" y="1591"/>
                </a:lnTo>
                <a:lnTo>
                  <a:pt x="463" y="1591"/>
                </a:lnTo>
                <a:lnTo>
                  <a:pt x="461" y="1241"/>
                </a:lnTo>
                <a:lnTo>
                  <a:pt x="461" y="890"/>
                </a:lnTo>
                <a:lnTo>
                  <a:pt x="463" y="540"/>
                </a:lnTo>
                <a:lnTo>
                  <a:pt x="461" y="190"/>
                </a:lnTo>
                <a:lnTo>
                  <a:pt x="461" y="190"/>
                </a:lnTo>
                <a:lnTo>
                  <a:pt x="419" y="238"/>
                </a:lnTo>
                <a:lnTo>
                  <a:pt x="377" y="285"/>
                </a:lnTo>
                <a:lnTo>
                  <a:pt x="296" y="383"/>
                </a:lnTo>
                <a:lnTo>
                  <a:pt x="256" y="433"/>
                </a:lnTo>
                <a:lnTo>
                  <a:pt x="216" y="482"/>
                </a:lnTo>
                <a:lnTo>
                  <a:pt x="173" y="528"/>
                </a:lnTo>
                <a:lnTo>
                  <a:pt x="129" y="575"/>
                </a:lnTo>
                <a:lnTo>
                  <a:pt x="129" y="575"/>
                </a:lnTo>
                <a:lnTo>
                  <a:pt x="123" y="578"/>
                </a:lnTo>
                <a:lnTo>
                  <a:pt x="116" y="582"/>
                </a:lnTo>
                <a:lnTo>
                  <a:pt x="110" y="586"/>
                </a:lnTo>
                <a:lnTo>
                  <a:pt x="102" y="589"/>
                </a:lnTo>
                <a:lnTo>
                  <a:pt x="89" y="590"/>
                </a:lnTo>
                <a:lnTo>
                  <a:pt x="75" y="590"/>
                </a:lnTo>
                <a:lnTo>
                  <a:pt x="62" y="588"/>
                </a:lnTo>
                <a:lnTo>
                  <a:pt x="49" y="582"/>
                </a:lnTo>
                <a:lnTo>
                  <a:pt x="38" y="575"/>
                </a:lnTo>
                <a:lnTo>
                  <a:pt x="27" y="566"/>
                </a:lnTo>
                <a:lnTo>
                  <a:pt x="18" y="555"/>
                </a:lnTo>
                <a:lnTo>
                  <a:pt x="11" y="544"/>
                </a:lnTo>
                <a:lnTo>
                  <a:pt x="5" y="531"/>
                </a:lnTo>
                <a:lnTo>
                  <a:pt x="2" y="518"/>
                </a:lnTo>
                <a:lnTo>
                  <a:pt x="0" y="504"/>
                </a:lnTo>
                <a:lnTo>
                  <a:pt x="3" y="489"/>
                </a:lnTo>
                <a:lnTo>
                  <a:pt x="8" y="476"/>
                </a:lnTo>
                <a:lnTo>
                  <a:pt x="11" y="469"/>
                </a:lnTo>
                <a:lnTo>
                  <a:pt x="16" y="462"/>
                </a:lnTo>
                <a:lnTo>
                  <a:pt x="16" y="462"/>
                </a:lnTo>
                <a:lnTo>
                  <a:pt x="56" y="411"/>
                </a:lnTo>
                <a:lnTo>
                  <a:pt x="97" y="360"/>
                </a:lnTo>
                <a:lnTo>
                  <a:pt x="180" y="259"/>
                </a:lnTo>
                <a:lnTo>
                  <a:pt x="264" y="160"/>
                </a:lnTo>
                <a:lnTo>
                  <a:pt x="346" y="59"/>
                </a:lnTo>
                <a:lnTo>
                  <a:pt x="346" y="59"/>
                </a:lnTo>
                <a:close/>
              </a:path>
            </a:pathLst>
          </a:custGeom>
          <a:solidFill>
            <a:srgbClr val="505050">
              <a:lumMod val="60000"/>
              <a:lumOff val="40000"/>
            </a:srgbClr>
          </a:solidFill>
          <a:ln>
            <a:noFill/>
          </a:ln>
        </p:spPr>
        <p:txBody>
          <a:bodyPr vert="horz" wrap="square" lIns="91388" tIns="45694" rIns="91388" bIns="45694" numCol="1" anchor="t" anchorCtr="0" compatLnSpc="1">
            <a:prstTxWarp prst="textNoShape">
              <a:avLst/>
            </a:prstTxWarp>
            <a:noAutofit/>
          </a:bodyPr>
          <a:lstStyle/>
          <a:p>
            <a:pPr defTabSz="913698">
              <a:defRPr/>
            </a:pPr>
            <a:endParaRPr lang="en-US" kern="0" dirty="0">
              <a:solidFill>
                <a:srgbClr val="000000"/>
              </a:solidFill>
            </a:endParaRPr>
          </a:p>
        </p:txBody>
      </p:sp>
      <p:sp>
        <p:nvSpPr>
          <p:cNvPr id="791" name="Freeform 12"/>
          <p:cNvSpPr>
            <a:spLocks/>
          </p:cNvSpPr>
          <p:nvPr/>
        </p:nvSpPr>
        <p:spPr bwMode="auto">
          <a:xfrm flipH="1">
            <a:off x="7273138" y="3220913"/>
            <a:ext cx="169775" cy="170798"/>
          </a:xfrm>
          <a:custGeom>
            <a:avLst/>
            <a:gdLst>
              <a:gd name="T0" fmla="*/ 333 w 333"/>
              <a:gd name="T1" fmla="*/ 166 h 333"/>
              <a:gd name="T2" fmla="*/ 331 w 333"/>
              <a:gd name="T3" fmla="*/ 200 h 333"/>
              <a:gd name="T4" fmla="*/ 320 w 333"/>
              <a:gd name="T5" fmla="*/ 231 h 333"/>
              <a:gd name="T6" fmla="*/ 305 w 333"/>
              <a:gd name="T7" fmla="*/ 259 h 333"/>
              <a:gd name="T8" fmla="*/ 285 w 333"/>
              <a:gd name="T9" fmla="*/ 284 h 333"/>
              <a:gd name="T10" fmla="*/ 260 w 333"/>
              <a:gd name="T11" fmla="*/ 304 h 333"/>
              <a:gd name="T12" fmla="*/ 231 w 333"/>
              <a:gd name="T13" fmla="*/ 320 h 333"/>
              <a:gd name="T14" fmla="*/ 200 w 333"/>
              <a:gd name="T15" fmla="*/ 329 h 333"/>
              <a:gd name="T16" fmla="*/ 167 w 333"/>
              <a:gd name="T17" fmla="*/ 333 h 333"/>
              <a:gd name="T18" fmla="*/ 150 w 333"/>
              <a:gd name="T19" fmla="*/ 331 h 333"/>
              <a:gd name="T20" fmla="*/ 118 w 333"/>
              <a:gd name="T21" fmla="*/ 325 h 333"/>
              <a:gd name="T22" fmla="*/ 88 w 333"/>
              <a:gd name="T23" fmla="*/ 312 h 333"/>
              <a:gd name="T24" fmla="*/ 61 w 333"/>
              <a:gd name="T25" fmla="*/ 295 h 333"/>
              <a:gd name="T26" fmla="*/ 39 w 333"/>
              <a:gd name="T27" fmla="*/ 272 h 333"/>
              <a:gd name="T28" fmla="*/ 21 w 333"/>
              <a:gd name="T29" fmla="*/ 245 h 333"/>
              <a:gd name="T30" fmla="*/ 8 w 333"/>
              <a:gd name="T31" fmla="*/ 215 h 333"/>
              <a:gd name="T32" fmla="*/ 1 w 333"/>
              <a:gd name="T33" fmla="*/ 183 h 333"/>
              <a:gd name="T34" fmla="*/ 0 w 333"/>
              <a:gd name="T35" fmla="*/ 166 h 333"/>
              <a:gd name="T36" fmla="*/ 4 w 333"/>
              <a:gd name="T37" fmla="*/ 133 h 333"/>
              <a:gd name="T38" fmla="*/ 13 w 333"/>
              <a:gd name="T39" fmla="*/ 102 h 333"/>
              <a:gd name="T40" fmla="*/ 28 w 333"/>
              <a:gd name="T41" fmla="*/ 73 h 333"/>
              <a:gd name="T42" fmla="*/ 49 w 333"/>
              <a:gd name="T43" fmla="*/ 49 h 333"/>
              <a:gd name="T44" fmla="*/ 74 w 333"/>
              <a:gd name="T45" fmla="*/ 28 h 333"/>
              <a:gd name="T46" fmla="*/ 102 w 333"/>
              <a:gd name="T47" fmla="*/ 12 h 333"/>
              <a:gd name="T48" fmla="*/ 133 w 333"/>
              <a:gd name="T49" fmla="*/ 2 h 333"/>
              <a:gd name="T50" fmla="*/ 167 w 333"/>
              <a:gd name="T51" fmla="*/ 0 h 333"/>
              <a:gd name="T52" fmla="*/ 183 w 333"/>
              <a:gd name="T53" fmla="*/ 0 h 333"/>
              <a:gd name="T54" fmla="*/ 217 w 333"/>
              <a:gd name="T55" fmla="*/ 7 h 333"/>
              <a:gd name="T56" fmla="*/ 247 w 333"/>
              <a:gd name="T57" fmla="*/ 19 h 333"/>
              <a:gd name="T58" fmla="*/ 272 w 333"/>
              <a:gd name="T59" fmla="*/ 37 h 333"/>
              <a:gd name="T60" fmla="*/ 296 w 333"/>
              <a:gd name="T61" fmla="*/ 60 h 333"/>
              <a:gd name="T62" fmla="*/ 314 w 333"/>
              <a:gd name="T63" fmla="*/ 86 h 333"/>
              <a:gd name="T64" fmla="*/ 327 w 333"/>
              <a:gd name="T65" fmla="*/ 117 h 333"/>
              <a:gd name="T66" fmla="*/ 333 w 333"/>
              <a:gd name="T67" fmla="*/ 149 h 333"/>
              <a:gd name="T68" fmla="*/ 333 w 333"/>
              <a:gd name="T69" fmla="*/ 166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3" h="333">
                <a:moveTo>
                  <a:pt x="333" y="166"/>
                </a:moveTo>
                <a:lnTo>
                  <a:pt x="333" y="166"/>
                </a:lnTo>
                <a:lnTo>
                  <a:pt x="333" y="183"/>
                </a:lnTo>
                <a:lnTo>
                  <a:pt x="331" y="200"/>
                </a:lnTo>
                <a:lnTo>
                  <a:pt x="327" y="215"/>
                </a:lnTo>
                <a:lnTo>
                  <a:pt x="320" y="231"/>
                </a:lnTo>
                <a:lnTo>
                  <a:pt x="314" y="245"/>
                </a:lnTo>
                <a:lnTo>
                  <a:pt x="305" y="259"/>
                </a:lnTo>
                <a:lnTo>
                  <a:pt x="296" y="272"/>
                </a:lnTo>
                <a:lnTo>
                  <a:pt x="285" y="284"/>
                </a:lnTo>
                <a:lnTo>
                  <a:pt x="272" y="295"/>
                </a:lnTo>
                <a:lnTo>
                  <a:pt x="260" y="304"/>
                </a:lnTo>
                <a:lnTo>
                  <a:pt x="247" y="312"/>
                </a:lnTo>
                <a:lnTo>
                  <a:pt x="231" y="320"/>
                </a:lnTo>
                <a:lnTo>
                  <a:pt x="217" y="325"/>
                </a:lnTo>
                <a:lnTo>
                  <a:pt x="200" y="329"/>
                </a:lnTo>
                <a:lnTo>
                  <a:pt x="183" y="331"/>
                </a:lnTo>
                <a:lnTo>
                  <a:pt x="167" y="333"/>
                </a:lnTo>
                <a:lnTo>
                  <a:pt x="167" y="333"/>
                </a:lnTo>
                <a:lnTo>
                  <a:pt x="150" y="331"/>
                </a:lnTo>
                <a:lnTo>
                  <a:pt x="133" y="329"/>
                </a:lnTo>
                <a:lnTo>
                  <a:pt x="118" y="325"/>
                </a:lnTo>
                <a:lnTo>
                  <a:pt x="102" y="320"/>
                </a:lnTo>
                <a:lnTo>
                  <a:pt x="88" y="312"/>
                </a:lnTo>
                <a:lnTo>
                  <a:pt x="74" y="304"/>
                </a:lnTo>
                <a:lnTo>
                  <a:pt x="61" y="295"/>
                </a:lnTo>
                <a:lnTo>
                  <a:pt x="49" y="284"/>
                </a:lnTo>
                <a:lnTo>
                  <a:pt x="39" y="272"/>
                </a:lnTo>
                <a:lnTo>
                  <a:pt x="28" y="259"/>
                </a:lnTo>
                <a:lnTo>
                  <a:pt x="21" y="245"/>
                </a:lnTo>
                <a:lnTo>
                  <a:pt x="13" y="231"/>
                </a:lnTo>
                <a:lnTo>
                  <a:pt x="8" y="215"/>
                </a:lnTo>
                <a:lnTo>
                  <a:pt x="4" y="200"/>
                </a:lnTo>
                <a:lnTo>
                  <a:pt x="1" y="183"/>
                </a:lnTo>
                <a:lnTo>
                  <a:pt x="0" y="166"/>
                </a:lnTo>
                <a:lnTo>
                  <a:pt x="0" y="166"/>
                </a:lnTo>
                <a:lnTo>
                  <a:pt x="1" y="149"/>
                </a:lnTo>
                <a:lnTo>
                  <a:pt x="4" y="133"/>
                </a:lnTo>
                <a:lnTo>
                  <a:pt x="8" y="117"/>
                </a:lnTo>
                <a:lnTo>
                  <a:pt x="13" y="102"/>
                </a:lnTo>
                <a:lnTo>
                  <a:pt x="21" y="86"/>
                </a:lnTo>
                <a:lnTo>
                  <a:pt x="28" y="73"/>
                </a:lnTo>
                <a:lnTo>
                  <a:pt x="39" y="60"/>
                </a:lnTo>
                <a:lnTo>
                  <a:pt x="49" y="49"/>
                </a:lnTo>
                <a:lnTo>
                  <a:pt x="61" y="37"/>
                </a:lnTo>
                <a:lnTo>
                  <a:pt x="74" y="28"/>
                </a:lnTo>
                <a:lnTo>
                  <a:pt x="88" y="19"/>
                </a:lnTo>
                <a:lnTo>
                  <a:pt x="102" y="12"/>
                </a:lnTo>
                <a:lnTo>
                  <a:pt x="118" y="7"/>
                </a:lnTo>
                <a:lnTo>
                  <a:pt x="133" y="2"/>
                </a:lnTo>
                <a:lnTo>
                  <a:pt x="150" y="0"/>
                </a:lnTo>
                <a:lnTo>
                  <a:pt x="167" y="0"/>
                </a:lnTo>
                <a:lnTo>
                  <a:pt x="167" y="0"/>
                </a:lnTo>
                <a:lnTo>
                  <a:pt x="183" y="0"/>
                </a:lnTo>
                <a:lnTo>
                  <a:pt x="200" y="2"/>
                </a:lnTo>
                <a:lnTo>
                  <a:pt x="217" y="7"/>
                </a:lnTo>
                <a:lnTo>
                  <a:pt x="231" y="12"/>
                </a:lnTo>
                <a:lnTo>
                  <a:pt x="247" y="19"/>
                </a:lnTo>
                <a:lnTo>
                  <a:pt x="260" y="28"/>
                </a:lnTo>
                <a:lnTo>
                  <a:pt x="272" y="37"/>
                </a:lnTo>
                <a:lnTo>
                  <a:pt x="285" y="49"/>
                </a:lnTo>
                <a:lnTo>
                  <a:pt x="296" y="60"/>
                </a:lnTo>
                <a:lnTo>
                  <a:pt x="305" y="73"/>
                </a:lnTo>
                <a:lnTo>
                  <a:pt x="314" y="86"/>
                </a:lnTo>
                <a:lnTo>
                  <a:pt x="320" y="102"/>
                </a:lnTo>
                <a:lnTo>
                  <a:pt x="327" y="117"/>
                </a:lnTo>
                <a:lnTo>
                  <a:pt x="331" y="133"/>
                </a:lnTo>
                <a:lnTo>
                  <a:pt x="333" y="149"/>
                </a:lnTo>
                <a:lnTo>
                  <a:pt x="333" y="166"/>
                </a:lnTo>
                <a:lnTo>
                  <a:pt x="333" y="166"/>
                </a:lnTo>
                <a:close/>
              </a:path>
            </a:pathLst>
          </a:custGeom>
          <a:solidFill>
            <a:srgbClr val="505050">
              <a:lumMod val="60000"/>
              <a:lumOff val="40000"/>
            </a:srgbClr>
          </a:solidFill>
          <a:ln>
            <a:noFill/>
          </a:ln>
        </p:spPr>
        <p:txBody>
          <a:bodyPr vert="horz" wrap="square" lIns="91388" tIns="45694" rIns="91388" bIns="45694" numCol="1" anchor="t" anchorCtr="0" compatLnSpc="1">
            <a:prstTxWarp prst="textNoShape">
              <a:avLst/>
            </a:prstTxWarp>
            <a:noAutofit/>
          </a:bodyPr>
          <a:lstStyle/>
          <a:p>
            <a:pPr defTabSz="913698">
              <a:defRPr/>
            </a:pPr>
            <a:endParaRPr lang="en-US" kern="0" dirty="0">
              <a:solidFill>
                <a:srgbClr val="000000"/>
              </a:solidFill>
            </a:endParaRPr>
          </a:p>
        </p:txBody>
      </p:sp>
      <p:grpSp>
        <p:nvGrpSpPr>
          <p:cNvPr id="792" name="Group 791"/>
          <p:cNvGrpSpPr/>
          <p:nvPr/>
        </p:nvGrpSpPr>
        <p:grpSpPr>
          <a:xfrm>
            <a:off x="8109119" y="2782671"/>
            <a:ext cx="524947" cy="527106"/>
            <a:chOff x="7768558" y="393311"/>
            <a:chExt cx="913874" cy="913874"/>
          </a:xfrm>
        </p:grpSpPr>
        <p:sp>
          <p:nvSpPr>
            <p:cNvPr id="793" name="Oval 792"/>
            <p:cNvSpPr/>
            <p:nvPr/>
          </p:nvSpPr>
          <p:spPr bwMode="auto">
            <a:xfrm>
              <a:off x="7768558" y="393311"/>
              <a:ext cx="913874" cy="913874"/>
            </a:xfrm>
            <a:prstGeom prst="ellipse">
              <a:avLst/>
            </a:prstGeom>
            <a:solidFill>
              <a:srgbClr val="FFFFFF"/>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243675" tIns="194939" rIns="243675" bIns="194939" numCol="1" spcCol="0" rtlCol="0" fromWordArt="0" anchor="t" anchorCtr="0" forceAA="0" compatLnSpc="1">
              <a:prstTxWarp prst="textNoShape">
                <a:avLst/>
              </a:prstTxWarp>
              <a:noAutofit/>
            </a:bodyPr>
            <a:lstStyle/>
            <a:p>
              <a:pPr algn="ctr" defTabSz="1242340"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794" name="Group 793"/>
            <p:cNvGrpSpPr/>
            <p:nvPr/>
          </p:nvGrpSpPr>
          <p:grpSpPr>
            <a:xfrm>
              <a:off x="7948085" y="559050"/>
              <a:ext cx="554820" cy="530972"/>
              <a:chOff x="2873376" y="3679825"/>
              <a:chExt cx="701675" cy="671513"/>
            </a:xfrm>
            <a:solidFill>
              <a:schemeClr val="accent1"/>
            </a:solidFill>
          </p:grpSpPr>
          <p:sp>
            <p:nvSpPr>
              <p:cNvPr id="795" name="Freeform 395"/>
              <p:cNvSpPr>
                <a:spLocks noEditPoints="1"/>
              </p:cNvSpPr>
              <p:nvPr/>
            </p:nvSpPr>
            <p:spPr bwMode="auto">
              <a:xfrm>
                <a:off x="2873376" y="3679825"/>
                <a:ext cx="701675" cy="425450"/>
              </a:xfrm>
              <a:custGeom>
                <a:avLst/>
                <a:gdLst>
                  <a:gd name="T0" fmla="*/ 522 w 1767"/>
                  <a:gd name="T1" fmla="*/ 265 h 1070"/>
                  <a:gd name="T2" fmla="*/ 665 w 1767"/>
                  <a:gd name="T3" fmla="*/ 169 h 1070"/>
                  <a:gd name="T4" fmla="*/ 852 w 1767"/>
                  <a:gd name="T5" fmla="*/ 173 h 1070"/>
                  <a:gd name="T6" fmla="*/ 960 w 1767"/>
                  <a:gd name="T7" fmla="*/ 168 h 1070"/>
                  <a:gd name="T8" fmla="*/ 1086 w 1767"/>
                  <a:gd name="T9" fmla="*/ 35 h 1070"/>
                  <a:gd name="T10" fmla="*/ 1290 w 1767"/>
                  <a:gd name="T11" fmla="*/ 6 h 1070"/>
                  <a:gd name="T12" fmla="*/ 1497 w 1767"/>
                  <a:gd name="T13" fmla="*/ 173 h 1070"/>
                  <a:gd name="T14" fmla="*/ 1580 w 1767"/>
                  <a:gd name="T15" fmla="*/ 263 h 1070"/>
                  <a:gd name="T16" fmla="*/ 1729 w 1767"/>
                  <a:gd name="T17" fmla="*/ 393 h 1070"/>
                  <a:gd name="T18" fmla="*/ 1767 w 1767"/>
                  <a:gd name="T19" fmla="*/ 567 h 1070"/>
                  <a:gd name="T20" fmla="*/ 1696 w 1767"/>
                  <a:gd name="T21" fmla="*/ 732 h 1070"/>
                  <a:gd name="T22" fmla="*/ 1453 w 1767"/>
                  <a:gd name="T23" fmla="*/ 753 h 1070"/>
                  <a:gd name="T24" fmla="*/ 1503 w 1767"/>
                  <a:gd name="T25" fmla="*/ 1064 h 1070"/>
                  <a:gd name="T26" fmla="*/ 1371 w 1767"/>
                  <a:gd name="T27" fmla="*/ 866 h 1070"/>
                  <a:gd name="T28" fmla="*/ 1342 w 1767"/>
                  <a:gd name="T29" fmla="*/ 929 h 1070"/>
                  <a:gd name="T30" fmla="*/ 1302 w 1767"/>
                  <a:gd name="T31" fmla="*/ 1051 h 1070"/>
                  <a:gd name="T32" fmla="*/ 1197 w 1767"/>
                  <a:gd name="T33" fmla="*/ 1059 h 1070"/>
                  <a:gd name="T34" fmla="*/ 1144 w 1767"/>
                  <a:gd name="T35" fmla="*/ 940 h 1070"/>
                  <a:gd name="T36" fmla="*/ 1094 w 1767"/>
                  <a:gd name="T37" fmla="*/ 1009 h 1070"/>
                  <a:gd name="T38" fmla="*/ 1008 w 1767"/>
                  <a:gd name="T39" fmla="*/ 1070 h 1070"/>
                  <a:gd name="T40" fmla="*/ 912 w 1767"/>
                  <a:gd name="T41" fmla="*/ 1009 h 1070"/>
                  <a:gd name="T42" fmla="*/ 905 w 1767"/>
                  <a:gd name="T43" fmla="*/ 877 h 1070"/>
                  <a:gd name="T44" fmla="*/ 915 w 1767"/>
                  <a:gd name="T45" fmla="*/ 791 h 1070"/>
                  <a:gd name="T46" fmla="*/ 761 w 1767"/>
                  <a:gd name="T47" fmla="*/ 750 h 1070"/>
                  <a:gd name="T48" fmla="*/ 8 w 1767"/>
                  <a:gd name="T49" fmla="*/ 725 h 1070"/>
                  <a:gd name="T50" fmla="*/ 41 w 1767"/>
                  <a:gd name="T51" fmla="*/ 506 h 1070"/>
                  <a:gd name="T52" fmla="*/ 217 w 1767"/>
                  <a:gd name="T53" fmla="*/ 370 h 1070"/>
                  <a:gd name="T54" fmla="*/ 453 w 1767"/>
                  <a:gd name="T55" fmla="*/ 403 h 1070"/>
                  <a:gd name="T56" fmla="*/ 951 w 1767"/>
                  <a:gd name="T57" fmla="*/ 413 h 1070"/>
                  <a:gd name="T58" fmla="*/ 834 w 1767"/>
                  <a:gd name="T59" fmla="*/ 269 h 1070"/>
                  <a:gd name="T60" fmla="*/ 669 w 1767"/>
                  <a:gd name="T61" fmla="*/ 269 h 1070"/>
                  <a:gd name="T62" fmla="*/ 561 w 1767"/>
                  <a:gd name="T63" fmla="*/ 391 h 1070"/>
                  <a:gd name="T64" fmla="*/ 581 w 1767"/>
                  <a:gd name="T65" fmla="*/ 559 h 1070"/>
                  <a:gd name="T66" fmla="*/ 723 w 1767"/>
                  <a:gd name="T67" fmla="*/ 655 h 1070"/>
                  <a:gd name="T68" fmla="*/ 970 w 1767"/>
                  <a:gd name="T69" fmla="*/ 657 h 1070"/>
                  <a:gd name="T70" fmla="*/ 1058 w 1767"/>
                  <a:gd name="T71" fmla="*/ 810 h 1070"/>
                  <a:gd name="T72" fmla="*/ 1209 w 1767"/>
                  <a:gd name="T73" fmla="*/ 842 h 1070"/>
                  <a:gd name="T74" fmla="*/ 1347 w 1767"/>
                  <a:gd name="T75" fmla="*/ 746 h 1070"/>
                  <a:gd name="T76" fmla="*/ 1628 w 1767"/>
                  <a:gd name="T77" fmla="*/ 659 h 1070"/>
                  <a:gd name="T78" fmla="*/ 1669 w 1767"/>
                  <a:gd name="T79" fmla="*/ 509 h 1070"/>
                  <a:gd name="T80" fmla="*/ 1587 w 1767"/>
                  <a:gd name="T81" fmla="*/ 374 h 1070"/>
                  <a:gd name="T82" fmla="*/ 1453 w 1767"/>
                  <a:gd name="T83" fmla="*/ 338 h 1070"/>
                  <a:gd name="T84" fmla="*/ 1421 w 1767"/>
                  <a:gd name="T85" fmla="*/ 241 h 1070"/>
                  <a:gd name="T86" fmla="*/ 1347 w 1767"/>
                  <a:gd name="T87" fmla="*/ 133 h 1070"/>
                  <a:gd name="T88" fmla="*/ 1224 w 1767"/>
                  <a:gd name="T89" fmla="*/ 95 h 1070"/>
                  <a:gd name="T90" fmla="*/ 1107 w 1767"/>
                  <a:gd name="T91" fmla="*/ 135 h 1070"/>
                  <a:gd name="T92" fmla="*/ 1030 w 1767"/>
                  <a:gd name="T93" fmla="*/ 250 h 1070"/>
                  <a:gd name="T94" fmla="*/ 1050 w 1767"/>
                  <a:gd name="T95" fmla="*/ 432 h 1070"/>
                  <a:gd name="T96" fmla="*/ 501 w 1767"/>
                  <a:gd name="T97" fmla="*/ 611 h 1070"/>
                  <a:gd name="T98" fmla="*/ 424 w 1767"/>
                  <a:gd name="T99" fmla="*/ 498 h 1070"/>
                  <a:gd name="T100" fmla="*/ 280 w 1767"/>
                  <a:gd name="T101" fmla="*/ 454 h 1070"/>
                  <a:gd name="T102" fmla="*/ 162 w 1767"/>
                  <a:gd name="T103" fmla="*/ 506 h 1070"/>
                  <a:gd name="T104" fmla="*/ 99 w 1767"/>
                  <a:gd name="T105" fmla="*/ 616 h 1070"/>
                  <a:gd name="T106" fmla="*/ 973 w 1767"/>
                  <a:gd name="T107" fmla="*/ 885 h 1070"/>
                  <a:gd name="T108" fmla="*/ 981 w 1767"/>
                  <a:gd name="T109" fmla="*/ 1002 h 1070"/>
                  <a:gd name="T110" fmla="*/ 1026 w 1767"/>
                  <a:gd name="T111" fmla="*/ 999 h 1070"/>
                  <a:gd name="T112" fmla="*/ 1030 w 1767"/>
                  <a:gd name="T113" fmla="*/ 905 h 1070"/>
                  <a:gd name="T114" fmla="*/ 1212 w 1767"/>
                  <a:gd name="T115" fmla="*/ 941 h 1070"/>
                  <a:gd name="T116" fmla="*/ 1229 w 1767"/>
                  <a:gd name="T117" fmla="*/ 1007 h 1070"/>
                  <a:gd name="T118" fmla="*/ 1271 w 1767"/>
                  <a:gd name="T119" fmla="*/ 986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7" h="1070">
                    <a:moveTo>
                      <a:pt x="459" y="405"/>
                    </a:moveTo>
                    <a:lnTo>
                      <a:pt x="459" y="405"/>
                    </a:lnTo>
                    <a:lnTo>
                      <a:pt x="464" y="385"/>
                    </a:lnTo>
                    <a:lnTo>
                      <a:pt x="469" y="366"/>
                    </a:lnTo>
                    <a:lnTo>
                      <a:pt x="476" y="347"/>
                    </a:lnTo>
                    <a:lnTo>
                      <a:pt x="483" y="330"/>
                    </a:lnTo>
                    <a:lnTo>
                      <a:pt x="492" y="313"/>
                    </a:lnTo>
                    <a:lnTo>
                      <a:pt x="501" y="295"/>
                    </a:lnTo>
                    <a:lnTo>
                      <a:pt x="510" y="281"/>
                    </a:lnTo>
                    <a:lnTo>
                      <a:pt x="522" y="265"/>
                    </a:lnTo>
                    <a:lnTo>
                      <a:pt x="534" y="252"/>
                    </a:lnTo>
                    <a:lnTo>
                      <a:pt x="547" y="238"/>
                    </a:lnTo>
                    <a:lnTo>
                      <a:pt x="561" y="225"/>
                    </a:lnTo>
                    <a:lnTo>
                      <a:pt x="577" y="214"/>
                    </a:lnTo>
                    <a:lnTo>
                      <a:pt x="593" y="204"/>
                    </a:lnTo>
                    <a:lnTo>
                      <a:pt x="610" y="193"/>
                    </a:lnTo>
                    <a:lnTo>
                      <a:pt x="627" y="184"/>
                    </a:lnTo>
                    <a:lnTo>
                      <a:pt x="647" y="176"/>
                    </a:lnTo>
                    <a:lnTo>
                      <a:pt x="647" y="176"/>
                    </a:lnTo>
                    <a:lnTo>
                      <a:pt x="665" y="169"/>
                    </a:lnTo>
                    <a:lnTo>
                      <a:pt x="685" y="164"/>
                    </a:lnTo>
                    <a:lnTo>
                      <a:pt x="704" y="160"/>
                    </a:lnTo>
                    <a:lnTo>
                      <a:pt x="724" y="157"/>
                    </a:lnTo>
                    <a:lnTo>
                      <a:pt x="742" y="156"/>
                    </a:lnTo>
                    <a:lnTo>
                      <a:pt x="761" y="155"/>
                    </a:lnTo>
                    <a:lnTo>
                      <a:pt x="780" y="156"/>
                    </a:lnTo>
                    <a:lnTo>
                      <a:pt x="798" y="159"/>
                    </a:lnTo>
                    <a:lnTo>
                      <a:pt x="817" y="163"/>
                    </a:lnTo>
                    <a:lnTo>
                      <a:pt x="834" y="167"/>
                    </a:lnTo>
                    <a:lnTo>
                      <a:pt x="852" y="173"/>
                    </a:lnTo>
                    <a:lnTo>
                      <a:pt x="870" y="180"/>
                    </a:lnTo>
                    <a:lnTo>
                      <a:pt x="887" y="188"/>
                    </a:lnTo>
                    <a:lnTo>
                      <a:pt x="904" y="198"/>
                    </a:lnTo>
                    <a:lnTo>
                      <a:pt x="921" y="209"/>
                    </a:lnTo>
                    <a:lnTo>
                      <a:pt x="939" y="221"/>
                    </a:lnTo>
                    <a:lnTo>
                      <a:pt x="939" y="221"/>
                    </a:lnTo>
                    <a:lnTo>
                      <a:pt x="945" y="202"/>
                    </a:lnTo>
                    <a:lnTo>
                      <a:pt x="952" y="185"/>
                    </a:lnTo>
                    <a:lnTo>
                      <a:pt x="952" y="185"/>
                    </a:lnTo>
                    <a:lnTo>
                      <a:pt x="960" y="168"/>
                    </a:lnTo>
                    <a:lnTo>
                      <a:pt x="969" y="151"/>
                    </a:lnTo>
                    <a:lnTo>
                      <a:pt x="980" y="133"/>
                    </a:lnTo>
                    <a:lnTo>
                      <a:pt x="990" y="118"/>
                    </a:lnTo>
                    <a:lnTo>
                      <a:pt x="1001" y="103"/>
                    </a:lnTo>
                    <a:lnTo>
                      <a:pt x="1013" y="90"/>
                    </a:lnTo>
                    <a:lnTo>
                      <a:pt x="1026" y="76"/>
                    </a:lnTo>
                    <a:lnTo>
                      <a:pt x="1039" y="66"/>
                    </a:lnTo>
                    <a:lnTo>
                      <a:pt x="1054" y="54"/>
                    </a:lnTo>
                    <a:lnTo>
                      <a:pt x="1070" y="45"/>
                    </a:lnTo>
                    <a:lnTo>
                      <a:pt x="1086" y="35"/>
                    </a:lnTo>
                    <a:lnTo>
                      <a:pt x="1102" y="27"/>
                    </a:lnTo>
                    <a:lnTo>
                      <a:pt x="1119" y="21"/>
                    </a:lnTo>
                    <a:lnTo>
                      <a:pt x="1137" y="14"/>
                    </a:lnTo>
                    <a:lnTo>
                      <a:pt x="1156" y="9"/>
                    </a:lnTo>
                    <a:lnTo>
                      <a:pt x="1176" y="5"/>
                    </a:lnTo>
                    <a:lnTo>
                      <a:pt x="1176" y="5"/>
                    </a:lnTo>
                    <a:lnTo>
                      <a:pt x="1205" y="1"/>
                    </a:lnTo>
                    <a:lnTo>
                      <a:pt x="1234" y="0"/>
                    </a:lnTo>
                    <a:lnTo>
                      <a:pt x="1262" y="2"/>
                    </a:lnTo>
                    <a:lnTo>
                      <a:pt x="1290" y="6"/>
                    </a:lnTo>
                    <a:lnTo>
                      <a:pt x="1316" y="14"/>
                    </a:lnTo>
                    <a:lnTo>
                      <a:pt x="1343" y="23"/>
                    </a:lnTo>
                    <a:lnTo>
                      <a:pt x="1367" y="35"/>
                    </a:lnTo>
                    <a:lnTo>
                      <a:pt x="1391" y="49"/>
                    </a:lnTo>
                    <a:lnTo>
                      <a:pt x="1413" y="65"/>
                    </a:lnTo>
                    <a:lnTo>
                      <a:pt x="1433" y="83"/>
                    </a:lnTo>
                    <a:lnTo>
                      <a:pt x="1452" y="103"/>
                    </a:lnTo>
                    <a:lnTo>
                      <a:pt x="1469" y="124"/>
                    </a:lnTo>
                    <a:lnTo>
                      <a:pt x="1484" y="148"/>
                    </a:lnTo>
                    <a:lnTo>
                      <a:pt x="1497" y="173"/>
                    </a:lnTo>
                    <a:lnTo>
                      <a:pt x="1507" y="198"/>
                    </a:lnTo>
                    <a:lnTo>
                      <a:pt x="1515" y="226"/>
                    </a:lnTo>
                    <a:lnTo>
                      <a:pt x="1515" y="226"/>
                    </a:lnTo>
                    <a:lnTo>
                      <a:pt x="1518" y="236"/>
                    </a:lnTo>
                    <a:lnTo>
                      <a:pt x="1522" y="242"/>
                    </a:lnTo>
                    <a:lnTo>
                      <a:pt x="1529" y="246"/>
                    </a:lnTo>
                    <a:lnTo>
                      <a:pt x="1538" y="250"/>
                    </a:lnTo>
                    <a:lnTo>
                      <a:pt x="1538" y="250"/>
                    </a:lnTo>
                    <a:lnTo>
                      <a:pt x="1560" y="257"/>
                    </a:lnTo>
                    <a:lnTo>
                      <a:pt x="1580" y="263"/>
                    </a:lnTo>
                    <a:lnTo>
                      <a:pt x="1600" y="271"/>
                    </a:lnTo>
                    <a:lnTo>
                      <a:pt x="1619" y="282"/>
                    </a:lnTo>
                    <a:lnTo>
                      <a:pt x="1636" y="291"/>
                    </a:lnTo>
                    <a:lnTo>
                      <a:pt x="1652" y="303"/>
                    </a:lnTo>
                    <a:lnTo>
                      <a:pt x="1668" y="315"/>
                    </a:lnTo>
                    <a:lnTo>
                      <a:pt x="1682" y="328"/>
                    </a:lnTo>
                    <a:lnTo>
                      <a:pt x="1696" y="343"/>
                    </a:lnTo>
                    <a:lnTo>
                      <a:pt x="1708" y="359"/>
                    </a:lnTo>
                    <a:lnTo>
                      <a:pt x="1720" y="375"/>
                    </a:lnTo>
                    <a:lnTo>
                      <a:pt x="1729" y="393"/>
                    </a:lnTo>
                    <a:lnTo>
                      <a:pt x="1738" y="412"/>
                    </a:lnTo>
                    <a:lnTo>
                      <a:pt x="1746" y="431"/>
                    </a:lnTo>
                    <a:lnTo>
                      <a:pt x="1753" y="452"/>
                    </a:lnTo>
                    <a:lnTo>
                      <a:pt x="1759" y="473"/>
                    </a:lnTo>
                    <a:lnTo>
                      <a:pt x="1759" y="473"/>
                    </a:lnTo>
                    <a:lnTo>
                      <a:pt x="1763" y="493"/>
                    </a:lnTo>
                    <a:lnTo>
                      <a:pt x="1766" y="511"/>
                    </a:lnTo>
                    <a:lnTo>
                      <a:pt x="1767" y="530"/>
                    </a:lnTo>
                    <a:lnTo>
                      <a:pt x="1767" y="549"/>
                    </a:lnTo>
                    <a:lnTo>
                      <a:pt x="1767" y="567"/>
                    </a:lnTo>
                    <a:lnTo>
                      <a:pt x="1765" y="584"/>
                    </a:lnTo>
                    <a:lnTo>
                      <a:pt x="1762" y="602"/>
                    </a:lnTo>
                    <a:lnTo>
                      <a:pt x="1757" y="619"/>
                    </a:lnTo>
                    <a:lnTo>
                      <a:pt x="1751" y="636"/>
                    </a:lnTo>
                    <a:lnTo>
                      <a:pt x="1745" y="653"/>
                    </a:lnTo>
                    <a:lnTo>
                      <a:pt x="1738" y="669"/>
                    </a:lnTo>
                    <a:lnTo>
                      <a:pt x="1729" y="685"/>
                    </a:lnTo>
                    <a:lnTo>
                      <a:pt x="1718" y="701"/>
                    </a:lnTo>
                    <a:lnTo>
                      <a:pt x="1708" y="717"/>
                    </a:lnTo>
                    <a:lnTo>
                      <a:pt x="1696" y="732"/>
                    </a:lnTo>
                    <a:lnTo>
                      <a:pt x="1682" y="746"/>
                    </a:lnTo>
                    <a:lnTo>
                      <a:pt x="1682" y="746"/>
                    </a:lnTo>
                    <a:lnTo>
                      <a:pt x="1680" y="749"/>
                    </a:lnTo>
                    <a:lnTo>
                      <a:pt x="1676" y="751"/>
                    </a:lnTo>
                    <a:lnTo>
                      <a:pt x="1672" y="753"/>
                    </a:lnTo>
                    <a:lnTo>
                      <a:pt x="1668" y="753"/>
                    </a:lnTo>
                    <a:lnTo>
                      <a:pt x="1668" y="753"/>
                    </a:lnTo>
                    <a:lnTo>
                      <a:pt x="1457" y="751"/>
                    </a:lnTo>
                    <a:lnTo>
                      <a:pt x="1457" y="751"/>
                    </a:lnTo>
                    <a:lnTo>
                      <a:pt x="1453" y="753"/>
                    </a:lnTo>
                    <a:lnTo>
                      <a:pt x="1450" y="753"/>
                    </a:lnTo>
                    <a:lnTo>
                      <a:pt x="1448" y="755"/>
                    </a:lnTo>
                    <a:lnTo>
                      <a:pt x="1446" y="758"/>
                    </a:lnTo>
                    <a:lnTo>
                      <a:pt x="1446" y="758"/>
                    </a:lnTo>
                    <a:lnTo>
                      <a:pt x="1425" y="801"/>
                    </a:lnTo>
                    <a:lnTo>
                      <a:pt x="1425" y="801"/>
                    </a:lnTo>
                    <a:lnTo>
                      <a:pt x="1503" y="801"/>
                    </a:lnTo>
                    <a:lnTo>
                      <a:pt x="1503" y="801"/>
                    </a:lnTo>
                    <a:lnTo>
                      <a:pt x="1503" y="1064"/>
                    </a:lnTo>
                    <a:lnTo>
                      <a:pt x="1503" y="1064"/>
                    </a:lnTo>
                    <a:lnTo>
                      <a:pt x="1436" y="1064"/>
                    </a:lnTo>
                    <a:lnTo>
                      <a:pt x="1436" y="1064"/>
                    </a:lnTo>
                    <a:lnTo>
                      <a:pt x="1436" y="858"/>
                    </a:lnTo>
                    <a:lnTo>
                      <a:pt x="1436" y="858"/>
                    </a:lnTo>
                    <a:lnTo>
                      <a:pt x="1421" y="858"/>
                    </a:lnTo>
                    <a:lnTo>
                      <a:pt x="1405" y="858"/>
                    </a:lnTo>
                    <a:lnTo>
                      <a:pt x="1405" y="858"/>
                    </a:lnTo>
                    <a:lnTo>
                      <a:pt x="1393" y="858"/>
                    </a:lnTo>
                    <a:lnTo>
                      <a:pt x="1381" y="860"/>
                    </a:lnTo>
                    <a:lnTo>
                      <a:pt x="1371" y="866"/>
                    </a:lnTo>
                    <a:lnTo>
                      <a:pt x="1359" y="873"/>
                    </a:lnTo>
                    <a:lnTo>
                      <a:pt x="1359" y="873"/>
                    </a:lnTo>
                    <a:lnTo>
                      <a:pt x="1350" y="881"/>
                    </a:lnTo>
                    <a:lnTo>
                      <a:pt x="1347" y="887"/>
                    </a:lnTo>
                    <a:lnTo>
                      <a:pt x="1344" y="892"/>
                    </a:lnTo>
                    <a:lnTo>
                      <a:pt x="1342" y="897"/>
                    </a:lnTo>
                    <a:lnTo>
                      <a:pt x="1340" y="903"/>
                    </a:lnTo>
                    <a:lnTo>
                      <a:pt x="1340" y="915"/>
                    </a:lnTo>
                    <a:lnTo>
                      <a:pt x="1340" y="915"/>
                    </a:lnTo>
                    <a:lnTo>
                      <a:pt x="1342" y="929"/>
                    </a:lnTo>
                    <a:lnTo>
                      <a:pt x="1342" y="944"/>
                    </a:lnTo>
                    <a:lnTo>
                      <a:pt x="1340" y="972"/>
                    </a:lnTo>
                    <a:lnTo>
                      <a:pt x="1340" y="972"/>
                    </a:lnTo>
                    <a:lnTo>
                      <a:pt x="1340" y="988"/>
                    </a:lnTo>
                    <a:lnTo>
                      <a:pt x="1336" y="1001"/>
                    </a:lnTo>
                    <a:lnTo>
                      <a:pt x="1332" y="1014"/>
                    </a:lnTo>
                    <a:lnTo>
                      <a:pt x="1327" y="1025"/>
                    </a:lnTo>
                    <a:lnTo>
                      <a:pt x="1319" y="1035"/>
                    </a:lnTo>
                    <a:lnTo>
                      <a:pt x="1311" y="1045"/>
                    </a:lnTo>
                    <a:lnTo>
                      <a:pt x="1302" y="1051"/>
                    </a:lnTo>
                    <a:lnTo>
                      <a:pt x="1291" y="1058"/>
                    </a:lnTo>
                    <a:lnTo>
                      <a:pt x="1281" y="1063"/>
                    </a:lnTo>
                    <a:lnTo>
                      <a:pt x="1269" y="1067"/>
                    </a:lnTo>
                    <a:lnTo>
                      <a:pt x="1257" y="1068"/>
                    </a:lnTo>
                    <a:lnTo>
                      <a:pt x="1245" y="1070"/>
                    </a:lnTo>
                    <a:lnTo>
                      <a:pt x="1233" y="1068"/>
                    </a:lnTo>
                    <a:lnTo>
                      <a:pt x="1221" y="1067"/>
                    </a:lnTo>
                    <a:lnTo>
                      <a:pt x="1209" y="1063"/>
                    </a:lnTo>
                    <a:lnTo>
                      <a:pt x="1197" y="1059"/>
                    </a:lnTo>
                    <a:lnTo>
                      <a:pt x="1197" y="1059"/>
                    </a:lnTo>
                    <a:lnTo>
                      <a:pt x="1184" y="1051"/>
                    </a:lnTo>
                    <a:lnTo>
                      <a:pt x="1173" y="1042"/>
                    </a:lnTo>
                    <a:lnTo>
                      <a:pt x="1164" y="1033"/>
                    </a:lnTo>
                    <a:lnTo>
                      <a:pt x="1157" y="1022"/>
                    </a:lnTo>
                    <a:lnTo>
                      <a:pt x="1152" y="1010"/>
                    </a:lnTo>
                    <a:lnTo>
                      <a:pt x="1148" y="998"/>
                    </a:lnTo>
                    <a:lnTo>
                      <a:pt x="1145" y="984"/>
                    </a:lnTo>
                    <a:lnTo>
                      <a:pt x="1144" y="969"/>
                    </a:lnTo>
                    <a:lnTo>
                      <a:pt x="1144" y="969"/>
                    </a:lnTo>
                    <a:lnTo>
                      <a:pt x="1144" y="940"/>
                    </a:lnTo>
                    <a:lnTo>
                      <a:pt x="1144" y="940"/>
                    </a:lnTo>
                    <a:lnTo>
                      <a:pt x="1102" y="933"/>
                    </a:lnTo>
                    <a:lnTo>
                      <a:pt x="1102" y="933"/>
                    </a:lnTo>
                    <a:lnTo>
                      <a:pt x="1102" y="942"/>
                    </a:lnTo>
                    <a:lnTo>
                      <a:pt x="1102" y="942"/>
                    </a:lnTo>
                    <a:lnTo>
                      <a:pt x="1100" y="972"/>
                    </a:lnTo>
                    <a:lnTo>
                      <a:pt x="1099" y="986"/>
                    </a:lnTo>
                    <a:lnTo>
                      <a:pt x="1096" y="999"/>
                    </a:lnTo>
                    <a:lnTo>
                      <a:pt x="1096" y="999"/>
                    </a:lnTo>
                    <a:lnTo>
                      <a:pt x="1094" y="1009"/>
                    </a:lnTo>
                    <a:lnTo>
                      <a:pt x="1091" y="1018"/>
                    </a:lnTo>
                    <a:lnTo>
                      <a:pt x="1086" y="1026"/>
                    </a:lnTo>
                    <a:lnTo>
                      <a:pt x="1080" y="1034"/>
                    </a:lnTo>
                    <a:lnTo>
                      <a:pt x="1075" y="1041"/>
                    </a:lnTo>
                    <a:lnTo>
                      <a:pt x="1069" y="1046"/>
                    </a:lnTo>
                    <a:lnTo>
                      <a:pt x="1062" y="1051"/>
                    </a:lnTo>
                    <a:lnTo>
                      <a:pt x="1055" y="1056"/>
                    </a:lnTo>
                    <a:lnTo>
                      <a:pt x="1039" y="1063"/>
                    </a:lnTo>
                    <a:lnTo>
                      <a:pt x="1023" y="1068"/>
                    </a:lnTo>
                    <a:lnTo>
                      <a:pt x="1008" y="1070"/>
                    </a:lnTo>
                    <a:lnTo>
                      <a:pt x="992" y="1068"/>
                    </a:lnTo>
                    <a:lnTo>
                      <a:pt x="992" y="1068"/>
                    </a:lnTo>
                    <a:lnTo>
                      <a:pt x="978" y="1066"/>
                    </a:lnTo>
                    <a:lnTo>
                      <a:pt x="965" y="1062"/>
                    </a:lnTo>
                    <a:lnTo>
                      <a:pt x="953" y="1056"/>
                    </a:lnTo>
                    <a:lnTo>
                      <a:pt x="943" y="1051"/>
                    </a:lnTo>
                    <a:lnTo>
                      <a:pt x="933" y="1043"/>
                    </a:lnTo>
                    <a:lnTo>
                      <a:pt x="925" y="1033"/>
                    </a:lnTo>
                    <a:lnTo>
                      <a:pt x="917" y="1022"/>
                    </a:lnTo>
                    <a:lnTo>
                      <a:pt x="912" y="1009"/>
                    </a:lnTo>
                    <a:lnTo>
                      <a:pt x="912" y="1009"/>
                    </a:lnTo>
                    <a:lnTo>
                      <a:pt x="909" y="1001"/>
                    </a:lnTo>
                    <a:lnTo>
                      <a:pt x="907" y="993"/>
                    </a:lnTo>
                    <a:lnTo>
                      <a:pt x="904" y="974"/>
                    </a:lnTo>
                    <a:lnTo>
                      <a:pt x="904" y="974"/>
                    </a:lnTo>
                    <a:lnTo>
                      <a:pt x="904" y="937"/>
                    </a:lnTo>
                    <a:lnTo>
                      <a:pt x="904" y="900"/>
                    </a:lnTo>
                    <a:lnTo>
                      <a:pt x="904" y="900"/>
                    </a:lnTo>
                    <a:lnTo>
                      <a:pt x="904" y="889"/>
                    </a:lnTo>
                    <a:lnTo>
                      <a:pt x="905" y="877"/>
                    </a:lnTo>
                    <a:lnTo>
                      <a:pt x="908" y="868"/>
                    </a:lnTo>
                    <a:lnTo>
                      <a:pt x="911" y="858"/>
                    </a:lnTo>
                    <a:lnTo>
                      <a:pt x="915" y="848"/>
                    </a:lnTo>
                    <a:lnTo>
                      <a:pt x="920" y="839"/>
                    </a:lnTo>
                    <a:lnTo>
                      <a:pt x="927" y="830"/>
                    </a:lnTo>
                    <a:lnTo>
                      <a:pt x="933" y="822"/>
                    </a:lnTo>
                    <a:lnTo>
                      <a:pt x="933" y="822"/>
                    </a:lnTo>
                    <a:lnTo>
                      <a:pt x="924" y="806"/>
                    </a:lnTo>
                    <a:lnTo>
                      <a:pt x="915" y="791"/>
                    </a:lnTo>
                    <a:lnTo>
                      <a:pt x="915" y="791"/>
                    </a:lnTo>
                    <a:lnTo>
                      <a:pt x="905" y="774"/>
                    </a:lnTo>
                    <a:lnTo>
                      <a:pt x="898" y="757"/>
                    </a:lnTo>
                    <a:lnTo>
                      <a:pt x="898" y="757"/>
                    </a:lnTo>
                    <a:lnTo>
                      <a:pt x="896" y="754"/>
                    </a:lnTo>
                    <a:lnTo>
                      <a:pt x="894" y="751"/>
                    </a:lnTo>
                    <a:lnTo>
                      <a:pt x="891" y="751"/>
                    </a:lnTo>
                    <a:lnTo>
                      <a:pt x="888" y="751"/>
                    </a:lnTo>
                    <a:lnTo>
                      <a:pt x="888" y="751"/>
                    </a:lnTo>
                    <a:lnTo>
                      <a:pt x="761" y="750"/>
                    </a:lnTo>
                    <a:lnTo>
                      <a:pt x="761" y="750"/>
                    </a:lnTo>
                    <a:lnTo>
                      <a:pt x="341" y="750"/>
                    </a:lnTo>
                    <a:lnTo>
                      <a:pt x="341" y="750"/>
                    </a:lnTo>
                    <a:lnTo>
                      <a:pt x="24" y="749"/>
                    </a:lnTo>
                    <a:lnTo>
                      <a:pt x="24" y="749"/>
                    </a:lnTo>
                    <a:lnTo>
                      <a:pt x="18" y="749"/>
                    </a:lnTo>
                    <a:lnTo>
                      <a:pt x="16" y="747"/>
                    </a:lnTo>
                    <a:lnTo>
                      <a:pt x="15" y="745"/>
                    </a:lnTo>
                    <a:lnTo>
                      <a:pt x="12" y="741"/>
                    </a:lnTo>
                    <a:lnTo>
                      <a:pt x="12" y="741"/>
                    </a:lnTo>
                    <a:lnTo>
                      <a:pt x="8" y="725"/>
                    </a:lnTo>
                    <a:lnTo>
                      <a:pt x="5" y="710"/>
                    </a:lnTo>
                    <a:lnTo>
                      <a:pt x="3" y="694"/>
                    </a:lnTo>
                    <a:lnTo>
                      <a:pt x="1" y="680"/>
                    </a:lnTo>
                    <a:lnTo>
                      <a:pt x="0" y="664"/>
                    </a:lnTo>
                    <a:lnTo>
                      <a:pt x="0" y="648"/>
                    </a:lnTo>
                    <a:lnTo>
                      <a:pt x="3" y="619"/>
                    </a:lnTo>
                    <a:lnTo>
                      <a:pt x="8" y="588"/>
                    </a:lnTo>
                    <a:lnTo>
                      <a:pt x="16" y="561"/>
                    </a:lnTo>
                    <a:lnTo>
                      <a:pt x="28" y="533"/>
                    </a:lnTo>
                    <a:lnTo>
                      <a:pt x="41" y="506"/>
                    </a:lnTo>
                    <a:lnTo>
                      <a:pt x="57" y="481"/>
                    </a:lnTo>
                    <a:lnTo>
                      <a:pt x="77" y="457"/>
                    </a:lnTo>
                    <a:lnTo>
                      <a:pt x="97" y="436"/>
                    </a:lnTo>
                    <a:lnTo>
                      <a:pt x="121" y="417"/>
                    </a:lnTo>
                    <a:lnTo>
                      <a:pt x="146" y="400"/>
                    </a:lnTo>
                    <a:lnTo>
                      <a:pt x="159" y="393"/>
                    </a:lnTo>
                    <a:lnTo>
                      <a:pt x="172" y="385"/>
                    </a:lnTo>
                    <a:lnTo>
                      <a:pt x="187" y="380"/>
                    </a:lnTo>
                    <a:lnTo>
                      <a:pt x="201" y="375"/>
                    </a:lnTo>
                    <a:lnTo>
                      <a:pt x="217" y="370"/>
                    </a:lnTo>
                    <a:lnTo>
                      <a:pt x="232" y="366"/>
                    </a:lnTo>
                    <a:lnTo>
                      <a:pt x="232" y="366"/>
                    </a:lnTo>
                    <a:lnTo>
                      <a:pt x="261" y="362"/>
                    </a:lnTo>
                    <a:lnTo>
                      <a:pt x="290" y="359"/>
                    </a:lnTo>
                    <a:lnTo>
                      <a:pt x="318" y="359"/>
                    </a:lnTo>
                    <a:lnTo>
                      <a:pt x="346" y="363"/>
                    </a:lnTo>
                    <a:lnTo>
                      <a:pt x="374" y="368"/>
                    </a:lnTo>
                    <a:lnTo>
                      <a:pt x="400" y="378"/>
                    </a:lnTo>
                    <a:lnTo>
                      <a:pt x="427" y="388"/>
                    </a:lnTo>
                    <a:lnTo>
                      <a:pt x="453" y="403"/>
                    </a:lnTo>
                    <a:lnTo>
                      <a:pt x="453" y="403"/>
                    </a:lnTo>
                    <a:lnTo>
                      <a:pt x="457" y="405"/>
                    </a:lnTo>
                    <a:lnTo>
                      <a:pt x="457" y="405"/>
                    </a:lnTo>
                    <a:lnTo>
                      <a:pt x="459" y="405"/>
                    </a:lnTo>
                    <a:lnTo>
                      <a:pt x="459" y="405"/>
                    </a:lnTo>
                    <a:close/>
                    <a:moveTo>
                      <a:pt x="956" y="453"/>
                    </a:moveTo>
                    <a:lnTo>
                      <a:pt x="956" y="453"/>
                    </a:lnTo>
                    <a:lnTo>
                      <a:pt x="955" y="433"/>
                    </a:lnTo>
                    <a:lnTo>
                      <a:pt x="951" y="413"/>
                    </a:lnTo>
                    <a:lnTo>
                      <a:pt x="951" y="413"/>
                    </a:lnTo>
                    <a:lnTo>
                      <a:pt x="945" y="393"/>
                    </a:lnTo>
                    <a:lnTo>
                      <a:pt x="939" y="374"/>
                    </a:lnTo>
                    <a:lnTo>
                      <a:pt x="929" y="356"/>
                    </a:lnTo>
                    <a:lnTo>
                      <a:pt x="920" y="340"/>
                    </a:lnTo>
                    <a:lnTo>
                      <a:pt x="908" y="324"/>
                    </a:lnTo>
                    <a:lnTo>
                      <a:pt x="896" y="310"/>
                    </a:lnTo>
                    <a:lnTo>
                      <a:pt x="882" y="298"/>
                    </a:lnTo>
                    <a:lnTo>
                      <a:pt x="867" y="286"/>
                    </a:lnTo>
                    <a:lnTo>
                      <a:pt x="851" y="277"/>
                    </a:lnTo>
                    <a:lnTo>
                      <a:pt x="834" y="269"/>
                    </a:lnTo>
                    <a:lnTo>
                      <a:pt x="817" y="262"/>
                    </a:lnTo>
                    <a:lnTo>
                      <a:pt x="798" y="257"/>
                    </a:lnTo>
                    <a:lnTo>
                      <a:pt x="778" y="253"/>
                    </a:lnTo>
                    <a:lnTo>
                      <a:pt x="758" y="252"/>
                    </a:lnTo>
                    <a:lnTo>
                      <a:pt x="738" y="253"/>
                    </a:lnTo>
                    <a:lnTo>
                      <a:pt x="719" y="254"/>
                    </a:lnTo>
                    <a:lnTo>
                      <a:pt x="719" y="254"/>
                    </a:lnTo>
                    <a:lnTo>
                      <a:pt x="701" y="258"/>
                    </a:lnTo>
                    <a:lnTo>
                      <a:pt x="685" y="263"/>
                    </a:lnTo>
                    <a:lnTo>
                      <a:pt x="669" y="269"/>
                    </a:lnTo>
                    <a:lnTo>
                      <a:pt x="655" y="277"/>
                    </a:lnTo>
                    <a:lnTo>
                      <a:pt x="640" y="286"/>
                    </a:lnTo>
                    <a:lnTo>
                      <a:pt x="627" y="295"/>
                    </a:lnTo>
                    <a:lnTo>
                      <a:pt x="614" y="307"/>
                    </a:lnTo>
                    <a:lnTo>
                      <a:pt x="602" y="319"/>
                    </a:lnTo>
                    <a:lnTo>
                      <a:pt x="591" y="332"/>
                    </a:lnTo>
                    <a:lnTo>
                      <a:pt x="582" y="346"/>
                    </a:lnTo>
                    <a:lnTo>
                      <a:pt x="574" y="360"/>
                    </a:lnTo>
                    <a:lnTo>
                      <a:pt x="566" y="376"/>
                    </a:lnTo>
                    <a:lnTo>
                      <a:pt x="561" y="391"/>
                    </a:lnTo>
                    <a:lnTo>
                      <a:pt x="555" y="408"/>
                    </a:lnTo>
                    <a:lnTo>
                      <a:pt x="553" y="424"/>
                    </a:lnTo>
                    <a:lnTo>
                      <a:pt x="551" y="441"/>
                    </a:lnTo>
                    <a:lnTo>
                      <a:pt x="551" y="441"/>
                    </a:lnTo>
                    <a:lnTo>
                      <a:pt x="551" y="462"/>
                    </a:lnTo>
                    <a:lnTo>
                      <a:pt x="553" y="484"/>
                    </a:lnTo>
                    <a:lnTo>
                      <a:pt x="557" y="503"/>
                    </a:lnTo>
                    <a:lnTo>
                      <a:pt x="563" y="523"/>
                    </a:lnTo>
                    <a:lnTo>
                      <a:pt x="570" y="542"/>
                    </a:lnTo>
                    <a:lnTo>
                      <a:pt x="581" y="559"/>
                    </a:lnTo>
                    <a:lnTo>
                      <a:pt x="593" y="576"/>
                    </a:lnTo>
                    <a:lnTo>
                      <a:pt x="606" y="592"/>
                    </a:lnTo>
                    <a:lnTo>
                      <a:pt x="606" y="592"/>
                    </a:lnTo>
                    <a:lnTo>
                      <a:pt x="620" y="607"/>
                    </a:lnTo>
                    <a:lnTo>
                      <a:pt x="635" y="619"/>
                    </a:lnTo>
                    <a:lnTo>
                      <a:pt x="651" y="629"/>
                    </a:lnTo>
                    <a:lnTo>
                      <a:pt x="667" y="639"/>
                    </a:lnTo>
                    <a:lnTo>
                      <a:pt x="685" y="647"/>
                    </a:lnTo>
                    <a:lnTo>
                      <a:pt x="703" y="652"/>
                    </a:lnTo>
                    <a:lnTo>
                      <a:pt x="723" y="655"/>
                    </a:lnTo>
                    <a:lnTo>
                      <a:pt x="741" y="657"/>
                    </a:lnTo>
                    <a:lnTo>
                      <a:pt x="741" y="657"/>
                    </a:lnTo>
                    <a:lnTo>
                      <a:pt x="776" y="657"/>
                    </a:lnTo>
                    <a:lnTo>
                      <a:pt x="810" y="657"/>
                    </a:lnTo>
                    <a:lnTo>
                      <a:pt x="879" y="657"/>
                    </a:lnTo>
                    <a:lnTo>
                      <a:pt x="879" y="657"/>
                    </a:lnTo>
                    <a:lnTo>
                      <a:pt x="966" y="657"/>
                    </a:lnTo>
                    <a:lnTo>
                      <a:pt x="966" y="657"/>
                    </a:lnTo>
                    <a:lnTo>
                      <a:pt x="970" y="657"/>
                    </a:lnTo>
                    <a:lnTo>
                      <a:pt x="970" y="657"/>
                    </a:lnTo>
                    <a:lnTo>
                      <a:pt x="973" y="676"/>
                    </a:lnTo>
                    <a:lnTo>
                      <a:pt x="977" y="694"/>
                    </a:lnTo>
                    <a:lnTo>
                      <a:pt x="982" y="712"/>
                    </a:lnTo>
                    <a:lnTo>
                      <a:pt x="989" y="729"/>
                    </a:lnTo>
                    <a:lnTo>
                      <a:pt x="997" y="745"/>
                    </a:lnTo>
                    <a:lnTo>
                      <a:pt x="1008" y="759"/>
                    </a:lnTo>
                    <a:lnTo>
                      <a:pt x="1018" y="774"/>
                    </a:lnTo>
                    <a:lnTo>
                      <a:pt x="1030" y="787"/>
                    </a:lnTo>
                    <a:lnTo>
                      <a:pt x="1043" y="799"/>
                    </a:lnTo>
                    <a:lnTo>
                      <a:pt x="1058" y="810"/>
                    </a:lnTo>
                    <a:lnTo>
                      <a:pt x="1073" y="819"/>
                    </a:lnTo>
                    <a:lnTo>
                      <a:pt x="1088" y="827"/>
                    </a:lnTo>
                    <a:lnTo>
                      <a:pt x="1106" y="834"/>
                    </a:lnTo>
                    <a:lnTo>
                      <a:pt x="1123" y="839"/>
                    </a:lnTo>
                    <a:lnTo>
                      <a:pt x="1141" y="843"/>
                    </a:lnTo>
                    <a:lnTo>
                      <a:pt x="1160" y="846"/>
                    </a:lnTo>
                    <a:lnTo>
                      <a:pt x="1160" y="846"/>
                    </a:lnTo>
                    <a:lnTo>
                      <a:pt x="1177" y="846"/>
                    </a:lnTo>
                    <a:lnTo>
                      <a:pt x="1193" y="844"/>
                    </a:lnTo>
                    <a:lnTo>
                      <a:pt x="1209" y="842"/>
                    </a:lnTo>
                    <a:lnTo>
                      <a:pt x="1225" y="839"/>
                    </a:lnTo>
                    <a:lnTo>
                      <a:pt x="1241" y="834"/>
                    </a:lnTo>
                    <a:lnTo>
                      <a:pt x="1255" y="827"/>
                    </a:lnTo>
                    <a:lnTo>
                      <a:pt x="1270" y="820"/>
                    </a:lnTo>
                    <a:lnTo>
                      <a:pt x="1285" y="811"/>
                    </a:lnTo>
                    <a:lnTo>
                      <a:pt x="1285" y="811"/>
                    </a:lnTo>
                    <a:lnTo>
                      <a:pt x="1303" y="797"/>
                    </a:lnTo>
                    <a:lnTo>
                      <a:pt x="1320" y="781"/>
                    </a:lnTo>
                    <a:lnTo>
                      <a:pt x="1334" y="763"/>
                    </a:lnTo>
                    <a:lnTo>
                      <a:pt x="1347" y="746"/>
                    </a:lnTo>
                    <a:lnTo>
                      <a:pt x="1356" y="726"/>
                    </a:lnTo>
                    <a:lnTo>
                      <a:pt x="1364" y="705"/>
                    </a:lnTo>
                    <a:lnTo>
                      <a:pt x="1371" y="683"/>
                    </a:lnTo>
                    <a:lnTo>
                      <a:pt x="1375" y="659"/>
                    </a:lnTo>
                    <a:lnTo>
                      <a:pt x="1375" y="659"/>
                    </a:lnTo>
                    <a:lnTo>
                      <a:pt x="1383" y="659"/>
                    </a:lnTo>
                    <a:lnTo>
                      <a:pt x="1383" y="659"/>
                    </a:lnTo>
                    <a:lnTo>
                      <a:pt x="1623" y="660"/>
                    </a:lnTo>
                    <a:lnTo>
                      <a:pt x="1623" y="660"/>
                    </a:lnTo>
                    <a:lnTo>
                      <a:pt x="1628" y="659"/>
                    </a:lnTo>
                    <a:lnTo>
                      <a:pt x="1632" y="657"/>
                    </a:lnTo>
                    <a:lnTo>
                      <a:pt x="1635" y="655"/>
                    </a:lnTo>
                    <a:lnTo>
                      <a:pt x="1637" y="652"/>
                    </a:lnTo>
                    <a:lnTo>
                      <a:pt x="1637" y="652"/>
                    </a:lnTo>
                    <a:lnTo>
                      <a:pt x="1651" y="628"/>
                    </a:lnTo>
                    <a:lnTo>
                      <a:pt x="1661" y="606"/>
                    </a:lnTo>
                    <a:lnTo>
                      <a:pt x="1668" y="582"/>
                    </a:lnTo>
                    <a:lnTo>
                      <a:pt x="1672" y="558"/>
                    </a:lnTo>
                    <a:lnTo>
                      <a:pt x="1672" y="533"/>
                    </a:lnTo>
                    <a:lnTo>
                      <a:pt x="1669" y="509"/>
                    </a:lnTo>
                    <a:lnTo>
                      <a:pt x="1664" y="484"/>
                    </a:lnTo>
                    <a:lnTo>
                      <a:pt x="1655" y="458"/>
                    </a:lnTo>
                    <a:lnTo>
                      <a:pt x="1655" y="458"/>
                    </a:lnTo>
                    <a:lnTo>
                      <a:pt x="1648" y="444"/>
                    </a:lnTo>
                    <a:lnTo>
                      <a:pt x="1640" y="431"/>
                    </a:lnTo>
                    <a:lnTo>
                      <a:pt x="1631" y="417"/>
                    </a:lnTo>
                    <a:lnTo>
                      <a:pt x="1621" y="405"/>
                    </a:lnTo>
                    <a:lnTo>
                      <a:pt x="1611" y="393"/>
                    </a:lnTo>
                    <a:lnTo>
                      <a:pt x="1599" y="383"/>
                    </a:lnTo>
                    <a:lnTo>
                      <a:pt x="1587" y="374"/>
                    </a:lnTo>
                    <a:lnTo>
                      <a:pt x="1574" y="366"/>
                    </a:lnTo>
                    <a:lnTo>
                      <a:pt x="1560" y="358"/>
                    </a:lnTo>
                    <a:lnTo>
                      <a:pt x="1546" y="351"/>
                    </a:lnTo>
                    <a:lnTo>
                      <a:pt x="1531" y="346"/>
                    </a:lnTo>
                    <a:lnTo>
                      <a:pt x="1517" y="342"/>
                    </a:lnTo>
                    <a:lnTo>
                      <a:pt x="1501" y="339"/>
                    </a:lnTo>
                    <a:lnTo>
                      <a:pt x="1485" y="338"/>
                    </a:lnTo>
                    <a:lnTo>
                      <a:pt x="1469" y="336"/>
                    </a:lnTo>
                    <a:lnTo>
                      <a:pt x="1453" y="338"/>
                    </a:lnTo>
                    <a:lnTo>
                      <a:pt x="1453" y="338"/>
                    </a:lnTo>
                    <a:lnTo>
                      <a:pt x="1425" y="340"/>
                    </a:lnTo>
                    <a:lnTo>
                      <a:pt x="1425" y="340"/>
                    </a:lnTo>
                    <a:lnTo>
                      <a:pt x="1425" y="335"/>
                    </a:lnTo>
                    <a:lnTo>
                      <a:pt x="1425" y="335"/>
                    </a:lnTo>
                    <a:lnTo>
                      <a:pt x="1429" y="311"/>
                    </a:lnTo>
                    <a:lnTo>
                      <a:pt x="1429" y="287"/>
                    </a:lnTo>
                    <a:lnTo>
                      <a:pt x="1429" y="275"/>
                    </a:lnTo>
                    <a:lnTo>
                      <a:pt x="1427" y="263"/>
                    </a:lnTo>
                    <a:lnTo>
                      <a:pt x="1424" y="253"/>
                    </a:lnTo>
                    <a:lnTo>
                      <a:pt x="1421" y="241"/>
                    </a:lnTo>
                    <a:lnTo>
                      <a:pt x="1421" y="241"/>
                    </a:lnTo>
                    <a:lnTo>
                      <a:pt x="1416" y="226"/>
                    </a:lnTo>
                    <a:lnTo>
                      <a:pt x="1409" y="212"/>
                    </a:lnTo>
                    <a:lnTo>
                      <a:pt x="1403" y="198"/>
                    </a:lnTo>
                    <a:lnTo>
                      <a:pt x="1395" y="185"/>
                    </a:lnTo>
                    <a:lnTo>
                      <a:pt x="1387" y="173"/>
                    </a:lnTo>
                    <a:lnTo>
                      <a:pt x="1377" y="163"/>
                    </a:lnTo>
                    <a:lnTo>
                      <a:pt x="1368" y="152"/>
                    </a:lnTo>
                    <a:lnTo>
                      <a:pt x="1358" y="143"/>
                    </a:lnTo>
                    <a:lnTo>
                      <a:pt x="1347" y="133"/>
                    </a:lnTo>
                    <a:lnTo>
                      <a:pt x="1335" y="126"/>
                    </a:lnTo>
                    <a:lnTo>
                      <a:pt x="1323" y="119"/>
                    </a:lnTo>
                    <a:lnTo>
                      <a:pt x="1310" y="114"/>
                    </a:lnTo>
                    <a:lnTo>
                      <a:pt x="1297" y="108"/>
                    </a:lnTo>
                    <a:lnTo>
                      <a:pt x="1282" y="103"/>
                    </a:lnTo>
                    <a:lnTo>
                      <a:pt x="1267" y="100"/>
                    </a:lnTo>
                    <a:lnTo>
                      <a:pt x="1252" y="98"/>
                    </a:lnTo>
                    <a:lnTo>
                      <a:pt x="1252" y="98"/>
                    </a:lnTo>
                    <a:lnTo>
                      <a:pt x="1237" y="96"/>
                    </a:lnTo>
                    <a:lnTo>
                      <a:pt x="1224" y="95"/>
                    </a:lnTo>
                    <a:lnTo>
                      <a:pt x="1210" y="96"/>
                    </a:lnTo>
                    <a:lnTo>
                      <a:pt x="1198" y="98"/>
                    </a:lnTo>
                    <a:lnTo>
                      <a:pt x="1185" y="99"/>
                    </a:lnTo>
                    <a:lnTo>
                      <a:pt x="1173" y="102"/>
                    </a:lnTo>
                    <a:lnTo>
                      <a:pt x="1161" y="106"/>
                    </a:lnTo>
                    <a:lnTo>
                      <a:pt x="1149" y="110"/>
                    </a:lnTo>
                    <a:lnTo>
                      <a:pt x="1139" y="115"/>
                    </a:lnTo>
                    <a:lnTo>
                      <a:pt x="1128" y="120"/>
                    </a:lnTo>
                    <a:lnTo>
                      <a:pt x="1118" y="127"/>
                    </a:lnTo>
                    <a:lnTo>
                      <a:pt x="1107" y="135"/>
                    </a:lnTo>
                    <a:lnTo>
                      <a:pt x="1087" y="152"/>
                    </a:lnTo>
                    <a:lnTo>
                      <a:pt x="1069" y="172"/>
                    </a:lnTo>
                    <a:lnTo>
                      <a:pt x="1069" y="172"/>
                    </a:lnTo>
                    <a:lnTo>
                      <a:pt x="1061" y="183"/>
                    </a:lnTo>
                    <a:lnTo>
                      <a:pt x="1054" y="193"/>
                    </a:lnTo>
                    <a:lnTo>
                      <a:pt x="1047" y="205"/>
                    </a:lnTo>
                    <a:lnTo>
                      <a:pt x="1042" y="216"/>
                    </a:lnTo>
                    <a:lnTo>
                      <a:pt x="1037" y="228"/>
                    </a:lnTo>
                    <a:lnTo>
                      <a:pt x="1033" y="238"/>
                    </a:lnTo>
                    <a:lnTo>
                      <a:pt x="1030" y="250"/>
                    </a:lnTo>
                    <a:lnTo>
                      <a:pt x="1027" y="262"/>
                    </a:lnTo>
                    <a:lnTo>
                      <a:pt x="1026" y="286"/>
                    </a:lnTo>
                    <a:lnTo>
                      <a:pt x="1026" y="310"/>
                    </a:lnTo>
                    <a:lnTo>
                      <a:pt x="1030" y="335"/>
                    </a:lnTo>
                    <a:lnTo>
                      <a:pt x="1035" y="360"/>
                    </a:lnTo>
                    <a:lnTo>
                      <a:pt x="1035" y="360"/>
                    </a:lnTo>
                    <a:lnTo>
                      <a:pt x="1042" y="387"/>
                    </a:lnTo>
                    <a:lnTo>
                      <a:pt x="1047" y="412"/>
                    </a:lnTo>
                    <a:lnTo>
                      <a:pt x="1047" y="412"/>
                    </a:lnTo>
                    <a:lnTo>
                      <a:pt x="1050" y="432"/>
                    </a:lnTo>
                    <a:lnTo>
                      <a:pt x="1051" y="453"/>
                    </a:lnTo>
                    <a:lnTo>
                      <a:pt x="1051" y="453"/>
                    </a:lnTo>
                    <a:lnTo>
                      <a:pt x="956" y="453"/>
                    </a:lnTo>
                    <a:lnTo>
                      <a:pt x="956" y="453"/>
                    </a:lnTo>
                    <a:close/>
                    <a:moveTo>
                      <a:pt x="536" y="656"/>
                    </a:moveTo>
                    <a:lnTo>
                      <a:pt x="536" y="656"/>
                    </a:lnTo>
                    <a:lnTo>
                      <a:pt x="529" y="649"/>
                    </a:lnTo>
                    <a:lnTo>
                      <a:pt x="529" y="649"/>
                    </a:lnTo>
                    <a:lnTo>
                      <a:pt x="514" y="631"/>
                    </a:lnTo>
                    <a:lnTo>
                      <a:pt x="501" y="611"/>
                    </a:lnTo>
                    <a:lnTo>
                      <a:pt x="489" y="591"/>
                    </a:lnTo>
                    <a:lnTo>
                      <a:pt x="479" y="570"/>
                    </a:lnTo>
                    <a:lnTo>
                      <a:pt x="479" y="570"/>
                    </a:lnTo>
                    <a:lnTo>
                      <a:pt x="473" y="558"/>
                    </a:lnTo>
                    <a:lnTo>
                      <a:pt x="473" y="558"/>
                    </a:lnTo>
                    <a:lnTo>
                      <a:pt x="465" y="543"/>
                    </a:lnTo>
                    <a:lnTo>
                      <a:pt x="456" y="531"/>
                    </a:lnTo>
                    <a:lnTo>
                      <a:pt x="447" y="519"/>
                    </a:lnTo>
                    <a:lnTo>
                      <a:pt x="436" y="509"/>
                    </a:lnTo>
                    <a:lnTo>
                      <a:pt x="424" y="498"/>
                    </a:lnTo>
                    <a:lnTo>
                      <a:pt x="411" y="489"/>
                    </a:lnTo>
                    <a:lnTo>
                      <a:pt x="399" y="481"/>
                    </a:lnTo>
                    <a:lnTo>
                      <a:pt x="384" y="474"/>
                    </a:lnTo>
                    <a:lnTo>
                      <a:pt x="371" y="468"/>
                    </a:lnTo>
                    <a:lnTo>
                      <a:pt x="357" y="462"/>
                    </a:lnTo>
                    <a:lnTo>
                      <a:pt x="341" y="458"/>
                    </a:lnTo>
                    <a:lnTo>
                      <a:pt x="326" y="456"/>
                    </a:lnTo>
                    <a:lnTo>
                      <a:pt x="310" y="454"/>
                    </a:lnTo>
                    <a:lnTo>
                      <a:pt x="296" y="454"/>
                    </a:lnTo>
                    <a:lnTo>
                      <a:pt x="280" y="454"/>
                    </a:lnTo>
                    <a:lnTo>
                      <a:pt x="264" y="457"/>
                    </a:lnTo>
                    <a:lnTo>
                      <a:pt x="264" y="457"/>
                    </a:lnTo>
                    <a:lnTo>
                      <a:pt x="249" y="461"/>
                    </a:lnTo>
                    <a:lnTo>
                      <a:pt x="235" y="465"/>
                    </a:lnTo>
                    <a:lnTo>
                      <a:pt x="220" y="469"/>
                    </a:lnTo>
                    <a:lnTo>
                      <a:pt x="208" y="476"/>
                    </a:lnTo>
                    <a:lnTo>
                      <a:pt x="195" y="482"/>
                    </a:lnTo>
                    <a:lnTo>
                      <a:pt x="183" y="489"/>
                    </a:lnTo>
                    <a:lnTo>
                      <a:pt x="172" y="497"/>
                    </a:lnTo>
                    <a:lnTo>
                      <a:pt x="162" y="506"/>
                    </a:lnTo>
                    <a:lnTo>
                      <a:pt x="152" y="515"/>
                    </a:lnTo>
                    <a:lnTo>
                      <a:pt x="143" y="526"/>
                    </a:lnTo>
                    <a:lnTo>
                      <a:pt x="134" y="537"/>
                    </a:lnTo>
                    <a:lnTo>
                      <a:pt x="126" y="549"/>
                    </a:lnTo>
                    <a:lnTo>
                      <a:pt x="119" y="562"/>
                    </a:lnTo>
                    <a:lnTo>
                      <a:pt x="113" y="575"/>
                    </a:lnTo>
                    <a:lnTo>
                      <a:pt x="107" y="590"/>
                    </a:lnTo>
                    <a:lnTo>
                      <a:pt x="102" y="604"/>
                    </a:lnTo>
                    <a:lnTo>
                      <a:pt x="102" y="604"/>
                    </a:lnTo>
                    <a:lnTo>
                      <a:pt x="99" y="616"/>
                    </a:lnTo>
                    <a:lnTo>
                      <a:pt x="97" y="629"/>
                    </a:lnTo>
                    <a:lnTo>
                      <a:pt x="95" y="643"/>
                    </a:lnTo>
                    <a:lnTo>
                      <a:pt x="95" y="656"/>
                    </a:lnTo>
                    <a:lnTo>
                      <a:pt x="95" y="656"/>
                    </a:lnTo>
                    <a:lnTo>
                      <a:pt x="536" y="656"/>
                    </a:lnTo>
                    <a:lnTo>
                      <a:pt x="536" y="656"/>
                    </a:lnTo>
                    <a:close/>
                    <a:moveTo>
                      <a:pt x="977" y="869"/>
                    </a:moveTo>
                    <a:lnTo>
                      <a:pt x="977" y="869"/>
                    </a:lnTo>
                    <a:lnTo>
                      <a:pt x="974" y="877"/>
                    </a:lnTo>
                    <a:lnTo>
                      <a:pt x="973" y="885"/>
                    </a:lnTo>
                    <a:lnTo>
                      <a:pt x="973" y="885"/>
                    </a:lnTo>
                    <a:lnTo>
                      <a:pt x="972" y="940"/>
                    </a:lnTo>
                    <a:lnTo>
                      <a:pt x="972" y="940"/>
                    </a:lnTo>
                    <a:lnTo>
                      <a:pt x="972" y="961"/>
                    </a:lnTo>
                    <a:lnTo>
                      <a:pt x="973" y="981"/>
                    </a:lnTo>
                    <a:lnTo>
                      <a:pt x="973" y="981"/>
                    </a:lnTo>
                    <a:lnTo>
                      <a:pt x="973" y="988"/>
                    </a:lnTo>
                    <a:lnTo>
                      <a:pt x="976" y="993"/>
                    </a:lnTo>
                    <a:lnTo>
                      <a:pt x="978" y="998"/>
                    </a:lnTo>
                    <a:lnTo>
                      <a:pt x="981" y="1002"/>
                    </a:lnTo>
                    <a:lnTo>
                      <a:pt x="985" y="1005"/>
                    </a:lnTo>
                    <a:lnTo>
                      <a:pt x="990" y="1007"/>
                    </a:lnTo>
                    <a:lnTo>
                      <a:pt x="996" y="1010"/>
                    </a:lnTo>
                    <a:lnTo>
                      <a:pt x="1001" y="1010"/>
                    </a:lnTo>
                    <a:lnTo>
                      <a:pt x="1001" y="1010"/>
                    </a:lnTo>
                    <a:lnTo>
                      <a:pt x="1008" y="1010"/>
                    </a:lnTo>
                    <a:lnTo>
                      <a:pt x="1013" y="1009"/>
                    </a:lnTo>
                    <a:lnTo>
                      <a:pt x="1018" y="1007"/>
                    </a:lnTo>
                    <a:lnTo>
                      <a:pt x="1022" y="1003"/>
                    </a:lnTo>
                    <a:lnTo>
                      <a:pt x="1026" y="999"/>
                    </a:lnTo>
                    <a:lnTo>
                      <a:pt x="1029" y="995"/>
                    </a:lnTo>
                    <a:lnTo>
                      <a:pt x="1031" y="989"/>
                    </a:lnTo>
                    <a:lnTo>
                      <a:pt x="1031" y="984"/>
                    </a:lnTo>
                    <a:lnTo>
                      <a:pt x="1031" y="984"/>
                    </a:lnTo>
                    <a:lnTo>
                      <a:pt x="1033" y="946"/>
                    </a:lnTo>
                    <a:lnTo>
                      <a:pt x="1033" y="909"/>
                    </a:lnTo>
                    <a:lnTo>
                      <a:pt x="1033" y="909"/>
                    </a:lnTo>
                    <a:lnTo>
                      <a:pt x="1033" y="907"/>
                    </a:lnTo>
                    <a:lnTo>
                      <a:pt x="1030" y="905"/>
                    </a:lnTo>
                    <a:lnTo>
                      <a:pt x="1030" y="905"/>
                    </a:lnTo>
                    <a:lnTo>
                      <a:pt x="977" y="869"/>
                    </a:lnTo>
                    <a:lnTo>
                      <a:pt x="977" y="869"/>
                    </a:lnTo>
                    <a:close/>
                    <a:moveTo>
                      <a:pt x="1274" y="924"/>
                    </a:moveTo>
                    <a:lnTo>
                      <a:pt x="1274" y="924"/>
                    </a:lnTo>
                    <a:lnTo>
                      <a:pt x="1270" y="924"/>
                    </a:lnTo>
                    <a:lnTo>
                      <a:pt x="1270" y="924"/>
                    </a:lnTo>
                    <a:lnTo>
                      <a:pt x="1216" y="937"/>
                    </a:lnTo>
                    <a:lnTo>
                      <a:pt x="1216" y="937"/>
                    </a:lnTo>
                    <a:lnTo>
                      <a:pt x="1213" y="938"/>
                    </a:lnTo>
                    <a:lnTo>
                      <a:pt x="1212" y="941"/>
                    </a:lnTo>
                    <a:lnTo>
                      <a:pt x="1212" y="941"/>
                    </a:lnTo>
                    <a:lnTo>
                      <a:pt x="1212" y="965"/>
                    </a:lnTo>
                    <a:lnTo>
                      <a:pt x="1213" y="977"/>
                    </a:lnTo>
                    <a:lnTo>
                      <a:pt x="1214" y="988"/>
                    </a:lnTo>
                    <a:lnTo>
                      <a:pt x="1214" y="988"/>
                    </a:lnTo>
                    <a:lnTo>
                      <a:pt x="1216" y="993"/>
                    </a:lnTo>
                    <a:lnTo>
                      <a:pt x="1218" y="998"/>
                    </a:lnTo>
                    <a:lnTo>
                      <a:pt x="1221" y="1002"/>
                    </a:lnTo>
                    <a:lnTo>
                      <a:pt x="1225" y="1005"/>
                    </a:lnTo>
                    <a:lnTo>
                      <a:pt x="1229" y="1007"/>
                    </a:lnTo>
                    <a:lnTo>
                      <a:pt x="1233" y="1009"/>
                    </a:lnTo>
                    <a:lnTo>
                      <a:pt x="1244" y="1010"/>
                    </a:lnTo>
                    <a:lnTo>
                      <a:pt x="1244" y="1010"/>
                    </a:lnTo>
                    <a:lnTo>
                      <a:pt x="1254" y="1009"/>
                    </a:lnTo>
                    <a:lnTo>
                      <a:pt x="1259" y="1006"/>
                    </a:lnTo>
                    <a:lnTo>
                      <a:pt x="1262" y="1003"/>
                    </a:lnTo>
                    <a:lnTo>
                      <a:pt x="1266" y="1001"/>
                    </a:lnTo>
                    <a:lnTo>
                      <a:pt x="1269" y="997"/>
                    </a:lnTo>
                    <a:lnTo>
                      <a:pt x="1270" y="991"/>
                    </a:lnTo>
                    <a:lnTo>
                      <a:pt x="1271" y="986"/>
                    </a:lnTo>
                    <a:lnTo>
                      <a:pt x="1271" y="986"/>
                    </a:lnTo>
                    <a:lnTo>
                      <a:pt x="1274" y="956"/>
                    </a:lnTo>
                    <a:lnTo>
                      <a:pt x="1274" y="924"/>
                    </a:lnTo>
                    <a:lnTo>
                      <a:pt x="1274" y="9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96" name="Freeform 396"/>
              <p:cNvSpPr>
                <a:spLocks noEditPoints="1"/>
              </p:cNvSpPr>
              <p:nvPr/>
            </p:nvSpPr>
            <p:spPr bwMode="auto">
              <a:xfrm>
                <a:off x="3487738" y="3995738"/>
                <a:ext cx="79375" cy="109538"/>
              </a:xfrm>
              <a:custGeom>
                <a:avLst/>
                <a:gdLst>
                  <a:gd name="T0" fmla="*/ 0 w 199"/>
                  <a:gd name="T1" fmla="*/ 138 h 275"/>
                  <a:gd name="T2" fmla="*/ 3 w 199"/>
                  <a:gd name="T3" fmla="*/ 93 h 275"/>
                  <a:gd name="T4" fmla="*/ 4 w 199"/>
                  <a:gd name="T5" fmla="*/ 78 h 275"/>
                  <a:gd name="T6" fmla="*/ 14 w 199"/>
                  <a:gd name="T7" fmla="*/ 49 h 275"/>
                  <a:gd name="T8" fmla="*/ 31 w 199"/>
                  <a:gd name="T9" fmla="*/ 27 h 275"/>
                  <a:gd name="T10" fmla="*/ 56 w 199"/>
                  <a:gd name="T11" fmla="*/ 11 h 275"/>
                  <a:gd name="T12" fmla="*/ 85 w 199"/>
                  <a:gd name="T13" fmla="*/ 2 h 275"/>
                  <a:gd name="T14" fmla="*/ 100 w 199"/>
                  <a:gd name="T15" fmla="*/ 0 h 275"/>
                  <a:gd name="T16" fmla="*/ 128 w 199"/>
                  <a:gd name="T17" fmla="*/ 4 h 275"/>
                  <a:gd name="T18" fmla="*/ 152 w 199"/>
                  <a:gd name="T19" fmla="*/ 13 h 275"/>
                  <a:gd name="T20" fmla="*/ 173 w 199"/>
                  <a:gd name="T21" fmla="*/ 31 h 275"/>
                  <a:gd name="T22" fmla="*/ 182 w 199"/>
                  <a:gd name="T23" fmla="*/ 41 h 275"/>
                  <a:gd name="T24" fmla="*/ 194 w 199"/>
                  <a:gd name="T25" fmla="*/ 68 h 275"/>
                  <a:gd name="T26" fmla="*/ 199 w 199"/>
                  <a:gd name="T27" fmla="*/ 97 h 275"/>
                  <a:gd name="T28" fmla="*/ 199 w 199"/>
                  <a:gd name="T29" fmla="*/ 178 h 275"/>
                  <a:gd name="T30" fmla="*/ 197 w 199"/>
                  <a:gd name="T31" fmla="*/ 195 h 275"/>
                  <a:gd name="T32" fmla="*/ 187 w 199"/>
                  <a:gd name="T33" fmla="*/ 226 h 275"/>
                  <a:gd name="T34" fmla="*/ 169 w 199"/>
                  <a:gd name="T35" fmla="*/ 250 h 275"/>
                  <a:gd name="T36" fmla="*/ 142 w 199"/>
                  <a:gd name="T37" fmla="*/ 267 h 275"/>
                  <a:gd name="T38" fmla="*/ 128 w 199"/>
                  <a:gd name="T39" fmla="*/ 271 h 275"/>
                  <a:gd name="T40" fmla="*/ 93 w 199"/>
                  <a:gd name="T41" fmla="*/ 275 h 275"/>
                  <a:gd name="T42" fmla="*/ 61 w 199"/>
                  <a:gd name="T43" fmla="*/ 267 h 275"/>
                  <a:gd name="T44" fmla="*/ 35 w 199"/>
                  <a:gd name="T45" fmla="*/ 251 h 275"/>
                  <a:gd name="T46" fmla="*/ 15 w 199"/>
                  <a:gd name="T47" fmla="*/ 226 h 275"/>
                  <a:gd name="T48" fmla="*/ 8 w 199"/>
                  <a:gd name="T49" fmla="*/ 215 h 275"/>
                  <a:gd name="T50" fmla="*/ 3 w 199"/>
                  <a:gd name="T51" fmla="*/ 190 h 275"/>
                  <a:gd name="T52" fmla="*/ 2 w 199"/>
                  <a:gd name="T53" fmla="*/ 178 h 275"/>
                  <a:gd name="T54" fmla="*/ 2 w 199"/>
                  <a:gd name="T55" fmla="*/ 138 h 275"/>
                  <a:gd name="T56" fmla="*/ 0 w 199"/>
                  <a:gd name="T57" fmla="*/ 138 h 275"/>
                  <a:gd name="T58" fmla="*/ 130 w 199"/>
                  <a:gd name="T59" fmla="*/ 137 h 275"/>
                  <a:gd name="T60" fmla="*/ 130 w 199"/>
                  <a:gd name="T61" fmla="*/ 92 h 275"/>
                  <a:gd name="T62" fmla="*/ 129 w 199"/>
                  <a:gd name="T63" fmla="*/ 80 h 275"/>
                  <a:gd name="T64" fmla="*/ 124 w 199"/>
                  <a:gd name="T65" fmla="*/ 71 h 275"/>
                  <a:gd name="T66" fmla="*/ 116 w 199"/>
                  <a:gd name="T67" fmla="*/ 64 h 275"/>
                  <a:gd name="T68" fmla="*/ 107 w 199"/>
                  <a:gd name="T69" fmla="*/ 61 h 275"/>
                  <a:gd name="T70" fmla="*/ 99 w 199"/>
                  <a:gd name="T71" fmla="*/ 60 h 275"/>
                  <a:gd name="T72" fmla="*/ 85 w 199"/>
                  <a:gd name="T73" fmla="*/ 64 h 275"/>
                  <a:gd name="T74" fmla="*/ 76 w 199"/>
                  <a:gd name="T75" fmla="*/ 72 h 275"/>
                  <a:gd name="T76" fmla="*/ 71 w 199"/>
                  <a:gd name="T77" fmla="*/ 84 h 275"/>
                  <a:gd name="T78" fmla="*/ 71 w 199"/>
                  <a:gd name="T79" fmla="*/ 92 h 275"/>
                  <a:gd name="T80" fmla="*/ 71 w 199"/>
                  <a:gd name="T81" fmla="*/ 185 h 275"/>
                  <a:gd name="T82" fmla="*/ 72 w 199"/>
                  <a:gd name="T83" fmla="*/ 195 h 275"/>
                  <a:gd name="T84" fmla="*/ 83 w 199"/>
                  <a:gd name="T85" fmla="*/ 210 h 275"/>
                  <a:gd name="T86" fmla="*/ 91 w 199"/>
                  <a:gd name="T87" fmla="*/ 214 h 275"/>
                  <a:gd name="T88" fmla="*/ 107 w 199"/>
                  <a:gd name="T89" fmla="*/ 215 h 275"/>
                  <a:gd name="T90" fmla="*/ 118 w 199"/>
                  <a:gd name="T91" fmla="*/ 210 h 275"/>
                  <a:gd name="T92" fmla="*/ 128 w 199"/>
                  <a:gd name="T93" fmla="*/ 199 h 275"/>
                  <a:gd name="T94" fmla="*/ 130 w 199"/>
                  <a:gd name="T95" fmla="*/ 183 h 275"/>
                  <a:gd name="T96" fmla="*/ 132 w 199"/>
                  <a:gd name="T97" fmla="*/ 161 h 275"/>
                  <a:gd name="T98" fmla="*/ 130 w 199"/>
                  <a:gd name="T99" fmla="*/ 13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9" h="275">
                    <a:moveTo>
                      <a:pt x="0" y="138"/>
                    </a:moveTo>
                    <a:lnTo>
                      <a:pt x="0" y="138"/>
                    </a:lnTo>
                    <a:lnTo>
                      <a:pt x="2" y="108"/>
                    </a:lnTo>
                    <a:lnTo>
                      <a:pt x="3" y="93"/>
                    </a:lnTo>
                    <a:lnTo>
                      <a:pt x="4" y="78"/>
                    </a:lnTo>
                    <a:lnTo>
                      <a:pt x="4" y="78"/>
                    </a:lnTo>
                    <a:lnTo>
                      <a:pt x="8" y="64"/>
                    </a:lnTo>
                    <a:lnTo>
                      <a:pt x="14" y="49"/>
                    </a:lnTo>
                    <a:lnTo>
                      <a:pt x="22" y="37"/>
                    </a:lnTo>
                    <a:lnTo>
                      <a:pt x="31" y="27"/>
                    </a:lnTo>
                    <a:lnTo>
                      <a:pt x="43" y="17"/>
                    </a:lnTo>
                    <a:lnTo>
                      <a:pt x="56" y="11"/>
                    </a:lnTo>
                    <a:lnTo>
                      <a:pt x="71" y="6"/>
                    </a:lnTo>
                    <a:lnTo>
                      <a:pt x="85" y="2"/>
                    </a:lnTo>
                    <a:lnTo>
                      <a:pt x="85" y="2"/>
                    </a:lnTo>
                    <a:lnTo>
                      <a:pt x="100" y="0"/>
                    </a:lnTo>
                    <a:lnTo>
                      <a:pt x="115" y="2"/>
                    </a:lnTo>
                    <a:lnTo>
                      <a:pt x="128" y="4"/>
                    </a:lnTo>
                    <a:lnTo>
                      <a:pt x="140" y="8"/>
                    </a:lnTo>
                    <a:lnTo>
                      <a:pt x="152" y="13"/>
                    </a:lnTo>
                    <a:lnTo>
                      <a:pt x="162" y="21"/>
                    </a:lnTo>
                    <a:lnTo>
                      <a:pt x="173" y="31"/>
                    </a:lnTo>
                    <a:lnTo>
                      <a:pt x="182" y="41"/>
                    </a:lnTo>
                    <a:lnTo>
                      <a:pt x="182" y="41"/>
                    </a:lnTo>
                    <a:lnTo>
                      <a:pt x="190" y="55"/>
                    </a:lnTo>
                    <a:lnTo>
                      <a:pt x="194" y="68"/>
                    </a:lnTo>
                    <a:lnTo>
                      <a:pt x="198" y="82"/>
                    </a:lnTo>
                    <a:lnTo>
                      <a:pt x="199" y="97"/>
                    </a:lnTo>
                    <a:lnTo>
                      <a:pt x="199" y="97"/>
                    </a:lnTo>
                    <a:lnTo>
                      <a:pt x="199" y="178"/>
                    </a:lnTo>
                    <a:lnTo>
                      <a:pt x="199" y="178"/>
                    </a:lnTo>
                    <a:lnTo>
                      <a:pt x="197" y="195"/>
                    </a:lnTo>
                    <a:lnTo>
                      <a:pt x="193" y="211"/>
                    </a:lnTo>
                    <a:lnTo>
                      <a:pt x="187" y="226"/>
                    </a:lnTo>
                    <a:lnTo>
                      <a:pt x="179" y="239"/>
                    </a:lnTo>
                    <a:lnTo>
                      <a:pt x="169" y="250"/>
                    </a:lnTo>
                    <a:lnTo>
                      <a:pt x="157" y="259"/>
                    </a:lnTo>
                    <a:lnTo>
                      <a:pt x="142" y="267"/>
                    </a:lnTo>
                    <a:lnTo>
                      <a:pt x="128" y="271"/>
                    </a:lnTo>
                    <a:lnTo>
                      <a:pt x="128" y="271"/>
                    </a:lnTo>
                    <a:lnTo>
                      <a:pt x="111" y="275"/>
                    </a:lnTo>
                    <a:lnTo>
                      <a:pt x="93" y="275"/>
                    </a:lnTo>
                    <a:lnTo>
                      <a:pt x="77" y="272"/>
                    </a:lnTo>
                    <a:lnTo>
                      <a:pt x="61" y="267"/>
                    </a:lnTo>
                    <a:lnTo>
                      <a:pt x="48" y="260"/>
                    </a:lnTo>
                    <a:lnTo>
                      <a:pt x="35" y="251"/>
                    </a:lnTo>
                    <a:lnTo>
                      <a:pt x="23" y="239"/>
                    </a:lnTo>
                    <a:lnTo>
                      <a:pt x="15" y="226"/>
                    </a:lnTo>
                    <a:lnTo>
                      <a:pt x="15" y="226"/>
                    </a:lnTo>
                    <a:lnTo>
                      <a:pt x="8" y="215"/>
                    </a:lnTo>
                    <a:lnTo>
                      <a:pt x="6" y="203"/>
                    </a:lnTo>
                    <a:lnTo>
                      <a:pt x="3" y="190"/>
                    </a:lnTo>
                    <a:lnTo>
                      <a:pt x="2" y="178"/>
                    </a:lnTo>
                    <a:lnTo>
                      <a:pt x="2" y="178"/>
                    </a:lnTo>
                    <a:lnTo>
                      <a:pt x="2" y="138"/>
                    </a:lnTo>
                    <a:lnTo>
                      <a:pt x="2" y="138"/>
                    </a:lnTo>
                    <a:lnTo>
                      <a:pt x="0" y="138"/>
                    </a:lnTo>
                    <a:lnTo>
                      <a:pt x="0" y="138"/>
                    </a:lnTo>
                    <a:close/>
                    <a:moveTo>
                      <a:pt x="130" y="137"/>
                    </a:moveTo>
                    <a:lnTo>
                      <a:pt x="130" y="137"/>
                    </a:lnTo>
                    <a:lnTo>
                      <a:pt x="130" y="92"/>
                    </a:lnTo>
                    <a:lnTo>
                      <a:pt x="130" y="92"/>
                    </a:lnTo>
                    <a:lnTo>
                      <a:pt x="130" y="86"/>
                    </a:lnTo>
                    <a:lnTo>
                      <a:pt x="129" y="80"/>
                    </a:lnTo>
                    <a:lnTo>
                      <a:pt x="126" y="74"/>
                    </a:lnTo>
                    <a:lnTo>
                      <a:pt x="124" y="71"/>
                    </a:lnTo>
                    <a:lnTo>
                      <a:pt x="120" y="67"/>
                    </a:lnTo>
                    <a:lnTo>
                      <a:pt x="116" y="64"/>
                    </a:lnTo>
                    <a:lnTo>
                      <a:pt x="112" y="61"/>
                    </a:lnTo>
                    <a:lnTo>
                      <a:pt x="107" y="61"/>
                    </a:lnTo>
                    <a:lnTo>
                      <a:pt x="107" y="61"/>
                    </a:lnTo>
                    <a:lnTo>
                      <a:pt x="99" y="60"/>
                    </a:lnTo>
                    <a:lnTo>
                      <a:pt x="92" y="61"/>
                    </a:lnTo>
                    <a:lnTo>
                      <a:pt x="85" y="64"/>
                    </a:lnTo>
                    <a:lnTo>
                      <a:pt x="80" y="67"/>
                    </a:lnTo>
                    <a:lnTo>
                      <a:pt x="76" y="72"/>
                    </a:lnTo>
                    <a:lnTo>
                      <a:pt x="73" y="77"/>
                    </a:lnTo>
                    <a:lnTo>
                      <a:pt x="71" y="84"/>
                    </a:lnTo>
                    <a:lnTo>
                      <a:pt x="71" y="92"/>
                    </a:lnTo>
                    <a:lnTo>
                      <a:pt x="71" y="92"/>
                    </a:lnTo>
                    <a:lnTo>
                      <a:pt x="69" y="138"/>
                    </a:lnTo>
                    <a:lnTo>
                      <a:pt x="71" y="185"/>
                    </a:lnTo>
                    <a:lnTo>
                      <a:pt x="71" y="185"/>
                    </a:lnTo>
                    <a:lnTo>
                      <a:pt x="72" y="195"/>
                    </a:lnTo>
                    <a:lnTo>
                      <a:pt x="76" y="203"/>
                    </a:lnTo>
                    <a:lnTo>
                      <a:pt x="83" y="210"/>
                    </a:lnTo>
                    <a:lnTo>
                      <a:pt x="91" y="214"/>
                    </a:lnTo>
                    <a:lnTo>
                      <a:pt x="91" y="214"/>
                    </a:lnTo>
                    <a:lnTo>
                      <a:pt x="99" y="215"/>
                    </a:lnTo>
                    <a:lnTo>
                      <a:pt x="107" y="215"/>
                    </a:lnTo>
                    <a:lnTo>
                      <a:pt x="113" y="214"/>
                    </a:lnTo>
                    <a:lnTo>
                      <a:pt x="118" y="210"/>
                    </a:lnTo>
                    <a:lnTo>
                      <a:pt x="124" y="206"/>
                    </a:lnTo>
                    <a:lnTo>
                      <a:pt x="128" y="199"/>
                    </a:lnTo>
                    <a:lnTo>
                      <a:pt x="129" y="191"/>
                    </a:lnTo>
                    <a:lnTo>
                      <a:pt x="130" y="183"/>
                    </a:lnTo>
                    <a:lnTo>
                      <a:pt x="130" y="183"/>
                    </a:lnTo>
                    <a:lnTo>
                      <a:pt x="132" y="161"/>
                    </a:lnTo>
                    <a:lnTo>
                      <a:pt x="130" y="137"/>
                    </a:lnTo>
                    <a:lnTo>
                      <a:pt x="130"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97" name="Freeform 397"/>
              <p:cNvSpPr>
                <a:spLocks noEditPoints="1"/>
              </p:cNvSpPr>
              <p:nvPr/>
            </p:nvSpPr>
            <p:spPr bwMode="auto">
              <a:xfrm>
                <a:off x="2968626" y="3995738"/>
                <a:ext cx="77788" cy="109538"/>
              </a:xfrm>
              <a:custGeom>
                <a:avLst/>
                <a:gdLst>
                  <a:gd name="T0" fmla="*/ 0 w 196"/>
                  <a:gd name="T1" fmla="*/ 138 h 275"/>
                  <a:gd name="T2" fmla="*/ 0 w 196"/>
                  <a:gd name="T3" fmla="*/ 98 h 275"/>
                  <a:gd name="T4" fmla="*/ 0 w 196"/>
                  <a:gd name="T5" fmla="*/ 85 h 275"/>
                  <a:gd name="T6" fmla="*/ 9 w 196"/>
                  <a:gd name="T7" fmla="*/ 55 h 275"/>
                  <a:gd name="T8" fmla="*/ 25 w 196"/>
                  <a:gd name="T9" fmla="*/ 29 h 275"/>
                  <a:gd name="T10" fmla="*/ 50 w 196"/>
                  <a:gd name="T11" fmla="*/ 12 h 275"/>
                  <a:gd name="T12" fmla="*/ 80 w 196"/>
                  <a:gd name="T13" fmla="*/ 2 h 275"/>
                  <a:gd name="T14" fmla="*/ 98 w 196"/>
                  <a:gd name="T15" fmla="*/ 0 h 275"/>
                  <a:gd name="T16" fmla="*/ 132 w 196"/>
                  <a:gd name="T17" fmla="*/ 7 h 275"/>
                  <a:gd name="T18" fmla="*/ 148 w 196"/>
                  <a:gd name="T19" fmla="*/ 13 h 275"/>
                  <a:gd name="T20" fmla="*/ 163 w 196"/>
                  <a:gd name="T21" fmla="*/ 24 h 275"/>
                  <a:gd name="T22" fmla="*/ 176 w 196"/>
                  <a:gd name="T23" fmla="*/ 37 h 275"/>
                  <a:gd name="T24" fmla="*/ 187 w 196"/>
                  <a:gd name="T25" fmla="*/ 53 h 275"/>
                  <a:gd name="T26" fmla="*/ 193 w 196"/>
                  <a:gd name="T27" fmla="*/ 73 h 275"/>
                  <a:gd name="T28" fmla="*/ 194 w 196"/>
                  <a:gd name="T29" fmla="*/ 84 h 275"/>
                  <a:gd name="T30" fmla="*/ 196 w 196"/>
                  <a:gd name="T31" fmla="*/ 96 h 275"/>
                  <a:gd name="T32" fmla="*/ 194 w 196"/>
                  <a:gd name="T33" fmla="*/ 189 h 275"/>
                  <a:gd name="T34" fmla="*/ 193 w 196"/>
                  <a:gd name="T35" fmla="*/ 204 h 275"/>
                  <a:gd name="T36" fmla="*/ 180 w 196"/>
                  <a:gd name="T37" fmla="*/ 232 h 275"/>
                  <a:gd name="T38" fmla="*/ 160 w 196"/>
                  <a:gd name="T39" fmla="*/ 255 h 275"/>
                  <a:gd name="T40" fmla="*/ 132 w 196"/>
                  <a:gd name="T41" fmla="*/ 269 h 275"/>
                  <a:gd name="T42" fmla="*/ 118 w 196"/>
                  <a:gd name="T43" fmla="*/ 273 h 275"/>
                  <a:gd name="T44" fmla="*/ 90 w 196"/>
                  <a:gd name="T45" fmla="*/ 275 h 275"/>
                  <a:gd name="T46" fmla="*/ 65 w 196"/>
                  <a:gd name="T47" fmla="*/ 269 h 275"/>
                  <a:gd name="T48" fmla="*/ 42 w 196"/>
                  <a:gd name="T49" fmla="*/ 257 h 275"/>
                  <a:gd name="T50" fmla="*/ 21 w 196"/>
                  <a:gd name="T51" fmla="*/ 239 h 275"/>
                  <a:gd name="T52" fmla="*/ 15 w 196"/>
                  <a:gd name="T53" fmla="*/ 232 h 275"/>
                  <a:gd name="T54" fmla="*/ 5 w 196"/>
                  <a:gd name="T55" fmla="*/ 212 h 275"/>
                  <a:gd name="T56" fmla="*/ 0 w 196"/>
                  <a:gd name="T57" fmla="*/ 182 h 275"/>
                  <a:gd name="T58" fmla="*/ 0 w 196"/>
                  <a:gd name="T59" fmla="*/ 138 h 275"/>
                  <a:gd name="T60" fmla="*/ 0 w 196"/>
                  <a:gd name="T61" fmla="*/ 138 h 275"/>
                  <a:gd name="T62" fmla="*/ 67 w 196"/>
                  <a:gd name="T63" fmla="*/ 138 h 275"/>
                  <a:gd name="T64" fmla="*/ 67 w 196"/>
                  <a:gd name="T65" fmla="*/ 138 h 275"/>
                  <a:gd name="T66" fmla="*/ 67 w 196"/>
                  <a:gd name="T67" fmla="*/ 162 h 275"/>
                  <a:gd name="T68" fmla="*/ 67 w 196"/>
                  <a:gd name="T69" fmla="*/ 186 h 275"/>
                  <a:gd name="T70" fmla="*/ 70 w 196"/>
                  <a:gd name="T71" fmla="*/ 198 h 275"/>
                  <a:gd name="T72" fmla="*/ 76 w 196"/>
                  <a:gd name="T73" fmla="*/ 207 h 275"/>
                  <a:gd name="T74" fmla="*/ 84 w 196"/>
                  <a:gd name="T75" fmla="*/ 212 h 275"/>
                  <a:gd name="T76" fmla="*/ 96 w 196"/>
                  <a:gd name="T77" fmla="*/ 215 h 275"/>
                  <a:gd name="T78" fmla="*/ 102 w 196"/>
                  <a:gd name="T79" fmla="*/ 215 h 275"/>
                  <a:gd name="T80" fmla="*/ 114 w 196"/>
                  <a:gd name="T81" fmla="*/ 212 h 275"/>
                  <a:gd name="T82" fmla="*/ 122 w 196"/>
                  <a:gd name="T83" fmla="*/ 206 h 275"/>
                  <a:gd name="T84" fmla="*/ 126 w 196"/>
                  <a:gd name="T85" fmla="*/ 195 h 275"/>
                  <a:gd name="T86" fmla="*/ 127 w 196"/>
                  <a:gd name="T87" fmla="*/ 189 h 275"/>
                  <a:gd name="T88" fmla="*/ 128 w 196"/>
                  <a:gd name="T89" fmla="*/ 88 h 275"/>
                  <a:gd name="T90" fmla="*/ 127 w 196"/>
                  <a:gd name="T91" fmla="*/ 82 h 275"/>
                  <a:gd name="T92" fmla="*/ 123 w 196"/>
                  <a:gd name="T93" fmla="*/ 74 h 275"/>
                  <a:gd name="T94" fmla="*/ 111 w 196"/>
                  <a:gd name="T95" fmla="*/ 63 h 275"/>
                  <a:gd name="T96" fmla="*/ 103 w 196"/>
                  <a:gd name="T97" fmla="*/ 61 h 275"/>
                  <a:gd name="T98" fmla="*/ 90 w 196"/>
                  <a:gd name="T99" fmla="*/ 61 h 275"/>
                  <a:gd name="T100" fmla="*/ 78 w 196"/>
                  <a:gd name="T101" fmla="*/ 67 h 275"/>
                  <a:gd name="T102" fmla="*/ 71 w 196"/>
                  <a:gd name="T103" fmla="*/ 76 h 275"/>
                  <a:gd name="T104" fmla="*/ 67 w 196"/>
                  <a:gd name="T105" fmla="*/ 90 h 275"/>
                  <a:gd name="T106" fmla="*/ 67 w 196"/>
                  <a:gd name="T107" fmla="*/ 114 h 275"/>
                  <a:gd name="T108" fmla="*/ 67 w 196"/>
                  <a:gd name="T109" fmla="*/ 13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6" h="275">
                    <a:moveTo>
                      <a:pt x="0" y="138"/>
                    </a:moveTo>
                    <a:lnTo>
                      <a:pt x="0" y="138"/>
                    </a:lnTo>
                    <a:lnTo>
                      <a:pt x="0" y="112"/>
                    </a:lnTo>
                    <a:lnTo>
                      <a:pt x="0" y="98"/>
                    </a:lnTo>
                    <a:lnTo>
                      <a:pt x="0" y="85"/>
                    </a:lnTo>
                    <a:lnTo>
                      <a:pt x="0" y="85"/>
                    </a:lnTo>
                    <a:lnTo>
                      <a:pt x="4" y="69"/>
                    </a:lnTo>
                    <a:lnTo>
                      <a:pt x="9" y="55"/>
                    </a:lnTo>
                    <a:lnTo>
                      <a:pt x="17" y="41"/>
                    </a:lnTo>
                    <a:lnTo>
                      <a:pt x="25" y="29"/>
                    </a:lnTo>
                    <a:lnTo>
                      <a:pt x="37" y="20"/>
                    </a:lnTo>
                    <a:lnTo>
                      <a:pt x="50" y="12"/>
                    </a:lnTo>
                    <a:lnTo>
                      <a:pt x="65" y="7"/>
                    </a:lnTo>
                    <a:lnTo>
                      <a:pt x="80" y="2"/>
                    </a:lnTo>
                    <a:lnTo>
                      <a:pt x="80" y="2"/>
                    </a:lnTo>
                    <a:lnTo>
                      <a:pt x="98" y="0"/>
                    </a:lnTo>
                    <a:lnTo>
                      <a:pt x="115" y="2"/>
                    </a:lnTo>
                    <a:lnTo>
                      <a:pt x="132" y="7"/>
                    </a:lnTo>
                    <a:lnTo>
                      <a:pt x="140" y="10"/>
                    </a:lnTo>
                    <a:lnTo>
                      <a:pt x="148" y="13"/>
                    </a:lnTo>
                    <a:lnTo>
                      <a:pt x="156" y="19"/>
                    </a:lnTo>
                    <a:lnTo>
                      <a:pt x="163" y="24"/>
                    </a:lnTo>
                    <a:lnTo>
                      <a:pt x="169" y="31"/>
                    </a:lnTo>
                    <a:lnTo>
                      <a:pt x="176" y="37"/>
                    </a:lnTo>
                    <a:lnTo>
                      <a:pt x="181" y="45"/>
                    </a:lnTo>
                    <a:lnTo>
                      <a:pt x="187" y="53"/>
                    </a:lnTo>
                    <a:lnTo>
                      <a:pt x="189" y="63"/>
                    </a:lnTo>
                    <a:lnTo>
                      <a:pt x="193" y="73"/>
                    </a:lnTo>
                    <a:lnTo>
                      <a:pt x="193" y="73"/>
                    </a:lnTo>
                    <a:lnTo>
                      <a:pt x="194" y="84"/>
                    </a:lnTo>
                    <a:lnTo>
                      <a:pt x="196" y="96"/>
                    </a:lnTo>
                    <a:lnTo>
                      <a:pt x="196" y="96"/>
                    </a:lnTo>
                    <a:lnTo>
                      <a:pt x="196" y="142"/>
                    </a:lnTo>
                    <a:lnTo>
                      <a:pt x="194" y="189"/>
                    </a:lnTo>
                    <a:lnTo>
                      <a:pt x="194" y="189"/>
                    </a:lnTo>
                    <a:lnTo>
                      <a:pt x="193" y="204"/>
                    </a:lnTo>
                    <a:lnTo>
                      <a:pt x="188" y="219"/>
                    </a:lnTo>
                    <a:lnTo>
                      <a:pt x="180" y="232"/>
                    </a:lnTo>
                    <a:lnTo>
                      <a:pt x="171" y="244"/>
                    </a:lnTo>
                    <a:lnTo>
                      <a:pt x="160" y="255"/>
                    </a:lnTo>
                    <a:lnTo>
                      <a:pt x="147" y="263"/>
                    </a:lnTo>
                    <a:lnTo>
                      <a:pt x="132" y="269"/>
                    </a:lnTo>
                    <a:lnTo>
                      <a:pt x="118" y="273"/>
                    </a:lnTo>
                    <a:lnTo>
                      <a:pt x="118" y="273"/>
                    </a:lnTo>
                    <a:lnTo>
                      <a:pt x="103" y="275"/>
                    </a:lnTo>
                    <a:lnTo>
                      <a:pt x="90" y="275"/>
                    </a:lnTo>
                    <a:lnTo>
                      <a:pt x="76" y="272"/>
                    </a:lnTo>
                    <a:lnTo>
                      <a:pt x="65" y="269"/>
                    </a:lnTo>
                    <a:lnTo>
                      <a:pt x="53" y="264"/>
                    </a:lnTo>
                    <a:lnTo>
                      <a:pt x="42" y="257"/>
                    </a:lnTo>
                    <a:lnTo>
                      <a:pt x="31" y="250"/>
                    </a:lnTo>
                    <a:lnTo>
                      <a:pt x="21" y="239"/>
                    </a:lnTo>
                    <a:lnTo>
                      <a:pt x="21" y="239"/>
                    </a:lnTo>
                    <a:lnTo>
                      <a:pt x="15" y="232"/>
                    </a:lnTo>
                    <a:lnTo>
                      <a:pt x="12" y="226"/>
                    </a:lnTo>
                    <a:lnTo>
                      <a:pt x="5" y="212"/>
                    </a:lnTo>
                    <a:lnTo>
                      <a:pt x="1" y="196"/>
                    </a:lnTo>
                    <a:lnTo>
                      <a:pt x="0" y="182"/>
                    </a:lnTo>
                    <a:lnTo>
                      <a:pt x="0" y="182"/>
                    </a:lnTo>
                    <a:lnTo>
                      <a:pt x="0" y="138"/>
                    </a:lnTo>
                    <a:lnTo>
                      <a:pt x="0" y="138"/>
                    </a:lnTo>
                    <a:lnTo>
                      <a:pt x="0" y="138"/>
                    </a:lnTo>
                    <a:lnTo>
                      <a:pt x="0" y="138"/>
                    </a:lnTo>
                    <a:close/>
                    <a:moveTo>
                      <a:pt x="67" y="138"/>
                    </a:moveTo>
                    <a:lnTo>
                      <a:pt x="67" y="138"/>
                    </a:lnTo>
                    <a:lnTo>
                      <a:pt x="67" y="138"/>
                    </a:lnTo>
                    <a:lnTo>
                      <a:pt x="67" y="138"/>
                    </a:lnTo>
                    <a:lnTo>
                      <a:pt x="67" y="162"/>
                    </a:lnTo>
                    <a:lnTo>
                      <a:pt x="67" y="186"/>
                    </a:lnTo>
                    <a:lnTo>
                      <a:pt x="67" y="186"/>
                    </a:lnTo>
                    <a:lnTo>
                      <a:pt x="69" y="193"/>
                    </a:lnTo>
                    <a:lnTo>
                      <a:pt x="70" y="198"/>
                    </a:lnTo>
                    <a:lnTo>
                      <a:pt x="72" y="203"/>
                    </a:lnTo>
                    <a:lnTo>
                      <a:pt x="76" y="207"/>
                    </a:lnTo>
                    <a:lnTo>
                      <a:pt x="80" y="210"/>
                    </a:lnTo>
                    <a:lnTo>
                      <a:pt x="84" y="212"/>
                    </a:lnTo>
                    <a:lnTo>
                      <a:pt x="90" y="215"/>
                    </a:lnTo>
                    <a:lnTo>
                      <a:pt x="96" y="215"/>
                    </a:lnTo>
                    <a:lnTo>
                      <a:pt x="96" y="215"/>
                    </a:lnTo>
                    <a:lnTo>
                      <a:pt x="102" y="215"/>
                    </a:lnTo>
                    <a:lnTo>
                      <a:pt x="108" y="214"/>
                    </a:lnTo>
                    <a:lnTo>
                      <a:pt x="114" y="212"/>
                    </a:lnTo>
                    <a:lnTo>
                      <a:pt x="118" y="208"/>
                    </a:lnTo>
                    <a:lnTo>
                      <a:pt x="122" y="206"/>
                    </a:lnTo>
                    <a:lnTo>
                      <a:pt x="124" y="200"/>
                    </a:lnTo>
                    <a:lnTo>
                      <a:pt x="126" y="195"/>
                    </a:lnTo>
                    <a:lnTo>
                      <a:pt x="127" y="189"/>
                    </a:lnTo>
                    <a:lnTo>
                      <a:pt x="127" y="189"/>
                    </a:lnTo>
                    <a:lnTo>
                      <a:pt x="128" y="138"/>
                    </a:lnTo>
                    <a:lnTo>
                      <a:pt x="128" y="88"/>
                    </a:lnTo>
                    <a:lnTo>
                      <a:pt x="128" y="88"/>
                    </a:lnTo>
                    <a:lnTo>
                      <a:pt x="127" y="82"/>
                    </a:lnTo>
                    <a:lnTo>
                      <a:pt x="127" y="82"/>
                    </a:lnTo>
                    <a:lnTo>
                      <a:pt x="123" y="74"/>
                    </a:lnTo>
                    <a:lnTo>
                      <a:pt x="118" y="68"/>
                    </a:lnTo>
                    <a:lnTo>
                      <a:pt x="111" y="63"/>
                    </a:lnTo>
                    <a:lnTo>
                      <a:pt x="103" y="61"/>
                    </a:lnTo>
                    <a:lnTo>
                      <a:pt x="103" y="61"/>
                    </a:lnTo>
                    <a:lnTo>
                      <a:pt x="96" y="60"/>
                    </a:lnTo>
                    <a:lnTo>
                      <a:pt x="90" y="61"/>
                    </a:lnTo>
                    <a:lnTo>
                      <a:pt x="83" y="64"/>
                    </a:lnTo>
                    <a:lnTo>
                      <a:pt x="78" y="67"/>
                    </a:lnTo>
                    <a:lnTo>
                      <a:pt x="74" y="71"/>
                    </a:lnTo>
                    <a:lnTo>
                      <a:pt x="71" y="76"/>
                    </a:lnTo>
                    <a:lnTo>
                      <a:pt x="69" y="82"/>
                    </a:lnTo>
                    <a:lnTo>
                      <a:pt x="67" y="90"/>
                    </a:lnTo>
                    <a:lnTo>
                      <a:pt x="67" y="90"/>
                    </a:lnTo>
                    <a:lnTo>
                      <a:pt x="67" y="114"/>
                    </a:lnTo>
                    <a:lnTo>
                      <a:pt x="67" y="138"/>
                    </a:lnTo>
                    <a:lnTo>
                      <a:pt x="67"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98" name="Freeform 398"/>
              <p:cNvSpPr>
                <a:spLocks noEditPoints="1"/>
              </p:cNvSpPr>
              <p:nvPr/>
            </p:nvSpPr>
            <p:spPr bwMode="auto">
              <a:xfrm>
                <a:off x="3136901" y="4121150"/>
                <a:ext cx="79375" cy="107950"/>
              </a:xfrm>
              <a:custGeom>
                <a:avLst/>
                <a:gdLst>
                  <a:gd name="T0" fmla="*/ 198 w 198"/>
                  <a:gd name="T1" fmla="*/ 137 h 273"/>
                  <a:gd name="T2" fmla="*/ 195 w 198"/>
                  <a:gd name="T3" fmla="*/ 194 h 273"/>
                  <a:gd name="T4" fmla="*/ 193 w 198"/>
                  <a:gd name="T5" fmla="*/ 209 h 273"/>
                  <a:gd name="T6" fmla="*/ 179 w 198"/>
                  <a:gd name="T7" fmla="*/ 237 h 273"/>
                  <a:gd name="T8" fmla="*/ 157 w 198"/>
                  <a:gd name="T9" fmla="*/ 257 h 273"/>
                  <a:gd name="T10" fmla="*/ 129 w 198"/>
                  <a:gd name="T11" fmla="*/ 270 h 273"/>
                  <a:gd name="T12" fmla="*/ 113 w 198"/>
                  <a:gd name="T13" fmla="*/ 273 h 273"/>
                  <a:gd name="T14" fmla="*/ 87 w 198"/>
                  <a:gd name="T15" fmla="*/ 273 h 273"/>
                  <a:gd name="T16" fmla="*/ 63 w 198"/>
                  <a:gd name="T17" fmla="*/ 266 h 273"/>
                  <a:gd name="T18" fmla="*/ 40 w 198"/>
                  <a:gd name="T19" fmla="*/ 254 h 273"/>
                  <a:gd name="T20" fmla="*/ 22 w 198"/>
                  <a:gd name="T21" fmla="*/ 236 h 273"/>
                  <a:gd name="T22" fmla="*/ 12 w 198"/>
                  <a:gd name="T23" fmla="*/ 224 h 273"/>
                  <a:gd name="T24" fmla="*/ 3 w 198"/>
                  <a:gd name="T25" fmla="*/ 194 h 273"/>
                  <a:gd name="T26" fmla="*/ 2 w 198"/>
                  <a:gd name="T27" fmla="*/ 179 h 273"/>
                  <a:gd name="T28" fmla="*/ 2 w 198"/>
                  <a:gd name="T29" fmla="*/ 88 h 273"/>
                  <a:gd name="T30" fmla="*/ 4 w 198"/>
                  <a:gd name="T31" fmla="*/ 71 h 273"/>
                  <a:gd name="T32" fmla="*/ 16 w 198"/>
                  <a:gd name="T33" fmla="*/ 42 h 273"/>
                  <a:gd name="T34" fmla="*/ 38 w 198"/>
                  <a:gd name="T35" fmla="*/ 21 h 273"/>
                  <a:gd name="T36" fmla="*/ 65 w 198"/>
                  <a:gd name="T37" fmla="*/ 5 h 273"/>
                  <a:gd name="T38" fmla="*/ 81 w 198"/>
                  <a:gd name="T39" fmla="*/ 1 h 273"/>
                  <a:gd name="T40" fmla="*/ 115 w 198"/>
                  <a:gd name="T41" fmla="*/ 1 h 273"/>
                  <a:gd name="T42" fmla="*/ 145 w 198"/>
                  <a:gd name="T43" fmla="*/ 10 h 273"/>
                  <a:gd name="T44" fmla="*/ 170 w 198"/>
                  <a:gd name="T45" fmla="*/ 27 h 273"/>
                  <a:gd name="T46" fmla="*/ 187 w 198"/>
                  <a:gd name="T47" fmla="*/ 53 h 273"/>
                  <a:gd name="T48" fmla="*/ 191 w 198"/>
                  <a:gd name="T49" fmla="*/ 62 h 273"/>
                  <a:gd name="T50" fmla="*/ 197 w 198"/>
                  <a:gd name="T51" fmla="*/ 83 h 273"/>
                  <a:gd name="T52" fmla="*/ 198 w 198"/>
                  <a:gd name="T53" fmla="*/ 94 h 273"/>
                  <a:gd name="T54" fmla="*/ 198 w 198"/>
                  <a:gd name="T55" fmla="*/ 137 h 273"/>
                  <a:gd name="T56" fmla="*/ 198 w 198"/>
                  <a:gd name="T57" fmla="*/ 137 h 273"/>
                  <a:gd name="T58" fmla="*/ 130 w 198"/>
                  <a:gd name="T59" fmla="*/ 136 h 273"/>
                  <a:gd name="T60" fmla="*/ 129 w 198"/>
                  <a:gd name="T61" fmla="*/ 136 h 273"/>
                  <a:gd name="T62" fmla="*/ 129 w 198"/>
                  <a:gd name="T63" fmla="*/ 87 h 273"/>
                  <a:gd name="T64" fmla="*/ 129 w 198"/>
                  <a:gd name="T65" fmla="*/ 80 h 273"/>
                  <a:gd name="T66" fmla="*/ 124 w 198"/>
                  <a:gd name="T67" fmla="*/ 71 h 273"/>
                  <a:gd name="T68" fmla="*/ 117 w 198"/>
                  <a:gd name="T69" fmla="*/ 63 h 273"/>
                  <a:gd name="T70" fmla="*/ 108 w 198"/>
                  <a:gd name="T71" fmla="*/ 59 h 273"/>
                  <a:gd name="T72" fmla="*/ 101 w 198"/>
                  <a:gd name="T73" fmla="*/ 59 h 273"/>
                  <a:gd name="T74" fmla="*/ 91 w 198"/>
                  <a:gd name="T75" fmla="*/ 61 h 273"/>
                  <a:gd name="T76" fmla="*/ 80 w 198"/>
                  <a:gd name="T77" fmla="*/ 65 h 273"/>
                  <a:gd name="T78" fmla="*/ 73 w 198"/>
                  <a:gd name="T79" fmla="*/ 72 h 273"/>
                  <a:gd name="T80" fmla="*/ 71 w 198"/>
                  <a:gd name="T81" fmla="*/ 83 h 273"/>
                  <a:gd name="T82" fmla="*/ 69 w 198"/>
                  <a:gd name="T83" fmla="*/ 136 h 273"/>
                  <a:gd name="T84" fmla="*/ 71 w 198"/>
                  <a:gd name="T85" fmla="*/ 190 h 273"/>
                  <a:gd name="T86" fmla="*/ 73 w 198"/>
                  <a:gd name="T87" fmla="*/ 200 h 273"/>
                  <a:gd name="T88" fmla="*/ 77 w 198"/>
                  <a:gd name="T89" fmla="*/ 206 h 273"/>
                  <a:gd name="T90" fmla="*/ 93 w 198"/>
                  <a:gd name="T91" fmla="*/ 213 h 273"/>
                  <a:gd name="T92" fmla="*/ 101 w 198"/>
                  <a:gd name="T93" fmla="*/ 214 h 273"/>
                  <a:gd name="T94" fmla="*/ 113 w 198"/>
                  <a:gd name="T95" fmla="*/ 212 h 273"/>
                  <a:gd name="T96" fmla="*/ 122 w 198"/>
                  <a:gd name="T97" fmla="*/ 204 h 273"/>
                  <a:gd name="T98" fmla="*/ 129 w 198"/>
                  <a:gd name="T99" fmla="*/ 192 h 273"/>
                  <a:gd name="T100" fmla="*/ 129 w 198"/>
                  <a:gd name="T101" fmla="*/ 185 h 273"/>
                  <a:gd name="T102" fmla="*/ 130 w 198"/>
                  <a:gd name="T103" fmla="*/ 13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273">
                    <a:moveTo>
                      <a:pt x="198" y="137"/>
                    </a:moveTo>
                    <a:lnTo>
                      <a:pt x="198" y="137"/>
                    </a:lnTo>
                    <a:lnTo>
                      <a:pt x="198" y="165"/>
                    </a:lnTo>
                    <a:lnTo>
                      <a:pt x="195" y="194"/>
                    </a:lnTo>
                    <a:lnTo>
                      <a:pt x="195" y="194"/>
                    </a:lnTo>
                    <a:lnTo>
                      <a:pt x="193" y="209"/>
                    </a:lnTo>
                    <a:lnTo>
                      <a:pt x="187" y="224"/>
                    </a:lnTo>
                    <a:lnTo>
                      <a:pt x="179" y="237"/>
                    </a:lnTo>
                    <a:lnTo>
                      <a:pt x="169" y="248"/>
                    </a:lnTo>
                    <a:lnTo>
                      <a:pt x="157" y="257"/>
                    </a:lnTo>
                    <a:lnTo>
                      <a:pt x="144" y="265"/>
                    </a:lnTo>
                    <a:lnTo>
                      <a:pt x="129" y="270"/>
                    </a:lnTo>
                    <a:lnTo>
                      <a:pt x="113" y="273"/>
                    </a:lnTo>
                    <a:lnTo>
                      <a:pt x="113" y="273"/>
                    </a:lnTo>
                    <a:lnTo>
                      <a:pt x="100" y="273"/>
                    </a:lnTo>
                    <a:lnTo>
                      <a:pt x="87" y="273"/>
                    </a:lnTo>
                    <a:lnTo>
                      <a:pt x="75" y="270"/>
                    </a:lnTo>
                    <a:lnTo>
                      <a:pt x="63" y="266"/>
                    </a:lnTo>
                    <a:lnTo>
                      <a:pt x="51" y="261"/>
                    </a:lnTo>
                    <a:lnTo>
                      <a:pt x="40" y="254"/>
                    </a:lnTo>
                    <a:lnTo>
                      <a:pt x="31" y="246"/>
                    </a:lnTo>
                    <a:lnTo>
                      <a:pt x="22" y="236"/>
                    </a:lnTo>
                    <a:lnTo>
                      <a:pt x="22" y="236"/>
                    </a:lnTo>
                    <a:lnTo>
                      <a:pt x="12" y="224"/>
                    </a:lnTo>
                    <a:lnTo>
                      <a:pt x="6" y="209"/>
                    </a:lnTo>
                    <a:lnTo>
                      <a:pt x="3" y="194"/>
                    </a:lnTo>
                    <a:lnTo>
                      <a:pt x="2" y="179"/>
                    </a:lnTo>
                    <a:lnTo>
                      <a:pt x="2" y="179"/>
                    </a:lnTo>
                    <a:lnTo>
                      <a:pt x="0" y="133"/>
                    </a:lnTo>
                    <a:lnTo>
                      <a:pt x="2" y="88"/>
                    </a:lnTo>
                    <a:lnTo>
                      <a:pt x="2" y="88"/>
                    </a:lnTo>
                    <a:lnTo>
                      <a:pt x="4" y="71"/>
                    </a:lnTo>
                    <a:lnTo>
                      <a:pt x="10" y="57"/>
                    </a:lnTo>
                    <a:lnTo>
                      <a:pt x="16" y="42"/>
                    </a:lnTo>
                    <a:lnTo>
                      <a:pt x="26" y="30"/>
                    </a:lnTo>
                    <a:lnTo>
                      <a:pt x="38" y="21"/>
                    </a:lnTo>
                    <a:lnTo>
                      <a:pt x="51" y="11"/>
                    </a:lnTo>
                    <a:lnTo>
                      <a:pt x="65" y="5"/>
                    </a:lnTo>
                    <a:lnTo>
                      <a:pt x="81" y="1"/>
                    </a:lnTo>
                    <a:lnTo>
                      <a:pt x="81" y="1"/>
                    </a:lnTo>
                    <a:lnTo>
                      <a:pt x="99" y="0"/>
                    </a:lnTo>
                    <a:lnTo>
                      <a:pt x="115" y="1"/>
                    </a:lnTo>
                    <a:lnTo>
                      <a:pt x="130" y="3"/>
                    </a:lnTo>
                    <a:lnTo>
                      <a:pt x="145" y="10"/>
                    </a:lnTo>
                    <a:lnTo>
                      <a:pt x="158" y="18"/>
                    </a:lnTo>
                    <a:lnTo>
                      <a:pt x="170" y="27"/>
                    </a:lnTo>
                    <a:lnTo>
                      <a:pt x="179" y="39"/>
                    </a:lnTo>
                    <a:lnTo>
                      <a:pt x="187" y="53"/>
                    </a:lnTo>
                    <a:lnTo>
                      <a:pt x="187" y="53"/>
                    </a:lnTo>
                    <a:lnTo>
                      <a:pt x="191" y="62"/>
                    </a:lnTo>
                    <a:lnTo>
                      <a:pt x="195" y="72"/>
                    </a:lnTo>
                    <a:lnTo>
                      <a:pt x="197" y="83"/>
                    </a:lnTo>
                    <a:lnTo>
                      <a:pt x="198" y="94"/>
                    </a:lnTo>
                    <a:lnTo>
                      <a:pt x="198" y="94"/>
                    </a:lnTo>
                    <a:lnTo>
                      <a:pt x="198" y="137"/>
                    </a:lnTo>
                    <a:lnTo>
                      <a:pt x="198" y="137"/>
                    </a:lnTo>
                    <a:lnTo>
                      <a:pt x="198" y="137"/>
                    </a:lnTo>
                    <a:lnTo>
                      <a:pt x="198" y="137"/>
                    </a:lnTo>
                    <a:close/>
                    <a:moveTo>
                      <a:pt x="130" y="136"/>
                    </a:moveTo>
                    <a:lnTo>
                      <a:pt x="130" y="136"/>
                    </a:lnTo>
                    <a:lnTo>
                      <a:pt x="129" y="136"/>
                    </a:lnTo>
                    <a:lnTo>
                      <a:pt x="129" y="136"/>
                    </a:lnTo>
                    <a:lnTo>
                      <a:pt x="130" y="112"/>
                    </a:lnTo>
                    <a:lnTo>
                      <a:pt x="129" y="87"/>
                    </a:lnTo>
                    <a:lnTo>
                      <a:pt x="129" y="87"/>
                    </a:lnTo>
                    <a:lnTo>
                      <a:pt x="129" y="80"/>
                    </a:lnTo>
                    <a:lnTo>
                      <a:pt x="126" y="75"/>
                    </a:lnTo>
                    <a:lnTo>
                      <a:pt x="124" y="71"/>
                    </a:lnTo>
                    <a:lnTo>
                      <a:pt x="121" y="67"/>
                    </a:lnTo>
                    <a:lnTo>
                      <a:pt x="117" y="63"/>
                    </a:lnTo>
                    <a:lnTo>
                      <a:pt x="112" y="62"/>
                    </a:lnTo>
                    <a:lnTo>
                      <a:pt x="108" y="59"/>
                    </a:lnTo>
                    <a:lnTo>
                      <a:pt x="101" y="59"/>
                    </a:lnTo>
                    <a:lnTo>
                      <a:pt x="101" y="59"/>
                    </a:lnTo>
                    <a:lnTo>
                      <a:pt x="96" y="59"/>
                    </a:lnTo>
                    <a:lnTo>
                      <a:pt x="91" y="61"/>
                    </a:lnTo>
                    <a:lnTo>
                      <a:pt x="85" y="62"/>
                    </a:lnTo>
                    <a:lnTo>
                      <a:pt x="80" y="65"/>
                    </a:lnTo>
                    <a:lnTo>
                      <a:pt x="77" y="68"/>
                    </a:lnTo>
                    <a:lnTo>
                      <a:pt x="73" y="72"/>
                    </a:lnTo>
                    <a:lnTo>
                      <a:pt x="72" y="78"/>
                    </a:lnTo>
                    <a:lnTo>
                      <a:pt x="71" y="83"/>
                    </a:lnTo>
                    <a:lnTo>
                      <a:pt x="71" y="83"/>
                    </a:lnTo>
                    <a:lnTo>
                      <a:pt x="69" y="136"/>
                    </a:lnTo>
                    <a:lnTo>
                      <a:pt x="71" y="190"/>
                    </a:lnTo>
                    <a:lnTo>
                      <a:pt x="71" y="190"/>
                    </a:lnTo>
                    <a:lnTo>
                      <a:pt x="72" y="194"/>
                    </a:lnTo>
                    <a:lnTo>
                      <a:pt x="73" y="200"/>
                    </a:lnTo>
                    <a:lnTo>
                      <a:pt x="75" y="202"/>
                    </a:lnTo>
                    <a:lnTo>
                      <a:pt x="77" y="206"/>
                    </a:lnTo>
                    <a:lnTo>
                      <a:pt x="85" y="210"/>
                    </a:lnTo>
                    <a:lnTo>
                      <a:pt x="93" y="213"/>
                    </a:lnTo>
                    <a:lnTo>
                      <a:pt x="93" y="213"/>
                    </a:lnTo>
                    <a:lnTo>
                      <a:pt x="101" y="214"/>
                    </a:lnTo>
                    <a:lnTo>
                      <a:pt x="108" y="213"/>
                    </a:lnTo>
                    <a:lnTo>
                      <a:pt x="113" y="212"/>
                    </a:lnTo>
                    <a:lnTo>
                      <a:pt x="118" y="208"/>
                    </a:lnTo>
                    <a:lnTo>
                      <a:pt x="122" y="204"/>
                    </a:lnTo>
                    <a:lnTo>
                      <a:pt x="126" y="198"/>
                    </a:lnTo>
                    <a:lnTo>
                      <a:pt x="129" y="192"/>
                    </a:lnTo>
                    <a:lnTo>
                      <a:pt x="129" y="185"/>
                    </a:lnTo>
                    <a:lnTo>
                      <a:pt x="129" y="185"/>
                    </a:lnTo>
                    <a:lnTo>
                      <a:pt x="130" y="161"/>
                    </a:lnTo>
                    <a:lnTo>
                      <a:pt x="130" y="136"/>
                    </a:lnTo>
                    <a:lnTo>
                      <a:pt x="130"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799" name="Freeform 399"/>
              <p:cNvSpPr>
                <a:spLocks noEditPoints="1"/>
              </p:cNvSpPr>
              <p:nvPr/>
            </p:nvSpPr>
            <p:spPr bwMode="auto">
              <a:xfrm>
                <a:off x="3327401" y="4243388"/>
                <a:ext cx="77788" cy="107950"/>
              </a:xfrm>
              <a:custGeom>
                <a:avLst/>
                <a:gdLst>
                  <a:gd name="T0" fmla="*/ 1 w 196"/>
                  <a:gd name="T1" fmla="*/ 137 h 273"/>
                  <a:gd name="T2" fmla="*/ 0 w 196"/>
                  <a:gd name="T3" fmla="*/ 96 h 273"/>
                  <a:gd name="T4" fmla="*/ 1 w 196"/>
                  <a:gd name="T5" fmla="*/ 81 h 273"/>
                  <a:gd name="T6" fmla="*/ 11 w 196"/>
                  <a:gd name="T7" fmla="*/ 52 h 273"/>
                  <a:gd name="T8" fmla="*/ 27 w 196"/>
                  <a:gd name="T9" fmla="*/ 29 h 273"/>
                  <a:gd name="T10" fmla="*/ 49 w 196"/>
                  <a:gd name="T11" fmla="*/ 12 h 273"/>
                  <a:gd name="T12" fmla="*/ 78 w 196"/>
                  <a:gd name="T13" fmla="*/ 2 h 273"/>
                  <a:gd name="T14" fmla="*/ 96 w 196"/>
                  <a:gd name="T15" fmla="*/ 0 h 273"/>
                  <a:gd name="T16" fmla="*/ 127 w 196"/>
                  <a:gd name="T17" fmla="*/ 4 h 273"/>
                  <a:gd name="T18" fmla="*/ 158 w 196"/>
                  <a:gd name="T19" fmla="*/ 17 h 273"/>
                  <a:gd name="T20" fmla="*/ 180 w 196"/>
                  <a:gd name="T21" fmla="*/ 41 h 273"/>
                  <a:gd name="T22" fmla="*/ 187 w 196"/>
                  <a:gd name="T23" fmla="*/ 55 h 273"/>
                  <a:gd name="T24" fmla="*/ 191 w 196"/>
                  <a:gd name="T25" fmla="*/ 64 h 273"/>
                  <a:gd name="T26" fmla="*/ 195 w 196"/>
                  <a:gd name="T27" fmla="*/ 82 h 273"/>
                  <a:gd name="T28" fmla="*/ 196 w 196"/>
                  <a:gd name="T29" fmla="*/ 92 h 273"/>
                  <a:gd name="T30" fmla="*/ 196 w 196"/>
                  <a:gd name="T31" fmla="*/ 177 h 273"/>
                  <a:gd name="T32" fmla="*/ 196 w 196"/>
                  <a:gd name="T33" fmla="*/ 191 h 273"/>
                  <a:gd name="T34" fmla="*/ 188 w 196"/>
                  <a:gd name="T35" fmla="*/ 218 h 273"/>
                  <a:gd name="T36" fmla="*/ 175 w 196"/>
                  <a:gd name="T37" fmla="*/ 239 h 273"/>
                  <a:gd name="T38" fmla="*/ 158 w 196"/>
                  <a:gd name="T39" fmla="*/ 256 h 273"/>
                  <a:gd name="T40" fmla="*/ 137 w 196"/>
                  <a:gd name="T41" fmla="*/ 267 h 273"/>
                  <a:gd name="T42" fmla="*/ 113 w 196"/>
                  <a:gd name="T43" fmla="*/ 273 h 273"/>
                  <a:gd name="T44" fmla="*/ 88 w 196"/>
                  <a:gd name="T45" fmla="*/ 273 h 273"/>
                  <a:gd name="T46" fmla="*/ 64 w 196"/>
                  <a:gd name="T47" fmla="*/ 267 h 273"/>
                  <a:gd name="T48" fmla="*/ 52 w 196"/>
                  <a:gd name="T49" fmla="*/ 261 h 273"/>
                  <a:gd name="T50" fmla="*/ 28 w 196"/>
                  <a:gd name="T51" fmla="*/ 246 h 273"/>
                  <a:gd name="T52" fmla="*/ 12 w 196"/>
                  <a:gd name="T53" fmla="*/ 226 h 273"/>
                  <a:gd name="T54" fmla="*/ 3 w 196"/>
                  <a:gd name="T55" fmla="*/ 200 h 273"/>
                  <a:gd name="T56" fmla="*/ 0 w 196"/>
                  <a:gd name="T57" fmla="*/ 174 h 273"/>
                  <a:gd name="T58" fmla="*/ 0 w 196"/>
                  <a:gd name="T59" fmla="*/ 137 h 273"/>
                  <a:gd name="T60" fmla="*/ 1 w 196"/>
                  <a:gd name="T61" fmla="*/ 137 h 273"/>
                  <a:gd name="T62" fmla="*/ 69 w 196"/>
                  <a:gd name="T63" fmla="*/ 137 h 273"/>
                  <a:gd name="T64" fmla="*/ 69 w 196"/>
                  <a:gd name="T65" fmla="*/ 137 h 273"/>
                  <a:gd name="T66" fmla="*/ 69 w 196"/>
                  <a:gd name="T67" fmla="*/ 162 h 273"/>
                  <a:gd name="T68" fmla="*/ 69 w 196"/>
                  <a:gd name="T69" fmla="*/ 187 h 273"/>
                  <a:gd name="T70" fmla="*/ 72 w 196"/>
                  <a:gd name="T71" fmla="*/ 199 h 273"/>
                  <a:gd name="T72" fmla="*/ 78 w 196"/>
                  <a:gd name="T73" fmla="*/ 207 h 273"/>
                  <a:gd name="T74" fmla="*/ 88 w 196"/>
                  <a:gd name="T75" fmla="*/ 212 h 273"/>
                  <a:gd name="T76" fmla="*/ 100 w 196"/>
                  <a:gd name="T77" fmla="*/ 214 h 273"/>
                  <a:gd name="T78" fmla="*/ 106 w 196"/>
                  <a:gd name="T79" fmla="*/ 214 h 273"/>
                  <a:gd name="T80" fmla="*/ 115 w 196"/>
                  <a:gd name="T81" fmla="*/ 210 h 273"/>
                  <a:gd name="T82" fmla="*/ 123 w 196"/>
                  <a:gd name="T83" fmla="*/ 203 h 273"/>
                  <a:gd name="T84" fmla="*/ 127 w 196"/>
                  <a:gd name="T85" fmla="*/ 192 h 273"/>
                  <a:gd name="T86" fmla="*/ 129 w 196"/>
                  <a:gd name="T87" fmla="*/ 186 h 273"/>
                  <a:gd name="T88" fmla="*/ 130 w 196"/>
                  <a:gd name="T89" fmla="*/ 105 h 273"/>
                  <a:gd name="T90" fmla="*/ 129 w 196"/>
                  <a:gd name="T91" fmla="*/ 96 h 273"/>
                  <a:gd name="T92" fmla="*/ 129 w 196"/>
                  <a:gd name="T93" fmla="*/ 86 h 273"/>
                  <a:gd name="T94" fmla="*/ 122 w 196"/>
                  <a:gd name="T95" fmla="*/ 70 h 273"/>
                  <a:gd name="T96" fmla="*/ 109 w 196"/>
                  <a:gd name="T97" fmla="*/ 61 h 273"/>
                  <a:gd name="T98" fmla="*/ 101 w 196"/>
                  <a:gd name="T99" fmla="*/ 60 h 273"/>
                  <a:gd name="T100" fmla="*/ 88 w 196"/>
                  <a:gd name="T101" fmla="*/ 61 h 273"/>
                  <a:gd name="T102" fmla="*/ 77 w 196"/>
                  <a:gd name="T103" fmla="*/ 68 h 273"/>
                  <a:gd name="T104" fmla="*/ 70 w 196"/>
                  <a:gd name="T105" fmla="*/ 78 h 273"/>
                  <a:gd name="T106" fmla="*/ 69 w 196"/>
                  <a:gd name="T107" fmla="*/ 86 h 273"/>
                  <a:gd name="T108" fmla="*/ 69 w 196"/>
                  <a:gd name="T109" fmla="*/ 112 h 273"/>
                  <a:gd name="T110" fmla="*/ 69 w 196"/>
                  <a:gd name="T11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273">
                    <a:moveTo>
                      <a:pt x="1" y="137"/>
                    </a:moveTo>
                    <a:lnTo>
                      <a:pt x="1" y="137"/>
                    </a:lnTo>
                    <a:lnTo>
                      <a:pt x="0" y="109"/>
                    </a:lnTo>
                    <a:lnTo>
                      <a:pt x="0" y="96"/>
                    </a:lnTo>
                    <a:lnTo>
                      <a:pt x="1" y="81"/>
                    </a:lnTo>
                    <a:lnTo>
                      <a:pt x="1" y="81"/>
                    </a:lnTo>
                    <a:lnTo>
                      <a:pt x="5" y="66"/>
                    </a:lnTo>
                    <a:lnTo>
                      <a:pt x="11" y="52"/>
                    </a:lnTo>
                    <a:lnTo>
                      <a:pt x="17" y="40"/>
                    </a:lnTo>
                    <a:lnTo>
                      <a:pt x="27" y="29"/>
                    </a:lnTo>
                    <a:lnTo>
                      <a:pt x="37" y="20"/>
                    </a:lnTo>
                    <a:lnTo>
                      <a:pt x="49" y="12"/>
                    </a:lnTo>
                    <a:lnTo>
                      <a:pt x="62" y="7"/>
                    </a:lnTo>
                    <a:lnTo>
                      <a:pt x="78" y="2"/>
                    </a:lnTo>
                    <a:lnTo>
                      <a:pt x="78" y="2"/>
                    </a:lnTo>
                    <a:lnTo>
                      <a:pt x="96" y="0"/>
                    </a:lnTo>
                    <a:lnTo>
                      <a:pt x="111" y="0"/>
                    </a:lnTo>
                    <a:lnTo>
                      <a:pt x="127" y="4"/>
                    </a:lnTo>
                    <a:lnTo>
                      <a:pt x="143" y="9"/>
                    </a:lnTo>
                    <a:lnTo>
                      <a:pt x="158" y="17"/>
                    </a:lnTo>
                    <a:lnTo>
                      <a:pt x="170" y="28"/>
                    </a:lnTo>
                    <a:lnTo>
                      <a:pt x="180" y="41"/>
                    </a:lnTo>
                    <a:lnTo>
                      <a:pt x="184" y="48"/>
                    </a:lnTo>
                    <a:lnTo>
                      <a:pt x="187" y="55"/>
                    </a:lnTo>
                    <a:lnTo>
                      <a:pt x="187" y="55"/>
                    </a:lnTo>
                    <a:lnTo>
                      <a:pt x="191" y="64"/>
                    </a:lnTo>
                    <a:lnTo>
                      <a:pt x="194" y="73"/>
                    </a:lnTo>
                    <a:lnTo>
                      <a:pt x="195" y="82"/>
                    </a:lnTo>
                    <a:lnTo>
                      <a:pt x="196" y="92"/>
                    </a:lnTo>
                    <a:lnTo>
                      <a:pt x="196" y="92"/>
                    </a:lnTo>
                    <a:lnTo>
                      <a:pt x="196" y="134"/>
                    </a:lnTo>
                    <a:lnTo>
                      <a:pt x="196" y="177"/>
                    </a:lnTo>
                    <a:lnTo>
                      <a:pt x="196" y="177"/>
                    </a:lnTo>
                    <a:lnTo>
                      <a:pt x="196" y="191"/>
                    </a:lnTo>
                    <a:lnTo>
                      <a:pt x="194" y="204"/>
                    </a:lnTo>
                    <a:lnTo>
                      <a:pt x="188" y="218"/>
                    </a:lnTo>
                    <a:lnTo>
                      <a:pt x="183" y="230"/>
                    </a:lnTo>
                    <a:lnTo>
                      <a:pt x="175" y="239"/>
                    </a:lnTo>
                    <a:lnTo>
                      <a:pt x="167" y="248"/>
                    </a:lnTo>
                    <a:lnTo>
                      <a:pt x="158" y="256"/>
                    </a:lnTo>
                    <a:lnTo>
                      <a:pt x="147" y="263"/>
                    </a:lnTo>
                    <a:lnTo>
                      <a:pt x="137" y="267"/>
                    </a:lnTo>
                    <a:lnTo>
                      <a:pt x="125" y="271"/>
                    </a:lnTo>
                    <a:lnTo>
                      <a:pt x="113" y="273"/>
                    </a:lnTo>
                    <a:lnTo>
                      <a:pt x="100" y="273"/>
                    </a:lnTo>
                    <a:lnTo>
                      <a:pt x="88" y="273"/>
                    </a:lnTo>
                    <a:lnTo>
                      <a:pt x="76" y="271"/>
                    </a:lnTo>
                    <a:lnTo>
                      <a:pt x="64" y="267"/>
                    </a:lnTo>
                    <a:lnTo>
                      <a:pt x="52" y="261"/>
                    </a:lnTo>
                    <a:lnTo>
                      <a:pt x="52" y="261"/>
                    </a:lnTo>
                    <a:lnTo>
                      <a:pt x="39" y="255"/>
                    </a:lnTo>
                    <a:lnTo>
                      <a:pt x="28" y="246"/>
                    </a:lnTo>
                    <a:lnTo>
                      <a:pt x="20" y="236"/>
                    </a:lnTo>
                    <a:lnTo>
                      <a:pt x="12" y="226"/>
                    </a:lnTo>
                    <a:lnTo>
                      <a:pt x="7" y="214"/>
                    </a:lnTo>
                    <a:lnTo>
                      <a:pt x="3" y="200"/>
                    </a:lnTo>
                    <a:lnTo>
                      <a:pt x="1" y="187"/>
                    </a:lnTo>
                    <a:lnTo>
                      <a:pt x="0" y="174"/>
                    </a:lnTo>
                    <a:lnTo>
                      <a:pt x="0" y="174"/>
                    </a:lnTo>
                    <a:lnTo>
                      <a:pt x="0" y="137"/>
                    </a:lnTo>
                    <a:lnTo>
                      <a:pt x="0" y="137"/>
                    </a:lnTo>
                    <a:lnTo>
                      <a:pt x="1" y="137"/>
                    </a:lnTo>
                    <a:lnTo>
                      <a:pt x="1" y="137"/>
                    </a:lnTo>
                    <a:close/>
                    <a:moveTo>
                      <a:pt x="69" y="137"/>
                    </a:moveTo>
                    <a:lnTo>
                      <a:pt x="69" y="137"/>
                    </a:lnTo>
                    <a:lnTo>
                      <a:pt x="69" y="137"/>
                    </a:lnTo>
                    <a:lnTo>
                      <a:pt x="69" y="137"/>
                    </a:lnTo>
                    <a:lnTo>
                      <a:pt x="69" y="162"/>
                    </a:lnTo>
                    <a:lnTo>
                      <a:pt x="69" y="187"/>
                    </a:lnTo>
                    <a:lnTo>
                      <a:pt x="69" y="187"/>
                    </a:lnTo>
                    <a:lnTo>
                      <a:pt x="70" y="194"/>
                    </a:lnTo>
                    <a:lnTo>
                      <a:pt x="72" y="199"/>
                    </a:lnTo>
                    <a:lnTo>
                      <a:pt x="74" y="203"/>
                    </a:lnTo>
                    <a:lnTo>
                      <a:pt x="78" y="207"/>
                    </a:lnTo>
                    <a:lnTo>
                      <a:pt x="82" y="211"/>
                    </a:lnTo>
                    <a:lnTo>
                      <a:pt x="88" y="212"/>
                    </a:lnTo>
                    <a:lnTo>
                      <a:pt x="93" y="214"/>
                    </a:lnTo>
                    <a:lnTo>
                      <a:pt x="100" y="214"/>
                    </a:lnTo>
                    <a:lnTo>
                      <a:pt x="100" y="214"/>
                    </a:lnTo>
                    <a:lnTo>
                      <a:pt x="106" y="214"/>
                    </a:lnTo>
                    <a:lnTo>
                      <a:pt x="111" y="212"/>
                    </a:lnTo>
                    <a:lnTo>
                      <a:pt x="115" y="210"/>
                    </a:lnTo>
                    <a:lnTo>
                      <a:pt x="119" y="207"/>
                    </a:lnTo>
                    <a:lnTo>
                      <a:pt x="123" y="203"/>
                    </a:lnTo>
                    <a:lnTo>
                      <a:pt x="126" y="198"/>
                    </a:lnTo>
                    <a:lnTo>
                      <a:pt x="127" y="192"/>
                    </a:lnTo>
                    <a:lnTo>
                      <a:pt x="129" y="186"/>
                    </a:lnTo>
                    <a:lnTo>
                      <a:pt x="129" y="186"/>
                    </a:lnTo>
                    <a:lnTo>
                      <a:pt x="129" y="145"/>
                    </a:lnTo>
                    <a:lnTo>
                      <a:pt x="130" y="105"/>
                    </a:lnTo>
                    <a:lnTo>
                      <a:pt x="130" y="105"/>
                    </a:lnTo>
                    <a:lnTo>
                      <a:pt x="129" y="96"/>
                    </a:lnTo>
                    <a:lnTo>
                      <a:pt x="129" y="86"/>
                    </a:lnTo>
                    <a:lnTo>
                      <a:pt x="129" y="86"/>
                    </a:lnTo>
                    <a:lnTo>
                      <a:pt x="126" y="77"/>
                    </a:lnTo>
                    <a:lnTo>
                      <a:pt x="122" y="70"/>
                    </a:lnTo>
                    <a:lnTo>
                      <a:pt x="117" y="64"/>
                    </a:lnTo>
                    <a:lnTo>
                      <a:pt x="109" y="61"/>
                    </a:lnTo>
                    <a:lnTo>
                      <a:pt x="109" y="61"/>
                    </a:lnTo>
                    <a:lnTo>
                      <a:pt x="101" y="60"/>
                    </a:lnTo>
                    <a:lnTo>
                      <a:pt x="94" y="60"/>
                    </a:lnTo>
                    <a:lnTo>
                      <a:pt x="88" y="61"/>
                    </a:lnTo>
                    <a:lnTo>
                      <a:pt x="82" y="64"/>
                    </a:lnTo>
                    <a:lnTo>
                      <a:pt x="77" y="68"/>
                    </a:lnTo>
                    <a:lnTo>
                      <a:pt x="73" y="72"/>
                    </a:lnTo>
                    <a:lnTo>
                      <a:pt x="70" y="78"/>
                    </a:lnTo>
                    <a:lnTo>
                      <a:pt x="69" y="86"/>
                    </a:lnTo>
                    <a:lnTo>
                      <a:pt x="69" y="86"/>
                    </a:lnTo>
                    <a:lnTo>
                      <a:pt x="69" y="98"/>
                    </a:lnTo>
                    <a:lnTo>
                      <a:pt x="69" y="112"/>
                    </a:lnTo>
                    <a:lnTo>
                      <a:pt x="69" y="137"/>
                    </a:lnTo>
                    <a:lnTo>
                      <a:pt x="69"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0" name="Freeform 400"/>
              <p:cNvSpPr>
                <a:spLocks noEditPoints="1"/>
              </p:cNvSpPr>
              <p:nvPr/>
            </p:nvSpPr>
            <p:spPr bwMode="auto">
              <a:xfrm>
                <a:off x="2873376" y="4121150"/>
                <a:ext cx="77788" cy="107950"/>
              </a:xfrm>
              <a:custGeom>
                <a:avLst/>
                <a:gdLst>
                  <a:gd name="T0" fmla="*/ 2 w 198"/>
                  <a:gd name="T1" fmla="*/ 136 h 274"/>
                  <a:gd name="T2" fmla="*/ 2 w 198"/>
                  <a:gd name="T3" fmla="*/ 95 h 274"/>
                  <a:gd name="T4" fmla="*/ 2 w 198"/>
                  <a:gd name="T5" fmla="*/ 80 h 274"/>
                  <a:gd name="T6" fmla="*/ 12 w 198"/>
                  <a:gd name="T7" fmla="*/ 51 h 274"/>
                  <a:gd name="T8" fmla="*/ 27 w 198"/>
                  <a:gd name="T9" fmla="*/ 29 h 274"/>
                  <a:gd name="T10" fmla="*/ 50 w 198"/>
                  <a:gd name="T11" fmla="*/ 11 h 274"/>
                  <a:gd name="T12" fmla="*/ 80 w 198"/>
                  <a:gd name="T13" fmla="*/ 2 h 274"/>
                  <a:gd name="T14" fmla="*/ 96 w 198"/>
                  <a:gd name="T15" fmla="*/ 0 h 274"/>
                  <a:gd name="T16" fmla="*/ 130 w 198"/>
                  <a:gd name="T17" fmla="*/ 3 h 274"/>
                  <a:gd name="T18" fmla="*/ 159 w 198"/>
                  <a:gd name="T19" fmla="*/ 18 h 274"/>
                  <a:gd name="T20" fmla="*/ 181 w 198"/>
                  <a:gd name="T21" fmla="*/ 42 h 274"/>
                  <a:gd name="T22" fmla="*/ 189 w 198"/>
                  <a:gd name="T23" fmla="*/ 55 h 274"/>
                  <a:gd name="T24" fmla="*/ 192 w 198"/>
                  <a:gd name="T25" fmla="*/ 65 h 274"/>
                  <a:gd name="T26" fmla="*/ 196 w 198"/>
                  <a:gd name="T27" fmla="*/ 83 h 274"/>
                  <a:gd name="T28" fmla="*/ 197 w 198"/>
                  <a:gd name="T29" fmla="*/ 94 h 274"/>
                  <a:gd name="T30" fmla="*/ 197 w 198"/>
                  <a:gd name="T31" fmla="*/ 181 h 274"/>
                  <a:gd name="T32" fmla="*/ 197 w 198"/>
                  <a:gd name="T33" fmla="*/ 190 h 274"/>
                  <a:gd name="T34" fmla="*/ 192 w 198"/>
                  <a:gd name="T35" fmla="*/ 210 h 274"/>
                  <a:gd name="T36" fmla="*/ 184 w 198"/>
                  <a:gd name="T37" fmla="*/ 229 h 274"/>
                  <a:gd name="T38" fmla="*/ 172 w 198"/>
                  <a:gd name="T39" fmla="*/ 244 h 274"/>
                  <a:gd name="T40" fmla="*/ 157 w 198"/>
                  <a:gd name="T41" fmla="*/ 257 h 274"/>
                  <a:gd name="T42" fmla="*/ 140 w 198"/>
                  <a:gd name="T43" fmla="*/ 266 h 274"/>
                  <a:gd name="T44" fmla="*/ 122 w 198"/>
                  <a:gd name="T45" fmla="*/ 271 h 274"/>
                  <a:gd name="T46" fmla="*/ 102 w 198"/>
                  <a:gd name="T47" fmla="*/ 274 h 274"/>
                  <a:gd name="T48" fmla="*/ 91 w 198"/>
                  <a:gd name="T49" fmla="*/ 273 h 274"/>
                  <a:gd name="T50" fmla="*/ 58 w 198"/>
                  <a:gd name="T51" fmla="*/ 265 h 274"/>
                  <a:gd name="T52" fmla="*/ 31 w 198"/>
                  <a:gd name="T53" fmla="*/ 248 h 274"/>
                  <a:gd name="T54" fmla="*/ 13 w 198"/>
                  <a:gd name="T55" fmla="*/ 224 h 274"/>
                  <a:gd name="T56" fmla="*/ 4 w 198"/>
                  <a:gd name="T57" fmla="*/ 193 h 274"/>
                  <a:gd name="T58" fmla="*/ 1 w 198"/>
                  <a:gd name="T59" fmla="*/ 179 h 274"/>
                  <a:gd name="T60" fmla="*/ 0 w 198"/>
                  <a:gd name="T61" fmla="*/ 136 h 274"/>
                  <a:gd name="T62" fmla="*/ 2 w 198"/>
                  <a:gd name="T63" fmla="*/ 136 h 274"/>
                  <a:gd name="T64" fmla="*/ 70 w 198"/>
                  <a:gd name="T65" fmla="*/ 136 h 274"/>
                  <a:gd name="T66" fmla="*/ 69 w 198"/>
                  <a:gd name="T67" fmla="*/ 136 h 274"/>
                  <a:gd name="T68" fmla="*/ 69 w 198"/>
                  <a:gd name="T69" fmla="*/ 171 h 274"/>
                  <a:gd name="T70" fmla="*/ 69 w 198"/>
                  <a:gd name="T71" fmla="*/ 180 h 274"/>
                  <a:gd name="T72" fmla="*/ 70 w 198"/>
                  <a:gd name="T73" fmla="*/ 189 h 274"/>
                  <a:gd name="T74" fmla="*/ 78 w 198"/>
                  <a:gd name="T75" fmla="*/ 206 h 274"/>
                  <a:gd name="T76" fmla="*/ 94 w 198"/>
                  <a:gd name="T77" fmla="*/ 213 h 274"/>
                  <a:gd name="T78" fmla="*/ 102 w 198"/>
                  <a:gd name="T79" fmla="*/ 214 h 274"/>
                  <a:gd name="T80" fmla="*/ 114 w 198"/>
                  <a:gd name="T81" fmla="*/ 212 h 274"/>
                  <a:gd name="T82" fmla="*/ 123 w 198"/>
                  <a:gd name="T83" fmla="*/ 204 h 274"/>
                  <a:gd name="T84" fmla="*/ 128 w 198"/>
                  <a:gd name="T85" fmla="*/ 193 h 274"/>
                  <a:gd name="T86" fmla="*/ 130 w 198"/>
                  <a:gd name="T87" fmla="*/ 185 h 274"/>
                  <a:gd name="T88" fmla="*/ 131 w 198"/>
                  <a:gd name="T89" fmla="*/ 94 h 274"/>
                  <a:gd name="T90" fmla="*/ 130 w 198"/>
                  <a:gd name="T91" fmla="*/ 86 h 274"/>
                  <a:gd name="T92" fmla="*/ 127 w 198"/>
                  <a:gd name="T93" fmla="*/ 76 h 274"/>
                  <a:gd name="T94" fmla="*/ 116 w 198"/>
                  <a:gd name="T95" fmla="*/ 63 h 274"/>
                  <a:gd name="T96" fmla="*/ 110 w 198"/>
                  <a:gd name="T97" fmla="*/ 61 h 274"/>
                  <a:gd name="T98" fmla="*/ 95 w 198"/>
                  <a:gd name="T99" fmla="*/ 59 h 274"/>
                  <a:gd name="T100" fmla="*/ 83 w 198"/>
                  <a:gd name="T101" fmla="*/ 63 h 274"/>
                  <a:gd name="T102" fmla="*/ 74 w 198"/>
                  <a:gd name="T103" fmla="*/ 72 h 274"/>
                  <a:gd name="T104" fmla="*/ 70 w 198"/>
                  <a:gd name="T105" fmla="*/ 86 h 274"/>
                  <a:gd name="T106" fmla="*/ 70 w 198"/>
                  <a:gd name="T107" fmla="*/ 99 h 274"/>
                  <a:gd name="T108" fmla="*/ 70 w 198"/>
                  <a:gd name="T109" fmla="*/ 13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8" h="274">
                    <a:moveTo>
                      <a:pt x="2" y="136"/>
                    </a:moveTo>
                    <a:lnTo>
                      <a:pt x="2" y="136"/>
                    </a:lnTo>
                    <a:lnTo>
                      <a:pt x="2" y="108"/>
                    </a:lnTo>
                    <a:lnTo>
                      <a:pt x="2" y="95"/>
                    </a:lnTo>
                    <a:lnTo>
                      <a:pt x="2" y="80"/>
                    </a:lnTo>
                    <a:lnTo>
                      <a:pt x="2" y="80"/>
                    </a:lnTo>
                    <a:lnTo>
                      <a:pt x="6" y="66"/>
                    </a:lnTo>
                    <a:lnTo>
                      <a:pt x="12" y="51"/>
                    </a:lnTo>
                    <a:lnTo>
                      <a:pt x="18" y="39"/>
                    </a:lnTo>
                    <a:lnTo>
                      <a:pt x="27" y="29"/>
                    </a:lnTo>
                    <a:lnTo>
                      <a:pt x="38" y="19"/>
                    </a:lnTo>
                    <a:lnTo>
                      <a:pt x="50" y="11"/>
                    </a:lnTo>
                    <a:lnTo>
                      <a:pt x="65" y="6"/>
                    </a:lnTo>
                    <a:lnTo>
                      <a:pt x="80" y="2"/>
                    </a:lnTo>
                    <a:lnTo>
                      <a:pt x="80" y="2"/>
                    </a:lnTo>
                    <a:lnTo>
                      <a:pt x="96" y="0"/>
                    </a:lnTo>
                    <a:lnTo>
                      <a:pt x="114" y="1"/>
                    </a:lnTo>
                    <a:lnTo>
                      <a:pt x="130" y="3"/>
                    </a:lnTo>
                    <a:lnTo>
                      <a:pt x="145" y="10"/>
                    </a:lnTo>
                    <a:lnTo>
                      <a:pt x="159" y="18"/>
                    </a:lnTo>
                    <a:lnTo>
                      <a:pt x="172" y="29"/>
                    </a:lnTo>
                    <a:lnTo>
                      <a:pt x="181" y="42"/>
                    </a:lnTo>
                    <a:lnTo>
                      <a:pt x="185" y="49"/>
                    </a:lnTo>
                    <a:lnTo>
                      <a:pt x="189" y="55"/>
                    </a:lnTo>
                    <a:lnTo>
                      <a:pt x="189" y="55"/>
                    </a:lnTo>
                    <a:lnTo>
                      <a:pt x="192" y="65"/>
                    </a:lnTo>
                    <a:lnTo>
                      <a:pt x="194" y="74"/>
                    </a:lnTo>
                    <a:lnTo>
                      <a:pt x="196" y="83"/>
                    </a:lnTo>
                    <a:lnTo>
                      <a:pt x="197" y="94"/>
                    </a:lnTo>
                    <a:lnTo>
                      <a:pt x="197" y="94"/>
                    </a:lnTo>
                    <a:lnTo>
                      <a:pt x="198" y="137"/>
                    </a:lnTo>
                    <a:lnTo>
                      <a:pt x="197" y="181"/>
                    </a:lnTo>
                    <a:lnTo>
                      <a:pt x="197" y="181"/>
                    </a:lnTo>
                    <a:lnTo>
                      <a:pt x="197" y="190"/>
                    </a:lnTo>
                    <a:lnTo>
                      <a:pt x="194" y="201"/>
                    </a:lnTo>
                    <a:lnTo>
                      <a:pt x="192" y="210"/>
                    </a:lnTo>
                    <a:lnTo>
                      <a:pt x="188" y="220"/>
                    </a:lnTo>
                    <a:lnTo>
                      <a:pt x="184" y="229"/>
                    </a:lnTo>
                    <a:lnTo>
                      <a:pt x="179" y="237"/>
                    </a:lnTo>
                    <a:lnTo>
                      <a:pt x="172" y="244"/>
                    </a:lnTo>
                    <a:lnTo>
                      <a:pt x="165" y="250"/>
                    </a:lnTo>
                    <a:lnTo>
                      <a:pt x="157" y="257"/>
                    </a:lnTo>
                    <a:lnTo>
                      <a:pt x="149" y="262"/>
                    </a:lnTo>
                    <a:lnTo>
                      <a:pt x="140" y="266"/>
                    </a:lnTo>
                    <a:lnTo>
                      <a:pt x="131" y="269"/>
                    </a:lnTo>
                    <a:lnTo>
                      <a:pt x="122" y="271"/>
                    </a:lnTo>
                    <a:lnTo>
                      <a:pt x="112" y="273"/>
                    </a:lnTo>
                    <a:lnTo>
                      <a:pt x="102" y="274"/>
                    </a:lnTo>
                    <a:lnTo>
                      <a:pt x="91" y="273"/>
                    </a:lnTo>
                    <a:lnTo>
                      <a:pt x="91" y="273"/>
                    </a:lnTo>
                    <a:lnTo>
                      <a:pt x="74" y="270"/>
                    </a:lnTo>
                    <a:lnTo>
                      <a:pt x="58" y="265"/>
                    </a:lnTo>
                    <a:lnTo>
                      <a:pt x="43" y="257"/>
                    </a:lnTo>
                    <a:lnTo>
                      <a:pt x="31" y="248"/>
                    </a:lnTo>
                    <a:lnTo>
                      <a:pt x="22" y="237"/>
                    </a:lnTo>
                    <a:lnTo>
                      <a:pt x="13" y="224"/>
                    </a:lnTo>
                    <a:lnTo>
                      <a:pt x="8" y="209"/>
                    </a:lnTo>
                    <a:lnTo>
                      <a:pt x="4" y="193"/>
                    </a:lnTo>
                    <a:lnTo>
                      <a:pt x="4" y="193"/>
                    </a:lnTo>
                    <a:lnTo>
                      <a:pt x="1" y="179"/>
                    </a:lnTo>
                    <a:lnTo>
                      <a:pt x="1" y="165"/>
                    </a:lnTo>
                    <a:lnTo>
                      <a:pt x="0" y="136"/>
                    </a:lnTo>
                    <a:lnTo>
                      <a:pt x="0" y="136"/>
                    </a:lnTo>
                    <a:lnTo>
                      <a:pt x="2" y="136"/>
                    </a:lnTo>
                    <a:lnTo>
                      <a:pt x="2" y="136"/>
                    </a:lnTo>
                    <a:close/>
                    <a:moveTo>
                      <a:pt x="70" y="136"/>
                    </a:moveTo>
                    <a:lnTo>
                      <a:pt x="70" y="136"/>
                    </a:lnTo>
                    <a:lnTo>
                      <a:pt x="69" y="136"/>
                    </a:lnTo>
                    <a:lnTo>
                      <a:pt x="69" y="136"/>
                    </a:lnTo>
                    <a:lnTo>
                      <a:pt x="69" y="171"/>
                    </a:lnTo>
                    <a:lnTo>
                      <a:pt x="69" y="171"/>
                    </a:lnTo>
                    <a:lnTo>
                      <a:pt x="69" y="180"/>
                    </a:lnTo>
                    <a:lnTo>
                      <a:pt x="70" y="189"/>
                    </a:lnTo>
                    <a:lnTo>
                      <a:pt x="70" y="189"/>
                    </a:lnTo>
                    <a:lnTo>
                      <a:pt x="74" y="198"/>
                    </a:lnTo>
                    <a:lnTo>
                      <a:pt x="78" y="206"/>
                    </a:lnTo>
                    <a:lnTo>
                      <a:pt x="86" y="210"/>
                    </a:lnTo>
                    <a:lnTo>
                      <a:pt x="94" y="213"/>
                    </a:lnTo>
                    <a:lnTo>
                      <a:pt x="94" y="213"/>
                    </a:lnTo>
                    <a:lnTo>
                      <a:pt x="102" y="214"/>
                    </a:lnTo>
                    <a:lnTo>
                      <a:pt x="108" y="213"/>
                    </a:lnTo>
                    <a:lnTo>
                      <a:pt x="114" y="212"/>
                    </a:lnTo>
                    <a:lnTo>
                      <a:pt x="119" y="208"/>
                    </a:lnTo>
                    <a:lnTo>
                      <a:pt x="123" y="204"/>
                    </a:lnTo>
                    <a:lnTo>
                      <a:pt x="127" y="198"/>
                    </a:lnTo>
                    <a:lnTo>
                      <a:pt x="128" y="193"/>
                    </a:lnTo>
                    <a:lnTo>
                      <a:pt x="130" y="185"/>
                    </a:lnTo>
                    <a:lnTo>
                      <a:pt x="130" y="185"/>
                    </a:lnTo>
                    <a:lnTo>
                      <a:pt x="130" y="140"/>
                    </a:lnTo>
                    <a:lnTo>
                      <a:pt x="131" y="94"/>
                    </a:lnTo>
                    <a:lnTo>
                      <a:pt x="131" y="94"/>
                    </a:lnTo>
                    <a:lnTo>
                      <a:pt x="130" y="86"/>
                    </a:lnTo>
                    <a:lnTo>
                      <a:pt x="130" y="86"/>
                    </a:lnTo>
                    <a:lnTo>
                      <a:pt x="127" y="76"/>
                    </a:lnTo>
                    <a:lnTo>
                      <a:pt x="123" y="68"/>
                    </a:lnTo>
                    <a:lnTo>
                      <a:pt x="116" y="63"/>
                    </a:lnTo>
                    <a:lnTo>
                      <a:pt x="110" y="61"/>
                    </a:lnTo>
                    <a:lnTo>
                      <a:pt x="110" y="61"/>
                    </a:lnTo>
                    <a:lnTo>
                      <a:pt x="102" y="59"/>
                    </a:lnTo>
                    <a:lnTo>
                      <a:pt x="95" y="59"/>
                    </a:lnTo>
                    <a:lnTo>
                      <a:pt x="88" y="61"/>
                    </a:lnTo>
                    <a:lnTo>
                      <a:pt x="83" y="63"/>
                    </a:lnTo>
                    <a:lnTo>
                      <a:pt x="78" y="67"/>
                    </a:lnTo>
                    <a:lnTo>
                      <a:pt x="74" y="72"/>
                    </a:lnTo>
                    <a:lnTo>
                      <a:pt x="71" y="79"/>
                    </a:lnTo>
                    <a:lnTo>
                      <a:pt x="70" y="86"/>
                    </a:lnTo>
                    <a:lnTo>
                      <a:pt x="70" y="86"/>
                    </a:lnTo>
                    <a:lnTo>
                      <a:pt x="70" y="99"/>
                    </a:lnTo>
                    <a:lnTo>
                      <a:pt x="70" y="111"/>
                    </a:lnTo>
                    <a:lnTo>
                      <a:pt x="70" y="136"/>
                    </a:lnTo>
                    <a:lnTo>
                      <a:pt x="70"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1" name="Freeform 401"/>
              <p:cNvSpPr>
                <a:spLocks/>
              </p:cNvSpPr>
              <p:nvPr/>
            </p:nvSpPr>
            <p:spPr bwMode="auto">
              <a:xfrm>
                <a:off x="3505201" y="4122738"/>
                <a:ext cx="44450" cy="104775"/>
              </a:xfrm>
              <a:custGeom>
                <a:avLst/>
                <a:gdLst>
                  <a:gd name="T0" fmla="*/ 110 w 110"/>
                  <a:gd name="T1" fmla="*/ 262 h 262"/>
                  <a:gd name="T2" fmla="*/ 110 w 110"/>
                  <a:gd name="T3" fmla="*/ 262 h 262"/>
                  <a:gd name="T4" fmla="*/ 42 w 110"/>
                  <a:gd name="T5" fmla="*/ 262 h 262"/>
                  <a:gd name="T6" fmla="*/ 42 w 110"/>
                  <a:gd name="T7" fmla="*/ 262 h 262"/>
                  <a:gd name="T8" fmla="*/ 42 w 110"/>
                  <a:gd name="T9" fmla="*/ 57 h 262"/>
                  <a:gd name="T10" fmla="*/ 42 w 110"/>
                  <a:gd name="T11" fmla="*/ 57 h 262"/>
                  <a:gd name="T12" fmla="*/ 0 w 110"/>
                  <a:gd name="T13" fmla="*/ 57 h 262"/>
                  <a:gd name="T14" fmla="*/ 0 w 110"/>
                  <a:gd name="T15" fmla="*/ 57 h 262"/>
                  <a:gd name="T16" fmla="*/ 0 w 110"/>
                  <a:gd name="T17" fmla="*/ 0 h 262"/>
                  <a:gd name="T18" fmla="*/ 0 w 110"/>
                  <a:gd name="T19" fmla="*/ 0 h 262"/>
                  <a:gd name="T20" fmla="*/ 110 w 110"/>
                  <a:gd name="T21" fmla="*/ 0 h 262"/>
                  <a:gd name="T22" fmla="*/ 110 w 110"/>
                  <a:gd name="T23" fmla="*/ 0 h 262"/>
                  <a:gd name="T24" fmla="*/ 110 w 110"/>
                  <a:gd name="T25" fmla="*/ 262 h 262"/>
                  <a:gd name="T26" fmla="*/ 110 w 110"/>
                  <a:gd name="T27"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2">
                    <a:moveTo>
                      <a:pt x="110" y="262"/>
                    </a:moveTo>
                    <a:lnTo>
                      <a:pt x="110" y="262"/>
                    </a:lnTo>
                    <a:lnTo>
                      <a:pt x="42" y="262"/>
                    </a:lnTo>
                    <a:lnTo>
                      <a:pt x="42" y="262"/>
                    </a:lnTo>
                    <a:lnTo>
                      <a:pt x="42" y="57"/>
                    </a:lnTo>
                    <a:lnTo>
                      <a:pt x="42" y="57"/>
                    </a:lnTo>
                    <a:lnTo>
                      <a:pt x="0" y="57"/>
                    </a:lnTo>
                    <a:lnTo>
                      <a:pt x="0" y="57"/>
                    </a:lnTo>
                    <a:lnTo>
                      <a:pt x="0" y="0"/>
                    </a:lnTo>
                    <a:lnTo>
                      <a:pt x="0" y="0"/>
                    </a:lnTo>
                    <a:lnTo>
                      <a:pt x="110" y="0"/>
                    </a:lnTo>
                    <a:lnTo>
                      <a:pt x="110" y="0"/>
                    </a:lnTo>
                    <a:lnTo>
                      <a:pt x="110" y="262"/>
                    </a:lnTo>
                    <a:lnTo>
                      <a:pt x="110"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2" name="Freeform 402"/>
              <p:cNvSpPr>
                <a:spLocks/>
              </p:cNvSpPr>
              <p:nvPr/>
            </p:nvSpPr>
            <p:spPr bwMode="auto">
              <a:xfrm>
                <a:off x="3505201" y="4244975"/>
                <a:ext cx="44450" cy="104775"/>
              </a:xfrm>
              <a:custGeom>
                <a:avLst/>
                <a:gdLst>
                  <a:gd name="T0" fmla="*/ 42 w 110"/>
                  <a:gd name="T1" fmla="*/ 263 h 263"/>
                  <a:gd name="T2" fmla="*/ 42 w 110"/>
                  <a:gd name="T3" fmla="*/ 263 h 263"/>
                  <a:gd name="T4" fmla="*/ 42 w 110"/>
                  <a:gd name="T5" fmla="*/ 58 h 263"/>
                  <a:gd name="T6" fmla="*/ 42 w 110"/>
                  <a:gd name="T7" fmla="*/ 58 h 263"/>
                  <a:gd name="T8" fmla="*/ 0 w 110"/>
                  <a:gd name="T9" fmla="*/ 58 h 263"/>
                  <a:gd name="T10" fmla="*/ 0 w 110"/>
                  <a:gd name="T11" fmla="*/ 58 h 263"/>
                  <a:gd name="T12" fmla="*/ 0 w 110"/>
                  <a:gd name="T13" fmla="*/ 0 h 263"/>
                  <a:gd name="T14" fmla="*/ 0 w 110"/>
                  <a:gd name="T15" fmla="*/ 0 h 263"/>
                  <a:gd name="T16" fmla="*/ 110 w 110"/>
                  <a:gd name="T17" fmla="*/ 0 h 263"/>
                  <a:gd name="T18" fmla="*/ 110 w 110"/>
                  <a:gd name="T19" fmla="*/ 0 h 263"/>
                  <a:gd name="T20" fmla="*/ 110 w 110"/>
                  <a:gd name="T21" fmla="*/ 263 h 263"/>
                  <a:gd name="T22" fmla="*/ 110 w 110"/>
                  <a:gd name="T23" fmla="*/ 263 h 263"/>
                  <a:gd name="T24" fmla="*/ 42 w 110"/>
                  <a:gd name="T25" fmla="*/ 263 h 263"/>
                  <a:gd name="T26" fmla="*/ 42 w 110"/>
                  <a:gd name="T2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3">
                    <a:moveTo>
                      <a:pt x="42" y="263"/>
                    </a:moveTo>
                    <a:lnTo>
                      <a:pt x="42" y="263"/>
                    </a:lnTo>
                    <a:lnTo>
                      <a:pt x="42" y="58"/>
                    </a:lnTo>
                    <a:lnTo>
                      <a:pt x="42" y="58"/>
                    </a:lnTo>
                    <a:lnTo>
                      <a:pt x="0" y="58"/>
                    </a:lnTo>
                    <a:lnTo>
                      <a:pt x="0" y="58"/>
                    </a:lnTo>
                    <a:lnTo>
                      <a:pt x="0" y="0"/>
                    </a:lnTo>
                    <a:lnTo>
                      <a:pt x="0" y="0"/>
                    </a:lnTo>
                    <a:lnTo>
                      <a:pt x="110" y="0"/>
                    </a:lnTo>
                    <a:lnTo>
                      <a:pt x="110" y="0"/>
                    </a:lnTo>
                    <a:lnTo>
                      <a:pt x="110" y="263"/>
                    </a:lnTo>
                    <a:lnTo>
                      <a:pt x="110" y="263"/>
                    </a:lnTo>
                    <a:lnTo>
                      <a:pt x="42" y="263"/>
                    </a:lnTo>
                    <a:lnTo>
                      <a:pt x="42"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3" name="Freeform 403"/>
              <p:cNvSpPr>
                <a:spLocks/>
              </p:cNvSpPr>
              <p:nvPr/>
            </p:nvSpPr>
            <p:spPr bwMode="auto">
              <a:xfrm>
                <a:off x="2984501" y="4122738"/>
                <a:ext cx="44450" cy="104775"/>
              </a:xfrm>
              <a:custGeom>
                <a:avLst/>
                <a:gdLst>
                  <a:gd name="T0" fmla="*/ 111 w 111"/>
                  <a:gd name="T1" fmla="*/ 264 h 264"/>
                  <a:gd name="T2" fmla="*/ 111 w 111"/>
                  <a:gd name="T3" fmla="*/ 264 h 264"/>
                  <a:gd name="T4" fmla="*/ 44 w 111"/>
                  <a:gd name="T5" fmla="*/ 264 h 264"/>
                  <a:gd name="T6" fmla="*/ 44 w 111"/>
                  <a:gd name="T7" fmla="*/ 264 h 264"/>
                  <a:gd name="T8" fmla="*/ 44 w 111"/>
                  <a:gd name="T9" fmla="*/ 57 h 264"/>
                  <a:gd name="T10" fmla="*/ 44 w 111"/>
                  <a:gd name="T11" fmla="*/ 57 h 264"/>
                  <a:gd name="T12" fmla="*/ 0 w 111"/>
                  <a:gd name="T13" fmla="*/ 57 h 264"/>
                  <a:gd name="T14" fmla="*/ 0 w 111"/>
                  <a:gd name="T15" fmla="*/ 57 h 264"/>
                  <a:gd name="T16" fmla="*/ 0 w 111"/>
                  <a:gd name="T17" fmla="*/ 0 h 264"/>
                  <a:gd name="T18" fmla="*/ 0 w 111"/>
                  <a:gd name="T19" fmla="*/ 0 h 264"/>
                  <a:gd name="T20" fmla="*/ 7 w 111"/>
                  <a:gd name="T21" fmla="*/ 0 h 264"/>
                  <a:gd name="T22" fmla="*/ 7 w 111"/>
                  <a:gd name="T23" fmla="*/ 0 h 264"/>
                  <a:gd name="T24" fmla="*/ 105 w 111"/>
                  <a:gd name="T25" fmla="*/ 0 h 264"/>
                  <a:gd name="T26" fmla="*/ 105 w 111"/>
                  <a:gd name="T27" fmla="*/ 0 h 264"/>
                  <a:gd name="T28" fmla="*/ 107 w 111"/>
                  <a:gd name="T29" fmla="*/ 0 h 264"/>
                  <a:gd name="T30" fmla="*/ 110 w 111"/>
                  <a:gd name="T31" fmla="*/ 1 h 264"/>
                  <a:gd name="T32" fmla="*/ 111 w 111"/>
                  <a:gd name="T33" fmla="*/ 2 h 264"/>
                  <a:gd name="T34" fmla="*/ 111 w 111"/>
                  <a:gd name="T35" fmla="*/ 6 h 264"/>
                  <a:gd name="T36" fmla="*/ 111 w 111"/>
                  <a:gd name="T37" fmla="*/ 6 h 264"/>
                  <a:gd name="T38" fmla="*/ 111 w 111"/>
                  <a:gd name="T39" fmla="*/ 257 h 264"/>
                  <a:gd name="T40" fmla="*/ 111 w 111"/>
                  <a:gd name="T41" fmla="*/ 257 h 264"/>
                  <a:gd name="T42" fmla="*/ 111 w 111"/>
                  <a:gd name="T43" fmla="*/ 264 h 264"/>
                  <a:gd name="T44" fmla="*/ 111 w 111"/>
                  <a:gd name="T45"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264">
                    <a:moveTo>
                      <a:pt x="111" y="264"/>
                    </a:moveTo>
                    <a:lnTo>
                      <a:pt x="111" y="264"/>
                    </a:lnTo>
                    <a:lnTo>
                      <a:pt x="44" y="264"/>
                    </a:lnTo>
                    <a:lnTo>
                      <a:pt x="44" y="264"/>
                    </a:lnTo>
                    <a:lnTo>
                      <a:pt x="44" y="57"/>
                    </a:lnTo>
                    <a:lnTo>
                      <a:pt x="44" y="57"/>
                    </a:lnTo>
                    <a:lnTo>
                      <a:pt x="0" y="57"/>
                    </a:lnTo>
                    <a:lnTo>
                      <a:pt x="0" y="57"/>
                    </a:lnTo>
                    <a:lnTo>
                      <a:pt x="0" y="0"/>
                    </a:lnTo>
                    <a:lnTo>
                      <a:pt x="0" y="0"/>
                    </a:lnTo>
                    <a:lnTo>
                      <a:pt x="7" y="0"/>
                    </a:lnTo>
                    <a:lnTo>
                      <a:pt x="7" y="0"/>
                    </a:lnTo>
                    <a:lnTo>
                      <a:pt x="105" y="0"/>
                    </a:lnTo>
                    <a:lnTo>
                      <a:pt x="105" y="0"/>
                    </a:lnTo>
                    <a:lnTo>
                      <a:pt x="107" y="0"/>
                    </a:lnTo>
                    <a:lnTo>
                      <a:pt x="110" y="1"/>
                    </a:lnTo>
                    <a:lnTo>
                      <a:pt x="111" y="2"/>
                    </a:lnTo>
                    <a:lnTo>
                      <a:pt x="111" y="6"/>
                    </a:lnTo>
                    <a:lnTo>
                      <a:pt x="111" y="6"/>
                    </a:lnTo>
                    <a:lnTo>
                      <a:pt x="111" y="257"/>
                    </a:lnTo>
                    <a:lnTo>
                      <a:pt x="111" y="257"/>
                    </a:lnTo>
                    <a:lnTo>
                      <a:pt x="111" y="264"/>
                    </a:lnTo>
                    <a:lnTo>
                      <a:pt x="11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4" name="Freeform 404"/>
              <p:cNvSpPr>
                <a:spLocks/>
              </p:cNvSpPr>
              <p:nvPr/>
            </p:nvSpPr>
            <p:spPr bwMode="auto">
              <a:xfrm>
                <a:off x="3249613" y="4122738"/>
                <a:ext cx="42863" cy="104775"/>
              </a:xfrm>
              <a:custGeom>
                <a:avLst/>
                <a:gdLst>
                  <a:gd name="T0" fmla="*/ 110 w 110"/>
                  <a:gd name="T1" fmla="*/ 264 h 264"/>
                  <a:gd name="T2" fmla="*/ 110 w 110"/>
                  <a:gd name="T3" fmla="*/ 264 h 264"/>
                  <a:gd name="T4" fmla="*/ 42 w 110"/>
                  <a:gd name="T5" fmla="*/ 264 h 264"/>
                  <a:gd name="T6" fmla="*/ 42 w 110"/>
                  <a:gd name="T7" fmla="*/ 264 h 264"/>
                  <a:gd name="T8" fmla="*/ 42 w 110"/>
                  <a:gd name="T9" fmla="*/ 57 h 264"/>
                  <a:gd name="T10" fmla="*/ 42 w 110"/>
                  <a:gd name="T11" fmla="*/ 57 h 264"/>
                  <a:gd name="T12" fmla="*/ 0 w 110"/>
                  <a:gd name="T13" fmla="*/ 57 h 264"/>
                  <a:gd name="T14" fmla="*/ 0 w 110"/>
                  <a:gd name="T15" fmla="*/ 57 h 264"/>
                  <a:gd name="T16" fmla="*/ 0 w 110"/>
                  <a:gd name="T17" fmla="*/ 0 h 264"/>
                  <a:gd name="T18" fmla="*/ 0 w 110"/>
                  <a:gd name="T19" fmla="*/ 0 h 264"/>
                  <a:gd name="T20" fmla="*/ 110 w 110"/>
                  <a:gd name="T21" fmla="*/ 0 h 264"/>
                  <a:gd name="T22" fmla="*/ 110 w 110"/>
                  <a:gd name="T23" fmla="*/ 0 h 264"/>
                  <a:gd name="T24" fmla="*/ 110 w 110"/>
                  <a:gd name="T25" fmla="*/ 264 h 264"/>
                  <a:gd name="T26" fmla="*/ 110 w 110"/>
                  <a:gd name="T2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4">
                    <a:moveTo>
                      <a:pt x="110" y="264"/>
                    </a:moveTo>
                    <a:lnTo>
                      <a:pt x="110" y="264"/>
                    </a:lnTo>
                    <a:lnTo>
                      <a:pt x="42" y="264"/>
                    </a:lnTo>
                    <a:lnTo>
                      <a:pt x="42" y="264"/>
                    </a:lnTo>
                    <a:lnTo>
                      <a:pt x="42" y="57"/>
                    </a:lnTo>
                    <a:lnTo>
                      <a:pt x="42" y="57"/>
                    </a:lnTo>
                    <a:lnTo>
                      <a:pt x="0" y="57"/>
                    </a:lnTo>
                    <a:lnTo>
                      <a:pt x="0" y="57"/>
                    </a:lnTo>
                    <a:lnTo>
                      <a:pt x="0" y="0"/>
                    </a:lnTo>
                    <a:lnTo>
                      <a:pt x="0" y="0"/>
                    </a:lnTo>
                    <a:lnTo>
                      <a:pt x="110" y="0"/>
                    </a:lnTo>
                    <a:lnTo>
                      <a:pt x="110" y="0"/>
                    </a:lnTo>
                    <a:lnTo>
                      <a:pt x="110" y="264"/>
                    </a:lnTo>
                    <a:lnTo>
                      <a:pt x="110"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5" name="Freeform 405"/>
              <p:cNvSpPr>
                <a:spLocks/>
              </p:cNvSpPr>
              <p:nvPr/>
            </p:nvSpPr>
            <p:spPr bwMode="auto">
              <a:xfrm>
                <a:off x="3425826" y="4122738"/>
                <a:ext cx="44450" cy="104775"/>
              </a:xfrm>
              <a:custGeom>
                <a:avLst/>
                <a:gdLst>
                  <a:gd name="T0" fmla="*/ 0 w 110"/>
                  <a:gd name="T1" fmla="*/ 57 h 262"/>
                  <a:gd name="T2" fmla="*/ 0 w 110"/>
                  <a:gd name="T3" fmla="*/ 57 h 262"/>
                  <a:gd name="T4" fmla="*/ 0 w 110"/>
                  <a:gd name="T5" fmla="*/ 0 h 262"/>
                  <a:gd name="T6" fmla="*/ 0 w 110"/>
                  <a:gd name="T7" fmla="*/ 0 h 262"/>
                  <a:gd name="T8" fmla="*/ 110 w 110"/>
                  <a:gd name="T9" fmla="*/ 0 h 262"/>
                  <a:gd name="T10" fmla="*/ 110 w 110"/>
                  <a:gd name="T11" fmla="*/ 0 h 262"/>
                  <a:gd name="T12" fmla="*/ 110 w 110"/>
                  <a:gd name="T13" fmla="*/ 262 h 262"/>
                  <a:gd name="T14" fmla="*/ 110 w 110"/>
                  <a:gd name="T15" fmla="*/ 262 h 262"/>
                  <a:gd name="T16" fmla="*/ 43 w 110"/>
                  <a:gd name="T17" fmla="*/ 262 h 262"/>
                  <a:gd name="T18" fmla="*/ 43 w 110"/>
                  <a:gd name="T19" fmla="*/ 262 h 262"/>
                  <a:gd name="T20" fmla="*/ 43 w 110"/>
                  <a:gd name="T21" fmla="*/ 57 h 262"/>
                  <a:gd name="T22" fmla="*/ 43 w 110"/>
                  <a:gd name="T23" fmla="*/ 57 h 262"/>
                  <a:gd name="T24" fmla="*/ 0 w 110"/>
                  <a:gd name="T25" fmla="*/ 57 h 262"/>
                  <a:gd name="T26" fmla="*/ 0 w 110"/>
                  <a:gd name="T27" fmla="*/ 5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2">
                    <a:moveTo>
                      <a:pt x="0" y="57"/>
                    </a:moveTo>
                    <a:lnTo>
                      <a:pt x="0" y="57"/>
                    </a:lnTo>
                    <a:lnTo>
                      <a:pt x="0" y="0"/>
                    </a:lnTo>
                    <a:lnTo>
                      <a:pt x="0" y="0"/>
                    </a:lnTo>
                    <a:lnTo>
                      <a:pt x="110" y="0"/>
                    </a:lnTo>
                    <a:lnTo>
                      <a:pt x="110" y="0"/>
                    </a:lnTo>
                    <a:lnTo>
                      <a:pt x="110" y="262"/>
                    </a:lnTo>
                    <a:lnTo>
                      <a:pt x="110" y="262"/>
                    </a:lnTo>
                    <a:lnTo>
                      <a:pt x="43" y="262"/>
                    </a:lnTo>
                    <a:lnTo>
                      <a:pt x="43" y="262"/>
                    </a:lnTo>
                    <a:lnTo>
                      <a:pt x="43" y="57"/>
                    </a:lnTo>
                    <a:lnTo>
                      <a:pt x="43" y="57"/>
                    </a:lnTo>
                    <a:lnTo>
                      <a:pt x="0" y="57"/>
                    </a:lnTo>
                    <a:lnTo>
                      <a:pt x="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6" name="Freeform 406"/>
              <p:cNvSpPr>
                <a:spLocks/>
              </p:cNvSpPr>
              <p:nvPr/>
            </p:nvSpPr>
            <p:spPr bwMode="auto">
              <a:xfrm>
                <a:off x="2984501" y="4244975"/>
                <a:ext cx="44450" cy="104775"/>
              </a:xfrm>
              <a:custGeom>
                <a:avLst/>
                <a:gdLst>
                  <a:gd name="T0" fmla="*/ 110 w 110"/>
                  <a:gd name="T1" fmla="*/ 263 h 263"/>
                  <a:gd name="T2" fmla="*/ 110 w 110"/>
                  <a:gd name="T3" fmla="*/ 263 h 263"/>
                  <a:gd name="T4" fmla="*/ 44 w 110"/>
                  <a:gd name="T5" fmla="*/ 263 h 263"/>
                  <a:gd name="T6" fmla="*/ 44 w 110"/>
                  <a:gd name="T7" fmla="*/ 263 h 263"/>
                  <a:gd name="T8" fmla="*/ 44 w 110"/>
                  <a:gd name="T9" fmla="*/ 58 h 263"/>
                  <a:gd name="T10" fmla="*/ 44 w 110"/>
                  <a:gd name="T11" fmla="*/ 58 h 263"/>
                  <a:gd name="T12" fmla="*/ 0 w 110"/>
                  <a:gd name="T13" fmla="*/ 58 h 263"/>
                  <a:gd name="T14" fmla="*/ 0 w 110"/>
                  <a:gd name="T15" fmla="*/ 58 h 263"/>
                  <a:gd name="T16" fmla="*/ 0 w 110"/>
                  <a:gd name="T17" fmla="*/ 0 h 263"/>
                  <a:gd name="T18" fmla="*/ 0 w 110"/>
                  <a:gd name="T19" fmla="*/ 0 h 263"/>
                  <a:gd name="T20" fmla="*/ 110 w 110"/>
                  <a:gd name="T21" fmla="*/ 0 h 263"/>
                  <a:gd name="T22" fmla="*/ 110 w 110"/>
                  <a:gd name="T23" fmla="*/ 0 h 263"/>
                  <a:gd name="T24" fmla="*/ 110 w 110"/>
                  <a:gd name="T25" fmla="*/ 263 h 263"/>
                  <a:gd name="T26" fmla="*/ 110 w 110"/>
                  <a:gd name="T2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3">
                    <a:moveTo>
                      <a:pt x="110" y="263"/>
                    </a:moveTo>
                    <a:lnTo>
                      <a:pt x="110" y="263"/>
                    </a:lnTo>
                    <a:lnTo>
                      <a:pt x="44" y="263"/>
                    </a:lnTo>
                    <a:lnTo>
                      <a:pt x="44" y="263"/>
                    </a:lnTo>
                    <a:lnTo>
                      <a:pt x="44" y="58"/>
                    </a:lnTo>
                    <a:lnTo>
                      <a:pt x="44" y="58"/>
                    </a:lnTo>
                    <a:lnTo>
                      <a:pt x="0" y="58"/>
                    </a:lnTo>
                    <a:lnTo>
                      <a:pt x="0" y="58"/>
                    </a:lnTo>
                    <a:lnTo>
                      <a:pt x="0" y="0"/>
                    </a:lnTo>
                    <a:lnTo>
                      <a:pt x="0" y="0"/>
                    </a:lnTo>
                    <a:lnTo>
                      <a:pt x="110" y="0"/>
                    </a:lnTo>
                    <a:lnTo>
                      <a:pt x="110" y="0"/>
                    </a:lnTo>
                    <a:lnTo>
                      <a:pt x="110" y="263"/>
                    </a:lnTo>
                    <a:lnTo>
                      <a:pt x="11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7" name="Freeform 407"/>
              <p:cNvSpPr>
                <a:spLocks/>
              </p:cNvSpPr>
              <p:nvPr/>
            </p:nvSpPr>
            <p:spPr bwMode="auto">
              <a:xfrm>
                <a:off x="3249613" y="4244975"/>
                <a:ext cx="42863" cy="104775"/>
              </a:xfrm>
              <a:custGeom>
                <a:avLst/>
                <a:gdLst>
                  <a:gd name="T0" fmla="*/ 42 w 110"/>
                  <a:gd name="T1" fmla="*/ 263 h 263"/>
                  <a:gd name="T2" fmla="*/ 42 w 110"/>
                  <a:gd name="T3" fmla="*/ 263 h 263"/>
                  <a:gd name="T4" fmla="*/ 42 w 110"/>
                  <a:gd name="T5" fmla="*/ 58 h 263"/>
                  <a:gd name="T6" fmla="*/ 42 w 110"/>
                  <a:gd name="T7" fmla="*/ 58 h 263"/>
                  <a:gd name="T8" fmla="*/ 0 w 110"/>
                  <a:gd name="T9" fmla="*/ 58 h 263"/>
                  <a:gd name="T10" fmla="*/ 0 w 110"/>
                  <a:gd name="T11" fmla="*/ 58 h 263"/>
                  <a:gd name="T12" fmla="*/ 0 w 110"/>
                  <a:gd name="T13" fmla="*/ 0 h 263"/>
                  <a:gd name="T14" fmla="*/ 0 w 110"/>
                  <a:gd name="T15" fmla="*/ 0 h 263"/>
                  <a:gd name="T16" fmla="*/ 110 w 110"/>
                  <a:gd name="T17" fmla="*/ 0 h 263"/>
                  <a:gd name="T18" fmla="*/ 110 w 110"/>
                  <a:gd name="T19" fmla="*/ 0 h 263"/>
                  <a:gd name="T20" fmla="*/ 110 w 110"/>
                  <a:gd name="T21" fmla="*/ 263 h 263"/>
                  <a:gd name="T22" fmla="*/ 110 w 110"/>
                  <a:gd name="T23" fmla="*/ 263 h 263"/>
                  <a:gd name="T24" fmla="*/ 42 w 110"/>
                  <a:gd name="T25" fmla="*/ 263 h 263"/>
                  <a:gd name="T26" fmla="*/ 42 w 110"/>
                  <a:gd name="T2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3">
                    <a:moveTo>
                      <a:pt x="42" y="263"/>
                    </a:moveTo>
                    <a:lnTo>
                      <a:pt x="42" y="263"/>
                    </a:lnTo>
                    <a:lnTo>
                      <a:pt x="42" y="58"/>
                    </a:lnTo>
                    <a:lnTo>
                      <a:pt x="42" y="58"/>
                    </a:lnTo>
                    <a:lnTo>
                      <a:pt x="0" y="58"/>
                    </a:lnTo>
                    <a:lnTo>
                      <a:pt x="0" y="58"/>
                    </a:lnTo>
                    <a:lnTo>
                      <a:pt x="0" y="0"/>
                    </a:lnTo>
                    <a:lnTo>
                      <a:pt x="0" y="0"/>
                    </a:lnTo>
                    <a:lnTo>
                      <a:pt x="110" y="0"/>
                    </a:lnTo>
                    <a:lnTo>
                      <a:pt x="110" y="0"/>
                    </a:lnTo>
                    <a:lnTo>
                      <a:pt x="110" y="263"/>
                    </a:lnTo>
                    <a:lnTo>
                      <a:pt x="110" y="263"/>
                    </a:lnTo>
                    <a:lnTo>
                      <a:pt x="42" y="263"/>
                    </a:lnTo>
                    <a:lnTo>
                      <a:pt x="42"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8" name="Freeform 408"/>
              <p:cNvSpPr>
                <a:spLocks/>
              </p:cNvSpPr>
              <p:nvPr/>
            </p:nvSpPr>
            <p:spPr bwMode="auto">
              <a:xfrm>
                <a:off x="3067051" y="4122738"/>
                <a:ext cx="42863" cy="104775"/>
              </a:xfrm>
              <a:custGeom>
                <a:avLst/>
                <a:gdLst>
                  <a:gd name="T0" fmla="*/ 110 w 110"/>
                  <a:gd name="T1" fmla="*/ 0 h 262"/>
                  <a:gd name="T2" fmla="*/ 110 w 110"/>
                  <a:gd name="T3" fmla="*/ 0 h 262"/>
                  <a:gd name="T4" fmla="*/ 110 w 110"/>
                  <a:gd name="T5" fmla="*/ 262 h 262"/>
                  <a:gd name="T6" fmla="*/ 110 w 110"/>
                  <a:gd name="T7" fmla="*/ 262 h 262"/>
                  <a:gd name="T8" fmla="*/ 43 w 110"/>
                  <a:gd name="T9" fmla="*/ 262 h 262"/>
                  <a:gd name="T10" fmla="*/ 43 w 110"/>
                  <a:gd name="T11" fmla="*/ 262 h 262"/>
                  <a:gd name="T12" fmla="*/ 43 w 110"/>
                  <a:gd name="T13" fmla="*/ 57 h 262"/>
                  <a:gd name="T14" fmla="*/ 43 w 110"/>
                  <a:gd name="T15" fmla="*/ 57 h 262"/>
                  <a:gd name="T16" fmla="*/ 0 w 110"/>
                  <a:gd name="T17" fmla="*/ 57 h 262"/>
                  <a:gd name="T18" fmla="*/ 0 w 110"/>
                  <a:gd name="T19" fmla="*/ 57 h 262"/>
                  <a:gd name="T20" fmla="*/ 0 w 110"/>
                  <a:gd name="T21" fmla="*/ 44 h 262"/>
                  <a:gd name="T22" fmla="*/ 0 w 110"/>
                  <a:gd name="T23" fmla="*/ 44 h 262"/>
                  <a:gd name="T24" fmla="*/ 0 w 110"/>
                  <a:gd name="T25" fmla="*/ 5 h 262"/>
                  <a:gd name="T26" fmla="*/ 0 w 110"/>
                  <a:gd name="T27" fmla="*/ 5 h 262"/>
                  <a:gd name="T28" fmla="*/ 0 w 110"/>
                  <a:gd name="T29" fmla="*/ 1 h 262"/>
                  <a:gd name="T30" fmla="*/ 1 w 110"/>
                  <a:gd name="T31" fmla="*/ 0 h 262"/>
                  <a:gd name="T32" fmla="*/ 5 w 110"/>
                  <a:gd name="T33" fmla="*/ 0 h 262"/>
                  <a:gd name="T34" fmla="*/ 5 w 110"/>
                  <a:gd name="T35" fmla="*/ 0 h 262"/>
                  <a:gd name="T36" fmla="*/ 108 w 110"/>
                  <a:gd name="T37" fmla="*/ 0 h 262"/>
                  <a:gd name="T38" fmla="*/ 108 w 110"/>
                  <a:gd name="T39" fmla="*/ 0 h 262"/>
                  <a:gd name="T40" fmla="*/ 110 w 110"/>
                  <a:gd name="T41" fmla="*/ 0 h 262"/>
                  <a:gd name="T42" fmla="*/ 110 w 110"/>
                  <a:gd name="T43"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262">
                    <a:moveTo>
                      <a:pt x="110" y="0"/>
                    </a:moveTo>
                    <a:lnTo>
                      <a:pt x="110" y="0"/>
                    </a:lnTo>
                    <a:lnTo>
                      <a:pt x="110" y="262"/>
                    </a:lnTo>
                    <a:lnTo>
                      <a:pt x="110" y="262"/>
                    </a:lnTo>
                    <a:lnTo>
                      <a:pt x="43" y="262"/>
                    </a:lnTo>
                    <a:lnTo>
                      <a:pt x="43" y="262"/>
                    </a:lnTo>
                    <a:lnTo>
                      <a:pt x="43" y="57"/>
                    </a:lnTo>
                    <a:lnTo>
                      <a:pt x="43" y="57"/>
                    </a:lnTo>
                    <a:lnTo>
                      <a:pt x="0" y="57"/>
                    </a:lnTo>
                    <a:lnTo>
                      <a:pt x="0" y="57"/>
                    </a:lnTo>
                    <a:lnTo>
                      <a:pt x="0" y="44"/>
                    </a:lnTo>
                    <a:lnTo>
                      <a:pt x="0" y="44"/>
                    </a:lnTo>
                    <a:lnTo>
                      <a:pt x="0" y="5"/>
                    </a:lnTo>
                    <a:lnTo>
                      <a:pt x="0" y="5"/>
                    </a:lnTo>
                    <a:lnTo>
                      <a:pt x="0" y="1"/>
                    </a:lnTo>
                    <a:lnTo>
                      <a:pt x="1" y="0"/>
                    </a:lnTo>
                    <a:lnTo>
                      <a:pt x="5" y="0"/>
                    </a:lnTo>
                    <a:lnTo>
                      <a:pt x="5" y="0"/>
                    </a:lnTo>
                    <a:lnTo>
                      <a:pt x="108" y="0"/>
                    </a:lnTo>
                    <a:lnTo>
                      <a:pt x="108" y="0"/>
                    </a:lnTo>
                    <a:lnTo>
                      <a:pt x="110" y="0"/>
                    </a:lnTo>
                    <a:lnTo>
                      <a:pt x="1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09" name="Freeform 409"/>
              <p:cNvSpPr>
                <a:spLocks/>
              </p:cNvSpPr>
              <p:nvPr/>
            </p:nvSpPr>
            <p:spPr bwMode="auto">
              <a:xfrm>
                <a:off x="3067051" y="3998913"/>
                <a:ext cx="42863" cy="103188"/>
              </a:xfrm>
              <a:custGeom>
                <a:avLst/>
                <a:gdLst>
                  <a:gd name="T0" fmla="*/ 110 w 110"/>
                  <a:gd name="T1" fmla="*/ 0 h 262"/>
                  <a:gd name="T2" fmla="*/ 110 w 110"/>
                  <a:gd name="T3" fmla="*/ 0 h 262"/>
                  <a:gd name="T4" fmla="*/ 110 w 110"/>
                  <a:gd name="T5" fmla="*/ 262 h 262"/>
                  <a:gd name="T6" fmla="*/ 110 w 110"/>
                  <a:gd name="T7" fmla="*/ 262 h 262"/>
                  <a:gd name="T8" fmla="*/ 43 w 110"/>
                  <a:gd name="T9" fmla="*/ 262 h 262"/>
                  <a:gd name="T10" fmla="*/ 43 w 110"/>
                  <a:gd name="T11" fmla="*/ 262 h 262"/>
                  <a:gd name="T12" fmla="*/ 43 w 110"/>
                  <a:gd name="T13" fmla="*/ 56 h 262"/>
                  <a:gd name="T14" fmla="*/ 43 w 110"/>
                  <a:gd name="T15" fmla="*/ 56 h 262"/>
                  <a:gd name="T16" fmla="*/ 0 w 110"/>
                  <a:gd name="T17" fmla="*/ 56 h 262"/>
                  <a:gd name="T18" fmla="*/ 0 w 110"/>
                  <a:gd name="T19" fmla="*/ 56 h 262"/>
                  <a:gd name="T20" fmla="*/ 0 w 110"/>
                  <a:gd name="T21" fmla="*/ 0 h 262"/>
                  <a:gd name="T22" fmla="*/ 0 w 110"/>
                  <a:gd name="T23" fmla="*/ 0 h 262"/>
                  <a:gd name="T24" fmla="*/ 110 w 110"/>
                  <a:gd name="T25" fmla="*/ 0 h 262"/>
                  <a:gd name="T26" fmla="*/ 110 w 110"/>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2">
                    <a:moveTo>
                      <a:pt x="110" y="0"/>
                    </a:moveTo>
                    <a:lnTo>
                      <a:pt x="110" y="0"/>
                    </a:lnTo>
                    <a:lnTo>
                      <a:pt x="110" y="262"/>
                    </a:lnTo>
                    <a:lnTo>
                      <a:pt x="110" y="262"/>
                    </a:lnTo>
                    <a:lnTo>
                      <a:pt x="43" y="262"/>
                    </a:lnTo>
                    <a:lnTo>
                      <a:pt x="43" y="262"/>
                    </a:lnTo>
                    <a:lnTo>
                      <a:pt x="43" y="56"/>
                    </a:lnTo>
                    <a:lnTo>
                      <a:pt x="43" y="56"/>
                    </a:lnTo>
                    <a:lnTo>
                      <a:pt x="0" y="56"/>
                    </a:lnTo>
                    <a:lnTo>
                      <a:pt x="0" y="56"/>
                    </a:lnTo>
                    <a:lnTo>
                      <a:pt x="0" y="0"/>
                    </a:lnTo>
                    <a:lnTo>
                      <a:pt x="0" y="0"/>
                    </a:lnTo>
                    <a:lnTo>
                      <a:pt x="110" y="0"/>
                    </a:lnTo>
                    <a:lnTo>
                      <a:pt x="1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10" name="Freeform 410"/>
              <p:cNvSpPr>
                <a:spLocks/>
              </p:cNvSpPr>
              <p:nvPr/>
            </p:nvSpPr>
            <p:spPr bwMode="auto">
              <a:xfrm>
                <a:off x="3154363" y="3997325"/>
                <a:ext cx="44450" cy="104775"/>
              </a:xfrm>
              <a:custGeom>
                <a:avLst/>
                <a:gdLst>
                  <a:gd name="T0" fmla="*/ 0 w 110"/>
                  <a:gd name="T1" fmla="*/ 0 h 263"/>
                  <a:gd name="T2" fmla="*/ 0 w 110"/>
                  <a:gd name="T3" fmla="*/ 0 h 263"/>
                  <a:gd name="T4" fmla="*/ 110 w 110"/>
                  <a:gd name="T5" fmla="*/ 0 h 263"/>
                  <a:gd name="T6" fmla="*/ 110 w 110"/>
                  <a:gd name="T7" fmla="*/ 0 h 263"/>
                  <a:gd name="T8" fmla="*/ 110 w 110"/>
                  <a:gd name="T9" fmla="*/ 263 h 263"/>
                  <a:gd name="T10" fmla="*/ 110 w 110"/>
                  <a:gd name="T11" fmla="*/ 263 h 263"/>
                  <a:gd name="T12" fmla="*/ 44 w 110"/>
                  <a:gd name="T13" fmla="*/ 263 h 263"/>
                  <a:gd name="T14" fmla="*/ 44 w 110"/>
                  <a:gd name="T15" fmla="*/ 263 h 263"/>
                  <a:gd name="T16" fmla="*/ 44 w 110"/>
                  <a:gd name="T17" fmla="*/ 57 h 263"/>
                  <a:gd name="T18" fmla="*/ 44 w 110"/>
                  <a:gd name="T19" fmla="*/ 57 h 263"/>
                  <a:gd name="T20" fmla="*/ 0 w 110"/>
                  <a:gd name="T21" fmla="*/ 57 h 263"/>
                  <a:gd name="T22" fmla="*/ 0 w 110"/>
                  <a:gd name="T23" fmla="*/ 57 h 263"/>
                  <a:gd name="T24" fmla="*/ 0 w 110"/>
                  <a:gd name="T25" fmla="*/ 0 h 263"/>
                  <a:gd name="T26" fmla="*/ 0 w 110"/>
                  <a:gd name="T27"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3">
                    <a:moveTo>
                      <a:pt x="0" y="0"/>
                    </a:moveTo>
                    <a:lnTo>
                      <a:pt x="0" y="0"/>
                    </a:lnTo>
                    <a:lnTo>
                      <a:pt x="110" y="0"/>
                    </a:lnTo>
                    <a:lnTo>
                      <a:pt x="110" y="0"/>
                    </a:lnTo>
                    <a:lnTo>
                      <a:pt x="110" y="263"/>
                    </a:lnTo>
                    <a:lnTo>
                      <a:pt x="110" y="263"/>
                    </a:lnTo>
                    <a:lnTo>
                      <a:pt x="44" y="263"/>
                    </a:lnTo>
                    <a:lnTo>
                      <a:pt x="44" y="263"/>
                    </a:lnTo>
                    <a:lnTo>
                      <a:pt x="44" y="57"/>
                    </a:lnTo>
                    <a:lnTo>
                      <a:pt x="44" y="57"/>
                    </a:lnTo>
                    <a:lnTo>
                      <a:pt x="0" y="57"/>
                    </a:lnTo>
                    <a:lnTo>
                      <a:pt x="0" y="5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11" name="Freeform 411"/>
              <p:cNvSpPr>
                <a:spLocks/>
              </p:cNvSpPr>
              <p:nvPr/>
            </p:nvSpPr>
            <p:spPr bwMode="auto">
              <a:xfrm>
                <a:off x="3344863" y="4122738"/>
                <a:ext cx="42863" cy="104775"/>
              </a:xfrm>
              <a:custGeom>
                <a:avLst/>
                <a:gdLst>
                  <a:gd name="T0" fmla="*/ 42 w 109"/>
                  <a:gd name="T1" fmla="*/ 57 h 262"/>
                  <a:gd name="T2" fmla="*/ 42 w 109"/>
                  <a:gd name="T3" fmla="*/ 57 h 262"/>
                  <a:gd name="T4" fmla="*/ 0 w 109"/>
                  <a:gd name="T5" fmla="*/ 57 h 262"/>
                  <a:gd name="T6" fmla="*/ 0 w 109"/>
                  <a:gd name="T7" fmla="*/ 57 h 262"/>
                  <a:gd name="T8" fmla="*/ 0 w 109"/>
                  <a:gd name="T9" fmla="*/ 0 h 262"/>
                  <a:gd name="T10" fmla="*/ 0 w 109"/>
                  <a:gd name="T11" fmla="*/ 0 h 262"/>
                  <a:gd name="T12" fmla="*/ 109 w 109"/>
                  <a:gd name="T13" fmla="*/ 0 h 262"/>
                  <a:gd name="T14" fmla="*/ 109 w 109"/>
                  <a:gd name="T15" fmla="*/ 0 h 262"/>
                  <a:gd name="T16" fmla="*/ 109 w 109"/>
                  <a:gd name="T17" fmla="*/ 262 h 262"/>
                  <a:gd name="T18" fmla="*/ 109 w 109"/>
                  <a:gd name="T19" fmla="*/ 262 h 262"/>
                  <a:gd name="T20" fmla="*/ 42 w 109"/>
                  <a:gd name="T21" fmla="*/ 262 h 262"/>
                  <a:gd name="T22" fmla="*/ 42 w 109"/>
                  <a:gd name="T23" fmla="*/ 262 h 262"/>
                  <a:gd name="T24" fmla="*/ 42 w 109"/>
                  <a:gd name="T25" fmla="*/ 57 h 262"/>
                  <a:gd name="T26" fmla="*/ 42 w 109"/>
                  <a:gd name="T27" fmla="*/ 5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262">
                    <a:moveTo>
                      <a:pt x="42" y="57"/>
                    </a:moveTo>
                    <a:lnTo>
                      <a:pt x="42" y="57"/>
                    </a:lnTo>
                    <a:lnTo>
                      <a:pt x="0" y="57"/>
                    </a:lnTo>
                    <a:lnTo>
                      <a:pt x="0" y="57"/>
                    </a:lnTo>
                    <a:lnTo>
                      <a:pt x="0" y="0"/>
                    </a:lnTo>
                    <a:lnTo>
                      <a:pt x="0" y="0"/>
                    </a:lnTo>
                    <a:lnTo>
                      <a:pt x="109" y="0"/>
                    </a:lnTo>
                    <a:lnTo>
                      <a:pt x="109" y="0"/>
                    </a:lnTo>
                    <a:lnTo>
                      <a:pt x="109" y="262"/>
                    </a:lnTo>
                    <a:lnTo>
                      <a:pt x="109" y="262"/>
                    </a:lnTo>
                    <a:lnTo>
                      <a:pt x="42" y="262"/>
                    </a:lnTo>
                    <a:lnTo>
                      <a:pt x="42" y="262"/>
                    </a:lnTo>
                    <a:lnTo>
                      <a:pt x="42" y="57"/>
                    </a:lnTo>
                    <a:lnTo>
                      <a:pt x="42"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sp>
            <p:nvSpPr>
              <p:cNvPr id="812" name="Freeform 412"/>
              <p:cNvSpPr>
                <a:spLocks/>
              </p:cNvSpPr>
              <p:nvPr/>
            </p:nvSpPr>
            <p:spPr bwMode="auto">
              <a:xfrm>
                <a:off x="2890838" y="3998913"/>
                <a:ext cx="42863" cy="103188"/>
              </a:xfrm>
              <a:custGeom>
                <a:avLst/>
                <a:gdLst>
                  <a:gd name="T0" fmla="*/ 42 w 110"/>
                  <a:gd name="T1" fmla="*/ 262 h 262"/>
                  <a:gd name="T2" fmla="*/ 42 w 110"/>
                  <a:gd name="T3" fmla="*/ 262 h 262"/>
                  <a:gd name="T4" fmla="*/ 42 w 110"/>
                  <a:gd name="T5" fmla="*/ 56 h 262"/>
                  <a:gd name="T6" fmla="*/ 42 w 110"/>
                  <a:gd name="T7" fmla="*/ 56 h 262"/>
                  <a:gd name="T8" fmla="*/ 0 w 110"/>
                  <a:gd name="T9" fmla="*/ 56 h 262"/>
                  <a:gd name="T10" fmla="*/ 0 w 110"/>
                  <a:gd name="T11" fmla="*/ 56 h 262"/>
                  <a:gd name="T12" fmla="*/ 0 w 110"/>
                  <a:gd name="T13" fmla="*/ 0 h 262"/>
                  <a:gd name="T14" fmla="*/ 0 w 110"/>
                  <a:gd name="T15" fmla="*/ 0 h 262"/>
                  <a:gd name="T16" fmla="*/ 110 w 110"/>
                  <a:gd name="T17" fmla="*/ 0 h 262"/>
                  <a:gd name="T18" fmla="*/ 110 w 110"/>
                  <a:gd name="T19" fmla="*/ 0 h 262"/>
                  <a:gd name="T20" fmla="*/ 110 w 110"/>
                  <a:gd name="T21" fmla="*/ 262 h 262"/>
                  <a:gd name="T22" fmla="*/ 110 w 110"/>
                  <a:gd name="T23" fmla="*/ 262 h 262"/>
                  <a:gd name="T24" fmla="*/ 42 w 110"/>
                  <a:gd name="T25" fmla="*/ 262 h 262"/>
                  <a:gd name="T26" fmla="*/ 42 w 110"/>
                  <a:gd name="T27"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262">
                    <a:moveTo>
                      <a:pt x="42" y="262"/>
                    </a:moveTo>
                    <a:lnTo>
                      <a:pt x="42" y="262"/>
                    </a:lnTo>
                    <a:lnTo>
                      <a:pt x="42" y="56"/>
                    </a:lnTo>
                    <a:lnTo>
                      <a:pt x="42" y="56"/>
                    </a:lnTo>
                    <a:lnTo>
                      <a:pt x="0" y="56"/>
                    </a:lnTo>
                    <a:lnTo>
                      <a:pt x="0" y="56"/>
                    </a:lnTo>
                    <a:lnTo>
                      <a:pt x="0" y="0"/>
                    </a:lnTo>
                    <a:lnTo>
                      <a:pt x="0" y="0"/>
                    </a:lnTo>
                    <a:lnTo>
                      <a:pt x="110" y="0"/>
                    </a:lnTo>
                    <a:lnTo>
                      <a:pt x="110" y="0"/>
                    </a:lnTo>
                    <a:lnTo>
                      <a:pt x="110" y="262"/>
                    </a:lnTo>
                    <a:lnTo>
                      <a:pt x="110" y="262"/>
                    </a:lnTo>
                    <a:lnTo>
                      <a:pt x="42" y="262"/>
                    </a:lnTo>
                    <a:lnTo>
                      <a:pt x="42"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kern="0" dirty="0">
                  <a:solidFill>
                    <a:srgbClr val="FFFFFF"/>
                  </a:solidFill>
                </a:endParaRPr>
              </a:p>
            </p:txBody>
          </p:sp>
        </p:grpSp>
      </p:grpSp>
      <p:grpSp>
        <p:nvGrpSpPr>
          <p:cNvPr id="7" name="Group 6"/>
          <p:cNvGrpSpPr/>
          <p:nvPr/>
        </p:nvGrpSpPr>
        <p:grpSpPr>
          <a:xfrm>
            <a:off x="8799126" y="5514539"/>
            <a:ext cx="568991" cy="525980"/>
            <a:chOff x="8998356" y="5625223"/>
            <a:chExt cx="490567" cy="453485"/>
          </a:xfrm>
        </p:grpSpPr>
        <p:sp>
          <p:nvSpPr>
            <p:cNvPr id="2748" name="Rectangle 513"/>
            <p:cNvSpPr>
              <a:spLocks noChangeArrowheads="1"/>
            </p:cNvSpPr>
            <p:nvPr/>
          </p:nvSpPr>
          <p:spPr bwMode="auto">
            <a:xfrm>
              <a:off x="9361036" y="5864184"/>
              <a:ext cx="107245" cy="119818"/>
            </a:xfrm>
            <a:prstGeom prst="rect">
              <a:avLst/>
            </a:prstGeom>
            <a:solidFill>
              <a:schemeClr val="bg2">
                <a:alpha val="10196"/>
              </a:schemeClr>
            </a:solidFill>
            <a:ln w="9525" cap="flat" cmpd="sng" algn="ctr">
              <a:solidFill>
                <a:srgbClr val="FFC000"/>
              </a:solid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749" name="Rectangle 514"/>
            <p:cNvSpPr>
              <a:spLocks noChangeArrowheads="1"/>
            </p:cNvSpPr>
            <p:nvPr/>
          </p:nvSpPr>
          <p:spPr bwMode="auto">
            <a:xfrm>
              <a:off x="9361131" y="5770666"/>
              <a:ext cx="80590" cy="81649"/>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64" tIns="45684" rIns="45684" bIns="91364" numCol="1" spcCol="0" rtlCol="0" fromWordArt="0" anchor="b" anchorCtr="0" forceAA="0" compatLnSpc="1">
              <a:prstTxWarp prst="textNoShape">
                <a:avLst/>
              </a:prstTxWarp>
              <a:noAutofit/>
            </a:bodyPr>
            <a:lstStyle/>
            <a:p>
              <a:pPr algn="ctr" defTabSz="913123"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750" name="Group 2749"/>
            <p:cNvGrpSpPr/>
            <p:nvPr/>
          </p:nvGrpSpPr>
          <p:grpSpPr>
            <a:xfrm>
              <a:off x="9025393" y="5753991"/>
              <a:ext cx="293202" cy="324717"/>
              <a:chOff x="4409248" y="3552035"/>
              <a:chExt cx="811923" cy="899196"/>
            </a:xfrm>
          </p:grpSpPr>
          <p:sp>
            <p:nvSpPr>
              <p:cNvPr id="3121" name="Freeform 515"/>
              <p:cNvSpPr>
                <a:spLocks noEditPoints="1"/>
              </p:cNvSpPr>
              <p:nvPr/>
            </p:nvSpPr>
            <p:spPr bwMode="auto">
              <a:xfrm>
                <a:off x="4492298" y="4147654"/>
                <a:ext cx="302144" cy="303577"/>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91364" tIns="45684" rIns="45684" bIns="91364" numCol="1" spcCol="0" rtlCol="0" fromWordArt="0" anchor="b" anchorCtr="0" forceAA="0" compatLnSpc="1">
                <a:prstTxWarp prst="textNoShape">
                  <a:avLst/>
                </a:prstTxWarp>
                <a:noAutofit/>
              </a:bodyPr>
              <a:lstStyle/>
              <a:p>
                <a:pPr algn="ctr" defTabSz="913123"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22" name="Freeform 516"/>
              <p:cNvSpPr>
                <a:spLocks noEditPoints="1"/>
              </p:cNvSpPr>
              <p:nvPr/>
            </p:nvSpPr>
            <p:spPr bwMode="auto">
              <a:xfrm>
                <a:off x="4919026" y="4147654"/>
                <a:ext cx="302145" cy="303577"/>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91364" tIns="45684" rIns="45684" bIns="91364" numCol="1" spcCol="0" rtlCol="0" fromWordArt="0" anchor="b" anchorCtr="0" forceAA="0" compatLnSpc="1">
                <a:prstTxWarp prst="textNoShape">
                  <a:avLst/>
                </a:prstTxWarp>
                <a:noAutofit/>
              </a:bodyPr>
              <a:lstStyle/>
              <a:p>
                <a:pPr algn="ctr" defTabSz="913123"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23" name="Freeform 517"/>
              <p:cNvSpPr>
                <a:spLocks/>
              </p:cNvSpPr>
              <p:nvPr/>
            </p:nvSpPr>
            <p:spPr bwMode="auto">
              <a:xfrm>
                <a:off x="4685776" y="3552035"/>
                <a:ext cx="473980" cy="524101"/>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64" tIns="45684" rIns="45684" bIns="91364" numCol="1" spcCol="0" rtlCol="0" fromWordArt="0" anchor="b" anchorCtr="0" forceAA="0" compatLnSpc="1">
                <a:prstTxWarp prst="textNoShape">
                  <a:avLst/>
                </a:prstTxWarp>
                <a:noAutofit/>
              </a:bodyPr>
              <a:lstStyle/>
              <a:p>
                <a:pPr algn="ctr" defTabSz="913123"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24" name="Freeform 519"/>
              <p:cNvSpPr>
                <a:spLocks/>
              </p:cNvSpPr>
              <p:nvPr/>
            </p:nvSpPr>
            <p:spPr bwMode="auto">
              <a:xfrm>
                <a:off x="4409248" y="3968361"/>
                <a:ext cx="809062" cy="337946"/>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64" tIns="45684" rIns="45684" bIns="91364" numCol="1" spcCol="0" rtlCol="0" fromWordArt="0" anchor="b" anchorCtr="0" forceAA="0" compatLnSpc="1">
                <a:prstTxWarp prst="textNoShape">
                  <a:avLst/>
                </a:prstTxWarp>
                <a:noAutofit/>
              </a:bodyPr>
              <a:lstStyle/>
              <a:p>
                <a:pPr algn="ctr" defTabSz="913123"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51" name="Group 2750"/>
            <p:cNvGrpSpPr>
              <a:grpSpLocks noChangeAspect="1"/>
            </p:cNvGrpSpPr>
            <p:nvPr/>
          </p:nvGrpSpPr>
          <p:grpSpPr>
            <a:xfrm>
              <a:off x="9377953" y="5893622"/>
              <a:ext cx="79609" cy="65363"/>
              <a:chOff x="-4435475" y="1371600"/>
              <a:chExt cx="4435475" cy="3641725"/>
            </a:xfrm>
          </p:grpSpPr>
          <p:sp>
            <p:nvSpPr>
              <p:cNvPr id="3111"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3112" name="Group 3111"/>
              <p:cNvGrpSpPr/>
              <p:nvPr/>
            </p:nvGrpSpPr>
            <p:grpSpPr>
              <a:xfrm>
                <a:off x="-4206871" y="1603382"/>
                <a:ext cx="3978266" cy="3168652"/>
                <a:chOff x="-4206875" y="1603375"/>
                <a:chExt cx="3978275" cy="3168650"/>
              </a:xfrm>
              <a:solidFill>
                <a:srgbClr val="FFFFFF"/>
              </a:solidFill>
            </p:grpSpPr>
            <p:sp>
              <p:nvSpPr>
                <p:cNvPr id="3113"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14"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15"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1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1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1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1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2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sp>
          <p:nvSpPr>
            <p:cNvPr id="3108" name="Rectangle 3107"/>
            <p:cNvSpPr/>
            <p:nvPr/>
          </p:nvSpPr>
          <p:spPr bwMode="auto">
            <a:xfrm>
              <a:off x="9327233" y="5651677"/>
              <a:ext cx="20064" cy="364688"/>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64" tIns="45684" rIns="45684" bIns="91364" numCol="1" spcCol="0" rtlCol="0" fromWordArt="0" anchor="b" anchorCtr="0" forceAA="0" compatLnSpc="1">
              <a:prstTxWarp prst="textNoShape">
                <a:avLst/>
              </a:prstTxWarp>
              <a:noAutofit/>
            </a:bodyPr>
            <a:lstStyle/>
            <a:p>
              <a:pPr algn="ctr" defTabSz="913123"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09" name="Rectangle 3108"/>
            <p:cNvSpPr/>
            <p:nvPr/>
          </p:nvSpPr>
          <p:spPr bwMode="auto">
            <a:xfrm>
              <a:off x="9327233" y="5997481"/>
              <a:ext cx="161690" cy="2124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64" tIns="45684" rIns="45684" bIns="91364" numCol="1" spcCol="0" rtlCol="0" fromWordArt="0" anchor="b" anchorCtr="0" forceAA="0" compatLnSpc="1">
              <a:prstTxWarp prst="textNoShape">
                <a:avLst/>
              </a:prstTxWarp>
              <a:noAutofit/>
            </a:bodyPr>
            <a:lstStyle/>
            <a:p>
              <a:pPr algn="ctr" defTabSz="913123"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10" name="Rectangle 514"/>
            <p:cNvSpPr>
              <a:spLocks noChangeArrowheads="1"/>
            </p:cNvSpPr>
            <p:nvPr/>
          </p:nvSpPr>
          <p:spPr bwMode="auto">
            <a:xfrm>
              <a:off x="9361131" y="5678609"/>
              <a:ext cx="80590" cy="81649"/>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364" tIns="45684" rIns="45684" bIns="91364" numCol="1" spcCol="0" rtlCol="0" fromWordArt="0" anchor="b" anchorCtr="0" forceAA="0" compatLnSpc="1">
              <a:prstTxWarp prst="textNoShape">
                <a:avLst/>
              </a:prstTxWarp>
              <a:noAutofit/>
            </a:bodyPr>
            <a:lstStyle/>
            <a:p>
              <a:pPr algn="ctr" defTabSz="913123"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125" name="Group 3124"/>
            <p:cNvGrpSpPr/>
            <p:nvPr/>
          </p:nvGrpSpPr>
          <p:grpSpPr>
            <a:xfrm rot="13500000">
              <a:off x="9021757" y="5601822"/>
              <a:ext cx="97642" cy="144444"/>
              <a:chOff x="2687372" y="3149601"/>
              <a:chExt cx="81465" cy="132564"/>
            </a:xfrm>
            <a:solidFill>
              <a:schemeClr val="accent1"/>
            </a:solidFill>
          </p:grpSpPr>
          <p:sp>
            <p:nvSpPr>
              <p:cNvPr id="3126"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2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28"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29"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3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3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grpSp>
        <p:nvGrpSpPr>
          <p:cNvPr id="3164" name="Group 3163"/>
          <p:cNvGrpSpPr/>
          <p:nvPr/>
        </p:nvGrpSpPr>
        <p:grpSpPr>
          <a:xfrm rot="8100000" flipH="1">
            <a:off x="10270837" y="5495569"/>
            <a:ext cx="103456" cy="153046"/>
            <a:chOff x="2687372" y="3149601"/>
            <a:chExt cx="81465" cy="132564"/>
          </a:xfrm>
          <a:solidFill>
            <a:schemeClr val="accent1"/>
          </a:solidFill>
        </p:grpSpPr>
        <p:sp>
          <p:nvSpPr>
            <p:cNvPr id="316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6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6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6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6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317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nvGrpSpPr>
          <p:cNvPr id="6" name="Group 5"/>
          <p:cNvGrpSpPr/>
          <p:nvPr/>
        </p:nvGrpSpPr>
        <p:grpSpPr>
          <a:xfrm>
            <a:off x="9450407" y="5468455"/>
            <a:ext cx="896170" cy="596948"/>
            <a:chOff x="9774714" y="5578200"/>
            <a:chExt cx="914400" cy="609091"/>
          </a:xfrm>
        </p:grpSpPr>
        <p:grpSp>
          <p:nvGrpSpPr>
            <p:cNvPr id="2" name="Group 1"/>
            <p:cNvGrpSpPr/>
            <p:nvPr/>
          </p:nvGrpSpPr>
          <p:grpSpPr>
            <a:xfrm>
              <a:off x="9774714" y="5578200"/>
              <a:ext cx="914400" cy="609091"/>
              <a:chOff x="8412443" y="433921"/>
              <a:chExt cx="914400" cy="609091"/>
            </a:xfrm>
          </p:grpSpPr>
          <p:sp>
            <p:nvSpPr>
              <p:cNvPr id="618" name="Freeform 5"/>
              <p:cNvSpPr>
                <a:spLocks noEditPoints="1"/>
              </p:cNvSpPr>
              <p:nvPr/>
            </p:nvSpPr>
            <p:spPr bwMode="auto">
              <a:xfrm>
                <a:off x="8412443" y="549516"/>
                <a:ext cx="914400" cy="493496"/>
              </a:xfrm>
              <a:custGeom>
                <a:avLst/>
                <a:gdLst>
                  <a:gd name="T0" fmla="*/ 0 w 5492"/>
                  <a:gd name="T1" fmla="*/ 0 h 2964"/>
                  <a:gd name="T2" fmla="*/ 4119 w 5492"/>
                  <a:gd name="T3" fmla="*/ 384 h 2964"/>
                  <a:gd name="T4" fmla="*/ 4982 w 5492"/>
                  <a:gd name="T5" fmla="*/ 384 h 2964"/>
                  <a:gd name="T6" fmla="*/ 5006 w 5492"/>
                  <a:gd name="T7" fmla="*/ 391 h 2964"/>
                  <a:gd name="T8" fmla="*/ 5246 w 5492"/>
                  <a:gd name="T9" fmla="*/ 778 h 2964"/>
                  <a:gd name="T10" fmla="*/ 5492 w 5492"/>
                  <a:gd name="T11" fmla="*/ 1171 h 2964"/>
                  <a:gd name="T12" fmla="*/ 5101 w 5492"/>
                  <a:gd name="T13" fmla="*/ 2415 h 2964"/>
                  <a:gd name="T14" fmla="*/ 5108 w 5492"/>
                  <a:gd name="T15" fmla="*/ 2493 h 2964"/>
                  <a:gd name="T16" fmla="*/ 5097 w 5492"/>
                  <a:gd name="T17" fmla="*/ 2594 h 2964"/>
                  <a:gd name="T18" fmla="*/ 5068 w 5492"/>
                  <a:gd name="T19" fmla="*/ 2686 h 2964"/>
                  <a:gd name="T20" fmla="*/ 5019 w 5492"/>
                  <a:gd name="T21" fmla="*/ 2770 h 2964"/>
                  <a:gd name="T22" fmla="*/ 4955 w 5492"/>
                  <a:gd name="T23" fmla="*/ 2842 h 2964"/>
                  <a:gd name="T24" fmla="*/ 4879 w 5492"/>
                  <a:gd name="T25" fmla="*/ 2899 h 2964"/>
                  <a:gd name="T26" fmla="*/ 4789 w 5492"/>
                  <a:gd name="T27" fmla="*/ 2940 h 2964"/>
                  <a:gd name="T28" fmla="*/ 4691 w 5492"/>
                  <a:gd name="T29" fmla="*/ 2962 h 2964"/>
                  <a:gd name="T30" fmla="*/ 4616 w 5492"/>
                  <a:gd name="T31" fmla="*/ 2964 h 2964"/>
                  <a:gd name="T32" fmla="*/ 4523 w 5492"/>
                  <a:gd name="T33" fmla="*/ 2950 h 2964"/>
                  <a:gd name="T34" fmla="*/ 4436 w 5492"/>
                  <a:gd name="T35" fmla="*/ 2918 h 2964"/>
                  <a:gd name="T36" fmla="*/ 4356 w 5492"/>
                  <a:gd name="T37" fmla="*/ 2867 h 2964"/>
                  <a:gd name="T38" fmla="*/ 4297 w 5492"/>
                  <a:gd name="T39" fmla="*/ 2813 h 2964"/>
                  <a:gd name="T40" fmla="*/ 4230 w 5492"/>
                  <a:gd name="T41" fmla="*/ 2720 h 2964"/>
                  <a:gd name="T42" fmla="*/ 4189 w 5492"/>
                  <a:gd name="T43" fmla="*/ 2618 h 2964"/>
                  <a:gd name="T44" fmla="*/ 4174 w 5492"/>
                  <a:gd name="T45" fmla="*/ 2505 h 2964"/>
                  <a:gd name="T46" fmla="*/ 4180 w 5492"/>
                  <a:gd name="T47" fmla="*/ 2416 h 2964"/>
                  <a:gd name="T48" fmla="*/ 3953 w 5492"/>
                  <a:gd name="T49" fmla="*/ 2688 h 2964"/>
                  <a:gd name="T50" fmla="*/ 1812 w 5492"/>
                  <a:gd name="T51" fmla="*/ 2416 h 2964"/>
                  <a:gd name="T52" fmla="*/ 1593 w 5492"/>
                  <a:gd name="T53" fmla="*/ 2469 h 2964"/>
                  <a:gd name="T54" fmla="*/ 1587 w 5492"/>
                  <a:gd name="T55" fmla="*/ 2569 h 2964"/>
                  <a:gd name="T56" fmla="*/ 1562 w 5492"/>
                  <a:gd name="T57" fmla="*/ 2663 h 2964"/>
                  <a:gd name="T58" fmla="*/ 1518 w 5492"/>
                  <a:gd name="T59" fmla="*/ 2749 h 2964"/>
                  <a:gd name="T60" fmla="*/ 1459 w 5492"/>
                  <a:gd name="T61" fmla="*/ 2824 h 2964"/>
                  <a:gd name="T62" fmla="*/ 1386 w 5492"/>
                  <a:gd name="T63" fmla="*/ 2885 h 2964"/>
                  <a:gd name="T64" fmla="*/ 1301 w 5492"/>
                  <a:gd name="T65" fmla="*/ 2930 h 2964"/>
                  <a:gd name="T66" fmla="*/ 1205 w 5492"/>
                  <a:gd name="T67" fmla="*/ 2957 h 2964"/>
                  <a:gd name="T68" fmla="*/ 1129 w 5492"/>
                  <a:gd name="T69" fmla="*/ 2964 h 2964"/>
                  <a:gd name="T70" fmla="*/ 1035 w 5492"/>
                  <a:gd name="T71" fmla="*/ 2956 h 2964"/>
                  <a:gd name="T72" fmla="*/ 949 w 5492"/>
                  <a:gd name="T73" fmla="*/ 2931 h 2964"/>
                  <a:gd name="T74" fmla="*/ 867 w 5492"/>
                  <a:gd name="T75" fmla="*/ 2886 h 2964"/>
                  <a:gd name="T76" fmla="*/ 811 w 5492"/>
                  <a:gd name="T77" fmla="*/ 2841 h 2964"/>
                  <a:gd name="T78" fmla="*/ 732 w 5492"/>
                  <a:gd name="T79" fmla="*/ 2749 h 2964"/>
                  <a:gd name="T80" fmla="*/ 683 w 5492"/>
                  <a:gd name="T81" fmla="*/ 2647 h 2964"/>
                  <a:gd name="T82" fmla="*/ 661 w 5492"/>
                  <a:gd name="T83" fmla="*/ 2536 h 2964"/>
                  <a:gd name="T84" fmla="*/ 665 w 5492"/>
                  <a:gd name="T85" fmla="*/ 2415 h 2964"/>
                  <a:gd name="T86" fmla="*/ 4120 w 5492"/>
                  <a:gd name="T87" fmla="*/ 1206 h 2964"/>
                  <a:gd name="T88" fmla="*/ 5241 w 5492"/>
                  <a:gd name="T89" fmla="*/ 1189 h 2964"/>
                  <a:gd name="T90" fmla="*/ 4886 w 5492"/>
                  <a:gd name="T91" fmla="*/ 611 h 2964"/>
                  <a:gd name="T92" fmla="*/ 4862 w 5492"/>
                  <a:gd name="T93" fmla="*/ 604 h 2964"/>
                  <a:gd name="T94" fmla="*/ 4120 w 5492"/>
                  <a:gd name="T95" fmla="*/ 604 h 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92" h="2964">
                    <a:moveTo>
                      <a:pt x="0" y="2415"/>
                    </a:moveTo>
                    <a:lnTo>
                      <a:pt x="0" y="2415"/>
                    </a:lnTo>
                    <a:lnTo>
                      <a:pt x="0" y="0"/>
                    </a:lnTo>
                    <a:lnTo>
                      <a:pt x="0" y="0"/>
                    </a:lnTo>
                    <a:lnTo>
                      <a:pt x="4119" y="0"/>
                    </a:lnTo>
                    <a:lnTo>
                      <a:pt x="4119" y="0"/>
                    </a:lnTo>
                    <a:lnTo>
                      <a:pt x="4119" y="384"/>
                    </a:lnTo>
                    <a:lnTo>
                      <a:pt x="4119" y="384"/>
                    </a:lnTo>
                    <a:lnTo>
                      <a:pt x="4149" y="384"/>
                    </a:lnTo>
                    <a:lnTo>
                      <a:pt x="4149" y="384"/>
                    </a:lnTo>
                    <a:lnTo>
                      <a:pt x="4982" y="384"/>
                    </a:lnTo>
                    <a:lnTo>
                      <a:pt x="4982" y="384"/>
                    </a:lnTo>
                    <a:lnTo>
                      <a:pt x="4993" y="384"/>
                    </a:lnTo>
                    <a:lnTo>
                      <a:pt x="4998" y="387"/>
                    </a:lnTo>
                    <a:lnTo>
                      <a:pt x="5002" y="388"/>
                    </a:lnTo>
                    <a:lnTo>
                      <a:pt x="5006" y="391"/>
                    </a:lnTo>
                    <a:lnTo>
                      <a:pt x="5009" y="393"/>
                    </a:lnTo>
                    <a:lnTo>
                      <a:pt x="5016" y="403"/>
                    </a:lnTo>
                    <a:lnTo>
                      <a:pt x="5016" y="403"/>
                    </a:lnTo>
                    <a:lnTo>
                      <a:pt x="5246" y="778"/>
                    </a:lnTo>
                    <a:lnTo>
                      <a:pt x="5477" y="1152"/>
                    </a:lnTo>
                    <a:lnTo>
                      <a:pt x="5477" y="1152"/>
                    </a:lnTo>
                    <a:lnTo>
                      <a:pt x="5484" y="1162"/>
                    </a:lnTo>
                    <a:lnTo>
                      <a:pt x="5492" y="1171"/>
                    </a:lnTo>
                    <a:lnTo>
                      <a:pt x="5492" y="1171"/>
                    </a:lnTo>
                    <a:lnTo>
                      <a:pt x="5492" y="2415"/>
                    </a:lnTo>
                    <a:lnTo>
                      <a:pt x="5492" y="2415"/>
                    </a:lnTo>
                    <a:lnTo>
                      <a:pt x="5101" y="2415"/>
                    </a:lnTo>
                    <a:lnTo>
                      <a:pt x="5101" y="2415"/>
                    </a:lnTo>
                    <a:lnTo>
                      <a:pt x="5105" y="2441"/>
                    </a:lnTo>
                    <a:lnTo>
                      <a:pt x="5108" y="2468"/>
                    </a:lnTo>
                    <a:lnTo>
                      <a:pt x="5108" y="2493"/>
                    </a:lnTo>
                    <a:lnTo>
                      <a:pt x="5108" y="2519"/>
                    </a:lnTo>
                    <a:lnTo>
                      <a:pt x="5105" y="2544"/>
                    </a:lnTo>
                    <a:lnTo>
                      <a:pt x="5102" y="2568"/>
                    </a:lnTo>
                    <a:lnTo>
                      <a:pt x="5097" y="2594"/>
                    </a:lnTo>
                    <a:lnTo>
                      <a:pt x="5092" y="2618"/>
                    </a:lnTo>
                    <a:lnTo>
                      <a:pt x="5085" y="2640"/>
                    </a:lnTo>
                    <a:lnTo>
                      <a:pt x="5077" y="2664"/>
                    </a:lnTo>
                    <a:lnTo>
                      <a:pt x="5068" y="2686"/>
                    </a:lnTo>
                    <a:lnTo>
                      <a:pt x="5057" y="2708"/>
                    </a:lnTo>
                    <a:lnTo>
                      <a:pt x="5046" y="2730"/>
                    </a:lnTo>
                    <a:lnTo>
                      <a:pt x="5033" y="2750"/>
                    </a:lnTo>
                    <a:lnTo>
                      <a:pt x="5019" y="2770"/>
                    </a:lnTo>
                    <a:lnTo>
                      <a:pt x="5005" y="2789"/>
                    </a:lnTo>
                    <a:lnTo>
                      <a:pt x="4990" y="2807"/>
                    </a:lnTo>
                    <a:lnTo>
                      <a:pt x="4973" y="2826"/>
                    </a:lnTo>
                    <a:lnTo>
                      <a:pt x="4955" y="2842"/>
                    </a:lnTo>
                    <a:lnTo>
                      <a:pt x="4937" y="2858"/>
                    </a:lnTo>
                    <a:lnTo>
                      <a:pt x="4919" y="2873"/>
                    </a:lnTo>
                    <a:lnTo>
                      <a:pt x="4899" y="2886"/>
                    </a:lnTo>
                    <a:lnTo>
                      <a:pt x="4879" y="2899"/>
                    </a:lnTo>
                    <a:lnTo>
                      <a:pt x="4857" y="2911"/>
                    </a:lnTo>
                    <a:lnTo>
                      <a:pt x="4835" y="2922"/>
                    </a:lnTo>
                    <a:lnTo>
                      <a:pt x="4812" y="2931"/>
                    </a:lnTo>
                    <a:lnTo>
                      <a:pt x="4789" y="2940"/>
                    </a:lnTo>
                    <a:lnTo>
                      <a:pt x="4765" y="2947"/>
                    </a:lnTo>
                    <a:lnTo>
                      <a:pt x="4741" y="2953"/>
                    </a:lnTo>
                    <a:lnTo>
                      <a:pt x="4716" y="2958"/>
                    </a:lnTo>
                    <a:lnTo>
                      <a:pt x="4691" y="2962"/>
                    </a:lnTo>
                    <a:lnTo>
                      <a:pt x="4665" y="2963"/>
                    </a:lnTo>
                    <a:lnTo>
                      <a:pt x="4665" y="2963"/>
                    </a:lnTo>
                    <a:lnTo>
                      <a:pt x="4641" y="2964"/>
                    </a:lnTo>
                    <a:lnTo>
                      <a:pt x="4616" y="2964"/>
                    </a:lnTo>
                    <a:lnTo>
                      <a:pt x="4592" y="2962"/>
                    </a:lnTo>
                    <a:lnTo>
                      <a:pt x="4569" y="2959"/>
                    </a:lnTo>
                    <a:lnTo>
                      <a:pt x="4546" y="2955"/>
                    </a:lnTo>
                    <a:lnTo>
                      <a:pt x="4523" y="2950"/>
                    </a:lnTo>
                    <a:lnTo>
                      <a:pt x="4500" y="2943"/>
                    </a:lnTo>
                    <a:lnTo>
                      <a:pt x="4478" y="2937"/>
                    </a:lnTo>
                    <a:lnTo>
                      <a:pt x="4457" y="2927"/>
                    </a:lnTo>
                    <a:lnTo>
                      <a:pt x="4436" y="2918"/>
                    </a:lnTo>
                    <a:lnTo>
                      <a:pt x="4415" y="2907"/>
                    </a:lnTo>
                    <a:lnTo>
                      <a:pt x="4395" y="2895"/>
                    </a:lnTo>
                    <a:lnTo>
                      <a:pt x="4375" y="2882"/>
                    </a:lnTo>
                    <a:lnTo>
                      <a:pt x="4356" y="2867"/>
                    </a:lnTo>
                    <a:lnTo>
                      <a:pt x="4338" y="2852"/>
                    </a:lnTo>
                    <a:lnTo>
                      <a:pt x="4319" y="2835"/>
                    </a:lnTo>
                    <a:lnTo>
                      <a:pt x="4319" y="2835"/>
                    </a:lnTo>
                    <a:lnTo>
                      <a:pt x="4297" y="2813"/>
                    </a:lnTo>
                    <a:lnTo>
                      <a:pt x="4278" y="2791"/>
                    </a:lnTo>
                    <a:lnTo>
                      <a:pt x="4261" y="2767"/>
                    </a:lnTo>
                    <a:lnTo>
                      <a:pt x="4244" y="2744"/>
                    </a:lnTo>
                    <a:lnTo>
                      <a:pt x="4230" y="2720"/>
                    </a:lnTo>
                    <a:lnTo>
                      <a:pt x="4217" y="2695"/>
                    </a:lnTo>
                    <a:lnTo>
                      <a:pt x="4206" y="2670"/>
                    </a:lnTo>
                    <a:lnTo>
                      <a:pt x="4197" y="2644"/>
                    </a:lnTo>
                    <a:lnTo>
                      <a:pt x="4189" y="2618"/>
                    </a:lnTo>
                    <a:lnTo>
                      <a:pt x="4183" y="2590"/>
                    </a:lnTo>
                    <a:lnTo>
                      <a:pt x="4178" y="2563"/>
                    </a:lnTo>
                    <a:lnTo>
                      <a:pt x="4175" y="2534"/>
                    </a:lnTo>
                    <a:lnTo>
                      <a:pt x="4174" y="2505"/>
                    </a:lnTo>
                    <a:lnTo>
                      <a:pt x="4175" y="2477"/>
                    </a:lnTo>
                    <a:lnTo>
                      <a:pt x="4176" y="2447"/>
                    </a:lnTo>
                    <a:lnTo>
                      <a:pt x="4180" y="2416"/>
                    </a:lnTo>
                    <a:lnTo>
                      <a:pt x="4180" y="2416"/>
                    </a:lnTo>
                    <a:lnTo>
                      <a:pt x="3953" y="2416"/>
                    </a:lnTo>
                    <a:lnTo>
                      <a:pt x="3953" y="2416"/>
                    </a:lnTo>
                    <a:lnTo>
                      <a:pt x="3953" y="2688"/>
                    </a:lnTo>
                    <a:lnTo>
                      <a:pt x="3953" y="2688"/>
                    </a:lnTo>
                    <a:lnTo>
                      <a:pt x="1812" y="2688"/>
                    </a:lnTo>
                    <a:lnTo>
                      <a:pt x="1812" y="2688"/>
                    </a:lnTo>
                    <a:lnTo>
                      <a:pt x="1812" y="2416"/>
                    </a:lnTo>
                    <a:lnTo>
                      <a:pt x="1812" y="2416"/>
                    </a:lnTo>
                    <a:lnTo>
                      <a:pt x="1587" y="2416"/>
                    </a:lnTo>
                    <a:lnTo>
                      <a:pt x="1587" y="2416"/>
                    </a:lnTo>
                    <a:lnTo>
                      <a:pt x="1590" y="2443"/>
                    </a:lnTo>
                    <a:lnTo>
                      <a:pt x="1593" y="2469"/>
                    </a:lnTo>
                    <a:lnTo>
                      <a:pt x="1593" y="2494"/>
                    </a:lnTo>
                    <a:lnTo>
                      <a:pt x="1593" y="2520"/>
                    </a:lnTo>
                    <a:lnTo>
                      <a:pt x="1590" y="2544"/>
                    </a:lnTo>
                    <a:lnTo>
                      <a:pt x="1587" y="2569"/>
                    </a:lnTo>
                    <a:lnTo>
                      <a:pt x="1582" y="2594"/>
                    </a:lnTo>
                    <a:lnTo>
                      <a:pt x="1577" y="2618"/>
                    </a:lnTo>
                    <a:lnTo>
                      <a:pt x="1570" y="2642"/>
                    </a:lnTo>
                    <a:lnTo>
                      <a:pt x="1562" y="2663"/>
                    </a:lnTo>
                    <a:lnTo>
                      <a:pt x="1553" y="2686"/>
                    </a:lnTo>
                    <a:lnTo>
                      <a:pt x="1542" y="2708"/>
                    </a:lnTo>
                    <a:lnTo>
                      <a:pt x="1531" y="2730"/>
                    </a:lnTo>
                    <a:lnTo>
                      <a:pt x="1518" y="2749"/>
                    </a:lnTo>
                    <a:lnTo>
                      <a:pt x="1506" y="2770"/>
                    </a:lnTo>
                    <a:lnTo>
                      <a:pt x="1491" y="2788"/>
                    </a:lnTo>
                    <a:lnTo>
                      <a:pt x="1476" y="2806"/>
                    </a:lnTo>
                    <a:lnTo>
                      <a:pt x="1459" y="2824"/>
                    </a:lnTo>
                    <a:lnTo>
                      <a:pt x="1442" y="2841"/>
                    </a:lnTo>
                    <a:lnTo>
                      <a:pt x="1424" y="2857"/>
                    </a:lnTo>
                    <a:lnTo>
                      <a:pt x="1405" y="2871"/>
                    </a:lnTo>
                    <a:lnTo>
                      <a:pt x="1386" y="2885"/>
                    </a:lnTo>
                    <a:lnTo>
                      <a:pt x="1365" y="2898"/>
                    </a:lnTo>
                    <a:lnTo>
                      <a:pt x="1344" y="2910"/>
                    </a:lnTo>
                    <a:lnTo>
                      <a:pt x="1323" y="2921"/>
                    </a:lnTo>
                    <a:lnTo>
                      <a:pt x="1301" y="2930"/>
                    </a:lnTo>
                    <a:lnTo>
                      <a:pt x="1277" y="2939"/>
                    </a:lnTo>
                    <a:lnTo>
                      <a:pt x="1254" y="2946"/>
                    </a:lnTo>
                    <a:lnTo>
                      <a:pt x="1230" y="2953"/>
                    </a:lnTo>
                    <a:lnTo>
                      <a:pt x="1205" y="2957"/>
                    </a:lnTo>
                    <a:lnTo>
                      <a:pt x="1180" y="2961"/>
                    </a:lnTo>
                    <a:lnTo>
                      <a:pt x="1154" y="2963"/>
                    </a:lnTo>
                    <a:lnTo>
                      <a:pt x="1154" y="2963"/>
                    </a:lnTo>
                    <a:lnTo>
                      <a:pt x="1129" y="2964"/>
                    </a:lnTo>
                    <a:lnTo>
                      <a:pt x="1105" y="2964"/>
                    </a:lnTo>
                    <a:lnTo>
                      <a:pt x="1082" y="2963"/>
                    </a:lnTo>
                    <a:lnTo>
                      <a:pt x="1058" y="2959"/>
                    </a:lnTo>
                    <a:lnTo>
                      <a:pt x="1035" y="2956"/>
                    </a:lnTo>
                    <a:lnTo>
                      <a:pt x="1014" y="2951"/>
                    </a:lnTo>
                    <a:lnTo>
                      <a:pt x="991" y="2946"/>
                    </a:lnTo>
                    <a:lnTo>
                      <a:pt x="969" y="2939"/>
                    </a:lnTo>
                    <a:lnTo>
                      <a:pt x="949" y="2931"/>
                    </a:lnTo>
                    <a:lnTo>
                      <a:pt x="927" y="2921"/>
                    </a:lnTo>
                    <a:lnTo>
                      <a:pt x="906" y="2910"/>
                    </a:lnTo>
                    <a:lnTo>
                      <a:pt x="887" y="2899"/>
                    </a:lnTo>
                    <a:lnTo>
                      <a:pt x="867" y="2886"/>
                    </a:lnTo>
                    <a:lnTo>
                      <a:pt x="848" y="2873"/>
                    </a:lnTo>
                    <a:lnTo>
                      <a:pt x="830" y="2857"/>
                    </a:lnTo>
                    <a:lnTo>
                      <a:pt x="811" y="2841"/>
                    </a:lnTo>
                    <a:lnTo>
                      <a:pt x="811" y="2841"/>
                    </a:lnTo>
                    <a:lnTo>
                      <a:pt x="788" y="2819"/>
                    </a:lnTo>
                    <a:lnTo>
                      <a:pt x="768" y="2796"/>
                    </a:lnTo>
                    <a:lnTo>
                      <a:pt x="749" y="2773"/>
                    </a:lnTo>
                    <a:lnTo>
                      <a:pt x="732" y="2749"/>
                    </a:lnTo>
                    <a:lnTo>
                      <a:pt x="717" y="2725"/>
                    </a:lnTo>
                    <a:lnTo>
                      <a:pt x="705" y="2700"/>
                    </a:lnTo>
                    <a:lnTo>
                      <a:pt x="693" y="2674"/>
                    </a:lnTo>
                    <a:lnTo>
                      <a:pt x="683" y="2647"/>
                    </a:lnTo>
                    <a:lnTo>
                      <a:pt x="675" y="2621"/>
                    </a:lnTo>
                    <a:lnTo>
                      <a:pt x="668" y="2594"/>
                    </a:lnTo>
                    <a:lnTo>
                      <a:pt x="664" y="2565"/>
                    </a:lnTo>
                    <a:lnTo>
                      <a:pt x="661" y="2536"/>
                    </a:lnTo>
                    <a:lnTo>
                      <a:pt x="659" y="2507"/>
                    </a:lnTo>
                    <a:lnTo>
                      <a:pt x="660" y="2477"/>
                    </a:lnTo>
                    <a:lnTo>
                      <a:pt x="661" y="2446"/>
                    </a:lnTo>
                    <a:lnTo>
                      <a:pt x="665" y="2415"/>
                    </a:lnTo>
                    <a:lnTo>
                      <a:pt x="665" y="2415"/>
                    </a:lnTo>
                    <a:lnTo>
                      <a:pt x="0" y="2415"/>
                    </a:lnTo>
                    <a:lnTo>
                      <a:pt x="0" y="2415"/>
                    </a:lnTo>
                    <a:close/>
                    <a:moveTo>
                      <a:pt x="4120" y="1206"/>
                    </a:moveTo>
                    <a:lnTo>
                      <a:pt x="4120" y="1206"/>
                    </a:lnTo>
                    <a:lnTo>
                      <a:pt x="5251" y="1206"/>
                    </a:lnTo>
                    <a:lnTo>
                      <a:pt x="5251" y="1206"/>
                    </a:lnTo>
                    <a:lnTo>
                      <a:pt x="5241" y="1189"/>
                    </a:lnTo>
                    <a:lnTo>
                      <a:pt x="5241" y="1189"/>
                    </a:lnTo>
                    <a:lnTo>
                      <a:pt x="4891" y="619"/>
                    </a:lnTo>
                    <a:lnTo>
                      <a:pt x="4891" y="619"/>
                    </a:lnTo>
                    <a:lnTo>
                      <a:pt x="4886" y="611"/>
                    </a:lnTo>
                    <a:lnTo>
                      <a:pt x="4879" y="606"/>
                    </a:lnTo>
                    <a:lnTo>
                      <a:pt x="4871" y="604"/>
                    </a:lnTo>
                    <a:lnTo>
                      <a:pt x="4862" y="604"/>
                    </a:lnTo>
                    <a:lnTo>
                      <a:pt x="4862" y="604"/>
                    </a:lnTo>
                    <a:lnTo>
                      <a:pt x="4143" y="604"/>
                    </a:lnTo>
                    <a:lnTo>
                      <a:pt x="4143" y="604"/>
                    </a:lnTo>
                    <a:lnTo>
                      <a:pt x="4120" y="604"/>
                    </a:lnTo>
                    <a:lnTo>
                      <a:pt x="4120" y="604"/>
                    </a:lnTo>
                    <a:lnTo>
                      <a:pt x="4120" y="1206"/>
                    </a:lnTo>
                    <a:lnTo>
                      <a:pt x="4120" y="1206"/>
                    </a:ln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505050"/>
                  </a:solidFill>
                </a:endParaRPr>
              </a:p>
            </p:txBody>
          </p:sp>
          <p:grpSp>
            <p:nvGrpSpPr>
              <p:cNvPr id="620" name="Group 619"/>
              <p:cNvGrpSpPr>
                <a:grpSpLocks noChangeAspect="1"/>
              </p:cNvGrpSpPr>
              <p:nvPr/>
            </p:nvGrpSpPr>
            <p:grpSpPr>
              <a:xfrm>
                <a:off x="8496222" y="433921"/>
                <a:ext cx="494345" cy="405875"/>
                <a:chOff x="-4435475" y="1371600"/>
                <a:chExt cx="4435475" cy="3641725"/>
              </a:xfrm>
            </p:grpSpPr>
            <p:sp>
              <p:nvSpPr>
                <p:cNvPr id="621"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B900"/>
                </a:solidFill>
                <a:ln>
                  <a:noFill/>
                </a:ln>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nvGrpSpPr>
                <p:cNvPr id="622" name="Group 621"/>
                <p:cNvGrpSpPr/>
                <p:nvPr/>
              </p:nvGrpSpPr>
              <p:grpSpPr>
                <a:xfrm>
                  <a:off x="-4206871" y="1603382"/>
                  <a:ext cx="3978266" cy="3168652"/>
                  <a:chOff x="-4206875" y="1603375"/>
                  <a:chExt cx="3978275" cy="3168650"/>
                </a:xfrm>
                <a:solidFill>
                  <a:srgbClr val="FFFFFF"/>
                </a:solidFill>
              </p:grpSpPr>
              <p:sp>
                <p:nvSpPr>
                  <p:cNvPr id="623"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624"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625"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62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62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62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62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sp>
                <p:nvSpPr>
                  <p:cNvPr id="63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kern="0" dirty="0">
                      <a:solidFill>
                        <a:srgbClr val="000000"/>
                      </a:solidFill>
                    </a:endParaRPr>
                  </a:p>
                </p:txBody>
              </p:sp>
            </p:grpSp>
          </p:grpSp>
        </p:grpSp>
        <p:grpSp>
          <p:nvGrpSpPr>
            <p:cNvPr id="650" name="Group 649"/>
            <p:cNvGrpSpPr/>
            <p:nvPr/>
          </p:nvGrpSpPr>
          <p:grpSpPr>
            <a:xfrm>
              <a:off x="9923715" y="6069376"/>
              <a:ext cx="665904" cy="80494"/>
              <a:chOff x="5191418" y="6315801"/>
              <a:chExt cx="665904" cy="80494"/>
            </a:xfrm>
          </p:grpSpPr>
          <p:sp>
            <p:nvSpPr>
              <p:cNvPr id="651" name="Oval 650"/>
              <p:cNvSpPr/>
              <p:nvPr/>
            </p:nvSpPr>
            <p:spPr bwMode="auto">
              <a:xfrm>
                <a:off x="5191418" y="6315801"/>
                <a:ext cx="80494" cy="8049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52" name="Oval 651"/>
              <p:cNvSpPr/>
              <p:nvPr/>
            </p:nvSpPr>
            <p:spPr bwMode="auto">
              <a:xfrm>
                <a:off x="5776828" y="6315801"/>
                <a:ext cx="80494" cy="8049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84" name="Group 683"/>
          <p:cNvGrpSpPr/>
          <p:nvPr/>
        </p:nvGrpSpPr>
        <p:grpSpPr>
          <a:xfrm>
            <a:off x="10429865" y="5671378"/>
            <a:ext cx="163689" cy="131438"/>
            <a:chOff x="11380419" y="5751992"/>
            <a:chExt cx="171305" cy="166441"/>
          </a:xfrm>
          <a:solidFill>
            <a:schemeClr val="accent1"/>
          </a:solidFill>
        </p:grpSpPr>
        <p:sp>
          <p:nvSpPr>
            <p:cNvPr id="685" name="Chevron 684"/>
            <p:cNvSpPr/>
            <p:nvPr/>
          </p:nvSpPr>
          <p:spPr bwMode="auto">
            <a:xfrm>
              <a:off x="11469269" y="5751992"/>
              <a:ext cx="82455" cy="166441"/>
            </a:xfrm>
            <a:prstGeom prst="chevron">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2200" kern="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87" name="Chevron 686"/>
            <p:cNvSpPr/>
            <p:nvPr/>
          </p:nvSpPr>
          <p:spPr bwMode="auto">
            <a:xfrm>
              <a:off x="11380419" y="5751992"/>
              <a:ext cx="82455" cy="166441"/>
            </a:xfrm>
            <a:prstGeom prst="chevron">
              <a:avLst/>
            </a:prstGeom>
            <a:grp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2200" kern="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682" name="Oval 681"/>
          <p:cNvSpPr/>
          <p:nvPr/>
        </p:nvSpPr>
        <p:spPr bwMode="auto">
          <a:xfrm flipH="1">
            <a:off x="2173160" y="4588421"/>
            <a:ext cx="406023" cy="406023"/>
          </a:xfrm>
          <a:prstGeom prst="ellipse">
            <a:avLst/>
          </a:prstGeom>
          <a:solidFill>
            <a:srgbClr val="FFFFFF">
              <a:alpha val="74902"/>
            </a:srgbClr>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249" name="Freeform 2248"/>
          <p:cNvSpPr>
            <a:spLocks noChangeAspect="1"/>
          </p:cNvSpPr>
          <p:nvPr/>
        </p:nvSpPr>
        <p:spPr bwMode="auto">
          <a:xfrm>
            <a:off x="2256475" y="4699338"/>
            <a:ext cx="224132" cy="191338"/>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rgbClr val="0072C6"/>
          </a:solidFill>
          <a:ln>
            <a:noFill/>
          </a:ln>
        </p:spPr>
        <p:txBody>
          <a:bodyPr vert="horz" wrap="square" lIns="121812" tIns="60906" rIns="121812" bIns="60906" numCol="1" anchor="t" anchorCtr="0" compatLnSpc="1">
            <a:prstTxWarp prst="textNoShape">
              <a:avLst/>
            </a:prstTxWarp>
          </a:bodyPr>
          <a:lstStyle/>
          <a:p>
            <a:pPr defTabSz="1218118">
              <a:defRPr/>
            </a:pPr>
            <a:endParaRPr lang="en-US" sz="765" kern="0" dirty="0">
              <a:solidFill>
                <a:srgbClr val="000000"/>
              </a:solidFill>
            </a:endParaRPr>
          </a:p>
        </p:txBody>
      </p:sp>
      <p:grpSp>
        <p:nvGrpSpPr>
          <p:cNvPr id="8" name="Group 7"/>
          <p:cNvGrpSpPr/>
          <p:nvPr/>
        </p:nvGrpSpPr>
        <p:grpSpPr>
          <a:xfrm>
            <a:off x="1756593" y="3455922"/>
            <a:ext cx="419356" cy="889654"/>
            <a:chOff x="1590837" y="3524732"/>
            <a:chExt cx="427886" cy="907750"/>
          </a:xfrm>
        </p:grpSpPr>
        <p:sp>
          <p:nvSpPr>
            <p:cNvPr id="1396" name="Rounded Rectangle 1395"/>
            <p:cNvSpPr/>
            <p:nvPr/>
          </p:nvSpPr>
          <p:spPr bwMode="auto">
            <a:xfrm>
              <a:off x="1610008" y="3524732"/>
              <a:ext cx="387020" cy="876965"/>
            </a:xfrm>
            <a:prstGeom prst="roundRect">
              <a:avLst>
                <a:gd name="adj" fmla="val 3369"/>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397" name="Rectangle 1396"/>
            <p:cNvSpPr/>
            <p:nvPr/>
          </p:nvSpPr>
          <p:spPr bwMode="auto">
            <a:xfrm>
              <a:off x="1648444" y="3557669"/>
              <a:ext cx="312911" cy="25526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399" name="Rounded Rectangle 1398"/>
            <p:cNvSpPr/>
            <p:nvPr/>
          </p:nvSpPr>
          <p:spPr bwMode="auto">
            <a:xfrm>
              <a:off x="1644957" y="3844488"/>
              <a:ext cx="113584" cy="29528"/>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00" name="Oval 1399"/>
            <p:cNvSpPr/>
            <p:nvPr/>
          </p:nvSpPr>
          <p:spPr bwMode="auto">
            <a:xfrm>
              <a:off x="1889667" y="3844488"/>
              <a:ext cx="28986" cy="28985"/>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01" name="Oval 1400"/>
            <p:cNvSpPr/>
            <p:nvPr/>
          </p:nvSpPr>
          <p:spPr bwMode="auto">
            <a:xfrm>
              <a:off x="1929694" y="3844488"/>
              <a:ext cx="28986" cy="28985"/>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02" name="Rounded Rectangle 1401"/>
            <p:cNvSpPr/>
            <p:nvPr/>
          </p:nvSpPr>
          <p:spPr bwMode="auto">
            <a:xfrm>
              <a:off x="1590837" y="4340004"/>
              <a:ext cx="427886" cy="92478"/>
            </a:xfrm>
            <a:prstGeom prst="round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683" name="Rectangle 682"/>
            <p:cNvSpPr/>
            <p:nvPr/>
          </p:nvSpPr>
          <p:spPr bwMode="auto">
            <a:xfrm>
              <a:off x="1643171" y="3563097"/>
              <a:ext cx="315380" cy="257282"/>
            </a:xfrm>
            <a:prstGeom prst="rect">
              <a:avLst/>
            </a:prstGeom>
            <a:solidFill>
              <a:srgbClr val="FFFFFF">
                <a:alpha val="74902"/>
              </a:srgbClr>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600"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398" name="Group 1397"/>
            <p:cNvGrpSpPr/>
            <p:nvPr/>
          </p:nvGrpSpPr>
          <p:grpSpPr>
            <a:xfrm>
              <a:off x="1710278" y="3590708"/>
              <a:ext cx="189240" cy="189191"/>
              <a:chOff x="10188397" y="2479330"/>
              <a:chExt cx="302040" cy="301962"/>
            </a:xfrm>
            <a:solidFill>
              <a:srgbClr val="8DC548"/>
            </a:solidFill>
          </p:grpSpPr>
          <p:sp>
            <p:nvSpPr>
              <p:cNvPr id="1404" name="Freeform 101"/>
              <p:cNvSpPr>
                <a:spLocks noEditPoints="1"/>
              </p:cNvSpPr>
              <p:nvPr/>
            </p:nvSpPr>
            <p:spPr bwMode="black">
              <a:xfrm>
                <a:off x="10188397" y="2479330"/>
                <a:ext cx="302040" cy="301962"/>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solidFill>
                <a:srgbClr val="505050">
                  <a:lumMod val="40000"/>
                  <a:lumOff val="60000"/>
                </a:srgbClr>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sp>
            <p:nvSpPr>
              <p:cNvPr id="1405" name="Freeform 102"/>
              <p:cNvSpPr>
                <a:spLocks/>
              </p:cNvSpPr>
              <p:nvPr/>
            </p:nvSpPr>
            <p:spPr bwMode="black">
              <a:xfrm>
                <a:off x="10327738" y="2561646"/>
                <a:ext cx="33648" cy="94586"/>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solidFill>
                <a:srgbClr val="505050">
                  <a:lumMod val="40000"/>
                  <a:lumOff val="60000"/>
                </a:srgbClr>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sp>
            <p:nvSpPr>
              <p:cNvPr id="1406" name="Rectangle 103"/>
              <p:cNvSpPr>
                <a:spLocks noChangeArrowheads="1"/>
              </p:cNvSpPr>
              <p:nvPr/>
            </p:nvSpPr>
            <p:spPr bwMode="black">
              <a:xfrm>
                <a:off x="10325759" y="2666521"/>
                <a:ext cx="37607" cy="36409"/>
              </a:xfrm>
              <a:prstGeom prst="rect">
                <a:avLst/>
              </a:prstGeom>
              <a:solidFill>
                <a:srgbClr val="505050">
                  <a:lumMod val="40000"/>
                  <a:lumOff val="60000"/>
                </a:srgbClr>
              </a:solidFill>
              <a:ln>
                <a:noFill/>
              </a:ln>
            </p:spPr>
            <p:txBody>
              <a:bodyPr vert="horz" wrap="square" lIns="82258" tIns="41129" rIns="82258" bIns="41129" numCol="1" anchor="t" anchorCtr="0" compatLnSpc="1">
                <a:prstTxWarp prst="textNoShape">
                  <a:avLst/>
                </a:prstTxWarp>
              </a:bodyPr>
              <a:lstStyle/>
              <a:p>
                <a:pPr defTabSz="913698">
                  <a:defRPr/>
                </a:pPr>
                <a:endParaRPr lang="en-US" sz="1400" kern="0" dirty="0">
                  <a:solidFill>
                    <a:srgbClr val="000000"/>
                  </a:solidFill>
                </a:endParaRPr>
              </a:p>
            </p:txBody>
          </p:sp>
        </p:grpSp>
      </p:grpSp>
      <p:grpSp>
        <p:nvGrpSpPr>
          <p:cNvPr id="2228" name="Group 2227"/>
          <p:cNvGrpSpPr>
            <a:grpSpLocks noChangeAspect="1"/>
          </p:cNvGrpSpPr>
          <p:nvPr/>
        </p:nvGrpSpPr>
        <p:grpSpPr>
          <a:xfrm>
            <a:off x="1584805" y="3620662"/>
            <a:ext cx="286620" cy="733529"/>
            <a:chOff x="-3051175" y="-1057275"/>
            <a:chExt cx="2679700" cy="6858000"/>
          </a:xfrm>
          <a:solidFill>
            <a:schemeClr val="tx1">
              <a:lumMod val="60000"/>
              <a:lumOff val="40000"/>
            </a:schemeClr>
          </a:solidFill>
        </p:grpSpPr>
        <p:sp>
          <p:nvSpPr>
            <p:cNvPr id="2229"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kern="0">
                <a:solidFill>
                  <a:srgbClr val="000000"/>
                </a:solidFill>
              </a:endParaRPr>
            </a:p>
          </p:txBody>
        </p:sp>
        <p:sp>
          <p:nvSpPr>
            <p:cNvPr id="2230"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kern="0">
                <a:solidFill>
                  <a:srgbClr val="000000"/>
                </a:solidFill>
              </a:endParaRPr>
            </a:p>
          </p:txBody>
        </p:sp>
      </p:grpSp>
      <p:sp>
        <p:nvSpPr>
          <p:cNvPr id="654" name="Rectangle 653"/>
          <p:cNvSpPr/>
          <p:nvPr/>
        </p:nvSpPr>
        <p:spPr bwMode="auto">
          <a:xfrm>
            <a:off x="617132" y="1722408"/>
            <a:ext cx="3584682" cy="900562"/>
          </a:xfrm>
          <a:prstGeom prst="rect">
            <a:avLst/>
          </a:prstGeom>
          <a:solidFill>
            <a:schemeClr val="bg1"/>
          </a:solid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defTabSz="913576" fontAlgn="base">
              <a:spcBef>
                <a:spcPct val="0"/>
              </a:spcBef>
              <a:spcAft>
                <a:spcPct val="0"/>
              </a:spcAft>
              <a:defRPr/>
            </a:pPr>
            <a:r>
              <a:rPr lang="en-US" sz="1176" kern="0" dirty="0">
                <a:solidFill>
                  <a:srgbClr val="0072C6"/>
                </a:solidFill>
                <a:latin typeface="Segoe UI Semibold" panose="020B0702040204020203" pitchFamily="34" charset="0"/>
                <a:ea typeface="Segoe UI" pitchFamily="34" charset="0"/>
                <a:cs typeface="Segoe UI Semibold" panose="020B0702040204020203" pitchFamily="34" charset="0"/>
              </a:rPr>
              <a:t>Monitor</a:t>
            </a:r>
            <a:r>
              <a:rPr lang="en-US" sz="1176" b="1" kern="0" dirty="0">
                <a:solidFill>
                  <a:srgbClr val="0072C6"/>
                </a:solidFill>
                <a:ea typeface="Segoe UI" pitchFamily="34" charset="0"/>
                <a:cs typeface="Segoe UI" pitchFamily="34" charset="0"/>
              </a:rPr>
              <a:t> </a:t>
            </a:r>
            <a:r>
              <a:rPr lang="en-US" sz="1176" kern="0" dirty="0">
                <a:ea typeface="Segoe UI" pitchFamily="34" charset="0"/>
                <a:cs typeface="Segoe UI" pitchFamily="34" charset="0"/>
              </a:rPr>
              <a:t>production flow in near-real time </a:t>
            </a:r>
            <a:br>
              <a:rPr lang="en-US" sz="1176" kern="0" dirty="0">
                <a:ea typeface="Segoe UI" pitchFamily="34" charset="0"/>
                <a:cs typeface="Segoe UI" pitchFamily="34" charset="0"/>
              </a:rPr>
            </a:br>
            <a:r>
              <a:rPr lang="en-US" sz="1176" kern="0" dirty="0">
                <a:ea typeface="Segoe UI" pitchFamily="34" charset="0"/>
                <a:cs typeface="Segoe UI" pitchFamily="34" charset="0"/>
              </a:rPr>
              <a:t>to eliminate waste and unnecessary work </a:t>
            </a:r>
            <a:br>
              <a:rPr lang="en-US" sz="1176" kern="0" dirty="0">
                <a:ea typeface="Segoe UI" pitchFamily="34" charset="0"/>
                <a:cs typeface="Segoe UI" pitchFamily="34" charset="0"/>
              </a:rPr>
            </a:br>
            <a:r>
              <a:rPr lang="en-US" sz="1176" kern="0" dirty="0">
                <a:ea typeface="Segoe UI" pitchFamily="34" charset="0"/>
                <a:cs typeface="Segoe UI" pitchFamily="34" charset="0"/>
              </a:rPr>
              <a:t>in process inventory.</a:t>
            </a:r>
          </a:p>
        </p:txBody>
      </p:sp>
      <p:sp>
        <p:nvSpPr>
          <p:cNvPr id="655" name="Rectangle 654"/>
          <p:cNvSpPr/>
          <p:nvPr/>
        </p:nvSpPr>
        <p:spPr bwMode="auto">
          <a:xfrm>
            <a:off x="4372595" y="1722408"/>
            <a:ext cx="3584682" cy="900562"/>
          </a:xfrm>
          <a:prstGeom prst="rect">
            <a:avLst/>
          </a:prstGeom>
          <a:solidFill>
            <a:schemeClr val="bg1"/>
          </a:solid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defTabSz="913576" fontAlgn="base">
              <a:spcBef>
                <a:spcPct val="0"/>
              </a:spcBef>
              <a:spcAft>
                <a:spcPct val="0"/>
              </a:spcAft>
              <a:defRPr/>
            </a:pPr>
            <a:r>
              <a:rPr lang="en-US" sz="1176" kern="0" dirty="0">
                <a:solidFill>
                  <a:srgbClr val="0072C6"/>
                </a:solidFill>
                <a:latin typeface="Segoe UI Semibold" panose="020B0702040204020203" pitchFamily="34" charset="0"/>
                <a:ea typeface="Segoe UI" pitchFamily="34" charset="0"/>
                <a:cs typeface="Segoe UI Semibold" panose="020B0702040204020203" pitchFamily="34" charset="0"/>
              </a:rPr>
              <a:t>Manage</a:t>
            </a:r>
            <a:r>
              <a:rPr lang="en-US" sz="1176" b="1" kern="0" dirty="0">
                <a:solidFill>
                  <a:srgbClr val="0072C6"/>
                </a:solidFill>
                <a:ea typeface="Segoe UI" pitchFamily="34" charset="0"/>
                <a:cs typeface="Segoe UI" pitchFamily="34" charset="0"/>
              </a:rPr>
              <a:t> </a:t>
            </a:r>
            <a:r>
              <a:rPr lang="en-US" sz="1176" kern="0" dirty="0">
                <a:ea typeface="Segoe UI" pitchFamily="34" charset="0"/>
                <a:cs typeface="Segoe UI" pitchFamily="34" charset="0"/>
              </a:rPr>
              <a:t>equipment remotely, using temperature limits and other settings to conserve energy and reduce costs.</a:t>
            </a:r>
          </a:p>
        </p:txBody>
      </p:sp>
      <p:sp>
        <p:nvSpPr>
          <p:cNvPr id="656" name="Rectangle 655"/>
          <p:cNvSpPr/>
          <p:nvPr/>
        </p:nvSpPr>
        <p:spPr bwMode="auto">
          <a:xfrm>
            <a:off x="8128057" y="1722408"/>
            <a:ext cx="3370557" cy="900562"/>
          </a:xfrm>
          <a:prstGeom prst="rect">
            <a:avLst/>
          </a:prstGeom>
          <a:solidFill>
            <a:schemeClr val="bg1"/>
          </a:solid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defTabSz="913576" fontAlgn="base">
              <a:spcBef>
                <a:spcPct val="0"/>
              </a:spcBef>
              <a:spcAft>
                <a:spcPct val="0"/>
              </a:spcAft>
              <a:defRPr/>
            </a:pPr>
            <a:r>
              <a:rPr lang="en-US" sz="1176" kern="0" dirty="0">
                <a:solidFill>
                  <a:srgbClr val="0072C6"/>
                </a:solidFill>
                <a:latin typeface="Segoe UI Semibold" panose="020B0702040204020203" pitchFamily="34" charset="0"/>
                <a:ea typeface="Segoe UI" pitchFamily="34" charset="0"/>
                <a:cs typeface="Segoe UI Semibold" panose="020B0702040204020203" pitchFamily="34" charset="0"/>
              </a:rPr>
              <a:t>Analyze</a:t>
            </a:r>
            <a:r>
              <a:rPr lang="en-US" sz="1176" b="1" kern="0" dirty="0">
                <a:solidFill>
                  <a:srgbClr val="0072C6"/>
                </a:solidFill>
                <a:ea typeface="Segoe UI" pitchFamily="34" charset="0"/>
                <a:cs typeface="Segoe UI" pitchFamily="34" charset="0"/>
              </a:rPr>
              <a:t> </a:t>
            </a:r>
            <a:r>
              <a:rPr lang="en-US" sz="1176" kern="0" dirty="0">
                <a:ea typeface="Segoe UI" pitchFamily="34" charset="0"/>
                <a:cs typeface="Segoe UI" pitchFamily="34" charset="0"/>
              </a:rPr>
              <a:t>plant data to act quickly </a:t>
            </a:r>
            <a:br>
              <a:rPr lang="en-US" sz="1176" kern="0" dirty="0">
                <a:ea typeface="Segoe UI" pitchFamily="34" charset="0"/>
                <a:cs typeface="Segoe UI" pitchFamily="34" charset="0"/>
              </a:rPr>
            </a:br>
            <a:r>
              <a:rPr lang="en-US" sz="1176" kern="0" dirty="0">
                <a:ea typeface="Segoe UI" pitchFamily="34" charset="0"/>
                <a:cs typeface="Segoe UI" pitchFamily="34" charset="0"/>
              </a:rPr>
              <a:t>on production insights like inefficiencies </a:t>
            </a:r>
            <a:br>
              <a:rPr lang="en-US" sz="1176" kern="0" dirty="0">
                <a:ea typeface="Segoe UI" pitchFamily="34" charset="0"/>
                <a:cs typeface="Segoe UI" pitchFamily="34" charset="0"/>
              </a:rPr>
            </a:br>
            <a:r>
              <a:rPr lang="en-US" sz="1176" kern="0" dirty="0">
                <a:ea typeface="Segoe UI" pitchFamily="34" charset="0"/>
                <a:cs typeface="Segoe UI" pitchFamily="34" charset="0"/>
              </a:rPr>
              <a:t>or bottlenecks and enhance productivity.</a:t>
            </a:r>
          </a:p>
        </p:txBody>
      </p:sp>
      <p:sp>
        <p:nvSpPr>
          <p:cNvPr id="657" name="Rectangle 656"/>
          <p:cNvSpPr/>
          <p:nvPr/>
        </p:nvSpPr>
        <p:spPr bwMode="auto">
          <a:xfrm>
            <a:off x="8128057" y="3793951"/>
            <a:ext cx="3370557" cy="900562"/>
          </a:xfrm>
          <a:prstGeom prst="rect">
            <a:avLst/>
          </a:prstGeom>
          <a:solidFill>
            <a:schemeClr val="bg1"/>
          </a:solid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defTabSz="913576" fontAlgn="base">
              <a:spcBef>
                <a:spcPct val="0"/>
              </a:spcBef>
              <a:spcAft>
                <a:spcPct val="0"/>
              </a:spcAft>
              <a:defRPr/>
            </a:pPr>
            <a:r>
              <a:rPr lang="en-US" sz="1176" kern="0" dirty="0">
                <a:solidFill>
                  <a:srgbClr val="0072C6"/>
                </a:solidFill>
                <a:latin typeface="Segoe UI Semibold" panose="020B0702040204020203" pitchFamily="34" charset="0"/>
                <a:ea typeface="Segoe UI" pitchFamily="34" charset="0"/>
                <a:cs typeface="Segoe UI Semibold" panose="020B0702040204020203" pitchFamily="34" charset="0"/>
              </a:rPr>
              <a:t>Provide</a:t>
            </a:r>
            <a:r>
              <a:rPr lang="en-US" sz="1176" b="1" kern="0" dirty="0">
                <a:solidFill>
                  <a:srgbClr val="0072C6"/>
                </a:solidFill>
                <a:ea typeface="Segoe UI" pitchFamily="34" charset="0"/>
                <a:cs typeface="Segoe UI" pitchFamily="34" charset="0"/>
              </a:rPr>
              <a:t> </a:t>
            </a:r>
            <a:r>
              <a:rPr lang="en-US" sz="1176" kern="0" dirty="0">
                <a:ea typeface="Segoe UI" pitchFamily="34" charset="0"/>
                <a:cs typeface="Segoe UI" pitchFamily="34" charset="0"/>
              </a:rPr>
              <a:t>cross-channel visibility into inventories to optimize supply and reduce shared costs in the value chain.</a:t>
            </a:r>
          </a:p>
        </p:txBody>
      </p:sp>
      <p:sp>
        <p:nvSpPr>
          <p:cNvPr id="658" name="Rectangle 657"/>
          <p:cNvSpPr/>
          <p:nvPr/>
        </p:nvSpPr>
        <p:spPr bwMode="auto">
          <a:xfrm>
            <a:off x="4372595" y="5499723"/>
            <a:ext cx="3584682" cy="900562"/>
          </a:xfrm>
          <a:prstGeom prst="rect">
            <a:avLst/>
          </a:prstGeom>
          <a:solidFill>
            <a:schemeClr val="bg1"/>
          </a:solid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defTabSz="913576" fontAlgn="base">
              <a:spcBef>
                <a:spcPct val="0"/>
              </a:spcBef>
              <a:spcAft>
                <a:spcPct val="0"/>
              </a:spcAft>
              <a:defRPr/>
            </a:pPr>
            <a:r>
              <a:rPr lang="en-US" sz="1176" kern="0" dirty="0">
                <a:solidFill>
                  <a:srgbClr val="0072C6"/>
                </a:solidFill>
                <a:latin typeface="Segoe UI Semibold" panose="020B0702040204020203" pitchFamily="34" charset="0"/>
                <a:ea typeface="Segoe UI" pitchFamily="34" charset="0"/>
                <a:cs typeface="Segoe UI Semibold" panose="020B0702040204020203" pitchFamily="34" charset="0"/>
              </a:rPr>
              <a:t>Aggregate</a:t>
            </a:r>
            <a:r>
              <a:rPr lang="en-US" sz="1176" b="1" kern="0" dirty="0">
                <a:solidFill>
                  <a:srgbClr val="0072C6"/>
                </a:solidFill>
                <a:ea typeface="Segoe UI" pitchFamily="34" charset="0"/>
                <a:cs typeface="Segoe UI" pitchFamily="34" charset="0"/>
              </a:rPr>
              <a:t> </a:t>
            </a:r>
            <a:r>
              <a:rPr lang="en-US" sz="1176" kern="0" dirty="0">
                <a:ea typeface="Segoe UI" pitchFamily="34" charset="0"/>
                <a:cs typeface="Segoe UI" pitchFamily="34" charset="0"/>
              </a:rPr>
              <a:t>product data, customer </a:t>
            </a:r>
            <a:br>
              <a:rPr lang="en-US" sz="1176" kern="0" dirty="0">
                <a:ea typeface="Segoe UI" pitchFamily="34" charset="0"/>
                <a:cs typeface="Segoe UI" pitchFamily="34" charset="0"/>
              </a:rPr>
            </a:br>
            <a:r>
              <a:rPr lang="en-US" sz="1176" kern="0" dirty="0">
                <a:ea typeface="Segoe UI" pitchFamily="34" charset="0"/>
                <a:cs typeface="Segoe UI" pitchFamily="34" charset="0"/>
              </a:rPr>
              <a:t>sentiment, and other third-party syndicated </a:t>
            </a:r>
            <a:br>
              <a:rPr lang="en-US" sz="1176" kern="0" dirty="0">
                <a:ea typeface="Segoe UI" pitchFamily="34" charset="0"/>
                <a:cs typeface="Segoe UI" pitchFamily="34" charset="0"/>
              </a:rPr>
            </a:br>
            <a:r>
              <a:rPr lang="en-US" sz="1176" kern="0" dirty="0">
                <a:ea typeface="Segoe UI" pitchFamily="34" charset="0"/>
                <a:cs typeface="Segoe UI" pitchFamily="34" charset="0"/>
              </a:rPr>
              <a:t>data to identify and correct quality issues. </a:t>
            </a:r>
          </a:p>
        </p:txBody>
      </p:sp>
      <p:sp>
        <p:nvSpPr>
          <p:cNvPr id="659" name="Rectangle 658"/>
          <p:cNvSpPr/>
          <p:nvPr/>
        </p:nvSpPr>
        <p:spPr bwMode="auto">
          <a:xfrm>
            <a:off x="617132" y="5499723"/>
            <a:ext cx="3584682" cy="900562"/>
          </a:xfrm>
          <a:prstGeom prst="rect">
            <a:avLst/>
          </a:prstGeom>
          <a:solidFill>
            <a:schemeClr val="bg1"/>
          </a:solid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defTabSz="913576" fontAlgn="base">
              <a:spcBef>
                <a:spcPct val="0"/>
              </a:spcBef>
              <a:spcAft>
                <a:spcPct val="0"/>
              </a:spcAft>
              <a:defRPr/>
            </a:pPr>
            <a:r>
              <a:rPr lang="en-US" sz="1176" kern="0" dirty="0">
                <a:solidFill>
                  <a:srgbClr val="0072C6"/>
                </a:solidFill>
                <a:latin typeface="Segoe UI Semibold" panose="020B0702040204020203" pitchFamily="34" charset="0"/>
                <a:ea typeface="Segoe UI" pitchFamily="34" charset="0"/>
                <a:cs typeface="Segoe UI Semibold" panose="020B0702040204020203" pitchFamily="34" charset="0"/>
              </a:rPr>
              <a:t>Implement</a:t>
            </a:r>
            <a:r>
              <a:rPr lang="en-US" sz="1176" kern="0" dirty="0">
                <a:solidFill>
                  <a:srgbClr val="505050"/>
                </a:solidFill>
                <a:ea typeface="Segoe UI" pitchFamily="34" charset="0"/>
                <a:cs typeface="Segoe UI" pitchFamily="34" charset="0"/>
              </a:rPr>
              <a:t> </a:t>
            </a:r>
            <a:r>
              <a:rPr lang="en-US" sz="1176" kern="0" dirty="0">
                <a:ea typeface="Segoe UI" pitchFamily="34" charset="0"/>
                <a:cs typeface="Segoe UI" pitchFamily="34" charset="0"/>
              </a:rPr>
              <a:t>condition-based maintenance </a:t>
            </a:r>
            <a:br>
              <a:rPr lang="en-US" sz="1176" kern="0" dirty="0">
                <a:ea typeface="Segoe UI" pitchFamily="34" charset="0"/>
                <a:cs typeface="Segoe UI" pitchFamily="34" charset="0"/>
              </a:rPr>
            </a:br>
            <a:r>
              <a:rPr lang="en-US" sz="1176" kern="0" dirty="0">
                <a:ea typeface="Segoe UI" pitchFamily="34" charset="0"/>
                <a:cs typeface="Segoe UI" pitchFamily="34" charset="0"/>
              </a:rPr>
              <a:t>alerts to eliminate machine down-time </a:t>
            </a:r>
            <a:br>
              <a:rPr lang="en-US" sz="1176" kern="0" dirty="0">
                <a:ea typeface="Segoe UI" pitchFamily="34" charset="0"/>
                <a:cs typeface="Segoe UI" pitchFamily="34" charset="0"/>
              </a:rPr>
            </a:br>
            <a:r>
              <a:rPr lang="en-US" sz="1176" kern="0" dirty="0">
                <a:ea typeface="Segoe UI" pitchFamily="34" charset="0"/>
                <a:cs typeface="Segoe UI" pitchFamily="34" charset="0"/>
              </a:rPr>
              <a:t>and increase throughput. </a:t>
            </a:r>
          </a:p>
        </p:txBody>
      </p:sp>
    </p:spTree>
    <p:extLst>
      <p:ext uri="{BB962C8B-B14F-4D97-AF65-F5344CB8AC3E}">
        <p14:creationId xmlns:p14="http://schemas.microsoft.com/office/powerpoint/2010/main" val="17611620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1A8F4DF-C829-0B69-6491-74D1AFE63087}"/>
              </a:ext>
            </a:extLst>
          </p:cNvPr>
          <p:cNvSpPr>
            <a:spLocks noGrp="1"/>
          </p:cNvSpPr>
          <p:nvPr>
            <p:ph type="title"/>
          </p:nvPr>
        </p:nvSpPr>
        <p:spPr>
          <a:xfrm>
            <a:off x="322499" y="218682"/>
            <a:ext cx="10515600" cy="621866"/>
          </a:xfrm>
        </p:spPr>
        <p:txBody>
          <a:bodyPr>
            <a:normAutofit fontScale="90000"/>
          </a:bodyPr>
          <a:lstStyle/>
          <a:p>
            <a:r>
              <a:rPr lang="en-US" dirty="0"/>
              <a:t>Visual Inspection Workshop – High Level</a:t>
            </a:r>
          </a:p>
        </p:txBody>
      </p:sp>
      <p:pic>
        <p:nvPicPr>
          <p:cNvPr id="6" name="Graphic 5" descr="Web cam with solid fill">
            <a:extLst>
              <a:ext uri="{FF2B5EF4-FFF2-40B4-BE49-F238E27FC236}">
                <a16:creationId xmlns:a16="http://schemas.microsoft.com/office/drawing/2014/main" id="{C0ADF63B-A62F-5BE1-4692-7A28B3410C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04047" y="3819710"/>
            <a:ext cx="914400" cy="914400"/>
          </a:xfrm>
          <a:prstGeom prst="rect">
            <a:avLst/>
          </a:prstGeom>
        </p:spPr>
      </p:pic>
      <p:pic>
        <p:nvPicPr>
          <p:cNvPr id="8" name="Picture 7">
            <a:extLst>
              <a:ext uri="{FF2B5EF4-FFF2-40B4-BE49-F238E27FC236}">
                <a16:creationId xmlns:a16="http://schemas.microsoft.com/office/drawing/2014/main" id="{DA92245B-63A4-CEBE-04F6-4C5CC2552662}"/>
              </a:ext>
            </a:extLst>
          </p:cNvPr>
          <p:cNvPicPr>
            <a:picLocks noChangeAspect="1"/>
          </p:cNvPicPr>
          <p:nvPr/>
        </p:nvPicPr>
        <p:blipFill>
          <a:blip r:embed="rId4"/>
          <a:stretch>
            <a:fillRect/>
          </a:stretch>
        </p:blipFill>
        <p:spPr>
          <a:xfrm>
            <a:off x="613691" y="3299129"/>
            <a:ext cx="1326907" cy="1434981"/>
          </a:xfrm>
          <a:prstGeom prst="rect">
            <a:avLst/>
          </a:prstGeom>
        </p:spPr>
      </p:pic>
      <p:cxnSp>
        <p:nvCxnSpPr>
          <p:cNvPr id="10" name="Straight Connector 9">
            <a:extLst>
              <a:ext uri="{FF2B5EF4-FFF2-40B4-BE49-F238E27FC236}">
                <a16:creationId xmlns:a16="http://schemas.microsoft.com/office/drawing/2014/main" id="{79351528-DC70-0633-5ED2-1721E99AEAD0}"/>
              </a:ext>
            </a:extLst>
          </p:cNvPr>
          <p:cNvCxnSpPr>
            <a:cxnSpLocks/>
          </p:cNvCxnSpPr>
          <p:nvPr/>
        </p:nvCxnSpPr>
        <p:spPr>
          <a:xfrm>
            <a:off x="2011339" y="3178604"/>
            <a:ext cx="995247" cy="917879"/>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Connector 11">
            <a:extLst>
              <a:ext uri="{FF2B5EF4-FFF2-40B4-BE49-F238E27FC236}">
                <a16:creationId xmlns:a16="http://schemas.microsoft.com/office/drawing/2014/main" id="{7F143393-9375-0491-7AA0-DAE4DE1404CA}"/>
              </a:ext>
            </a:extLst>
          </p:cNvPr>
          <p:cNvCxnSpPr>
            <a:cxnSpLocks/>
          </p:cNvCxnSpPr>
          <p:nvPr/>
        </p:nvCxnSpPr>
        <p:spPr>
          <a:xfrm flipV="1">
            <a:off x="1868556" y="4268115"/>
            <a:ext cx="1175663" cy="597871"/>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 name="Picture 16">
            <a:extLst>
              <a:ext uri="{FF2B5EF4-FFF2-40B4-BE49-F238E27FC236}">
                <a16:creationId xmlns:a16="http://schemas.microsoft.com/office/drawing/2014/main" id="{54D557BE-7372-6225-626C-2C3D92BE210C}"/>
              </a:ext>
            </a:extLst>
          </p:cNvPr>
          <p:cNvPicPr>
            <a:picLocks noChangeAspect="1"/>
          </p:cNvPicPr>
          <p:nvPr/>
        </p:nvPicPr>
        <p:blipFill>
          <a:blip r:embed="rId4"/>
          <a:stretch>
            <a:fillRect/>
          </a:stretch>
        </p:blipFill>
        <p:spPr>
          <a:xfrm>
            <a:off x="4468418" y="2016317"/>
            <a:ext cx="1326907" cy="1434981"/>
          </a:xfrm>
          <a:prstGeom prst="rect">
            <a:avLst/>
          </a:prstGeom>
        </p:spPr>
      </p:pic>
      <p:pic>
        <p:nvPicPr>
          <p:cNvPr id="19" name="Picture 18">
            <a:extLst>
              <a:ext uri="{FF2B5EF4-FFF2-40B4-BE49-F238E27FC236}">
                <a16:creationId xmlns:a16="http://schemas.microsoft.com/office/drawing/2014/main" id="{6C102E47-6857-0086-93CA-6BDF21022720}"/>
              </a:ext>
            </a:extLst>
          </p:cNvPr>
          <p:cNvPicPr>
            <a:picLocks noChangeAspect="1"/>
          </p:cNvPicPr>
          <p:nvPr/>
        </p:nvPicPr>
        <p:blipFill rotWithShape="1">
          <a:blip r:embed="rId5"/>
          <a:srcRect l="3793" t="11499" r="2582" b="7352"/>
          <a:stretch/>
        </p:blipFill>
        <p:spPr>
          <a:xfrm>
            <a:off x="4229894" y="4313985"/>
            <a:ext cx="1953040" cy="1434982"/>
          </a:xfrm>
          <a:prstGeom prst="rect">
            <a:avLst/>
          </a:prstGeom>
          <a:ln>
            <a:solidFill>
              <a:srgbClr val="0070C0"/>
            </a:solidFill>
          </a:ln>
        </p:spPr>
      </p:pic>
      <p:cxnSp>
        <p:nvCxnSpPr>
          <p:cNvPr id="21" name="Connector: Elbow 20">
            <a:extLst>
              <a:ext uri="{FF2B5EF4-FFF2-40B4-BE49-F238E27FC236}">
                <a16:creationId xmlns:a16="http://schemas.microsoft.com/office/drawing/2014/main" id="{AAB7AB94-816A-44A2-0D58-382D227F837F}"/>
              </a:ext>
            </a:extLst>
          </p:cNvPr>
          <p:cNvCxnSpPr>
            <a:cxnSpLocks/>
            <a:stCxn id="17" idx="3"/>
            <a:endCxn id="19" idx="0"/>
          </p:cNvCxnSpPr>
          <p:nvPr/>
        </p:nvCxnSpPr>
        <p:spPr>
          <a:xfrm flipH="1">
            <a:off x="5206414" y="2733808"/>
            <a:ext cx="588911" cy="1580177"/>
          </a:xfrm>
          <a:prstGeom prst="bentConnector4">
            <a:avLst>
              <a:gd name="adj1" fmla="val -38817"/>
              <a:gd name="adj2" fmla="val 7270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5DB1EE83-DC32-24C6-C728-6CD40601C4EF}"/>
              </a:ext>
            </a:extLst>
          </p:cNvPr>
          <p:cNvCxnSpPr>
            <a:cxnSpLocks/>
            <a:stCxn id="6" idx="0"/>
            <a:endCxn id="17" idx="1"/>
          </p:cNvCxnSpPr>
          <p:nvPr/>
        </p:nvCxnSpPr>
        <p:spPr>
          <a:xfrm rot="5400000" flipH="1" flipV="1">
            <a:off x="3321881" y="2673174"/>
            <a:ext cx="1085902" cy="1207171"/>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D42A3D2-F84D-1728-4D0E-F548A5674840}"/>
              </a:ext>
            </a:extLst>
          </p:cNvPr>
          <p:cNvSpPr txBox="1"/>
          <p:nvPr/>
        </p:nvSpPr>
        <p:spPr>
          <a:xfrm>
            <a:off x="7393664" y="3353875"/>
            <a:ext cx="500713" cy="246221"/>
          </a:xfrm>
          <a:prstGeom prst="rect">
            <a:avLst/>
          </a:prstGeom>
          <a:noFill/>
        </p:spPr>
        <p:txBody>
          <a:bodyPr wrap="square" rtlCol="0">
            <a:spAutoFit/>
          </a:bodyPr>
          <a:lstStyle/>
          <a:p>
            <a:r>
              <a:rPr lang="en-US" sz="1000" dirty="0"/>
              <a:t>NO</a:t>
            </a:r>
          </a:p>
        </p:txBody>
      </p:sp>
      <p:cxnSp>
        <p:nvCxnSpPr>
          <p:cNvPr id="29" name="Connector: Elbow 28">
            <a:extLst>
              <a:ext uri="{FF2B5EF4-FFF2-40B4-BE49-F238E27FC236}">
                <a16:creationId xmlns:a16="http://schemas.microsoft.com/office/drawing/2014/main" id="{6B918F4F-ED3E-3CF6-3FA6-48486D26E581}"/>
              </a:ext>
            </a:extLst>
          </p:cNvPr>
          <p:cNvCxnSpPr>
            <a:cxnSpLocks/>
            <a:stCxn id="19" idx="3"/>
          </p:cNvCxnSpPr>
          <p:nvPr/>
        </p:nvCxnSpPr>
        <p:spPr>
          <a:xfrm flipV="1">
            <a:off x="6182934" y="3600096"/>
            <a:ext cx="1996970" cy="1431380"/>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33" name="Graphic 32" descr="Close with solid fill">
            <a:extLst>
              <a:ext uri="{FF2B5EF4-FFF2-40B4-BE49-F238E27FC236}">
                <a16:creationId xmlns:a16="http://schemas.microsoft.com/office/drawing/2014/main" id="{01D1C7C6-18FC-8382-56B9-849D6FA17BD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31630" y="3142896"/>
            <a:ext cx="914400" cy="914400"/>
          </a:xfrm>
          <a:prstGeom prst="rect">
            <a:avLst/>
          </a:prstGeom>
        </p:spPr>
      </p:pic>
      <p:sp>
        <p:nvSpPr>
          <p:cNvPr id="35" name="TextBox 34">
            <a:extLst>
              <a:ext uri="{FF2B5EF4-FFF2-40B4-BE49-F238E27FC236}">
                <a16:creationId xmlns:a16="http://schemas.microsoft.com/office/drawing/2014/main" id="{361140BC-7C5F-38FD-DEDE-67D009E5F468}"/>
              </a:ext>
            </a:extLst>
          </p:cNvPr>
          <p:cNvSpPr txBox="1"/>
          <p:nvPr/>
        </p:nvSpPr>
        <p:spPr>
          <a:xfrm>
            <a:off x="5054860" y="3662277"/>
            <a:ext cx="1480930" cy="246221"/>
          </a:xfrm>
          <a:prstGeom prst="rect">
            <a:avLst/>
          </a:prstGeom>
          <a:noFill/>
        </p:spPr>
        <p:txBody>
          <a:bodyPr wrap="square" rtlCol="0">
            <a:spAutoFit/>
          </a:bodyPr>
          <a:lstStyle/>
          <a:p>
            <a:r>
              <a:rPr lang="en-US" sz="1000" dirty="0"/>
              <a:t>Needs Replenishment?</a:t>
            </a:r>
          </a:p>
        </p:txBody>
      </p:sp>
      <p:pic>
        <p:nvPicPr>
          <p:cNvPr id="39" name="Graphic 38" descr="Badge Tick1 with solid fill">
            <a:extLst>
              <a:ext uri="{FF2B5EF4-FFF2-40B4-BE49-F238E27FC236}">
                <a16:creationId xmlns:a16="http://schemas.microsoft.com/office/drawing/2014/main" id="{A3CD0291-6EBA-5798-850E-188566BC5B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70574" y="5277697"/>
            <a:ext cx="914400" cy="914400"/>
          </a:xfrm>
          <a:prstGeom prst="rect">
            <a:avLst/>
          </a:prstGeom>
        </p:spPr>
      </p:pic>
      <p:cxnSp>
        <p:nvCxnSpPr>
          <p:cNvPr id="41" name="Connector: Elbow 40">
            <a:extLst>
              <a:ext uri="{FF2B5EF4-FFF2-40B4-BE49-F238E27FC236}">
                <a16:creationId xmlns:a16="http://schemas.microsoft.com/office/drawing/2014/main" id="{FFB8DC8C-9C5A-A7F5-0B5A-15A4BF8C5699}"/>
              </a:ext>
            </a:extLst>
          </p:cNvPr>
          <p:cNvCxnSpPr>
            <a:cxnSpLocks/>
            <a:endCxn id="39" idx="1"/>
          </p:cNvCxnSpPr>
          <p:nvPr/>
        </p:nvCxnSpPr>
        <p:spPr>
          <a:xfrm>
            <a:off x="6301409" y="5022640"/>
            <a:ext cx="1769165" cy="712257"/>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9E5CFCDE-A061-E4E6-5B94-CFC92426EB64}"/>
              </a:ext>
            </a:extLst>
          </p:cNvPr>
          <p:cNvSpPr txBox="1"/>
          <p:nvPr/>
        </p:nvSpPr>
        <p:spPr>
          <a:xfrm>
            <a:off x="7451386" y="5488676"/>
            <a:ext cx="500713" cy="246221"/>
          </a:xfrm>
          <a:prstGeom prst="rect">
            <a:avLst/>
          </a:prstGeom>
          <a:noFill/>
        </p:spPr>
        <p:txBody>
          <a:bodyPr wrap="square" rtlCol="0">
            <a:spAutoFit/>
          </a:bodyPr>
          <a:lstStyle/>
          <a:p>
            <a:r>
              <a:rPr lang="en-US" sz="1000" dirty="0"/>
              <a:t>YES</a:t>
            </a:r>
          </a:p>
        </p:txBody>
      </p:sp>
      <p:sp>
        <p:nvSpPr>
          <p:cNvPr id="48" name="TextBox 47">
            <a:extLst>
              <a:ext uri="{FF2B5EF4-FFF2-40B4-BE49-F238E27FC236}">
                <a16:creationId xmlns:a16="http://schemas.microsoft.com/office/drawing/2014/main" id="{C358DCF9-6493-C5C4-F4E5-024B42356AF0}"/>
              </a:ext>
            </a:extLst>
          </p:cNvPr>
          <p:cNvSpPr txBox="1"/>
          <p:nvPr/>
        </p:nvSpPr>
        <p:spPr>
          <a:xfrm>
            <a:off x="9112527" y="5791987"/>
            <a:ext cx="1480930" cy="400110"/>
          </a:xfrm>
          <a:prstGeom prst="rect">
            <a:avLst/>
          </a:prstGeom>
          <a:noFill/>
        </p:spPr>
        <p:txBody>
          <a:bodyPr wrap="square" rtlCol="0">
            <a:spAutoFit/>
          </a:bodyPr>
          <a:lstStyle/>
          <a:p>
            <a:r>
              <a:rPr lang="en-US" sz="1000" dirty="0"/>
              <a:t>Trigger alert to warehouse</a:t>
            </a:r>
          </a:p>
        </p:txBody>
      </p:sp>
      <p:sp>
        <p:nvSpPr>
          <p:cNvPr id="50" name="TextBox 49">
            <a:extLst>
              <a:ext uri="{FF2B5EF4-FFF2-40B4-BE49-F238E27FC236}">
                <a16:creationId xmlns:a16="http://schemas.microsoft.com/office/drawing/2014/main" id="{584D9097-F8DC-91EB-A92A-DB85B2A42D67}"/>
              </a:ext>
            </a:extLst>
          </p:cNvPr>
          <p:cNvSpPr txBox="1"/>
          <p:nvPr/>
        </p:nvSpPr>
        <p:spPr>
          <a:xfrm>
            <a:off x="8924495" y="3552441"/>
            <a:ext cx="1480930" cy="400110"/>
          </a:xfrm>
          <a:prstGeom prst="rect">
            <a:avLst/>
          </a:prstGeom>
          <a:noFill/>
        </p:spPr>
        <p:txBody>
          <a:bodyPr wrap="square" rtlCol="0">
            <a:spAutoFit/>
          </a:bodyPr>
          <a:lstStyle/>
          <a:p>
            <a:r>
              <a:rPr lang="en-US" sz="1000" dirty="0"/>
              <a:t>Delete File, no action needed</a:t>
            </a:r>
          </a:p>
        </p:txBody>
      </p:sp>
      <p:cxnSp>
        <p:nvCxnSpPr>
          <p:cNvPr id="52" name="Connector: Elbow 51">
            <a:extLst>
              <a:ext uri="{FF2B5EF4-FFF2-40B4-BE49-F238E27FC236}">
                <a16:creationId xmlns:a16="http://schemas.microsoft.com/office/drawing/2014/main" id="{9E94B1AF-9879-57D5-CF2A-F9D556ED5368}"/>
              </a:ext>
            </a:extLst>
          </p:cNvPr>
          <p:cNvCxnSpPr>
            <a:cxnSpLocks/>
            <a:endCxn id="57" idx="1"/>
          </p:cNvCxnSpPr>
          <p:nvPr/>
        </p:nvCxnSpPr>
        <p:spPr>
          <a:xfrm flipV="1">
            <a:off x="8816009" y="4602934"/>
            <a:ext cx="1777448" cy="1131963"/>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57" name="Graphic 56" descr="Run outline">
            <a:extLst>
              <a:ext uri="{FF2B5EF4-FFF2-40B4-BE49-F238E27FC236}">
                <a16:creationId xmlns:a16="http://schemas.microsoft.com/office/drawing/2014/main" id="{367B50FF-3B43-5BF4-68B8-0BDB05AFF08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93457" y="4145734"/>
            <a:ext cx="914400" cy="914400"/>
          </a:xfrm>
          <a:prstGeom prst="rect">
            <a:avLst/>
          </a:prstGeom>
        </p:spPr>
      </p:pic>
    </p:spTree>
    <p:extLst>
      <p:ext uri="{BB962C8B-B14F-4D97-AF65-F5344CB8AC3E}">
        <p14:creationId xmlns:p14="http://schemas.microsoft.com/office/powerpoint/2010/main" val="2386964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1E0C3-CC7D-4587-D453-A5B406538A93}"/>
              </a:ext>
            </a:extLst>
          </p:cNvPr>
          <p:cNvSpPr>
            <a:spLocks noGrp="1"/>
          </p:cNvSpPr>
          <p:nvPr>
            <p:ph type="title"/>
          </p:nvPr>
        </p:nvSpPr>
        <p:spPr>
          <a:xfrm>
            <a:off x="322499" y="218682"/>
            <a:ext cx="10515600" cy="621866"/>
          </a:xfrm>
        </p:spPr>
        <p:txBody>
          <a:bodyPr>
            <a:normAutofit fontScale="90000"/>
          </a:bodyPr>
          <a:lstStyle/>
          <a:p>
            <a:r>
              <a:rPr lang="en-US" dirty="0"/>
              <a:t>Visual Inspection Workshop - Technologies</a:t>
            </a:r>
          </a:p>
        </p:txBody>
      </p:sp>
      <p:pic>
        <p:nvPicPr>
          <p:cNvPr id="5" name="Picture 4" descr="A picture containing electronics&#10;&#10;Description automatically generated">
            <a:extLst>
              <a:ext uri="{FF2B5EF4-FFF2-40B4-BE49-F238E27FC236}">
                <a16:creationId xmlns:a16="http://schemas.microsoft.com/office/drawing/2014/main" id="{CB61EFA4-8FBF-FAB1-7BD0-9C04C3DB860C}"/>
              </a:ext>
            </a:extLst>
          </p:cNvPr>
          <p:cNvPicPr>
            <a:picLocks noChangeAspect="1"/>
          </p:cNvPicPr>
          <p:nvPr/>
        </p:nvPicPr>
        <p:blipFill rotWithShape="1">
          <a:blip r:embed="rId2">
            <a:extLst>
              <a:ext uri="{28A0092B-C50C-407E-A947-70E740481C1C}">
                <a14:useLocalDpi xmlns:a14="http://schemas.microsoft.com/office/drawing/2010/main" val="0"/>
              </a:ext>
            </a:extLst>
          </a:blip>
          <a:srcRect l="16461" r="16204"/>
          <a:stretch/>
        </p:blipFill>
        <p:spPr>
          <a:xfrm rot="5400000">
            <a:off x="1996661" y="2592979"/>
            <a:ext cx="2626602" cy="2925645"/>
          </a:xfrm>
          <a:prstGeom prst="rect">
            <a:avLst/>
          </a:prstGeom>
        </p:spPr>
      </p:pic>
      <p:sp>
        <p:nvSpPr>
          <p:cNvPr id="6" name="TextBox 5">
            <a:extLst>
              <a:ext uri="{FF2B5EF4-FFF2-40B4-BE49-F238E27FC236}">
                <a16:creationId xmlns:a16="http://schemas.microsoft.com/office/drawing/2014/main" id="{05236DF2-CC45-A76B-305F-F91C15141C5E}"/>
              </a:ext>
            </a:extLst>
          </p:cNvPr>
          <p:cNvSpPr txBox="1"/>
          <p:nvPr/>
        </p:nvSpPr>
        <p:spPr>
          <a:xfrm>
            <a:off x="1847140" y="2391345"/>
            <a:ext cx="2925646" cy="276999"/>
          </a:xfrm>
          <a:prstGeom prst="rect">
            <a:avLst/>
          </a:prstGeom>
          <a:noFill/>
        </p:spPr>
        <p:txBody>
          <a:bodyPr wrap="square" rtlCol="0">
            <a:spAutoFit/>
          </a:bodyPr>
          <a:lstStyle/>
          <a:p>
            <a:pPr algn="ctr"/>
            <a:r>
              <a:rPr lang="en-US" sz="1200" b="1" dirty="0">
                <a:solidFill>
                  <a:schemeClr val="accent1"/>
                </a:solidFill>
              </a:rPr>
              <a:t>Edge Device</a:t>
            </a:r>
          </a:p>
        </p:txBody>
      </p:sp>
      <p:pic>
        <p:nvPicPr>
          <p:cNvPr id="8" name="Graphic 7" descr="Web cam with solid fill">
            <a:extLst>
              <a:ext uri="{FF2B5EF4-FFF2-40B4-BE49-F238E27FC236}">
                <a16:creationId xmlns:a16="http://schemas.microsoft.com/office/drawing/2014/main" id="{AD0F1213-85C5-AECC-C7A6-B6B29C01A54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2499" y="3284084"/>
            <a:ext cx="914400" cy="914400"/>
          </a:xfrm>
          <a:prstGeom prst="rect">
            <a:avLst/>
          </a:prstGeom>
        </p:spPr>
      </p:pic>
      <p:sp>
        <p:nvSpPr>
          <p:cNvPr id="10" name="TextBox 9">
            <a:extLst>
              <a:ext uri="{FF2B5EF4-FFF2-40B4-BE49-F238E27FC236}">
                <a16:creationId xmlns:a16="http://schemas.microsoft.com/office/drawing/2014/main" id="{88EC7D94-D6C2-0FD0-23DA-1BDA1E72A0A2}"/>
              </a:ext>
            </a:extLst>
          </p:cNvPr>
          <p:cNvSpPr txBox="1"/>
          <p:nvPr/>
        </p:nvSpPr>
        <p:spPr>
          <a:xfrm>
            <a:off x="447080" y="4121862"/>
            <a:ext cx="770612" cy="246221"/>
          </a:xfrm>
          <a:prstGeom prst="rect">
            <a:avLst/>
          </a:prstGeom>
          <a:noFill/>
        </p:spPr>
        <p:txBody>
          <a:bodyPr wrap="square" rtlCol="0">
            <a:spAutoFit/>
          </a:bodyPr>
          <a:lstStyle/>
          <a:p>
            <a:r>
              <a:rPr lang="en-US" sz="1000" dirty="0"/>
              <a:t>Camera</a:t>
            </a:r>
          </a:p>
        </p:txBody>
      </p:sp>
      <p:cxnSp>
        <p:nvCxnSpPr>
          <p:cNvPr id="12" name="Connector: Elbow 11">
            <a:extLst>
              <a:ext uri="{FF2B5EF4-FFF2-40B4-BE49-F238E27FC236}">
                <a16:creationId xmlns:a16="http://schemas.microsoft.com/office/drawing/2014/main" id="{451D5337-8AC4-94E2-DE52-544C02D3D6B1}"/>
              </a:ext>
            </a:extLst>
          </p:cNvPr>
          <p:cNvCxnSpPr>
            <a:stCxn id="8" idx="0"/>
            <a:endCxn id="5" idx="2"/>
          </p:cNvCxnSpPr>
          <p:nvPr/>
        </p:nvCxnSpPr>
        <p:spPr>
          <a:xfrm rot="16200000" flipH="1">
            <a:off x="927560" y="3136223"/>
            <a:ext cx="771718" cy="1067441"/>
          </a:xfrm>
          <a:prstGeom prst="bentConnector4">
            <a:avLst>
              <a:gd name="adj1" fmla="val -29622"/>
              <a:gd name="adj2" fmla="val 78419"/>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14" name="Picture 13" descr="Graphical user interface, application&#10;&#10;Description automatically generated">
            <a:extLst>
              <a:ext uri="{FF2B5EF4-FFF2-40B4-BE49-F238E27FC236}">
                <a16:creationId xmlns:a16="http://schemas.microsoft.com/office/drawing/2014/main" id="{EBB3FBC0-E6FB-761E-223E-121D294D8330}"/>
              </a:ext>
            </a:extLst>
          </p:cNvPr>
          <p:cNvPicPr>
            <a:picLocks noChangeAspect="1"/>
          </p:cNvPicPr>
          <p:nvPr/>
        </p:nvPicPr>
        <p:blipFill rotWithShape="1">
          <a:blip r:embed="rId5">
            <a:extLst>
              <a:ext uri="{28A0092B-C50C-407E-A947-70E740481C1C}">
                <a14:useLocalDpi xmlns:a14="http://schemas.microsoft.com/office/drawing/2010/main" val="0"/>
              </a:ext>
            </a:extLst>
          </a:blip>
          <a:srcRect r="5974"/>
          <a:stretch/>
        </p:blipFill>
        <p:spPr>
          <a:xfrm>
            <a:off x="6401079" y="2235335"/>
            <a:ext cx="3103024" cy="1610407"/>
          </a:xfrm>
          <a:prstGeom prst="rect">
            <a:avLst/>
          </a:prstGeom>
          <a:solidFill>
            <a:srgbClr val="0070C0"/>
          </a:solidFill>
        </p:spPr>
      </p:pic>
      <p:sp>
        <p:nvSpPr>
          <p:cNvPr id="16" name="TextBox 15">
            <a:extLst>
              <a:ext uri="{FF2B5EF4-FFF2-40B4-BE49-F238E27FC236}">
                <a16:creationId xmlns:a16="http://schemas.microsoft.com/office/drawing/2014/main" id="{5DF5F4C3-7D7D-3CDD-F7E7-DD2E5D6BFB3B}"/>
              </a:ext>
            </a:extLst>
          </p:cNvPr>
          <p:cNvSpPr txBox="1"/>
          <p:nvPr/>
        </p:nvSpPr>
        <p:spPr>
          <a:xfrm>
            <a:off x="4917145" y="2288370"/>
            <a:ext cx="1647263" cy="707886"/>
          </a:xfrm>
          <a:prstGeom prst="rect">
            <a:avLst/>
          </a:prstGeom>
          <a:noFill/>
        </p:spPr>
        <p:txBody>
          <a:bodyPr wrap="square" rtlCol="0">
            <a:spAutoFit/>
          </a:bodyPr>
          <a:lstStyle/>
          <a:p>
            <a:pPr marL="171450" indent="-171450">
              <a:buFont typeface="Arial" panose="020B0604020202020204" pitchFamily="34" charset="0"/>
              <a:buChar char="•"/>
            </a:pPr>
            <a:r>
              <a:rPr lang="en-US" sz="1000" dirty="0"/>
              <a:t>Telemetry data</a:t>
            </a:r>
          </a:p>
          <a:p>
            <a:pPr marL="171450" indent="-171450">
              <a:buFont typeface="Arial" panose="020B0604020202020204" pitchFamily="34" charset="0"/>
              <a:buChar char="•"/>
            </a:pPr>
            <a:r>
              <a:rPr lang="en-US" sz="1000" dirty="0"/>
              <a:t>Device management</a:t>
            </a:r>
          </a:p>
          <a:p>
            <a:pPr marL="171450" indent="-171450">
              <a:buFont typeface="Arial" panose="020B0604020202020204" pitchFamily="34" charset="0"/>
              <a:buChar char="•"/>
            </a:pPr>
            <a:r>
              <a:rPr lang="en-US" sz="1000" dirty="0"/>
              <a:t>Modules updates</a:t>
            </a:r>
          </a:p>
          <a:p>
            <a:pPr marL="171450" indent="-171450">
              <a:buFont typeface="Arial" panose="020B0604020202020204" pitchFamily="34" charset="0"/>
              <a:buChar char="•"/>
            </a:pPr>
            <a:r>
              <a:rPr lang="en-US" sz="1000" dirty="0"/>
              <a:t>Security updates</a:t>
            </a:r>
          </a:p>
        </p:txBody>
      </p:sp>
      <p:cxnSp>
        <p:nvCxnSpPr>
          <p:cNvPr id="18" name="Connector: Elbow 17">
            <a:extLst>
              <a:ext uri="{FF2B5EF4-FFF2-40B4-BE49-F238E27FC236}">
                <a16:creationId xmlns:a16="http://schemas.microsoft.com/office/drawing/2014/main" id="{58C65F14-EB95-99A5-1603-271DC3D55962}"/>
              </a:ext>
            </a:extLst>
          </p:cNvPr>
          <p:cNvCxnSpPr>
            <a:stCxn id="5" idx="0"/>
            <a:endCxn id="14" idx="1"/>
          </p:cNvCxnSpPr>
          <p:nvPr/>
        </p:nvCxnSpPr>
        <p:spPr>
          <a:xfrm flipV="1">
            <a:off x="4772785" y="3040539"/>
            <a:ext cx="1628294" cy="1015263"/>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EDCACF9-2C54-05CD-62B7-CC5706D710DA}"/>
              </a:ext>
            </a:extLst>
          </p:cNvPr>
          <p:cNvSpPr txBox="1"/>
          <p:nvPr/>
        </p:nvSpPr>
        <p:spPr>
          <a:xfrm>
            <a:off x="5586932" y="4758027"/>
            <a:ext cx="2404129" cy="276999"/>
          </a:xfrm>
          <a:prstGeom prst="rect">
            <a:avLst/>
          </a:prstGeom>
          <a:noFill/>
        </p:spPr>
        <p:txBody>
          <a:bodyPr wrap="square" rtlCol="0">
            <a:spAutoFit/>
          </a:bodyPr>
          <a:lstStyle>
            <a:defPPr>
              <a:defRPr lang="en-US"/>
            </a:defPPr>
            <a:lvl1pPr>
              <a:defRPr b="1">
                <a:solidFill>
                  <a:schemeClr val="accent1"/>
                </a:solidFill>
              </a:defRPr>
            </a:lvl1pPr>
          </a:lstStyle>
          <a:p>
            <a:pPr algn="ctr"/>
            <a:r>
              <a:rPr lang="en-US" sz="1200" dirty="0"/>
              <a:t>Custom Vision Portal</a:t>
            </a:r>
          </a:p>
        </p:txBody>
      </p:sp>
      <p:sp>
        <p:nvSpPr>
          <p:cNvPr id="23" name="TextBox 22">
            <a:extLst>
              <a:ext uri="{FF2B5EF4-FFF2-40B4-BE49-F238E27FC236}">
                <a16:creationId xmlns:a16="http://schemas.microsoft.com/office/drawing/2014/main" id="{32CDFA8D-DD86-787E-7A28-9A960A62EDAD}"/>
              </a:ext>
            </a:extLst>
          </p:cNvPr>
          <p:cNvSpPr txBox="1"/>
          <p:nvPr/>
        </p:nvSpPr>
        <p:spPr>
          <a:xfrm>
            <a:off x="2503073" y="5470269"/>
            <a:ext cx="1681302" cy="400110"/>
          </a:xfrm>
          <a:prstGeom prst="rect">
            <a:avLst/>
          </a:prstGeom>
          <a:noFill/>
        </p:spPr>
        <p:txBody>
          <a:bodyPr wrap="square" rtlCol="0">
            <a:spAutoFit/>
          </a:bodyPr>
          <a:lstStyle/>
          <a:p>
            <a:pPr marL="285750" indent="-285750">
              <a:buFont typeface="Arial" panose="020B0604020202020204" pitchFamily="34" charset="0"/>
              <a:buChar char="•"/>
            </a:pPr>
            <a:r>
              <a:rPr lang="en-US" sz="1000" dirty="0"/>
              <a:t>Ubuntu OS</a:t>
            </a:r>
          </a:p>
          <a:p>
            <a:pPr marL="285750" indent="-285750">
              <a:buFont typeface="Arial" panose="020B0604020202020204" pitchFamily="34" charset="0"/>
              <a:buChar char="•"/>
            </a:pPr>
            <a:r>
              <a:rPr lang="en-US" sz="1000" dirty="0"/>
              <a:t>Edge runtime</a:t>
            </a:r>
          </a:p>
        </p:txBody>
      </p:sp>
      <p:pic>
        <p:nvPicPr>
          <p:cNvPr id="25" name="Graphic 24" descr="Megaphone1 outline">
            <a:extLst>
              <a:ext uri="{FF2B5EF4-FFF2-40B4-BE49-F238E27FC236}">
                <a16:creationId xmlns:a16="http://schemas.microsoft.com/office/drawing/2014/main" id="{8E0D771B-399B-140A-F794-0BA0A169682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5197" y="1778135"/>
            <a:ext cx="914400" cy="914400"/>
          </a:xfrm>
          <a:prstGeom prst="rect">
            <a:avLst/>
          </a:prstGeom>
        </p:spPr>
      </p:pic>
      <p:cxnSp>
        <p:nvCxnSpPr>
          <p:cNvPr id="27" name="Connector: Elbow 26">
            <a:extLst>
              <a:ext uri="{FF2B5EF4-FFF2-40B4-BE49-F238E27FC236}">
                <a16:creationId xmlns:a16="http://schemas.microsoft.com/office/drawing/2014/main" id="{2D8FE157-AF93-E0F6-11A7-1E64E35695EE}"/>
              </a:ext>
            </a:extLst>
          </p:cNvPr>
          <p:cNvCxnSpPr>
            <a:cxnSpLocks/>
            <a:stCxn id="14" idx="3"/>
            <a:endCxn id="25" idx="1"/>
          </p:cNvCxnSpPr>
          <p:nvPr/>
        </p:nvCxnSpPr>
        <p:spPr>
          <a:xfrm flipV="1">
            <a:off x="9504103" y="2235335"/>
            <a:ext cx="1171094" cy="80520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7885917-07EB-AE51-0530-D2D6032E033A}"/>
              </a:ext>
            </a:extLst>
          </p:cNvPr>
          <p:cNvSpPr txBox="1"/>
          <p:nvPr/>
        </p:nvSpPr>
        <p:spPr>
          <a:xfrm>
            <a:off x="10342398" y="4069740"/>
            <a:ext cx="1579998" cy="523220"/>
          </a:xfrm>
          <a:prstGeom prst="rect">
            <a:avLst/>
          </a:prstGeom>
          <a:noFill/>
        </p:spPr>
        <p:txBody>
          <a:bodyPr wrap="square" rtlCol="0">
            <a:spAutoFit/>
          </a:bodyPr>
          <a:lstStyle/>
          <a:p>
            <a:pPr algn="ctr"/>
            <a:r>
              <a:rPr lang="en-US" dirty="0"/>
              <a:t>Dashboards</a:t>
            </a:r>
          </a:p>
          <a:p>
            <a:pPr algn="ctr"/>
            <a:r>
              <a:rPr lang="en-US" sz="1000" dirty="0"/>
              <a:t>(Power BI)</a:t>
            </a:r>
          </a:p>
        </p:txBody>
      </p:sp>
      <p:pic>
        <p:nvPicPr>
          <p:cNvPr id="34" name="Graphic 33" descr="Gauge with solid fill">
            <a:extLst>
              <a:ext uri="{FF2B5EF4-FFF2-40B4-BE49-F238E27FC236}">
                <a16:creationId xmlns:a16="http://schemas.microsoft.com/office/drawing/2014/main" id="{BE77972E-B8B1-2906-93A1-9DF3A72C262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680737" y="3090970"/>
            <a:ext cx="914400" cy="914400"/>
          </a:xfrm>
          <a:prstGeom prst="rect">
            <a:avLst/>
          </a:prstGeom>
        </p:spPr>
      </p:pic>
      <p:sp>
        <p:nvSpPr>
          <p:cNvPr id="41" name="TextBox 40">
            <a:extLst>
              <a:ext uri="{FF2B5EF4-FFF2-40B4-BE49-F238E27FC236}">
                <a16:creationId xmlns:a16="http://schemas.microsoft.com/office/drawing/2014/main" id="{C98997C2-57FE-89E0-5F58-8FDC058BA443}"/>
              </a:ext>
            </a:extLst>
          </p:cNvPr>
          <p:cNvSpPr txBox="1"/>
          <p:nvPr/>
        </p:nvSpPr>
        <p:spPr>
          <a:xfrm>
            <a:off x="10342398" y="5608769"/>
            <a:ext cx="1579998" cy="523220"/>
          </a:xfrm>
          <a:prstGeom prst="rect">
            <a:avLst/>
          </a:prstGeom>
          <a:noFill/>
        </p:spPr>
        <p:txBody>
          <a:bodyPr wrap="square" rtlCol="0">
            <a:spAutoFit/>
          </a:bodyPr>
          <a:lstStyle/>
          <a:p>
            <a:pPr algn="ctr"/>
            <a:r>
              <a:rPr lang="en-US" dirty="0"/>
              <a:t>Data storage</a:t>
            </a:r>
          </a:p>
          <a:p>
            <a:pPr algn="ctr"/>
            <a:r>
              <a:rPr lang="en-US" sz="1000" dirty="0"/>
              <a:t>(Many options)</a:t>
            </a:r>
          </a:p>
        </p:txBody>
      </p:sp>
      <p:cxnSp>
        <p:nvCxnSpPr>
          <p:cNvPr id="43" name="Connector: Elbow 42">
            <a:extLst>
              <a:ext uri="{FF2B5EF4-FFF2-40B4-BE49-F238E27FC236}">
                <a16:creationId xmlns:a16="http://schemas.microsoft.com/office/drawing/2014/main" id="{B77CA5A2-23C1-3FB7-7484-B0869622A5BB}"/>
              </a:ext>
            </a:extLst>
          </p:cNvPr>
          <p:cNvCxnSpPr>
            <a:cxnSpLocks/>
            <a:stCxn id="14" idx="3"/>
            <a:endCxn id="34" idx="1"/>
          </p:cNvCxnSpPr>
          <p:nvPr/>
        </p:nvCxnSpPr>
        <p:spPr>
          <a:xfrm>
            <a:off x="9504103" y="3040539"/>
            <a:ext cx="1176634" cy="507631"/>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47" name="Graphic 46" descr="Database outline">
            <a:extLst>
              <a:ext uri="{FF2B5EF4-FFF2-40B4-BE49-F238E27FC236}">
                <a16:creationId xmlns:a16="http://schemas.microsoft.com/office/drawing/2014/main" id="{397CEB78-D0CE-7921-D218-7ED062E022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757452" y="4745985"/>
            <a:ext cx="914400" cy="914400"/>
          </a:xfrm>
          <a:prstGeom prst="rect">
            <a:avLst/>
          </a:prstGeom>
        </p:spPr>
      </p:pic>
      <p:sp>
        <p:nvSpPr>
          <p:cNvPr id="49" name="TextBox 48">
            <a:extLst>
              <a:ext uri="{FF2B5EF4-FFF2-40B4-BE49-F238E27FC236}">
                <a16:creationId xmlns:a16="http://schemas.microsoft.com/office/drawing/2014/main" id="{5AE737EA-9E71-0411-584B-3D7F4557FE97}"/>
              </a:ext>
            </a:extLst>
          </p:cNvPr>
          <p:cNvSpPr txBox="1"/>
          <p:nvPr/>
        </p:nvSpPr>
        <p:spPr>
          <a:xfrm>
            <a:off x="10438476" y="2667569"/>
            <a:ext cx="1579998" cy="523220"/>
          </a:xfrm>
          <a:prstGeom prst="rect">
            <a:avLst/>
          </a:prstGeom>
          <a:noFill/>
        </p:spPr>
        <p:txBody>
          <a:bodyPr wrap="square" rtlCol="0">
            <a:spAutoFit/>
          </a:bodyPr>
          <a:lstStyle/>
          <a:p>
            <a:pPr algn="ctr"/>
            <a:r>
              <a:rPr lang="en-US" dirty="0"/>
              <a:t>Alerts</a:t>
            </a:r>
          </a:p>
          <a:p>
            <a:pPr algn="ctr"/>
            <a:r>
              <a:rPr lang="en-US" sz="1000" dirty="0"/>
              <a:t>(Power Apps)</a:t>
            </a:r>
          </a:p>
        </p:txBody>
      </p:sp>
      <p:cxnSp>
        <p:nvCxnSpPr>
          <p:cNvPr id="51" name="Connector: Elbow 50">
            <a:extLst>
              <a:ext uri="{FF2B5EF4-FFF2-40B4-BE49-F238E27FC236}">
                <a16:creationId xmlns:a16="http://schemas.microsoft.com/office/drawing/2014/main" id="{159D57C5-39BA-7CA6-E938-7CC1BE8643CF}"/>
              </a:ext>
            </a:extLst>
          </p:cNvPr>
          <p:cNvCxnSpPr>
            <a:cxnSpLocks/>
            <a:stCxn id="14" idx="3"/>
            <a:endCxn id="47" idx="1"/>
          </p:cNvCxnSpPr>
          <p:nvPr/>
        </p:nvCxnSpPr>
        <p:spPr>
          <a:xfrm>
            <a:off x="9504103" y="3040539"/>
            <a:ext cx="1253349" cy="2162646"/>
          </a:xfrm>
          <a:prstGeom prst="bentConnector3">
            <a:avLst>
              <a:gd name="adj1" fmla="val 46828"/>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56" name="Picture 55" descr="A picture containing text, shop&#10;&#10;Description automatically generated">
            <a:extLst>
              <a:ext uri="{FF2B5EF4-FFF2-40B4-BE49-F238E27FC236}">
                <a16:creationId xmlns:a16="http://schemas.microsoft.com/office/drawing/2014/main" id="{D4C2A5C8-15B1-5D3E-8DC0-C84EA498406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586932" y="5152753"/>
            <a:ext cx="2502721" cy="1015264"/>
          </a:xfrm>
          <a:prstGeom prst="rect">
            <a:avLst/>
          </a:prstGeom>
        </p:spPr>
      </p:pic>
      <p:sp>
        <p:nvSpPr>
          <p:cNvPr id="58" name="TextBox 57">
            <a:extLst>
              <a:ext uri="{FF2B5EF4-FFF2-40B4-BE49-F238E27FC236}">
                <a16:creationId xmlns:a16="http://schemas.microsoft.com/office/drawing/2014/main" id="{6CB7DC04-9189-ED28-D646-97849CCDC1C7}"/>
              </a:ext>
            </a:extLst>
          </p:cNvPr>
          <p:cNvSpPr txBox="1"/>
          <p:nvPr/>
        </p:nvSpPr>
        <p:spPr>
          <a:xfrm>
            <a:off x="6395539" y="1905028"/>
            <a:ext cx="3103024" cy="276999"/>
          </a:xfrm>
          <a:prstGeom prst="rect">
            <a:avLst/>
          </a:prstGeom>
          <a:noFill/>
        </p:spPr>
        <p:txBody>
          <a:bodyPr wrap="square" rtlCol="0">
            <a:spAutoFit/>
          </a:bodyPr>
          <a:lstStyle/>
          <a:p>
            <a:pPr algn="ctr"/>
            <a:r>
              <a:rPr lang="en-US" sz="1200" b="1" dirty="0">
                <a:solidFill>
                  <a:schemeClr val="accent1"/>
                </a:solidFill>
              </a:rPr>
              <a:t>IoT Central Application</a:t>
            </a:r>
          </a:p>
        </p:txBody>
      </p:sp>
      <p:sp>
        <p:nvSpPr>
          <p:cNvPr id="60" name="TextBox 59">
            <a:extLst>
              <a:ext uri="{FF2B5EF4-FFF2-40B4-BE49-F238E27FC236}">
                <a16:creationId xmlns:a16="http://schemas.microsoft.com/office/drawing/2014/main" id="{86ADBB47-544F-1750-A032-D535EFE5AD92}"/>
              </a:ext>
            </a:extLst>
          </p:cNvPr>
          <p:cNvSpPr txBox="1"/>
          <p:nvPr/>
        </p:nvSpPr>
        <p:spPr>
          <a:xfrm>
            <a:off x="6228546" y="6193411"/>
            <a:ext cx="1647263" cy="707886"/>
          </a:xfrm>
          <a:prstGeom prst="rect">
            <a:avLst/>
          </a:prstGeom>
          <a:noFill/>
        </p:spPr>
        <p:txBody>
          <a:bodyPr wrap="square" rtlCol="0">
            <a:spAutoFit/>
          </a:bodyPr>
          <a:lstStyle/>
          <a:p>
            <a:pPr marL="171450" indent="-171450">
              <a:buFont typeface="Arial" panose="020B0604020202020204" pitchFamily="34" charset="0"/>
              <a:buChar char="•"/>
            </a:pPr>
            <a:r>
              <a:rPr lang="en-US" sz="1000" dirty="0"/>
              <a:t>Upload pictures</a:t>
            </a:r>
          </a:p>
          <a:p>
            <a:pPr marL="171450" indent="-171450">
              <a:buFont typeface="Arial" panose="020B0604020202020204" pitchFamily="34" charset="0"/>
              <a:buChar char="•"/>
            </a:pPr>
            <a:r>
              <a:rPr lang="en-US" sz="1000" dirty="0"/>
              <a:t>Tag the pictures</a:t>
            </a:r>
          </a:p>
          <a:p>
            <a:pPr marL="171450" indent="-171450">
              <a:buFont typeface="Arial" panose="020B0604020202020204" pitchFamily="34" charset="0"/>
              <a:buChar char="•"/>
            </a:pPr>
            <a:r>
              <a:rPr lang="en-US" sz="1000" dirty="0"/>
              <a:t>Generate the model</a:t>
            </a:r>
          </a:p>
          <a:p>
            <a:pPr marL="171450" indent="-171450">
              <a:buFont typeface="Arial" panose="020B0604020202020204" pitchFamily="34" charset="0"/>
              <a:buChar char="•"/>
            </a:pPr>
            <a:r>
              <a:rPr lang="en-US" sz="1000" dirty="0"/>
              <a:t>Export the model.</a:t>
            </a:r>
          </a:p>
        </p:txBody>
      </p:sp>
      <p:pic>
        <p:nvPicPr>
          <p:cNvPr id="62" name="Graphic 61" descr="Packing Box Open with solid fill">
            <a:extLst>
              <a:ext uri="{FF2B5EF4-FFF2-40B4-BE49-F238E27FC236}">
                <a16:creationId xmlns:a16="http://schemas.microsoft.com/office/drawing/2014/main" id="{937EB423-736F-5537-19B6-E086AB034F9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801324" y="5369103"/>
            <a:ext cx="914400" cy="914400"/>
          </a:xfrm>
          <a:prstGeom prst="rect">
            <a:avLst/>
          </a:prstGeom>
        </p:spPr>
      </p:pic>
      <p:sp>
        <p:nvSpPr>
          <p:cNvPr id="64" name="TextBox 63">
            <a:extLst>
              <a:ext uri="{FF2B5EF4-FFF2-40B4-BE49-F238E27FC236}">
                <a16:creationId xmlns:a16="http://schemas.microsoft.com/office/drawing/2014/main" id="{975EF215-EB24-4FB1-5287-9A255E0BDC60}"/>
              </a:ext>
            </a:extLst>
          </p:cNvPr>
          <p:cNvSpPr txBox="1"/>
          <p:nvPr/>
        </p:nvSpPr>
        <p:spPr>
          <a:xfrm>
            <a:off x="8541732" y="6315860"/>
            <a:ext cx="2070315" cy="276999"/>
          </a:xfrm>
          <a:prstGeom prst="rect">
            <a:avLst/>
          </a:prstGeom>
          <a:noFill/>
        </p:spPr>
        <p:txBody>
          <a:bodyPr wrap="square" rtlCol="0">
            <a:spAutoFit/>
          </a:bodyPr>
          <a:lstStyle>
            <a:defPPr>
              <a:defRPr lang="en-US"/>
            </a:defPPr>
            <a:lvl1pPr>
              <a:defRPr b="1">
                <a:solidFill>
                  <a:schemeClr val="accent1"/>
                </a:solidFill>
              </a:defRPr>
            </a:lvl1pPr>
          </a:lstStyle>
          <a:p>
            <a:r>
              <a:rPr lang="en-US" sz="1200" dirty="0"/>
              <a:t>Azure Container Registry</a:t>
            </a:r>
          </a:p>
        </p:txBody>
      </p:sp>
      <p:cxnSp>
        <p:nvCxnSpPr>
          <p:cNvPr id="66" name="Connector: Elbow 65">
            <a:extLst>
              <a:ext uri="{FF2B5EF4-FFF2-40B4-BE49-F238E27FC236}">
                <a16:creationId xmlns:a16="http://schemas.microsoft.com/office/drawing/2014/main" id="{CEC13EE1-BEDD-7A87-C89F-4795EC3780FE}"/>
              </a:ext>
            </a:extLst>
          </p:cNvPr>
          <p:cNvCxnSpPr>
            <a:stCxn id="56" idx="3"/>
            <a:endCxn id="62" idx="1"/>
          </p:cNvCxnSpPr>
          <p:nvPr/>
        </p:nvCxnSpPr>
        <p:spPr>
          <a:xfrm>
            <a:off x="8089653" y="5660385"/>
            <a:ext cx="711671" cy="165918"/>
          </a:xfrm>
          <a:prstGeom prst="bentConnector3">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4724D599-02C9-74EB-333E-B8CA9BD7E66E}"/>
              </a:ext>
            </a:extLst>
          </p:cNvPr>
          <p:cNvSpPr txBox="1"/>
          <p:nvPr/>
        </p:nvSpPr>
        <p:spPr>
          <a:xfrm>
            <a:off x="8178913" y="5345467"/>
            <a:ext cx="588871" cy="338554"/>
          </a:xfrm>
          <a:prstGeom prst="rect">
            <a:avLst/>
          </a:prstGeom>
          <a:noFill/>
        </p:spPr>
        <p:txBody>
          <a:bodyPr wrap="square" rtlCol="0">
            <a:spAutoFit/>
          </a:bodyPr>
          <a:lstStyle/>
          <a:p>
            <a:r>
              <a:rPr lang="en-US" sz="800" dirty="0"/>
              <a:t>ML Model</a:t>
            </a:r>
          </a:p>
        </p:txBody>
      </p:sp>
      <p:cxnSp>
        <p:nvCxnSpPr>
          <p:cNvPr id="69" name="Connector: Elbow 68">
            <a:extLst>
              <a:ext uri="{FF2B5EF4-FFF2-40B4-BE49-F238E27FC236}">
                <a16:creationId xmlns:a16="http://schemas.microsoft.com/office/drawing/2014/main" id="{88414760-CBB0-F9B0-8545-7566A6F7FB0D}"/>
              </a:ext>
            </a:extLst>
          </p:cNvPr>
          <p:cNvCxnSpPr>
            <a:cxnSpLocks/>
            <a:stCxn id="62" idx="0"/>
            <a:endCxn id="14" idx="2"/>
          </p:cNvCxnSpPr>
          <p:nvPr/>
        </p:nvCxnSpPr>
        <p:spPr>
          <a:xfrm rot="16200000" flipV="1">
            <a:off x="7843878" y="3954456"/>
            <a:ext cx="1523361" cy="1305933"/>
          </a:xfrm>
          <a:prstGeom prst="bentConnector3">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27E3EE30-0EB4-96A5-F135-AAE28273AC0C}"/>
              </a:ext>
            </a:extLst>
          </p:cNvPr>
          <p:cNvSpPr txBox="1"/>
          <p:nvPr/>
        </p:nvSpPr>
        <p:spPr>
          <a:xfrm>
            <a:off x="8247297" y="4272364"/>
            <a:ext cx="588871" cy="338554"/>
          </a:xfrm>
          <a:prstGeom prst="rect">
            <a:avLst/>
          </a:prstGeom>
          <a:noFill/>
        </p:spPr>
        <p:txBody>
          <a:bodyPr wrap="square" rtlCol="0">
            <a:spAutoFit/>
          </a:bodyPr>
          <a:lstStyle/>
          <a:p>
            <a:r>
              <a:rPr lang="en-US" sz="800" dirty="0"/>
              <a:t>ML Model</a:t>
            </a:r>
          </a:p>
        </p:txBody>
      </p:sp>
      <p:cxnSp>
        <p:nvCxnSpPr>
          <p:cNvPr id="75" name="Connector: Elbow 74">
            <a:extLst>
              <a:ext uri="{FF2B5EF4-FFF2-40B4-BE49-F238E27FC236}">
                <a16:creationId xmlns:a16="http://schemas.microsoft.com/office/drawing/2014/main" id="{6F608862-79A6-0E62-D32A-D5F5E0611848}"/>
              </a:ext>
            </a:extLst>
          </p:cNvPr>
          <p:cNvCxnSpPr>
            <a:cxnSpLocks/>
          </p:cNvCxnSpPr>
          <p:nvPr/>
        </p:nvCxnSpPr>
        <p:spPr>
          <a:xfrm rot="10800000" flipV="1">
            <a:off x="4785461" y="3291716"/>
            <a:ext cx="1615618" cy="1008786"/>
          </a:xfrm>
          <a:prstGeom prst="bentConnector3">
            <a:avLst>
              <a:gd name="adj1" fmla="val 46309"/>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191CB59C-6911-AD33-5BD3-F7DC2028872F}"/>
              </a:ext>
            </a:extLst>
          </p:cNvPr>
          <p:cNvSpPr txBox="1"/>
          <p:nvPr/>
        </p:nvSpPr>
        <p:spPr>
          <a:xfrm>
            <a:off x="5950405" y="3964713"/>
            <a:ext cx="588871" cy="338554"/>
          </a:xfrm>
          <a:prstGeom prst="rect">
            <a:avLst/>
          </a:prstGeom>
          <a:noFill/>
        </p:spPr>
        <p:txBody>
          <a:bodyPr wrap="square" rtlCol="0">
            <a:spAutoFit/>
          </a:bodyPr>
          <a:lstStyle/>
          <a:p>
            <a:r>
              <a:rPr lang="en-US" sz="800" dirty="0"/>
              <a:t>ML Model</a:t>
            </a:r>
          </a:p>
        </p:txBody>
      </p:sp>
      <p:cxnSp>
        <p:nvCxnSpPr>
          <p:cNvPr id="82" name="Straight Connector 81">
            <a:extLst>
              <a:ext uri="{FF2B5EF4-FFF2-40B4-BE49-F238E27FC236}">
                <a16:creationId xmlns:a16="http://schemas.microsoft.com/office/drawing/2014/main" id="{F105CA2C-4DDF-635C-D96A-AD653908E743}"/>
              </a:ext>
            </a:extLst>
          </p:cNvPr>
          <p:cNvCxnSpPr>
            <a:cxnSpLocks/>
          </p:cNvCxnSpPr>
          <p:nvPr/>
        </p:nvCxnSpPr>
        <p:spPr>
          <a:xfrm>
            <a:off x="4925679" y="1421295"/>
            <a:ext cx="31806" cy="4989444"/>
          </a:xfrm>
          <a:prstGeom prst="line">
            <a:avLst/>
          </a:prstGeom>
          <a:ln w="19050"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8" name="TextBox 87">
            <a:extLst>
              <a:ext uri="{FF2B5EF4-FFF2-40B4-BE49-F238E27FC236}">
                <a16:creationId xmlns:a16="http://schemas.microsoft.com/office/drawing/2014/main" id="{5C425EDB-28AC-BE16-C31E-1EE8A324C688}"/>
              </a:ext>
            </a:extLst>
          </p:cNvPr>
          <p:cNvSpPr txBox="1"/>
          <p:nvPr/>
        </p:nvSpPr>
        <p:spPr>
          <a:xfrm>
            <a:off x="7305626" y="1028852"/>
            <a:ext cx="2472212" cy="369332"/>
          </a:xfrm>
          <a:prstGeom prst="rect">
            <a:avLst/>
          </a:prstGeom>
          <a:noFill/>
        </p:spPr>
        <p:txBody>
          <a:bodyPr wrap="square" rtlCol="0">
            <a:spAutoFit/>
          </a:bodyPr>
          <a:lstStyle>
            <a:defPPr>
              <a:defRPr lang="en-US"/>
            </a:defPPr>
            <a:lvl1pPr algn="ctr">
              <a:defRPr b="1">
                <a:solidFill>
                  <a:schemeClr val="bg1">
                    <a:lumMod val="50000"/>
                  </a:schemeClr>
                </a:solidFill>
              </a:defRPr>
            </a:lvl1pPr>
          </a:lstStyle>
          <a:p>
            <a:r>
              <a:rPr lang="en-US" dirty="0"/>
              <a:t>Azure</a:t>
            </a:r>
          </a:p>
        </p:txBody>
      </p:sp>
      <p:sp>
        <p:nvSpPr>
          <p:cNvPr id="90" name="TextBox 89">
            <a:extLst>
              <a:ext uri="{FF2B5EF4-FFF2-40B4-BE49-F238E27FC236}">
                <a16:creationId xmlns:a16="http://schemas.microsoft.com/office/drawing/2014/main" id="{07F68E38-7D91-4C52-E27D-27FF5AEF95A3}"/>
              </a:ext>
            </a:extLst>
          </p:cNvPr>
          <p:cNvSpPr txBox="1"/>
          <p:nvPr/>
        </p:nvSpPr>
        <p:spPr>
          <a:xfrm>
            <a:off x="1009873" y="1188122"/>
            <a:ext cx="2472212" cy="369332"/>
          </a:xfrm>
          <a:prstGeom prst="rect">
            <a:avLst/>
          </a:prstGeom>
          <a:noFill/>
        </p:spPr>
        <p:txBody>
          <a:bodyPr wrap="square" rtlCol="0">
            <a:spAutoFit/>
          </a:bodyPr>
          <a:lstStyle/>
          <a:p>
            <a:pPr algn="ctr"/>
            <a:r>
              <a:rPr lang="en-US" b="1" dirty="0">
                <a:solidFill>
                  <a:schemeClr val="bg1">
                    <a:lumMod val="50000"/>
                  </a:schemeClr>
                </a:solidFill>
              </a:rPr>
              <a:t>Factory Floor</a:t>
            </a:r>
          </a:p>
        </p:txBody>
      </p:sp>
      <p:sp>
        <p:nvSpPr>
          <p:cNvPr id="92" name="TextBox 91">
            <a:extLst>
              <a:ext uri="{FF2B5EF4-FFF2-40B4-BE49-F238E27FC236}">
                <a16:creationId xmlns:a16="http://schemas.microsoft.com/office/drawing/2014/main" id="{A4862D2D-701A-586E-BDBD-89D1AC406BF4}"/>
              </a:ext>
            </a:extLst>
          </p:cNvPr>
          <p:cNvSpPr txBox="1"/>
          <p:nvPr/>
        </p:nvSpPr>
        <p:spPr>
          <a:xfrm>
            <a:off x="823255" y="2726260"/>
            <a:ext cx="679745" cy="246221"/>
          </a:xfrm>
          <a:prstGeom prst="rect">
            <a:avLst/>
          </a:prstGeom>
          <a:noFill/>
        </p:spPr>
        <p:txBody>
          <a:bodyPr wrap="square" rtlCol="0">
            <a:spAutoFit/>
          </a:bodyPr>
          <a:lstStyle/>
          <a:p>
            <a:r>
              <a:rPr lang="en-US" sz="1000" dirty="0"/>
              <a:t>Pictures</a:t>
            </a:r>
          </a:p>
        </p:txBody>
      </p:sp>
    </p:spTree>
    <p:extLst>
      <p:ext uri="{BB962C8B-B14F-4D97-AF65-F5344CB8AC3E}">
        <p14:creationId xmlns:p14="http://schemas.microsoft.com/office/powerpoint/2010/main" val="1622660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77FA411-7981-335B-1151-EBE7561B121F}"/>
              </a:ext>
            </a:extLst>
          </p:cNvPr>
          <p:cNvSpPr>
            <a:spLocks noGrp="1"/>
          </p:cNvSpPr>
          <p:nvPr>
            <p:ph type="title"/>
          </p:nvPr>
        </p:nvSpPr>
        <p:spPr>
          <a:xfrm>
            <a:off x="322499" y="218682"/>
            <a:ext cx="10515600" cy="621866"/>
          </a:xfrm>
        </p:spPr>
        <p:txBody>
          <a:bodyPr>
            <a:normAutofit fontScale="90000"/>
          </a:bodyPr>
          <a:lstStyle/>
          <a:p>
            <a:r>
              <a:rPr lang="en-US" dirty="0"/>
              <a:t>Architecture Diagram</a:t>
            </a:r>
          </a:p>
        </p:txBody>
      </p:sp>
      <p:sp>
        <p:nvSpPr>
          <p:cNvPr id="98" name="TextBox 97">
            <a:extLst>
              <a:ext uri="{FF2B5EF4-FFF2-40B4-BE49-F238E27FC236}">
                <a16:creationId xmlns:a16="http://schemas.microsoft.com/office/drawing/2014/main" id="{129D7016-154E-83DF-839E-BEA8A2D4ADFB}"/>
              </a:ext>
            </a:extLst>
          </p:cNvPr>
          <p:cNvSpPr txBox="1"/>
          <p:nvPr/>
        </p:nvSpPr>
        <p:spPr>
          <a:xfrm>
            <a:off x="7296665" y="5751088"/>
            <a:ext cx="1196009" cy="461665"/>
          </a:xfrm>
          <a:prstGeom prst="rect">
            <a:avLst/>
          </a:prstGeom>
          <a:noFill/>
        </p:spPr>
        <p:txBody>
          <a:bodyPr wrap="square" rtlCol="0">
            <a:spAutoFit/>
          </a:bodyPr>
          <a:lstStyle/>
          <a:p>
            <a:pPr algn="ctr"/>
            <a:r>
              <a:rPr lang="en-US" sz="1200" dirty="0"/>
              <a:t>Container Registry</a:t>
            </a:r>
          </a:p>
        </p:txBody>
      </p:sp>
      <p:grpSp>
        <p:nvGrpSpPr>
          <p:cNvPr id="105" name="Group 104">
            <a:extLst>
              <a:ext uri="{FF2B5EF4-FFF2-40B4-BE49-F238E27FC236}">
                <a16:creationId xmlns:a16="http://schemas.microsoft.com/office/drawing/2014/main" id="{41BD07B5-BE02-6690-6ABC-247A968019E7}"/>
              </a:ext>
            </a:extLst>
          </p:cNvPr>
          <p:cNvGrpSpPr/>
          <p:nvPr/>
        </p:nvGrpSpPr>
        <p:grpSpPr>
          <a:xfrm>
            <a:off x="1139273" y="1184474"/>
            <a:ext cx="9492758" cy="4755668"/>
            <a:chOff x="1054791" y="1707958"/>
            <a:chExt cx="9492758" cy="4755668"/>
          </a:xfrm>
        </p:grpSpPr>
        <p:pic>
          <p:nvPicPr>
            <p:cNvPr id="6" name="Picture 5">
              <a:extLst>
                <a:ext uri="{FF2B5EF4-FFF2-40B4-BE49-F238E27FC236}">
                  <a16:creationId xmlns:a16="http://schemas.microsoft.com/office/drawing/2014/main" id="{DAB5F9AE-FAFE-7D04-76FD-A6F4AA757F71}"/>
                </a:ext>
              </a:extLst>
            </p:cNvPr>
            <p:cNvPicPr>
              <a:picLocks noChangeAspect="1"/>
            </p:cNvPicPr>
            <p:nvPr/>
          </p:nvPicPr>
          <p:blipFill rotWithShape="1">
            <a:blip r:embed="rId2"/>
            <a:srcRect l="20321" t="25865" r="28389" b="25284"/>
            <a:stretch/>
          </p:blipFill>
          <p:spPr>
            <a:xfrm>
              <a:off x="4999383" y="3016715"/>
              <a:ext cx="864704" cy="818951"/>
            </a:xfrm>
            <a:prstGeom prst="rect">
              <a:avLst/>
            </a:prstGeom>
          </p:spPr>
        </p:pic>
        <p:pic>
          <p:nvPicPr>
            <p:cNvPr id="8" name="Picture 7">
              <a:extLst>
                <a:ext uri="{FF2B5EF4-FFF2-40B4-BE49-F238E27FC236}">
                  <a16:creationId xmlns:a16="http://schemas.microsoft.com/office/drawing/2014/main" id="{7758E794-5660-0BC6-1221-2AD5E4AE756E}"/>
                </a:ext>
              </a:extLst>
            </p:cNvPr>
            <p:cNvPicPr>
              <a:picLocks noChangeAspect="1"/>
            </p:cNvPicPr>
            <p:nvPr/>
          </p:nvPicPr>
          <p:blipFill>
            <a:blip r:embed="rId3"/>
            <a:stretch>
              <a:fillRect/>
            </a:stretch>
          </p:blipFill>
          <p:spPr>
            <a:xfrm>
              <a:off x="2678182" y="2583123"/>
              <a:ext cx="1619262" cy="1590687"/>
            </a:xfrm>
            <a:prstGeom prst="rect">
              <a:avLst/>
            </a:prstGeom>
          </p:spPr>
        </p:pic>
        <p:pic>
          <p:nvPicPr>
            <p:cNvPr id="10" name="Picture 9">
              <a:extLst>
                <a:ext uri="{FF2B5EF4-FFF2-40B4-BE49-F238E27FC236}">
                  <a16:creationId xmlns:a16="http://schemas.microsoft.com/office/drawing/2014/main" id="{2B115613-BCF0-4D5B-FC26-08B4AB0D097A}"/>
                </a:ext>
              </a:extLst>
            </p:cNvPr>
            <p:cNvPicPr>
              <a:picLocks noChangeAspect="1"/>
            </p:cNvPicPr>
            <p:nvPr/>
          </p:nvPicPr>
          <p:blipFill rotWithShape="1">
            <a:blip r:embed="rId4"/>
            <a:srcRect l="19959" t="25627" r="20989" b="21527"/>
            <a:stretch/>
          </p:blipFill>
          <p:spPr>
            <a:xfrm>
              <a:off x="9463004" y="4805571"/>
              <a:ext cx="973083" cy="780222"/>
            </a:xfrm>
            <a:prstGeom prst="rect">
              <a:avLst/>
            </a:prstGeom>
          </p:spPr>
        </p:pic>
        <p:pic>
          <p:nvPicPr>
            <p:cNvPr id="12" name="Picture 11">
              <a:extLst>
                <a:ext uri="{FF2B5EF4-FFF2-40B4-BE49-F238E27FC236}">
                  <a16:creationId xmlns:a16="http://schemas.microsoft.com/office/drawing/2014/main" id="{1A61F72C-4C5D-1237-6AF1-764E424CA1DA}"/>
                </a:ext>
              </a:extLst>
            </p:cNvPr>
            <p:cNvPicPr>
              <a:picLocks noChangeAspect="1"/>
            </p:cNvPicPr>
            <p:nvPr/>
          </p:nvPicPr>
          <p:blipFill rotWithShape="1">
            <a:blip r:embed="rId5"/>
            <a:srcRect l="24443" t="28843" r="23685" b="22158"/>
            <a:stretch/>
          </p:blipFill>
          <p:spPr>
            <a:xfrm>
              <a:off x="7290352" y="5585792"/>
              <a:ext cx="854765" cy="780222"/>
            </a:xfrm>
            <a:prstGeom prst="rect">
              <a:avLst/>
            </a:prstGeom>
          </p:spPr>
        </p:pic>
        <p:pic>
          <p:nvPicPr>
            <p:cNvPr id="14" name="Picture 13">
              <a:extLst>
                <a:ext uri="{FF2B5EF4-FFF2-40B4-BE49-F238E27FC236}">
                  <a16:creationId xmlns:a16="http://schemas.microsoft.com/office/drawing/2014/main" id="{515BA252-035A-2DE9-519F-EA86347568B1}"/>
                </a:ext>
              </a:extLst>
            </p:cNvPr>
            <p:cNvPicPr>
              <a:picLocks noChangeAspect="1"/>
            </p:cNvPicPr>
            <p:nvPr/>
          </p:nvPicPr>
          <p:blipFill>
            <a:blip r:embed="rId6"/>
            <a:stretch>
              <a:fillRect/>
            </a:stretch>
          </p:blipFill>
          <p:spPr>
            <a:xfrm>
              <a:off x="7637724" y="1880332"/>
              <a:ext cx="1140392" cy="779590"/>
            </a:xfrm>
            <a:prstGeom prst="rect">
              <a:avLst/>
            </a:prstGeom>
          </p:spPr>
        </p:pic>
        <p:pic>
          <p:nvPicPr>
            <p:cNvPr id="16" name="Picture 15">
              <a:extLst>
                <a:ext uri="{FF2B5EF4-FFF2-40B4-BE49-F238E27FC236}">
                  <a16:creationId xmlns:a16="http://schemas.microsoft.com/office/drawing/2014/main" id="{4B239BE1-161B-FBF6-0703-A41BFAC5D02A}"/>
                </a:ext>
              </a:extLst>
            </p:cNvPr>
            <p:cNvPicPr>
              <a:picLocks noChangeAspect="1"/>
            </p:cNvPicPr>
            <p:nvPr/>
          </p:nvPicPr>
          <p:blipFill>
            <a:blip r:embed="rId7"/>
            <a:stretch>
              <a:fillRect/>
            </a:stretch>
          </p:blipFill>
          <p:spPr>
            <a:xfrm>
              <a:off x="7764117" y="3016715"/>
              <a:ext cx="887606" cy="747711"/>
            </a:xfrm>
            <a:prstGeom prst="rect">
              <a:avLst/>
            </a:prstGeom>
          </p:spPr>
        </p:pic>
        <p:pic>
          <p:nvPicPr>
            <p:cNvPr id="18" name="Picture 17">
              <a:extLst>
                <a:ext uri="{FF2B5EF4-FFF2-40B4-BE49-F238E27FC236}">
                  <a16:creationId xmlns:a16="http://schemas.microsoft.com/office/drawing/2014/main" id="{1A681892-0FE1-4244-C5A7-28EBEA21F3C6}"/>
                </a:ext>
              </a:extLst>
            </p:cNvPr>
            <p:cNvPicPr>
              <a:picLocks noChangeAspect="1"/>
            </p:cNvPicPr>
            <p:nvPr/>
          </p:nvPicPr>
          <p:blipFill rotWithShape="1">
            <a:blip r:embed="rId8"/>
            <a:srcRect l="24672" t="25483" r="14155" b="21346"/>
            <a:stretch/>
          </p:blipFill>
          <p:spPr>
            <a:xfrm>
              <a:off x="7810188" y="4121219"/>
              <a:ext cx="973083" cy="922889"/>
            </a:xfrm>
            <a:prstGeom prst="rect">
              <a:avLst/>
            </a:prstGeom>
          </p:spPr>
        </p:pic>
        <p:pic>
          <p:nvPicPr>
            <p:cNvPr id="20" name="Picture 19">
              <a:extLst>
                <a:ext uri="{FF2B5EF4-FFF2-40B4-BE49-F238E27FC236}">
                  <a16:creationId xmlns:a16="http://schemas.microsoft.com/office/drawing/2014/main" id="{BA62BD83-9945-D7C7-12B0-EF80E062CEED}"/>
                </a:ext>
              </a:extLst>
            </p:cNvPr>
            <p:cNvPicPr>
              <a:picLocks noChangeAspect="1"/>
            </p:cNvPicPr>
            <p:nvPr/>
          </p:nvPicPr>
          <p:blipFill rotWithShape="1">
            <a:blip r:embed="rId9"/>
            <a:srcRect l="23549" t="28730" r="19904" b="19426"/>
            <a:stretch/>
          </p:blipFill>
          <p:spPr>
            <a:xfrm>
              <a:off x="5118652" y="5585792"/>
              <a:ext cx="899492" cy="780222"/>
            </a:xfrm>
            <a:prstGeom prst="rect">
              <a:avLst/>
            </a:prstGeom>
          </p:spPr>
        </p:pic>
        <p:pic>
          <p:nvPicPr>
            <p:cNvPr id="22" name="Graphic 21" descr="Web cam with solid fill">
              <a:extLst>
                <a:ext uri="{FF2B5EF4-FFF2-40B4-BE49-F238E27FC236}">
                  <a16:creationId xmlns:a16="http://schemas.microsoft.com/office/drawing/2014/main" id="{53C33FF7-2DF4-009C-262E-8A6FD4D74A8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87211" y="2921266"/>
              <a:ext cx="914400" cy="914400"/>
            </a:xfrm>
            <a:prstGeom prst="rect">
              <a:avLst/>
            </a:prstGeom>
          </p:spPr>
        </p:pic>
        <p:cxnSp>
          <p:nvCxnSpPr>
            <p:cNvPr id="26" name="Straight Arrow Connector 25">
              <a:extLst>
                <a:ext uri="{FF2B5EF4-FFF2-40B4-BE49-F238E27FC236}">
                  <a16:creationId xmlns:a16="http://schemas.microsoft.com/office/drawing/2014/main" id="{F50D798B-76D8-F950-7C6D-5AC2FA98FB06}"/>
                </a:ext>
              </a:extLst>
            </p:cNvPr>
            <p:cNvCxnSpPr>
              <a:stCxn id="22" idx="3"/>
            </p:cNvCxnSpPr>
            <p:nvPr/>
          </p:nvCxnSpPr>
          <p:spPr>
            <a:xfrm>
              <a:off x="2101611" y="3378466"/>
              <a:ext cx="755889"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85D78D7-2CBD-C166-A1FC-55FD3D499971}"/>
                </a:ext>
              </a:extLst>
            </p:cNvPr>
            <p:cNvCxnSpPr>
              <a:cxnSpLocks/>
            </p:cNvCxnSpPr>
            <p:nvPr/>
          </p:nvCxnSpPr>
          <p:spPr>
            <a:xfrm>
              <a:off x="3859181" y="3378466"/>
              <a:ext cx="1140202"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43E14488-E38A-2763-3A3E-514E387F6321}"/>
                </a:ext>
              </a:extLst>
            </p:cNvPr>
            <p:cNvCxnSpPr>
              <a:stCxn id="6" idx="3"/>
              <a:endCxn id="14" idx="1"/>
            </p:cNvCxnSpPr>
            <p:nvPr/>
          </p:nvCxnSpPr>
          <p:spPr>
            <a:xfrm flipV="1">
              <a:off x="5864087" y="2270127"/>
              <a:ext cx="1773637" cy="115606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1D2BB5AA-9B09-F84D-F371-1FAE8EEFEF73}"/>
                </a:ext>
              </a:extLst>
            </p:cNvPr>
            <p:cNvCxnSpPr>
              <a:cxnSpLocks/>
              <a:stCxn id="6" idx="3"/>
              <a:endCxn id="16" idx="1"/>
            </p:cNvCxnSpPr>
            <p:nvPr/>
          </p:nvCxnSpPr>
          <p:spPr>
            <a:xfrm flipV="1">
              <a:off x="5864087" y="3390571"/>
              <a:ext cx="1900030" cy="35620"/>
            </a:xfrm>
            <a:prstGeom prst="bentConnector3">
              <a:avLst>
                <a:gd name="adj1" fmla="val 466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068FB3FE-CA35-89E8-B115-65AB1997CD00}"/>
                </a:ext>
              </a:extLst>
            </p:cNvPr>
            <p:cNvCxnSpPr>
              <a:cxnSpLocks/>
              <a:stCxn id="6" idx="3"/>
              <a:endCxn id="18" idx="1"/>
            </p:cNvCxnSpPr>
            <p:nvPr/>
          </p:nvCxnSpPr>
          <p:spPr>
            <a:xfrm>
              <a:off x="5864087" y="3426191"/>
              <a:ext cx="1946101" cy="1156473"/>
            </a:xfrm>
            <a:prstGeom prst="bentConnector3">
              <a:avLst>
                <a:gd name="adj1" fmla="val 45404"/>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C9CCB912-CF2F-BF47-C70C-633CBC834B54}"/>
                </a:ext>
              </a:extLst>
            </p:cNvPr>
            <p:cNvCxnSpPr>
              <a:cxnSpLocks/>
            </p:cNvCxnSpPr>
            <p:nvPr/>
          </p:nvCxnSpPr>
          <p:spPr>
            <a:xfrm rot="5400000">
              <a:off x="8852277" y="4878635"/>
              <a:ext cx="390110" cy="1804429"/>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F9A2DC51-97DE-26B6-32E0-5945C17627B6}"/>
                </a:ext>
              </a:extLst>
            </p:cNvPr>
            <p:cNvCxnSpPr>
              <a:cxnSpLocks/>
              <a:stCxn id="12" idx="0"/>
              <a:endCxn id="6" idx="2"/>
            </p:cNvCxnSpPr>
            <p:nvPr/>
          </p:nvCxnSpPr>
          <p:spPr>
            <a:xfrm rot="16200000" flipV="1">
              <a:off x="5699672" y="3567729"/>
              <a:ext cx="1750126" cy="2286000"/>
            </a:xfrm>
            <a:prstGeom prst="bentConnector3">
              <a:avLst>
                <a:gd name="adj1" fmla="val 31827"/>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9DA50128-288A-3312-4DF0-0FBD0CEB8093}"/>
                </a:ext>
              </a:extLst>
            </p:cNvPr>
            <p:cNvCxnSpPr>
              <a:cxnSpLocks/>
              <a:endCxn id="20" idx="1"/>
            </p:cNvCxnSpPr>
            <p:nvPr/>
          </p:nvCxnSpPr>
          <p:spPr>
            <a:xfrm rot="5400000">
              <a:off x="4155800" y="4854025"/>
              <a:ext cx="2084730" cy="159026"/>
            </a:xfrm>
            <a:prstGeom prst="bentConnector4">
              <a:avLst>
                <a:gd name="adj1" fmla="val 40644"/>
                <a:gd name="adj2" fmla="val 24375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13321876-D4BD-64B9-BB7F-0AEB2BFFEE78}"/>
                </a:ext>
              </a:extLst>
            </p:cNvPr>
            <p:cNvSpPr txBox="1"/>
            <p:nvPr/>
          </p:nvSpPr>
          <p:spPr>
            <a:xfrm>
              <a:off x="4999383" y="2583123"/>
              <a:ext cx="864704" cy="276999"/>
            </a:xfrm>
            <a:prstGeom prst="rect">
              <a:avLst/>
            </a:prstGeom>
            <a:noFill/>
          </p:spPr>
          <p:txBody>
            <a:bodyPr wrap="square" rtlCol="0">
              <a:spAutoFit/>
            </a:bodyPr>
            <a:lstStyle/>
            <a:p>
              <a:r>
                <a:rPr lang="en-US" sz="1200" dirty="0"/>
                <a:t>IoT Central</a:t>
              </a:r>
            </a:p>
          </p:txBody>
        </p:sp>
        <p:sp>
          <p:nvSpPr>
            <p:cNvPr id="90" name="TextBox 89">
              <a:extLst>
                <a:ext uri="{FF2B5EF4-FFF2-40B4-BE49-F238E27FC236}">
                  <a16:creationId xmlns:a16="http://schemas.microsoft.com/office/drawing/2014/main" id="{CD4BEC1C-D5F3-9AC2-340A-0A029632A48C}"/>
                </a:ext>
              </a:extLst>
            </p:cNvPr>
            <p:cNvSpPr txBox="1"/>
            <p:nvPr/>
          </p:nvSpPr>
          <p:spPr>
            <a:xfrm>
              <a:off x="7717733" y="2832296"/>
              <a:ext cx="973083" cy="276999"/>
            </a:xfrm>
            <a:prstGeom prst="rect">
              <a:avLst/>
            </a:prstGeom>
            <a:noFill/>
          </p:spPr>
          <p:txBody>
            <a:bodyPr wrap="square" rtlCol="0">
              <a:spAutoFit/>
            </a:bodyPr>
            <a:lstStyle/>
            <a:p>
              <a:pPr algn="ctr"/>
              <a:r>
                <a:rPr lang="en-US" sz="1200" dirty="0"/>
                <a:t>Power Apps</a:t>
              </a:r>
            </a:p>
          </p:txBody>
        </p:sp>
        <p:sp>
          <p:nvSpPr>
            <p:cNvPr id="92" name="TextBox 91">
              <a:extLst>
                <a:ext uri="{FF2B5EF4-FFF2-40B4-BE49-F238E27FC236}">
                  <a16:creationId xmlns:a16="http://schemas.microsoft.com/office/drawing/2014/main" id="{48F29459-155F-309F-18CF-8797FA7FB5B6}"/>
                </a:ext>
              </a:extLst>
            </p:cNvPr>
            <p:cNvSpPr txBox="1"/>
            <p:nvPr/>
          </p:nvSpPr>
          <p:spPr>
            <a:xfrm>
              <a:off x="7764117" y="1707958"/>
              <a:ext cx="864704" cy="276999"/>
            </a:xfrm>
            <a:prstGeom prst="rect">
              <a:avLst/>
            </a:prstGeom>
            <a:noFill/>
          </p:spPr>
          <p:txBody>
            <a:bodyPr wrap="square" rtlCol="0">
              <a:spAutoFit/>
            </a:bodyPr>
            <a:lstStyle/>
            <a:p>
              <a:pPr algn="ctr"/>
              <a:r>
                <a:rPr lang="en-US" sz="1200" dirty="0"/>
                <a:t>PBI</a:t>
              </a:r>
            </a:p>
          </p:txBody>
        </p:sp>
        <p:sp>
          <p:nvSpPr>
            <p:cNvPr id="94" name="TextBox 93">
              <a:extLst>
                <a:ext uri="{FF2B5EF4-FFF2-40B4-BE49-F238E27FC236}">
                  <a16:creationId xmlns:a16="http://schemas.microsoft.com/office/drawing/2014/main" id="{A6595E70-F53E-349A-96EB-7A1270924DD1}"/>
                </a:ext>
              </a:extLst>
            </p:cNvPr>
            <p:cNvSpPr txBox="1"/>
            <p:nvPr/>
          </p:nvSpPr>
          <p:spPr>
            <a:xfrm>
              <a:off x="7764117" y="3982973"/>
              <a:ext cx="973083" cy="276999"/>
            </a:xfrm>
            <a:prstGeom prst="rect">
              <a:avLst/>
            </a:prstGeom>
            <a:noFill/>
          </p:spPr>
          <p:txBody>
            <a:bodyPr wrap="square" rtlCol="0">
              <a:spAutoFit/>
            </a:bodyPr>
            <a:lstStyle/>
            <a:p>
              <a:pPr algn="ctr"/>
              <a:r>
                <a:rPr lang="en-US" sz="1200" dirty="0"/>
                <a:t>SQL DB</a:t>
              </a:r>
            </a:p>
          </p:txBody>
        </p:sp>
        <p:sp>
          <p:nvSpPr>
            <p:cNvPr id="96" name="TextBox 95">
              <a:extLst>
                <a:ext uri="{FF2B5EF4-FFF2-40B4-BE49-F238E27FC236}">
                  <a16:creationId xmlns:a16="http://schemas.microsoft.com/office/drawing/2014/main" id="{751B6DC3-F9B4-F36E-19A4-F5EBE3223410}"/>
                </a:ext>
              </a:extLst>
            </p:cNvPr>
            <p:cNvSpPr txBox="1"/>
            <p:nvPr/>
          </p:nvSpPr>
          <p:spPr>
            <a:xfrm>
              <a:off x="9351540" y="4652294"/>
              <a:ext cx="1196009" cy="276999"/>
            </a:xfrm>
            <a:prstGeom prst="rect">
              <a:avLst/>
            </a:prstGeom>
            <a:noFill/>
          </p:spPr>
          <p:txBody>
            <a:bodyPr wrap="square" rtlCol="0">
              <a:spAutoFit/>
            </a:bodyPr>
            <a:lstStyle/>
            <a:p>
              <a:pPr algn="ctr"/>
              <a:r>
                <a:rPr lang="en-US" sz="1200" dirty="0"/>
                <a:t>Custom Vision</a:t>
              </a:r>
            </a:p>
          </p:txBody>
        </p:sp>
        <p:sp>
          <p:nvSpPr>
            <p:cNvPr id="100" name="TextBox 99">
              <a:extLst>
                <a:ext uri="{FF2B5EF4-FFF2-40B4-BE49-F238E27FC236}">
                  <a16:creationId xmlns:a16="http://schemas.microsoft.com/office/drawing/2014/main" id="{C4F9ECD3-6ED4-5388-1C1C-259137B059C7}"/>
                </a:ext>
              </a:extLst>
            </p:cNvPr>
            <p:cNvSpPr txBox="1"/>
            <p:nvPr/>
          </p:nvSpPr>
          <p:spPr>
            <a:xfrm>
              <a:off x="4982294" y="6186627"/>
              <a:ext cx="1196009" cy="276999"/>
            </a:xfrm>
            <a:prstGeom prst="rect">
              <a:avLst/>
            </a:prstGeom>
            <a:noFill/>
          </p:spPr>
          <p:txBody>
            <a:bodyPr wrap="square" rtlCol="0">
              <a:spAutoFit/>
            </a:bodyPr>
            <a:lstStyle/>
            <a:p>
              <a:pPr algn="ctr"/>
              <a:r>
                <a:rPr lang="en-US" sz="1200" dirty="0"/>
                <a:t>Storage Account</a:t>
              </a:r>
            </a:p>
          </p:txBody>
        </p:sp>
        <p:sp>
          <p:nvSpPr>
            <p:cNvPr id="102" name="TextBox 101">
              <a:extLst>
                <a:ext uri="{FF2B5EF4-FFF2-40B4-BE49-F238E27FC236}">
                  <a16:creationId xmlns:a16="http://schemas.microsoft.com/office/drawing/2014/main" id="{E20FABBC-07AB-0126-8CCD-8C3A9481A4DF}"/>
                </a:ext>
              </a:extLst>
            </p:cNvPr>
            <p:cNvSpPr txBox="1"/>
            <p:nvPr/>
          </p:nvSpPr>
          <p:spPr>
            <a:xfrm>
              <a:off x="2859938" y="3752673"/>
              <a:ext cx="1196009" cy="276999"/>
            </a:xfrm>
            <a:prstGeom prst="rect">
              <a:avLst/>
            </a:prstGeom>
            <a:noFill/>
          </p:spPr>
          <p:txBody>
            <a:bodyPr wrap="square" rtlCol="0">
              <a:spAutoFit/>
            </a:bodyPr>
            <a:lstStyle/>
            <a:p>
              <a:pPr algn="ctr"/>
              <a:r>
                <a:rPr lang="en-US" sz="1200" dirty="0"/>
                <a:t>Edge Device</a:t>
              </a:r>
            </a:p>
          </p:txBody>
        </p:sp>
        <p:sp>
          <p:nvSpPr>
            <p:cNvPr id="104" name="TextBox 103">
              <a:extLst>
                <a:ext uri="{FF2B5EF4-FFF2-40B4-BE49-F238E27FC236}">
                  <a16:creationId xmlns:a16="http://schemas.microsoft.com/office/drawing/2014/main" id="{9A0EE653-80E0-7DC7-345F-0A1D4FC5C22F}"/>
                </a:ext>
              </a:extLst>
            </p:cNvPr>
            <p:cNvSpPr txBox="1"/>
            <p:nvPr/>
          </p:nvSpPr>
          <p:spPr>
            <a:xfrm>
              <a:off x="1054791" y="3756406"/>
              <a:ext cx="1196009" cy="276999"/>
            </a:xfrm>
            <a:prstGeom prst="rect">
              <a:avLst/>
            </a:prstGeom>
            <a:noFill/>
          </p:spPr>
          <p:txBody>
            <a:bodyPr wrap="square" rtlCol="0">
              <a:spAutoFit/>
            </a:bodyPr>
            <a:lstStyle/>
            <a:p>
              <a:pPr algn="ctr"/>
              <a:r>
                <a:rPr lang="en-US" sz="1200" dirty="0"/>
                <a:t>Camera</a:t>
              </a:r>
            </a:p>
          </p:txBody>
        </p:sp>
      </p:grpSp>
    </p:spTree>
    <p:extLst>
      <p:ext uri="{BB962C8B-B14F-4D97-AF65-F5344CB8AC3E}">
        <p14:creationId xmlns:p14="http://schemas.microsoft.com/office/powerpoint/2010/main" val="12945171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23D0996-E9BC-4F9D-BF0D-49E37EF67DC7}"/>
              </a:ext>
            </a:extLst>
          </p:cNvPr>
          <p:cNvSpPr>
            <a:spLocks noGrp="1"/>
          </p:cNvSpPr>
          <p:nvPr>
            <p:ph type="title"/>
          </p:nvPr>
        </p:nvSpPr>
        <p:spPr/>
        <p:txBody>
          <a:bodyPr/>
          <a:lstStyle/>
          <a:p>
            <a:r>
              <a:rPr lang="en-US" dirty="0"/>
              <a:t>Workshop Sessions:</a:t>
            </a:r>
          </a:p>
        </p:txBody>
      </p:sp>
      <p:sp>
        <p:nvSpPr>
          <p:cNvPr id="15" name="Rectangle 14">
            <a:extLst>
              <a:ext uri="{FF2B5EF4-FFF2-40B4-BE49-F238E27FC236}">
                <a16:creationId xmlns:a16="http://schemas.microsoft.com/office/drawing/2014/main" id="{AE461986-FA94-FAC1-7B21-F6C8B986C4CA}"/>
              </a:ext>
            </a:extLst>
          </p:cNvPr>
          <p:cNvSpPr/>
          <p:nvPr/>
        </p:nvSpPr>
        <p:spPr>
          <a:xfrm>
            <a:off x="154057" y="1600201"/>
            <a:ext cx="5695122" cy="2118985"/>
          </a:xfrm>
          <a:prstGeom prst="rect">
            <a:avLst/>
          </a:prstGeom>
          <a:solidFill>
            <a:sysClr val="window" lastClr="FFFFFF">
              <a:lumMod val="95000"/>
            </a:sys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72" b="1" i="1" u="none" strike="noStrike" kern="0" cap="none" spc="0" normalizeH="0" baseline="0" noProof="0" dirty="0">
                <a:ln>
                  <a:noFill/>
                </a:ln>
                <a:solidFill>
                  <a:prstClr val="black"/>
                </a:solidFill>
                <a:effectLst/>
                <a:uLnTx/>
                <a:uFillTx/>
                <a:latin typeface="Calibri" panose="020F0502020204030204"/>
              </a:rPr>
              <a:t>Session</a:t>
            </a:r>
            <a:r>
              <a:rPr kumimoji="0" lang="en-US" sz="1372" b="1" i="1" u="none" strike="noStrike" kern="0" cap="none" spc="0" normalizeH="0" noProof="0" dirty="0">
                <a:ln>
                  <a:noFill/>
                </a:ln>
                <a:solidFill>
                  <a:prstClr val="black"/>
                </a:solidFill>
                <a:effectLst/>
                <a:uLnTx/>
                <a:uFillTx/>
                <a:latin typeface="Calibri" panose="020F0502020204030204"/>
              </a:rPr>
              <a:t> #1</a:t>
            </a: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kumimoji="0" lang="en-US" sz="1372" b="0" i="1" u="none" strike="noStrike" kern="0" cap="none" spc="0" normalizeH="0" baseline="0" noProof="0">
                <a:ln>
                  <a:noFill/>
                </a:ln>
                <a:solidFill>
                  <a:prstClr val="black"/>
                </a:solidFill>
                <a:effectLst/>
                <a:uLnTx/>
                <a:uFillTx/>
                <a:latin typeface="Calibri" panose="020F0502020204030204"/>
              </a:rPr>
              <a:t>Scope</a:t>
            </a:r>
            <a:r>
              <a:rPr kumimoji="0" lang="en-US" sz="1372" b="0" i="1" u="none" strike="noStrike" kern="0" cap="none" spc="0" normalizeH="0" baseline="0" noProof="0" dirty="0">
                <a:ln>
                  <a:noFill/>
                </a:ln>
                <a:solidFill>
                  <a:prstClr val="black"/>
                </a:solidFill>
                <a:effectLst/>
                <a:uLnTx/>
                <a:uFillTx/>
                <a:latin typeface="Calibri" panose="020F0502020204030204"/>
              </a:rPr>
              <a:t>, business</a:t>
            </a:r>
            <a:r>
              <a:rPr kumimoji="0" lang="en-US" sz="1372" b="0" i="1" u="none" strike="noStrike" kern="0" cap="none" spc="0" normalizeH="0" noProof="0" dirty="0">
                <a:ln>
                  <a:noFill/>
                </a:ln>
                <a:solidFill>
                  <a:prstClr val="black"/>
                </a:solidFill>
                <a:effectLst/>
                <a:uLnTx/>
                <a:uFillTx/>
                <a:latin typeface="Calibri" panose="020F0502020204030204"/>
              </a:rPr>
              <a:t> scenario</a:t>
            </a:r>
            <a:endParaRPr kumimoji="0" lang="en-US" sz="1372" b="0"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kumimoji="0" lang="en-US" sz="1372" b="0" i="1" u="none" strike="noStrike" kern="0" cap="none" spc="0" normalizeH="0" baseline="0" noProof="0" dirty="0">
                <a:ln>
                  <a:noFill/>
                </a:ln>
                <a:solidFill>
                  <a:prstClr val="black"/>
                </a:solidFill>
                <a:effectLst/>
                <a:uLnTx/>
                <a:uFillTx/>
                <a:latin typeface="Calibri" panose="020F0502020204030204"/>
              </a:rPr>
              <a:t>Device Set up</a:t>
            </a: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kumimoji="0" lang="en-US" sz="1372" b="0" i="1" u="none" strike="noStrike" kern="0" cap="none" spc="0" normalizeH="0" baseline="0" noProof="0" dirty="0">
                <a:ln>
                  <a:noFill/>
                </a:ln>
                <a:solidFill>
                  <a:prstClr val="black"/>
                </a:solidFill>
                <a:effectLst/>
                <a:uLnTx/>
                <a:uFillTx/>
                <a:latin typeface="Calibri" panose="020F0502020204030204"/>
              </a:rPr>
              <a:t>IoT Central Configuration</a:t>
            </a: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kumimoji="0" lang="en-US" sz="1372" b="0" i="1" u="none" strike="noStrike" kern="0" cap="none" spc="0" normalizeH="0" baseline="0" noProof="0" dirty="0">
                <a:ln>
                  <a:noFill/>
                </a:ln>
                <a:solidFill>
                  <a:prstClr val="black"/>
                </a:solidFill>
                <a:effectLst/>
                <a:uLnTx/>
                <a:uFillTx/>
                <a:latin typeface="Calibri" panose="020F0502020204030204"/>
              </a:rPr>
              <a:t>Enable connectivity from device to IoT</a:t>
            </a:r>
            <a:r>
              <a:rPr kumimoji="0" lang="en-US" sz="1372" b="0" i="1" u="none" strike="noStrike" kern="0" cap="none" spc="0" normalizeH="0" noProof="0" dirty="0">
                <a:ln>
                  <a:noFill/>
                </a:ln>
                <a:solidFill>
                  <a:prstClr val="black"/>
                </a:solidFill>
                <a:effectLst/>
                <a:uLnTx/>
                <a:uFillTx/>
                <a:latin typeface="Calibri" panose="020F0502020204030204"/>
              </a:rPr>
              <a:t> Central, see sample telemetry data</a:t>
            </a: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lang="en-US" sz="1372" i="1" kern="0" baseline="0" dirty="0">
                <a:solidFill>
                  <a:prstClr val="black"/>
                </a:solidFill>
                <a:latin typeface="Calibri" panose="020F0502020204030204"/>
              </a:rPr>
              <a:t>Understanding</a:t>
            </a:r>
            <a:r>
              <a:rPr lang="en-US" sz="1372" i="1" kern="0" dirty="0">
                <a:solidFill>
                  <a:prstClr val="black"/>
                </a:solidFill>
                <a:latin typeface="Calibri" panose="020F0502020204030204"/>
              </a:rPr>
              <a:t> technologies</a:t>
            </a:r>
            <a:endParaRPr kumimoji="0" lang="en-US" sz="1372" b="0" i="1" u="none" strike="noStrike" kern="0" cap="none" spc="0" normalizeH="0" baseline="0" noProof="0" dirty="0">
              <a:ln>
                <a:noFill/>
              </a:ln>
              <a:solidFill>
                <a:prstClr val="black"/>
              </a:solidFill>
              <a:effectLst/>
              <a:uLnTx/>
              <a:uFillTx/>
              <a:latin typeface="Calibri" panose="020F0502020204030204"/>
            </a:endParaRPr>
          </a:p>
        </p:txBody>
      </p:sp>
      <p:sp>
        <p:nvSpPr>
          <p:cNvPr id="16" name="Rectangle 15">
            <a:extLst>
              <a:ext uri="{FF2B5EF4-FFF2-40B4-BE49-F238E27FC236}">
                <a16:creationId xmlns:a16="http://schemas.microsoft.com/office/drawing/2014/main" id="{F28EC458-A93C-C7E2-54A2-3D0A6DC1A9A8}"/>
              </a:ext>
            </a:extLst>
          </p:cNvPr>
          <p:cNvSpPr/>
          <p:nvPr/>
        </p:nvSpPr>
        <p:spPr>
          <a:xfrm>
            <a:off x="154057" y="4043276"/>
            <a:ext cx="5695122" cy="2118985"/>
          </a:xfrm>
          <a:prstGeom prst="rect">
            <a:avLst/>
          </a:prstGeom>
          <a:solidFill>
            <a:sysClr val="window" lastClr="FFFFFF">
              <a:lumMod val="95000"/>
            </a:sys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72" b="1" i="1" u="none" strike="noStrike" kern="0" cap="none" spc="0" normalizeH="0" baseline="0" noProof="0" dirty="0">
                <a:ln>
                  <a:noFill/>
                </a:ln>
                <a:solidFill>
                  <a:prstClr val="black"/>
                </a:solidFill>
                <a:effectLst/>
                <a:uLnTx/>
                <a:uFillTx/>
                <a:latin typeface="Calibri" panose="020F0502020204030204"/>
              </a:rPr>
              <a:t>Session</a:t>
            </a:r>
            <a:r>
              <a:rPr kumimoji="0" lang="en-US" sz="1372" b="1" i="1" u="none" strike="noStrike" kern="0" cap="none" spc="0" normalizeH="0" noProof="0" dirty="0">
                <a:ln>
                  <a:noFill/>
                </a:ln>
                <a:solidFill>
                  <a:prstClr val="black"/>
                </a:solidFill>
                <a:effectLst/>
                <a:uLnTx/>
                <a:uFillTx/>
                <a:latin typeface="Calibri" panose="020F0502020204030204"/>
              </a:rPr>
              <a:t> #2</a:t>
            </a:r>
            <a:endParaRPr kumimoji="0" lang="en-US" sz="1372" b="1"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lang="en-US" sz="1372" i="1" kern="0" dirty="0">
                <a:solidFill>
                  <a:prstClr val="black"/>
                </a:solidFill>
                <a:latin typeface="Calibri" panose="020F0502020204030204"/>
              </a:rPr>
              <a:t>Pre work: Collect pictures</a:t>
            </a:r>
            <a:endParaRPr kumimoji="0" lang="en-US" sz="1372" b="0"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lang="en-US" sz="1372" i="1" kern="0" dirty="0">
                <a:solidFill>
                  <a:prstClr val="black"/>
                </a:solidFill>
                <a:latin typeface="Calibri" panose="020F0502020204030204"/>
              </a:rPr>
              <a:t>Custom vision project set up</a:t>
            </a:r>
            <a:endParaRPr kumimoji="0" lang="en-US" sz="1372" b="0"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lang="en-US" sz="1372" i="1" kern="0" dirty="0">
                <a:solidFill>
                  <a:prstClr val="black"/>
                </a:solidFill>
                <a:latin typeface="Calibri" panose="020F0502020204030204"/>
              </a:rPr>
              <a:t>Upload Pictures, tag images, generate model</a:t>
            </a:r>
            <a:endParaRPr kumimoji="0" lang="en-US" sz="1372" b="0"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kumimoji="0" lang="en-US" sz="1372" b="0" i="1" u="none" strike="noStrike" kern="0" cap="none" spc="0" normalizeH="0" baseline="0" noProof="0" dirty="0">
                <a:ln>
                  <a:noFill/>
                </a:ln>
                <a:solidFill>
                  <a:prstClr val="black"/>
                </a:solidFill>
                <a:effectLst/>
                <a:uLnTx/>
                <a:uFillTx/>
                <a:latin typeface="Calibri" panose="020F0502020204030204"/>
              </a:rPr>
              <a:t>Analyzing output metrics.</a:t>
            </a:r>
            <a:endParaRPr kumimoji="0" lang="en-US" sz="1372" b="0" i="1" u="none" strike="noStrike" kern="0" cap="none" spc="0" normalizeH="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lang="en-US" sz="1372" i="1" kern="0" baseline="0" dirty="0">
                <a:solidFill>
                  <a:prstClr val="black"/>
                </a:solidFill>
                <a:latin typeface="Calibri" panose="020F0502020204030204"/>
              </a:rPr>
              <a:t>Understanding</a:t>
            </a:r>
            <a:r>
              <a:rPr lang="en-US" sz="1372" i="1" kern="0" dirty="0">
                <a:solidFill>
                  <a:prstClr val="black"/>
                </a:solidFill>
                <a:latin typeface="Calibri" panose="020F0502020204030204"/>
              </a:rPr>
              <a:t> technologies</a:t>
            </a:r>
            <a:endParaRPr kumimoji="0" lang="en-US" sz="1372" b="0" i="1" u="none" strike="noStrike" kern="0" cap="none" spc="0" normalizeH="0" baseline="0" noProof="0" dirty="0">
              <a:ln>
                <a:noFill/>
              </a:ln>
              <a:solidFill>
                <a:prstClr val="black"/>
              </a:solidFill>
              <a:effectLst/>
              <a:uLnTx/>
              <a:uFillTx/>
              <a:latin typeface="Calibri" panose="020F0502020204030204"/>
            </a:endParaRPr>
          </a:p>
        </p:txBody>
      </p:sp>
      <p:sp>
        <p:nvSpPr>
          <p:cNvPr id="17" name="Rectangle 16">
            <a:extLst>
              <a:ext uri="{FF2B5EF4-FFF2-40B4-BE49-F238E27FC236}">
                <a16:creationId xmlns:a16="http://schemas.microsoft.com/office/drawing/2014/main" id="{0CEEFF43-C992-EA6D-5A9A-70E42ADBAEED}"/>
              </a:ext>
            </a:extLst>
          </p:cNvPr>
          <p:cNvSpPr/>
          <p:nvPr/>
        </p:nvSpPr>
        <p:spPr>
          <a:xfrm>
            <a:off x="6039679" y="1600200"/>
            <a:ext cx="5782917" cy="2118985"/>
          </a:xfrm>
          <a:prstGeom prst="rect">
            <a:avLst/>
          </a:prstGeom>
          <a:solidFill>
            <a:sysClr val="window" lastClr="FFFFFF">
              <a:lumMod val="95000"/>
            </a:sys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72" b="1" i="1" u="none" strike="noStrike" kern="0" cap="none" spc="0" normalizeH="0" baseline="0" noProof="0" dirty="0">
                <a:ln>
                  <a:noFill/>
                </a:ln>
                <a:solidFill>
                  <a:prstClr val="black"/>
                </a:solidFill>
                <a:effectLst/>
                <a:uLnTx/>
                <a:uFillTx/>
                <a:latin typeface="Calibri" panose="020F0502020204030204"/>
              </a:rPr>
              <a:t>Session</a:t>
            </a:r>
            <a:r>
              <a:rPr kumimoji="0" lang="en-US" sz="1372" b="1" i="1" u="none" strike="noStrike" kern="0" cap="none" spc="0" normalizeH="0" noProof="0" dirty="0">
                <a:ln>
                  <a:noFill/>
                </a:ln>
                <a:solidFill>
                  <a:prstClr val="black"/>
                </a:solidFill>
                <a:effectLst/>
                <a:uLnTx/>
                <a:uFillTx/>
                <a:latin typeface="Calibri" panose="020F0502020204030204"/>
              </a:rPr>
              <a:t> #3</a:t>
            </a:r>
            <a:endParaRPr kumimoji="0" lang="en-US" sz="1372" b="1"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lang="en-US" sz="1372" i="1" kern="0" dirty="0">
                <a:solidFill>
                  <a:prstClr val="black"/>
                </a:solidFill>
                <a:latin typeface="Calibri" panose="020F0502020204030204"/>
              </a:rPr>
              <a:t>Deployment model to device</a:t>
            </a:r>
            <a:endParaRPr kumimoji="0" lang="en-US" sz="1372" b="0"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lang="en-US" sz="1372" i="1" kern="0" noProof="0" dirty="0">
                <a:solidFill>
                  <a:prstClr val="black"/>
                </a:solidFill>
                <a:latin typeface="Calibri" panose="020F0502020204030204"/>
              </a:rPr>
              <a:t>Connecting model in real time with camera</a:t>
            </a:r>
            <a:endParaRPr kumimoji="0" lang="en-US" sz="1372" b="0"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lang="en-US" sz="1372" i="1" kern="0" dirty="0">
                <a:solidFill>
                  <a:prstClr val="black"/>
                </a:solidFill>
                <a:latin typeface="Calibri" panose="020F0502020204030204"/>
              </a:rPr>
              <a:t>Analyze telemetry output</a:t>
            </a:r>
            <a:endParaRPr kumimoji="0" lang="en-US" sz="1372" b="0"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kumimoji="0" lang="en-US" sz="1372" b="0" i="1" u="none" strike="noStrike" kern="0" cap="none" spc="0" normalizeH="0" baseline="0" noProof="0" dirty="0">
                <a:ln>
                  <a:noFill/>
                </a:ln>
                <a:solidFill>
                  <a:prstClr val="black"/>
                </a:solidFill>
                <a:effectLst/>
                <a:uLnTx/>
                <a:uFillTx/>
                <a:latin typeface="Calibri" panose="020F0502020204030204"/>
              </a:rPr>
              <a:t>Set up basic alerts, store alerts</a:t>
            </a:r>
            <a:endParaRPr kumimoji="0" lang="en-US" sz="1372" b="0" i="1" u="none" strike="noStrike" kern="0" cap="none" spc="0" normalizeH="0" noProof="0" dirty="0">
              <a:ln>
                <a:noFill/>
              </a:ln>
              <a:solidFill>
                <a:prstClr val="black"/>
              </a:solidFill>
              <a:effectLst/>
              <a:uLnTx/>
              <a:uFillTx/>
              <a:latin typeface="Calibri" panose="020F0502020204030204"/>
            </a:endParaRPr>
          </a:p>
        </p:txBody>
      </p:sp>
      <p:sp>
        <p:nvSpPr>
          <p:cNvPr id="18" name="Rectangle 17">
            <a:extLst>
              <a:ext uri="{FF2B5EF4-FFF2-40B4-BE49-F238E27FC236}">
                <a16:creationId xmlns:a16="http://schemas.microsoft.com/office/drawing/2014/main" id="{256A566A-F6FA-E7A9-A289-21D4AFB0922D}"/>
              </a:ext>
            </a:extLst>
          </p:cNvPr>
          <p:cNvSpPr/>
          <p:nvPr/>
        </p:nvSpPr>
        <p:spPr>
          <a:xfrm>
            <a:off x="6039679" y="4043276"/>
            <a:ext cx="5782917" cy="2118985"/>
          </a:xfrm>
          <a:prstGeom prst="rect">
            <a:avLst/>
          </a:prstGeom>
          <a:solidFill>
            <a:sysClr val="window" lastClr="FFFFFF">
              <a:lumMod val="95000"/>
            </a:sys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72" b="1" i="1" u="none" strike="noStrike" kern="0" cap="none" spc="0" normalizeH="0" baseline="0" noProof="0" dirty="0">
                <a:ln>
                  <a:noFill/>
                </a:ln>
                <a:solidFill>
                  <a:prstClr val="black"/>
                </a:solidFill>
                <a:effectLst/>
                <a:uLnTx/>
                <a:uFillTx/>
                <a:latin typeface="Calibri" panose="020F0502020204030204"/>
              </a:rPr>
              <a:t>Session</a:t>
            </a:r>
            <a:r>
              <a:rPr kumimoji="0" lang="en-US" sz="1372" b="1" i="1" u="none" strike="noStrike" kern="0" cap="none" spc="0" normalizeH="0" noProof="0" dirty="0">
                <a:ln>
                  <a:noFill/>
                </a:ln>
                <a:solidFill>
                  <a:prstClr val="black"/>
                </a:solidFill>
                <a:effectLst/>
                <a:uLnTx/>
                <a:uFillTx/>
                <a:latin typeface="Calibri" panose="020F0502020204030204"/>
              </a:rPr>
              <a:t> #4</a:t>
            </a:r>
            <a:endParaRPr kumimoji="0" lang="en-US" sz="1372" b="1"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lang="en-US" sz="1372" i="1" kern="0" dirty="0">
                <a:solidFill>
                  <a:prstClr val="black"/>
                </a:solidFill>
                <a:latin typeface="Calibri" panose="020F0502020204030204"/>
              </a:rPr>
              <a:t>Troubleshoot</a:t>
            </a:r>
            <a:endParaRPr kumimoji="0" lang="en-US" sz="1372" b="0"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lang="en-US" sz="1372" i="1" kern="0" noProof="0" dirty="0">
                <a:solidFill>
                  <a:prstClr val="black"/>
                </a:solidFill>
                <a:latin typeface="Calibri" panose="020F0502020204030204"/>
              </a:rPr>
              <a:t>Analyze next steps</a:t>
            </a:r>
            <a:endParaRPr kumimoji="0" lang="en-US" sz="1372" b="0" i="1" u="none" strike="noStrike" kern="0" cap="none" spc="0" normalizeH="0" baseline="0" noProof="0" dirty="0">
              <a:ln>
                <a:noFill/>
              </a:ln>
              <a:solidFill>
                <a:prstClr val="black"/>
              </a:solidFill>
              <a:effectLst/>
              <a:uLnTx/>
              <a:uFillTx/>
              <a:latin typeface="Calibri" panose="020F0502020204030204"/>
            </a:endParaRP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lang="en-US" sz="1372" i="1" kern="0" dirty="0">
                <a:solidFill>
                  <a:prstClr val="black"/>
                </a:solidFill>
                <a:latin typeface="Calibri" panose="020F0502020204030204"/>
              </a:rPr>
              <a:t>Additional time just in case we need it.</a:t>
            </a:r>
          </a:p>
          <a:p>
            <a:pPr marL="220984" marR="0" lvl="0" indent="-172742" defTabSz="914400" eaLnBrk="1" fontAlgn="auto" latinLnBrk="0" hangingPunct="1">
              <a:lnSpc>
                <a:spcPct val="100000"/>
              </a:lnSpc>
              <a:spcBef>
                <a:spcPts val="100"/>
              </a:spcBef>
              <a:spcAft>
                <a:spcPts val="300"/>
              </a:spcAft>
              <a:buClrTx/>
              <a:buSzTx/>
              <a:buFont typeface="Arial" panose="020B0604020202020204" pitchFamily="34" charset="0"/>
              <a:buChar char="•"/>
              <a:tabLst/>
              <a:defRPr/>
            </a:pPr>
            <a:r>
              <a:rPr kumimoji="0" lang="en-US" sz="1372" b="0" i="1" u="none" strike="noStrike" kern="0" cap="none" spc="0" normalizeH="0" baseline="0" noProof="0" dirty="0">
                <a:ln>
                  <a:noFill/>
                </a:ln>
                <a:solidFill>
                  <a:prstClr val="black"/>
                </a:solidFill>
                <a:effectLst/>
                <a:uLnTx/>
                <a:uFillTx/>
                <a:latin typeface="Calibri" panose="020F0502020204030204"/>
              </a:rPr>
              <a:t>Overall</a:t>
            </a:r>
            <a:r>
              <a:rPr kumimoji="0" lang="en-US" sz="1372" b="0" i="1" u="none" strike="noStrike" kern="0" cap="none" spc="0" normalizeH="0" noProof="0" dirty="0">
                <a:ln>
                  <a:noFill/>
                </a:ln>
                <a:solidFill>
                  <a:prstClr val="black"/>
                </a:solidFill>
                <a:effectLst/>
                <a:uLnTx/>
                <a:uFillTx/>
                <a:latin typeface="Calibri" panose="020F0502020204030204"/>
              </a:rPr>
              <a:t> Feedback</a:t>
            </a:r>
            <a:endParaRPr kumimoji="0" lang="en-US" sz="1372" b="0" i="1" u="none" strike="noStrike" kern="0" cap="none" spc="0" normalizeH="0" baseline="0" noProof="0" dirty="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2918855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23D0996-E9BC-4F9D-BF0D-49E37EF67DC7}"/>
              </a:ext>
            </a:extLst>
          </p:cNvPr>
          <p:cNvSpPr>
            <a:spLocks noGrp="1"/>
          </p:cNvSpPr>
          <p:nvPr>
            <p:ph type="title"/>
          </p:nvPr>
        </p:nvSpPr>
        <p:spPr/>
        <p:txBody>
          <a:bodyPr/>
          <a:lstStyle/>
          <a:p>
            <a:r>
              <a:rPr lang="en-US"/>
              <a:t>Why is IoT so Challenging?</a:t>
            </a:r>
          </a:p>
        </p:txBody>
      </p:sp>
      <p:grpSp>
        <p:nvGrpSpPr>
          <p:cNvPr id="6" name="Group 5">
            <a:extLst>
              <a:ext uri="{FF2B5EF4-FFF2-40B4-BE49-F238E27FC236}">
                <a16:creationId xmlns:a16="http://schemas.microsoft.com/office/drawing/2014/main" id="{B122A63F-9558-49EB-A476-E245B9A50AD8}"/>
              </a:ext>
            </a:extLst>
          </p:cNvPr>
          <p:cNvGrpSpPr/>
          <p:nvPr/>
        </p:nvGrpSpPr>
        <p:grpSpPr>
          <a:xfrm>
            <a:off x="2942147" y="2614670"/>
            <a:ext cx="731520" cy="1959586"/>
            <a:chOff x="2641815" y="2999698"/>
            <a:chExt cx="731520" cy="1959586"/>
          </a:xfrm>
        </p:grpSpPr>
        <p:pic>
          <p:nvPicPr>
            <p:cNvPr id="7" name="Graphic 6" descr="Stream with solid fill">
              <a:extLst>
                <a:ext uri="{FF2B5EF4-FFF2-40B4-BE49-F238E27FC236}">
                  <a16:creationId xmlns:a16="http://schemas.microsoft.com/office/drawing/2014/main" id="{A7DCEAFA-5622-4163-A81F-5C0F736A47A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41815" y="2999698"/>
              <a:ext cx="731520" cy="731520"/>
            </a:xfrm>
            <a:prstGeom prst="rect">
              <a:avLst/>
            </a:prstGeom>
          </p:spPr>
        </p:pic>
        <p:pic>
          <p:nvPicPr>
            <p:cNvPr id="8" name="Graphic 7" descr="Stream with solid fill">
              <a:extLst>
                <a:ext uri="{FF2B5EF4-FFF2-40B4-BE49-F238E27FC236}">
                  <a16:creationId xmlns:a16="http://schemas.microsoft.com/office/drawing/2014/main" id="{E699BAE8-C24C-49FB-8578-7320D8948E4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41815" y="4227764"/>
              <a:ext cx="731520" cy="731520"/>
            </a:xfrm>
            <a:prstGeom prst="rect">
              <a:avLst/>
            </a:prstGeom>
          </p:spPr>
        </p:pic>
        <p:pic>
          <p:nvPicPr>
            <p:cNvPr id="9" name="Graphic 8" descr="Stream with solid fill">
              <a:extLst>
                <a:ext uri="{FF2B5EF4-FFF2-40B4-BE49-F238E27FC236}">
                  <a16:creationId xmlns:a16="http://schemas.microsoft.com/office/drawing/2014/main" id="{3B12AC3D-16B8-4BD9-BE8F-40D6BCAD95D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41815" y="3613230"/>
              <a:ext cx="731520" cy="731520"/>
            </a:xfrm>
            <a:prstGeom prst="rect">
              <a:avLst/>
            </a:prstGeom>
          </p:spPr>
        </p:pic>
      </p:grpSp>
      <p:sp>
        <p:nvSpPr>
          <p:cNvPr id="11" name="TextBox 10">
            <a:extLst>
              <a:ext uri="{FF2B5EF4-FFF2-40B4-BE49-F238E27FC236}">
                <a16:creationId xmlns:a16="http://schemas.microsoft.com/office/drawing/2014/main" id="{4ACD1B88-F749-4300-9942-0D39CF71A61C}"/>
              </a:ext>
            </a:extLst>
          </p:cNvPr>
          <p:cNvSpPr txBox="1"/>
          <p:nvPr/>
        </p:nvSpPr>
        <p:spPr>
          <a:xfrm>
            <a:off x="2611024" y="4828829"/>
            <a:ext cx="13937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hings</a:t>
            </a:r>
          </a:p>
        </p:txBody>
      </p:sp>
      <p:sp>
        <p:nvSpPr>
          <p:cNvPr id="12" name="TextBox 11">
            <a:extLst>
              <a:ext uri="{FF2B5EF4-FFF2-40B4-BE49-F238E27FC236}">
                <a16:creationId xmlns:a16="http://schemas.microsoft.com/office/drawing/2014/main" id="{389CE594-6BAF-4C7E-924E-C18F065903EC}"/>
              </a:ext>
            </a:extLst>
          </p:cNvPr>
          <p:cNvSpPr txBox="1"/>
          <p:nvPr/>
        </p:nvSpPr>
        <p:spPr>
          <a:xfrm>
            <a:off x="7716779" y="4828827"/>
            <a:ext cx="186419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ransformation</a:t>
            </a:r>
          </a:p>
        </p:txBody>
      </p:sp>
      <p:cxnSp>
        <p:nvCxnSpPr>
          <p:cNvPr id="20" name="Straight Arrow Connector 19">
            <a:extLst>
              <a:ext uri="{FF2B5EF4-FFF2-40B4-BE49-F238E27FC236}">
                <a16:creationId xmlns:a16="http://schemas.microsoft.com/office/drawing/2014/main" id="{E8AE2F72-6ECF-4288-A80E-AD02932421A5}"/>
              </a:ext>
            </a:extLst>
          </p:cNvPr>
          <p:cNvCxnSpPr>
            <a:cxnSpLocks/>
          </p:cNvCxnSpPr>
          <p:nvPr/>
        </p:nvCxnSpPr>
        <p:spPr>
          <a:xfrm>
            <a:off x="4004789" y="3583405"/>
            <a:ext cx="514659" cy="0"/>
          </a:xfrm>
          <a:prstGeom prst="straightConnector1">
            <a:avLst/>
          </a:prstGeom>
          <a:noFill/>
          <a:ln w="38100" cap="flat" cmpd="sng" algn="ctr">
            <a:solidFill>
              <a:srgbClr val="32BEDD"/>
            </a:solidFill>
            <a:prstDash val="solid"/>
            <a:tailEnd type="triangle" w="lg" len="lg"/>
          </a:ln>
          <a:effectLst/>
        </p:spPr>
      </p:cxnSp>
      <p:cxnSp>
        <p:nvCxnSpPr>
          <p:cNvPr id="21" name="Straight Arrow Connector 20">
            <a:extLst>
              <a:ext uri="{FF2B5EF4-FFF2-40B4-BE49-F238E27FC236}">
                <a16:creationId xmlns:a16="http://schemas.microsoft.com/office/drawing/2014/main" id="{F5FC03AD-B202-47BD-B49A-E907E5BA2D50}"/>
              </a:ext>
            </a:extLst>
          </p:cNvPr>
          <p:cNvCxnSpPr>
            <a:cxnSpLocks/>
          </p:cNvCxnSpPr>
          <p:nvPr/>
        </p:nvCxnSpPr>
        <p:spPr>
          <a:xfrm>
            <a:off x="7202120" y="3583405"/>
            <a:ext cx="514659" cy="0"/>
          </a:xfrm>
          <a:prstGeom prst="straightConnector1">
            <a:avLst/>
          </a:prstGeom>
          <a:noFill/>
          <a:ln w="38100" cap="flat" cmpd="sng" algn="ctr">
            <a:solidFill>
              <a:srgbClr val="32BEDD"/>
            </a:solidFill>
            <a:prstDash val="solid"/>
            <a:tailEnd type="triangle" w="lg" len="lg"/>
          </a:ln>
          <a:effectLst/>
        </p:spPr>
      </p:cxnSp>
      <p:pic>
        <p:nvPicPr>
          <p:cNvPr id="23" name="Graphic 22" descr="Cloud outline">
            <a:extLst>
              <a:ext uri="{FF2B5EF4-FFF2-40B4-BE49-F238E27FC236}">
                <a16:creationId xmlns:a16="http://schemas.microsoft.com/office/drawing/2014/main" id="{8D0D2170-F93C-402A-AD93-8A5BC67678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70269" y="2387401"/>
            <a:ext cx="2100215" cy="2100215"/>
          </a:xfrm>
          <a:prstGeom prst="rect">
            <a:avLst/>
          </a:prstGeom>
        </p:spPr>
      </p:pic>
      <p:sp>
        <p:nvSpPr>
          <p:cNvPr id="25" name="TextBox 24">
            <a:extLst>
              <a:ext uri="{FF2B5EF4-FFF2-40B4-BE49-F238E27FC236}">
                <a16:creationId xmlns:a16="http://schemas.microsoft.com/office/drawing/2014/main" id="{36A608EA-02D7-4CB0-9AFC-F748A49A500D}"/>
              </a:ext>
            </a:extLst>
          </p:cNvPr>
          <p:cNvSpPr txBox="1"/>
          <p:nvPr/>
        </p:nvSpPr>
        <p:spPr>
          <a:xfrm>
            <a:off x="5223493" y="4828828"/>
            <a:ext cx="13937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Cloud</a:t>
            </a:r>
          </a:p>
        </p:txBody>
      </p:sp>
      <p:pic>
        <p:nvPicPr>
          <p:cNvPr id="27" name="Graphic 26" descr="Pot of gold outline">
            <a:extLst>
              <a:ext uri="{FF2B5EF4-FFF2-40B4-BE49-F238E27FC236}">
                <a16:creationId xmlns:a16="http://schemas.microsoft.com/office/drawing/2014/main" id="{33DB72D1-87B4-499C-B38C-4461E39E29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87304" y="3053820"/>
            <a:ext cx="1059169" cy="1059169"/>
          </a:xfrm>
          <a:prstGeom prst="rect">
            <a:avLst/>
          </a:prstGeom>
        </p:spPr>
      </p:pic>
    </p:spTree>
    <p:extLst>
      <p:ext uri="{BB962C8B-B14F-4D97-AF65-F5344CB8AC3E}">
        <p14:creationId xmlns:p14="http://schemas.microsoft.com/office/powerpoint/2010/main" val="274474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7A847A-98FB-4C8F-885B-E58CF0C94BC2}"/>
              </a:ext>
            </a:extLst>
          </p:cNvPr>
          <p:cNvSpPr>
            <a:spLocks noGrp="1"/>
          </p:cNvSpPr>
          <p:nvPr>
            <p:ph type="title"/>
          </p:nvPr>
        </p:nvSpPr>
        <p:spPr/>
        <p:txBody>
          <a:bodyPr/>
          <a:lstStyle/>
          <a:p>
            <a:r>
              <a:rPr lang="en-US"/>
              <a:t>Complexity Emerges Quickly</a:t>
            </a:r>
          </a:p>
        </p:txBody>
      </p:sp>
      <p:sp>
        <p:nvSpPr>
          <p:cNvPr id="4" name="Oval 3">
            <a:extLst>
              <a:ext uri="{FF2B5EF4-FFF2-40B4-BE49-F238E27FC236}">
                <a16:creationId xmlns:a16="http://schemas.microsoft.com/office/drawing/2014/main" id="{35122B68-B662-4771-9CA4-79CCEFFD7500}"/>
              </a:ext>
            </a:extLst>
          </p:cNvPr>
          <p:cNvSpPr/>
          <p:nvPr/>
        </p:nvSpPr>
        <p:spPr bwMode="auto">
          <a:xfrm>
            <a:off x="3556256" y="1408310"/>
            <a:ext cx="5848094" cy="4918389"/>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57EF86C9-A0DA-4FA6-990C-DB240F969B80}"/>
              </a:ext>
            </a:extLst>
          </p:cNvPr>
          <p:cNvSpPr txBox="1"/>
          <p:nvPr/>
        </p:nvSpPr>
        <p:spPr>
          <a:xfrm>
            <a:off x="853477" y="6246471"/>
            <a:ext cx="13937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hings</a:t>
            </a:r>
          </a:p>
        </p:txBody>
      </p:sp>
      <p:sp>
        <p:nvSpPr>
          <p:cNvPr id="11" name="TextBox 10">
            <a:extLst>
              <a:ext uri="{FF2B5EF4-FFF2-40B4-BE49-F238E27FC236}">
                <a16:creationId xmlns:a16="http://schemas.microsoft.com/office/drawing/2014/main" id="{46A25197-7BA9-4E25-9B5E-5DE91741F8BD}"/>
              </a:ext>
            </a:extLst>
          </p:cNvPr>
          <p:cNvSpPr txBox="1"/>
          <p:nvPr/>
        </p:nvSpPr>
        <p:spPr>
          <a:xfrm>
            <a:off x="9702548" y="6246471"/>
            <a:ext cx="186419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ransformation</a:t>
            </a:r>
          </a:p>
        </p:txBody>
      </p:sp>
      <p:sp>
        <p:nvSpPr>
          <p:cNvPr id="12" name="TextBox 11">
            <a:extLst>
              <a:ext uri="{FF2B5EF4-FFF2-40B4-BE49-F238E27FC236}">
                <a16:creationId xmlns:a16="http://schemas.microsoft.com/office/drawing/2014/main" id="{A9AAC88D-B1DD-4D08-950B-35E125E487FA}"/>
              </a:ext>
            </a:extLst>
          </p:cNvPr>
          <p:cNvSpPr txBox="1"/>
          <p:nvPr/>
        </p:nvSpPr>
        <p:spPr>
          <a:xfrm>
            <a:off x="5223493" y="6250702"/>
            <a:ext cx="13937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Cloud</a:t>
            </a:r>
          </a:p>
        </p:txBody>
      </p:sp>
      <p:cxnSp>
        <p:nvCxnSpPr>
          <p:cNvPr id="13" name="Straight Arrow Connector 12">
            <a:extLst>
              <a:ext uri="{FF2B5EF4-FFF2-40B4-BE49-F238E27FC236}">
                <a16:creationId xmlns:a16="http://schemas.microsoft.com/office/drawing/2014/main" id="{1F4D310F-2E17-4C72-8134-7C9EDBB212F4}"/>
              </a:ext>
            </a:extLst>
          </p:cNvPr>
          <p:cNvCxnSpPr>
            <a:cxnSpLocks/>
          </p:cNvCxnSpPr>
          <p:nvPr/>
        </p:nvCxnSpPr>
        <p:spPr>
          <a:xfrm>
            <a:off x="2882077" y="6423197"/>
            <a:ext cx="514659" cy="0"/>
          </a:xfrm>
          <a:prstGeom prst="straightConnector1">
            <a:avLst/>
          </a:prstGeom>
          <a:noFill/>
          <a:ln w="38100" cap="flat" cmpd="sng" algn="ctr">
            <a:solidFill>
              <a:srgbClr val="32BEDD"/>
            </a:solidFill>
            <a:prstDash val="solid"/>
            <a:tailEnd type="triangle" w="lg" len="lg"/>
          </a:ln>
          <a:effectLst/>
        </p:spPr>
      </p:cxnSp>
      <p:cxnSp>
        <p:nvCxnSpPr>
          <p:cNvPr id="14" name="Straight Arrow Connector 13">
            <a:extLst>
              <a:ext uri="{FF2B5EF4-FFF2-40B4-BE49-F238E27FC236}">
                <a16:creationId xmlns:a16="http://schemas.microsoft.com/office/drawing/2014/main" id="{FD02847D-3407-451D-82B4-C30FB7D95710}"/>
              </a:ext>
            </a:extLst>
          </p:cNvPr>
          <p:cNvCxnSpPr>
            <a:cxnSpLocks/>
          </p:cNvCxnSpPr>
          <p:nvPr/>
        </p:nvCxnSpPr>
        <p:spPr>
          <a:xfrm>
            <a:off x="8670419" y="6423197"/>
            <a:ext cx="514659" cy="0"/>
          </a:xfrm>
          <a:prstGeom prst="straightConnector1">
            <a:avLst/>
          </a:prstGeom>
          <a:noFill/>
          <a:ln w="38100" cap="flat" cmpd="sng" algn="ctr">
            <a:solidFill>
              <a:srgbClr val="32BEDD"/>
            </a:solidFill>
            <a:prstDash val="solid"/>
            <a:tailEnd type="triangle" w="lg" len="lg"/>
          </a:ln>
          <a:effectLst/>
        </p:spPr>
      </p:cxnSp>
      <p:sp>
        <p:nvSpPr>
          <p:cNvPr id="2" name="Rectangle 1">
            <a:extLst>
              <a:ext uri="{FF2B5EF4-FFF2-40B4-BE49-F238E27FC236}">
                <a16:creationId xmlns:a16="http://schemas.microsoft.com/office/drawing/2014/main" id="{C6668779-B92A-41D2-A2D7-D1B7EA5060B7}"/>
              </a:ext>
            </a:extLst>
          </p:cNvPr>
          <p:cNvSpPr/>
          <p:nvPr/>
        </p:nvSpPr>
        <p:spPr bwMode="auto">
          <a:xfrm>
            <a:off x="2314883" y="5265046"/>
            <a:ext cx="1478280" cy="6629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CCEC6FD3-DA7D-4F88-AED9-DAFB88FCF1D5}"/>
              </a:ext>
            </a:extLst>
          </p:cNvPr>
          <p:cNvGrpSpPr/>
          <p:nvPr/>
        </p:nvGrpSpPr>
        <p:grpSpPr>
          <a:xfrm>
            <a:off x="321757" y="1838703"/>
            <a:ext cx="2560320" cy="3968028"/>
            <a:chOff x="734899" y="1899663"/>
            <a:chExt cx="2668689" cy="3968028"/>
          </a:xfrm>
        </p:grpSpPr>
        <p:sp>
          <p:nvSpPr>
            <p:cNvPr id="76" name="Rectangle 75">
              <a:extLst>
                <a:ext uri="{FF2B5EF4-FFF2-40B4-BE49-F238E27FC236}">
                  <a16:creationId xmlns:a16="http://schemas.microsoft.com/office/drawing/2014/main" id="{7FDE2010-99D4-4B83-825A-3F68FB49119A}"/>
                </a:ext>
              </a:extLst>
            </p:cNvPr>
            <p:cNvSpPr/>
            <p:nvPr/>
          </p:nvSpPr>
          <p:spPr>
            <a:xfrm>
              <a:off x="734899" y="1899663"/>
              <a:ext cx="2668689" cy="3968028"/>
            </a:xfrm>
            <a:prstGeom prst="rect">
              <a:avLst/>
            </a:prstGeom>
            <a:solidFill>
              <a:schemeClr val="tx1">
                <a:lumMod val="95000"/>
              </a:schemeClr>
            </a:solidFill>
            <a:ln w="57150" cap="flat" cmpd="sng" algn="ctr">
              <a:solidFill>
                <a:srgbClr val="3C3C41">
                  <a:lumMod val="85000"/>
                  <a:lumOff val="15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57F643E4-40E3-4A0E-95E9-2BC961FBBC31}"/>
                </a:ext>
              </a:extLst>
            </p:cNvPr>
            <p:cNvGrpSpPr/>
            <p:nvPr/>
          </p:nvGrpSpPr>
          <p:grpSpPr>
            <a:xfrm>
              <a:off x="1951590" y="2257686"/>
              <a:ext cx="1377327" cy="326760"/>
              <a:chOff x="969318" y="1083096"/>
              <a:chExt cx="1377327" cy="326760"/>
            </a:xfrm>
          </p:grpSpPr>
          <p:sp>
            <p:nvSpPr>
              <p:cNvPr id="102" name="TextBox 101">
                <a:extLst>
                  <a:ext uri="{FF2B5EF4-FFF2-40B4-BE49-F238E27FC236}">
                    <a16:creationId xmlns:a16="http://schemas.microsoft.com/office/drawing/2014/main" id="{212B2C00-2089-4E13-96E1-114B6429B243}"/>
                  </a:ext>
                </a:extLst>
              </p:cNvPr>
              <p:cNvSpPr txBox="1"/>
              <p:nvPr/>
            </p:nvSpPr>
            <p:spPr>
              <a:xfrm>
                <a:off x="1066485" y="1083096"/>
                <a:ext cx="1280160" cy="307777"/>
              </a:xfrm>
              <a:prstGeom prst="rect">
                <a:avLst/>
              </a:prstGeom>
              <a:noFill/>
            </p:spPr>
            <p:txBody>
              <a:bodyPr wrap="square">
                <a:spAutoFit/>
              </a:bodyPr>
              <a:lstStyle>
                <a:defPPr>
                  <a:defRPr lang="en-US"/>
                </a:defPPr>
                <a:lvl1pPr marL="111125"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rgbClr val="0072C6"/>
                    </a:solidFill>
                    <a:effectLst/>
                    <a:uLnTx/>
                    <a:uFillTx/>
                    <a:latin typeface="Segoe UI Semibold" panose="020B0702040204020203" pitchFamily="34" charset="0"/>
                    <a:cs typeface="Segoe UI Semibold" panose="020B0702040204020203" pitchFamily="34" charset="0"/>
                  </a:defRPr>
                </a:lvl1p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C3C41"/>
                    </a:solidFill>
                    <a:effectLst/>
                    <a:uLnTx/>
                    <a:uFillTx/>
                    <a:latin typeface="Segoe UI Semibold" panose="020B0702040204020203" pitchFamily="34" charset="0"/>
                    <a:ea typeface="+mn-ea"/>
                    <a:cs typeface="Segoe UI Semibold" panose="020B0702040204020203" pitchFamily="34" charset="0"/>
                  </a:rPr>
                  <a:t>Agriculture</a:t>
                </a:r>
              </a:p>
            </p:txBody>
          </p:sp>
          <p:sp>
            <p:nvSpPr>
              <p:cNvPr id="103" name="Leaf" title="Icon of a leaf">
                <a:extLst>
                  <a:ext uri="{FF2B5EF4-FFF2-40B4-BE49-F238E27FC236}">
                    <a16:creationId xmlns:a16="http://schemas.microsoft.com/office/drawing/2014/main" id="{54042D3D-9515-4ED8-A501-8FAF2D98E49A}"/>
                  </a:ext>
                </a:extLst>
              </p:cNvPr>
              <p:cNvSpPr>
                <a:spLocks noChangeAspect="1" noEditPoints="1"/>
              </p:cNvSpPr>
              <p:nvPr/>
            </p:nvSpPr>
            <p:spPr bwMode="auto">
              <a:xfrm>
                <a:off x="969318" y="1134504"/>
                <a:ext cx="182880" cy="275352"/>
              </a:xfrm>
              <a:custGeom>
                <a:avLst/>
                <a:gdLst>
                  <a:gd name="T0" fmla="*/ 497 w 2487"/>
                  <a:gd name="T1" fmla="*/ 2737 h 3743"/>
                  <a:gd name="T2" fmla="*/ 249 w 2487"/>
                  <a:gd name="T3" fmla="*/ 1990 h 3743"/>
                  <a:gd name="T4" fmla="*/ 995 w 2487"/>
                  <a:gd name="T5" fmla="*/ 995 h 3743"/>
                  <a:gd name="T6" fmla="*/ 1741 w 2487"/>
                  <a:gd name="T7" fmla="*/ 0 h 3743"/>
                  <a:gd name="T8" fmla="*/ 2487 w 2487"/>
                  <a:gd name="T9" fmla="*/ 1617 h 3743"/>
                  <a:gd name="T10" fmla="*/ 871 w 2487"/>
                  <a:gd name="T11" fmla="*/ 3234 h 3743"/>
                  <a:gd name="T12" fmla="*/ 746 w 2487"/>
                  <a:gd name="T13" fmla="*/ 3234 h 3743"/>
                  <a:gd name="T14" fmla="*/ 0 w 2487"/>
                  <a:gd name="T15" fmla="*/ 3743 h 3743"/>
                  <a:gd name="T16" fmla="*/ 357 w 2487"/>
                  <a:gd name="T17" fmla="*/ 3527 h 3743"/>
                  <a:gd name="T18" fmla="*/ 997 w 2487"/>
                  <a:gd name="T19" fmla="*/ 2999 h 3743"/>
                  <a:gd name="T20" fmla="*/ 1525 w 2487"/>
                  <a:gd name="T21" fmla="*/ 2358 h 3743"/>
                  <a:gd name="T22" fmla="*/ 1741 w 2487"/>
                  <a:gd name="T23" fmla="*/ 2002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7" h="3743">
                    <a:moveTo>
                      <a:pt x="497" y="2737"/>
                    </a:moveTo>
                    <a:cubicBezTo>
                      <a:pt x="344" y="2546"/>
                      <a:pt x="249" y="2282"/>
                      <a:pt x="249" y="1990"/>
                    </a:cubicBezTo>
                    <a:cubicBezTo>
                      <a:pt x="249" y="1602"/>
                      <a:pt x="534" y="1250"/>
                      <a:pt x="995" y="995"/>
                    </a:cubicBezTo>
                    <a:cubicBezTo>
                      <a:pt x="1456" y="741"/>
                      <a:pt x="1741" y="389"/>
                      <a:pt x="1741" y="0"/>
                    </a:cubicBezTo>
                    <a:cubicBezTo>
                      <a:pt x="2202" y="414"/>
                      <a:pt x="2487" y="985"/>
                      <a:pt x="2487" y="1617"/>
                    </a:cubicBezTo>
                    <a:cubicBezTo>
                      <a:pt x="2487" y="2511"/>
                      <a:pt x="1764" y="3234"/>
                      <a:pt x="871" y="3234"/>
                    </a:cubicBezTo>
                    <a:cubicBezTo>
                      <a:pt x="746" y="3234"/>
                      <a:pt x="746" y="3234"/>
                      <a:pt x="746" y="3234"/>
                    </a:cubicBezTo>
                    <a:moveTo>
                      <a:pt x="0" y="3743"/>
                    </a:moveTo>
                    <a:cubicBezTo>
                      <a:pt x="122" y="3677"/>
                      <a:pt x="241" y="3604"/>
                      <a:pt x="357" y="3527"/>
                    </a:cubicBezTo>
                    <a:cubicBezTo>
                      <a:pt x="587" y="3371"/>
                      <a:pt x="801" y="3194"/>
                      <a:pt x="997" y="2999"/>
                    </a:cubicBezTo>
                    <a:cubicBezTo>
                      <a:pt x="1192" y="2803"/>
                      <a:pt x="1369" y="2589"/>
                      <a:pt x="1525" y="2358"/>
                    </a:cubicBezTo>
                    <a:cubicBezTo>
                      <a:pt x="1602" y="2243"/>
                      <a:pt x="1675" y="2124"/>
                      <a:pt x="1741" y="2002"/>
                    </a:cubicBezTo>
                  </a:path>
                </a:pathLst>
              </a:custGeom>
              <a:noFill/>
              <a:ln w="19050"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78" name="Group 77">
              <a:extLst>
                <a:ext uri="{FF2B5EF4-FFF2-40B4-BE49-F238E27FC236}">
                  <a16:creationId xmlns:a16="http://schemas.microsoft.com/office/drawing/2014/main" id="{506728F3-F907-4332-9C63-A701662BB7F8}"/>
                </a:ext>
              </a:extLst>
            </p:cNvPr>
            <p:cNvGrpSpPr/>
            <p:nvPr/>
          </p:nvGrpSpPr>
          <p:grpSpPr>
            <a:xfrm>
              <a:off x="1941414" y="2998914"/>
              <a:ext cx="1450561" cy="314066"/>
              <a:chOff x="896084" y="1713107"/>
              <a:chExt cx="1450561" cy="314066"/>
            </a:xfrm>
          </p:grpSpPr>
          <p:sp>
            <p:nvSpPr>
              <p:cNvPr id="100" name="TextBox 99">
                <a:extLst>
                  <a:ext uri="{FF2B5EF4-FFF2-40B4-BE49-F238E27FC236}">
                    <a16:creationId xmlns:a16="http://schemas.microsoft.com/office/drawing/2014/main" id="{5BD5543B-515A-408D-A934-5EB891A9F191}"/>
                  </a:ext>
                </a:extLst>
              </p:cNvPr>
              <p:cNvSpPr txBox="1"/>
              <p:nvPr/>
            </p:nvSpPr>
            <p:spPr>
              <a:xfrm>
                <a:off x="1066485" y="17193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Consumer</a:t>
                </a:r>
              </a:p>
            </p:txBody>
          </p:sp>
          <p:sp>
            <p:nvSpPr>
              <p:cNvPr id="101" name="people_2" title="Icon of three people with an arrow above them pointing down">
                <a:extLst>
                  <a:ext uri="{FF2B5EF4-FFF2-40B4-BE49-F238E27FC236}">
                    <a16:creationId xmlns:a16="http://schemas.microsoft.com/office/drawing/2014/main" id="{8F8F86A0-4219-4D2B-B514-F8B29B3DFC5D}"/>
                  </a:ext>
                </a:extLst>
              </p:cNvPr>
              <p:cNvSpPr>
                <a:spLocks noChangeAspect="1" noEditPoints="1"/>
              </p:cNvSpPr>
              <p:nvPr/>
            </p:nvSpPr>
            <p:spPr bwMode="auto">
              <a:xfrm>
                <a:off x="896084" y="1713107"/>
                <a:ext cx="274320" cy="301235"/>
              </a:xfrm>
              <a:custGeom>
                <a:avLst/>
                <a:gdLst>
                  <a:gd name="T0" fmla="*/ 95 w 298"/>
                  <a:gd name="T1" fmla="*/ 198 h 328"/>
                  <a:gd name="T2" fmla="*/ 149 w 298"/>
                  <a:gd name="T3" fmla="*/ 143 h 328"/>
                  <a:gd name="T4" fmla="*/ 203 w 298"/>
                  <a:gd name="T5" fmla="*/ 198 h 328"/>
                  <a:gd name="T6" fmla="*/ 149 w 298"/>
                  <a:gd name="T7" fmla="*/ 252 h 328"/>
                  <a:gd name="T8" fmla="*/ 95 w 298"/>
                  <a:gd name="T9" fmla="*/ 198 h 328"/>
                  <a:gd name="T10" fmla="*/ 225 w 298"/>
                  <a:gd name="T11" fmla="*/ 328 h 328"/>
                  <a:gd name="T12" fmla="*/ 149 w 298"/>
                  <a:gd name="T13" fmla="*/ 252 h 328"/>
                  <a:gd name="T14" fmla="*/ 73 w 298"/>
                  <a:gd name="T15" fmla="*/ 328 h 328"/>
                  <a:gd name="T16" fmla="*/ 47 w 298"/>
                  <a:gd name="T17" fmla="*/ 146 h 328"/>
                  <a:gd name="T18" fmla="*/ 81 w 298"/>
                  <a:gd name="T19" fmla="*/ 112 h 328"/>
                  <a:gd name="T20" fmla="*/ 47 w 298"/>
                  <a:gd name="T21" fmla="*/ 78 h 328"/>
                  <a:gd name="T22" fmla="*/ 13 w 298"/>
                  <a:gd name="T23" fmla="*/ 112 h 328"/>
                  <a:gd name="T24" fmla="*/ 47 w 298"/>
                  <a:gd name="T25" fmla="*/ 146 h 328"/>
                  <a:gd name="T26" fmla="*/ 95 w 298"/>
                  <a:gd name="T27" fmla="*/ 193 h 328"/>
                  <a:gd name="T28" fmla="*/ 47 w 298"/>
                  <a:gd name="T29" fmla="*/ 146 h 328"/>
                  <a:gd name="T30" fmla="*/ 0 w 298"/>
                  <a:gd name="T31" fmla="*/ 193 h 328"/>
                  <a:gd name="T32" fmla="*/ 251 w 298"/>
                  <a:gd name="T33" fmla="*/ 146 h 328"/>
                  <a:gd name="T34" fmla="*/ 285 w 298"/>
                  <a:gd name="T35" fmla="*/ 112 h 328"/>
                  <a:gd name="T36" fmla="*/ 251 w 298"/>
                  <a:gd name="T37" fmla="*/ 78 h 328"/>
                  <a:gd name="T38" fmla="*/ 217 w 298"/>
                  <a:gd name="T39" fmla="*/ 112 h 328"/>
                  <a:gd name="T40" fmla="*/ 251 w 298"/>
                  <a:gd name="T41" fmla="*/ 146 h 328"/>
                  <a:gd name="T42" fmla="*/ 298 w 298"/>
                  <a:gd name="T43" fmla="*/ 193 h 328"/>
                  <a:gd name="T44" fmla="*/ 251 w 298"/>
                  <a:gd name="T45" fmla="*/ 146 h 328"/>
                  <a:gd name="T46" fmla="*/ 203 w 298"/>
                  <a:gd name="T47" fmla="*/ 193 h 328"/>
                  <a:gd name="T48" fmla="*/ 149 w 298"/>
                  <a:gd name="T49" fmla="*/ 0 h 328"/>
                  <a:gd name="T50" fmla="*/ 149 w 298"/>
                  <a:gd name="T51" fmla="*/ 80 h 328"/>
                  <a:gd name="T52" fmla="*/ 104 w 298"/>
                  <a:gd name="T53" fmla="*/ 35 h 328"/>
                  <a:gd name="T54" fmla="*/ 149 w 298"/>
                  <a:gd name="T55" fmla="*/ 80 h 328"/>
                  <a:gd name="T56" fmla="*/ 194 w 298"/>
                  <a:gd name="T57" fmla="*/ 3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328">
                    <a:moveTo>
                      <a:pt x="95" y="198"/>
                    </a:moveTo>
                    <a:cubicBezTo>
                      <a:pt x="95" y="168"/>
                      <a:pt x="119" y="143"/>
                      <a:pt x="149" y="143"/>
                    </a:cubicBezTo>
                    <a:cubicBezTo>
                      <a:pt x="179" y="143"/>
                      <a:pt x="203" y="168"/>
                      <a:pt x="203" y="198"/>
                    </a:cubicBezTo>
                    <a:cubicBezTo>
                      <a:pt x="203" y="228"/>
                      <a:pt x="179" y="252"/>
                      <a:pt x="149" y="252"/>
                    </a:cubicBezTo>
                    <a:cubicBezTo>
                      <a:pt x="119" y="252"/>
                      <a:pt x="95" y="228"/>
                      <a:pt x="95" y="198"/>
                    </a:cubicBezTo>
                    <a:close/>
                    <a:moveTo>
                      <a:pt x="225" y="328"/>
                    </a:moveTo>
                    <a:cubicBezTo>
                      <a:pt x="225" y="286"/>
                      <a:pt x="191" y="252"/>
                      <a:pt x="149" y="252"/>
                    </a:cubicBezTo>
                    <a:cubicBezTo>
                      <a:pt x="107" y="252"/>
                      <a:pt x="73" y="286"/>
                      <a:pt x="73" y="328"/>
                    </a:cubicBezTo>
                    <a:moveTo>
                      <a:pt x="47" y="146"/>
                    </a:moveTo>
                    <a:cubicBezTo>
                      <a:pt x="66" y="146"/>
                      <a:pt x="81" y="131"/>
                      <a:pt x="81" y="112"/>
                    </a:cubicBezTo>
                    <a:cubicBezTo>
                      <a:pt x="81" y="93"/>
                      <a:pt x="66" y="78"/>
                      <a:pt x="47" y="78"/>
                    </a:cubicBezTo>
                    <a:cubicBezTo>
                      <a:pt x="28" y="78"/>
                      <a:pt x="13" y="93"/>
                      <a:pt x="13" y="112"/>
                    </a:cubicBezTo>
                    <a:cubicBezTo>
                      <a:pt x="13" y="131"/>
                      <a:pt x="28" y="146"/>
                      <a:pt x="47" y="146"/>
                    </a:cubicBezTo>
                    <a:close/>
                    <a:moveTo>
                      <a:pt x="95" y="193"/>
                    </a:moveTo>
                    <a:cubicBezTo>
                      <a:pt x="95" y="167"/>
                      <a:pt x="73" y="146"/>
                      <a:pt x="47" y="146"/>
                    </a:cubicBezTo>
                    <a:cubicBezTo>
                      <a:pt x="21" y="146"/>
                      <a:pt x="0" y="167"/>
                      <a:pt x="0" y="193"/>
                    </a:cubicBezTo>
                    <a:moveTo>
                      <a:pt x="251" y="146"/>
                    </a:moveTo>
                    <a:cubicBezTo>
                      <a:pt x="270" y="146"/>
                      <a:pt x="285" y="131"/>
                      <a:pt x="285" y="112"/>
                    </a:cubicBezTo>
                    <a:cubicBezTo>
                      <a:pt x="285" y="93"/>
                      <a:pt x="270" y="78"/>
                      <a:pt x="251" y="78"/>
                    </a:cubicBezTo>
                    <a:cubicBezTo>
                      <a:pt x="232" y="78"/>
                      <a:pt x="217" y="93"/>
                      <a:pt x="217" y="112"/>
                    </a:cubicBezTo>
                    <a:cubicBezTo>
                      <a:pt x="217" y="131"/>
                      <a:pt x="232" y="146"/>
                      <a:pt x="251" y="146"/>
                    </a:cubicBezTo>
                    <a:close/>
                    <a:moveTo>
                      <a:pt x="298" y="193"/>
                    </a:moveTo>
                    <a:cubicBezTo>
                      <a:pt x="298" y="167"/>
                      <a:pt x="277" y="146"/>
                      <a:pt x="251" y="146"/>
                    </a:cubicBezTo>
                    <a:cubicBezTo>
                      <a:pt x="225" y="146"/>
                      <a:pt x="203" y="167"/>
                      <a:pt x="203" y="193"/>
                    </a:cubicBezTo>
                    <a:moveTo>
                      <a:pt x="149" y="0"/>
                    </a:moveTo>
                    <a:cubicBezTo>
                      <a:pt x="149" y="80"/>
                      <a:pt x="149" y="80"/>
                      <a:pt x="149" y="80"/>
                    </a:cubicBezTo>
                    <a:moveTo>
                      <a:pt x="104" y="35"/>
                    </a:moveTo>
                    <a:cubicBezTo>
                      <a:pt x="149" y="80"/>
                      <a:pt x="149" y="80"/>
                      <a:pt x="149" y="80"/>
                    </a:cubicBezTo>
                    <a:cubicBezTo>
                      <a:pt x="194" y="35"/>
                      <a:pt x="194" y="35"/>
                      <a:pt x="194" y="35"/>
                    </a:cubicBezTo>
                  </a:path>
                </a:pathLst>
              </a:custGeom>
              <a:noFill/>
              <a:ln w="1905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79" name="Group 78">
              <a:extLst>
                <a:ext uri="{FF2B5EF4-FFF2-40B4-BE49-F238E27FC236}">
                  <a16:creationId xmlns:a16="http://schemas.microsoft.com/office/drawing/2014/main" id="{C1E5E948-A757-4611-BB72-21A3ED50A188}"/>
                </a:ext>
              </a:extLst>
            </p:cNvPr>
            <p:cNvGrpSpPr/>
            <p:nvPr/>
          </p:nvGrpSpPr>
          <p:grpSpPr>
            <a:xfrm>
              <a:off x="1049542" y="2634647"/>
              <a:ext cx="1413605" cy="314066"/>
              <a:chOff x="933040" y="2355696"/>
              <a:chExt cx="1413605" cy="314066"/>
            </a:xfrm>
          </p:grpSpPr>
          <p:pic>
            <p:nvPicPr>
              <p:cNvPr id="98" name="Picture 97">
                <a:extLst>
                  <a:ext uri="{FF2B5EF4-FFF2-40B4-BE49-F238E27FC236}">
                    <a16:creationId xmlns:a16="http://schemas.microsoft.com/office/drawing/2014/main" id="{737B695D-3F03-4EC5-824F-57D737FF3938}"/>
                  </a:ext>
                </a:extLst>
              </p:cNvPr>
              <p:cNvPicPr>
                <a:picLocks noChangeAspect="1"/>
              </p:cNvPicPr>
              <p:nvPr/>
            </p:nvPicPr>
            <p:blipFill>
              <a:blip r:embed="rId2">
                <a:biLevel thresh="50000"/>
                <a:extLst>
                  <a:ext uri="{BEBA8EAE-BF5A-486C-A8C5-ECC9F3942E4B}">
                    <a14:imgProps xmlns:a14="http://schemas.microsoft.com/office/drawing/2010/main">
                      <a14:imgLayer r:embed="rId3">
                        <a14:imgEffect>
                          <a14:brightnessContrast contrast="-20000"/>
                        </a14:imgEffect>
                      </a14:imgLayer>
                    </a14:imgProps>
                  </a:ext>
                </a:extLst>
              </a:blip>
              <a:stretch>
                <a:fillRect/>
              </a:stretch>
            </p:blipFill>
            <p:spPr>
              <a:xfrm>
                <a:off x="933040" y="2369317"/>
                <a:ext cx="182880" cy="300445"/>
              </a:xfrm>
              <a:prstGeom prst="rect">
                <a:avLst/>
              </a:prstGeom>
            </p:spPr>
          </p:pic>
          <p:sp>
            <p:nvSpPr>
              <p:cNvPr id="99" name="TextBox 98">
                <a:extLst>
                  <a:ext uri="{FF2B5EF4-FFF2-40B4-BE49-F238E27FC236}">
                    <a16:creationId xmlns:a16="http://schemas.microsoft.com/office/drawing/2014/main" id="{6F1BA1E3-B75A-4EF8-B4BD-92C8D50799CB}"/>
                  </a:ext>
                </a:extLst>
              </p:cNvPr>
              <p:cNvSpPr txBox="1"/>
              <p:nvPr/>
            </p:nvSpPr>
            <p:spPr>
              <a:xfrm>
                <a:off x="1066485" y="23556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Appliances</a:t>
                </a:r>
              </a:p>
            </p:txBody>
          </p:sp>
        </p:grpSp>
        <p:grpSp>
          <p:nvGrpSpPr>
            <p:cNvPr id="80" name="Group 79">
              <a:extLst>
                <a:ext uri="{FF2B5EF4-FFF2-40B4-BE49-F238E27FC236}">
                  <a16:creationId xmlns:a16="http://schemas.microsoft.com/office/drawing/2014/main" id="{590FAE79-9438-4E63-B549-E096F40047CE}"/>
                </a:ext>
              </a:extLst>
            </p:cNvPr>
            <p:cNvGrpSpPr/>
            <p:nvPr/>
          </p:nvGrpSpPr>
          <p:grpSpPr>
            <a:xfrm>
              <a:off x="1019096" y="3363181"/>
              <a:ext cx="1444051" cy="307777"/>
              <a:chOff x="902594" y="2991996"/>
              <a:chExt cx="1444051" cy="307777"/>
            </a:xfrm>
          </p:grpSpPr>
          <p:sp>
            <p:nvSpPr>
              <p:cNvPr id="96" name="SecurityCamera_EB35" title="Icon of a security camera">
                <a:extLst>
                  <a:ext uri="{FF2B5EF4-FFF2-40B4-BE49-F238E27FC236}">
                    <a16:creationId xmlns:a16="http://schemas.microsoft.com/office/drawing/2014/main" id="{3E1C0298-DFCE-48EB-895C-BAC2A939D36D}"/>
                  </a:ext>
                </a:extLst>
              </p:cNvPr>
              <p:cNvSpPr>
                <a:spLocks noChangeAspect="1" noEditPoints="1"/>
              </p:cNvSpPr>
              <p:nvPr/>
            </p:nvSpPr>
            <p:spPr bwMode="auto">
              <a:xfrm>
                <a:off x="902594" y="3017959"/>
                <a:ext cx="274320" cy="236828"/>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7" name="TextBox 96">
                <a:extLst>
                  <a:ext uri="{FF2B5EF4-FFF2-40B4-BE49-F238E27FC236}">
                    <a16:creationId xmlns:a16="http://schemas.microsoft.com/office/drawing/2014/main" id="{8DC277D0-46BF-426E-874C-A66FF0677827}"/>
                  </a:ext>
                </a:extLst>
              </p:cNvPr>
              <p:cNvSpPr txBox="1"/>
              <p:nvPr/>
            </p:nvSpPr>
            <p:spPr>
              <a:xfrm>
                <a:off x="1066485" y="29919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Security</a:t>
                </a:r>
              </a:p>
            </p:txBody>
          </p:sp>
        </p:grpSp>
        <p:grpSp>
          <p:nvGrpSpPr>
            <p:cNvPr id="81" name="Group 80">
              <a:extLst>
                <a:ext uri="{FF2B5EF4-FFF2-40B4-BE49-F238E27FC236}">
                  <a16:creationId xmlns:a16="http://schemas.microsoft.com/office/drawing/2014/main" id="{0433A863-F76F-4FD6-BE3B-F060FAF07DD1}"/>
                </a:ext>
              </a:extLst>
            </p:cNvPr>
            <p:cNvGrpSpPr/>
            <p:nvPr/>
          </p:nvGrpSpPr>
          <p:grpSpPr>
            <a:xfrm>
              <a:off x="1912553" y="3721159"/>
              <a:ext cx="1469410" cy="307777"/>
              <a:chOff x="877235" y="3308256"/>
              <a:chExt cx="1469410" cy="307777"/>
            </a:xfrm>
          </p:grpSpPr>
          <p:pic>
            <p:nvPicPr>
              <p:cNvPr id="94" name="Picture 2" descr="Image result for elevator icon PNG">
                <a:extLst>
                  <a:ext uri="{FF2B5EF4-FFF2-40B4-BE49-F238E27FC236}">
                    <a16:creationId xmlns:a16="http://schemas.microsoft.com/office/drawing/2014/main" id="{EFA64B3B-B664-46C6-A363-78FD3FB0F0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235" y="3329028"/>
                <a:ext cx="274320" cy="274320"/>
              </a:xfrm>
              <a:prstGeom prst="rect">
                <a:avLst/>
              </a:prstGeom>
              <a:noFill/>
              <a:extLst>
                <a:ext uri="{909E8E84-426E-40DD-AFC4-6F175D3DCCD1}">
                  <a14:hiddenFill xmlns:a14="http://schemas.microsoft.com/office/drawing/2010/main">
                    <a:solidFill>
                      <a:srgbClr val="FFFFFF"/>
                    </a:solidFill>
                  </a14:hiddenFill>
                </a:ext>
              </a:extLst>
            </p:spPr>
          </p:pic>
          <p:sp>
            <p:nvSpPr>
              <p:cNvPr id="95" name="TextBox 94">
                <a:extLst>
                  <a:ext uri="{FF2B5EF4-FFF2-40B4-BE49-F238E27FC236}">
                    <a16:creationId xmlns:a16="http://schemas.microsoft.com/office/drawing/2014/main" id="{E6A18C1B-43FA-41C8-8A8A-D7F8BD81EBCC}"/>
                  </a:ext>
                </a:extLst>
              </p:cNvPr>
              <p:cNvSpPr txBox="1"/>
              <p:nvPr/>
            </p:nvSpPr>
            <p:spPr>
              <a:xfrm>
                <a:off x="1066485" y="330825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Buildings</a:t>
                </a:r>
              </a:p>
            </p:txBody>
          </p:sp>
        </p:grpSp>
        <p:grpSp>
          <p:nvGrpSpPr>
            <p:cNvPr id="82" name="Group 81">
              <a:extLst>
                <a:ext uri="{FF2B5EF4-FFF2-40B4-BE49-F238E27FC236}">
                  <a16:creationId xmlns:a16="http://schemas.microsoft.com/office/drawing/2014/main" id="{AE4D8760-3BDB-44DE-B39C-0BB00DA431A1}"/>
                </a:ext>
              </a:extLst>
            </p:cNvPr>
            <p:cNvGrpSpPr/>
            <p:nvPr/>
          </p:nvGrpSpPr>
          <p:grpSpPr>
            <a:xfrm>
              <a:off x="998985" y="4810016"/>
              <a:ext cx="1384892" cy="307777"/>
              <a:chOff x="961753" y="5537196"/>
              <a:chExt cx="1384892" cy="307777"/>
            </a:xfrm>
          </p:grpSpPr>
          <p:sp>
            <p:nvSpPr>
              <p:cNvPr id="92" name="light" title="Icon of a lightbulb">
                <a:extLst>
                  <a:ext uri="{FF2B5EF4-FFF2-40B4-BE49-F238E27FC236}">
                    <a16:creationId xmlns:a16="http://schemas.microsoft.com/office/drawing/2014/main" id="{E21DDFCD-34AF-4A0C-9E74-C53B5CEFC566}"/>
                  </a:ext>
                </a:extLst>
              </p:cNvPr>
              <p:cNvSpPr>
                <a:spLocks noChangeAspect="1" noEditPoints="1"/>
              </p:cNvSpPr>
              <p:nvPr/>
            </p:nvSpPr>
            <p:spPr bwMode="auto">
              <a:xfrm>
                <a:off x="961753" y="5575200"/>
                <a:ext cx="169090" cy="25104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8FA0BEE1-CFEE-4958-B261-DEF1D8383E3B}"/>
                  </a:ext>
                </a:extLst>
              </p:cNvPr>
              <p:cNvSpPr txBox="1"/>
              <p:nvPr/>
            </p:nvSpPr>
            <p:spPr>
              <a:xfrm>
                <a:off x="1066485" y="55371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Lighting</a:t>
                </a:r>
              </a:p>
            </p:txBody>
          </p:sp>
        </p:grpSp>
        <p:grpSp>
          <p:nvGrpSpPr>
            <p:cNvPr id="83" name="Group 82">
              <a:extLst>
                <a:ext uri="{FF2B5EF4-FFF2-40B4-BE49-F238E27FC236}">
                  <a16:creationId xmlns:a16="http://schemas.microsoft.com/office/drawing/2014/main" id="{72F89A75-352B-4A2A-930E-B9E3A188C73A}"/>
                </a:ext>
              </a:extLst>
            </p:cNvPr>
            <p:cNvGrpSpPr/>
            <p:nvPr/>
          </p:nvGrpSpPr>
          <p:grpSpPr>
            <a:xfrm>
              <a:off x="1907493" y="4437115"/>
              <a:ext cx="1431610" cy="322700"/>
              <a:chOff x="915035" y="4885973"/>
              <a:chExt cx="1431610" cy="322700"/>
            </a:xfrm>
          </p:grpSpPr>
          <p:sp>
            <p:nvSpPr>
              <p:cNvPr id="90" name="TextBox 89">
                <a:extLst>
                  <a:ext uri="{FF2B5EF4-FFF2-40B4-BE49-F238E27FC236}">
                    <a16:creationId xmlns:a16="http://schemas.microsoft.com/office/drawing/2014/main" id="{D706DE23-8B59-40C4-9949-6782A7A42C1F}"/>
                  </a:ext>
                </a:extLst>
              </p:cNvPr>
              <p:cNvSpPr txBox="1"/>
              <p:nvPr/>
            </p:nvSpPr>
            <p:spPr>
              <a:xfrm>
                <a:off x="1066485" y="4900896"/>
                <a:ext cx="1280160" cy="307777"/>
              </a:xfrm>
              <a:prstGeom prst="rect">
                <a:avLst/>
              </a:prstGeom>
              <a:noFill/>
            </p:spPr>
            <p:txBody>
              <a:bodyPr wrap="square">
                <a:spAutoFit/>
              </a:bodyPr>
              <a:lstStyle>
                <a:defPPr>
                  <a:defRPr lang="en-US"/>
                </a:defPPr>
                <a:lvl1pPr marL="111125" marR="0" lvl="0" indent="0" defTabSz="914400" fontAlgn="auto">
                  <a:lnSpc>
                    <a:spcPct val="100000"/>
                  </a:lnSpc>
                  <a:spcBef>
                    <a:spcPts val="0"/>
                  </a:spcBef>
                  <a:spcAft>
                    <a:spcPts val="0"/>
                  </a:spcAft>
                  <a:buClrTx/>
                  <a:buSzTx/>
                  <a:buFontTx/>
                  <a:buNone/>
                  <a:tabLst/>
                  <a:defRPr kumimoji="0" sz="1400" b="0" i="0" u="none" strike="noStrike" cap="none" spc="0" normalizeH="0" baseline="0">
                    <a:ln>
                      <a:noFill/>
                    </a:ln>
                    <a:solidFill>
                      <a:srgbClr val="3C3C41"/>
                    </a:solidFill>
                    <a:effectLst/>
                    <a:uLnTx/>
                    <a:uFillTx/>
                    <a:latin typeface="Segoe UI Semibold" panose="020B0702040204020203" pitchFamily="34" charset="0"/>
                    <a:cs typeface="Segoe UI Semibold" panose="020B0702040204020203" pitchFamily="34" charset="0"/>
                  </a:defRPr>
                </a:lvl1p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Industrial</a:t>
                </a:r>
              </a:p>
            </p:txBody>
          </p:sp>
          <p:pic>
            <p:nvPicPr>
              <p:cNvPr id="91" name="Graphic 90" descr="Factory outline">
                <a:extLst>
                  <a:ext uri="{FF2B5EF4-FFF2-40B4-BE49-F238E27FC236}">
                    <a16:creationId xmlns:a16="http://schemas.microsoft.com/office/drawing/2014/main" id="{3136356E-BD6D-4146-8CA8-C65D2C9950C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5035" y="4885973"/>
                <a:ext cx="274320" cy="274320"/>
              </a:xfrm>
              <a:prstGeom prst="rect">
                <a:avLst/>
              </a:prstGeom>
            </p:spPr>
          </p:pic>
        </p:grpSp>
        <p:grpSp>
          <p:nvGrpSpPr>
            <p:cNvPr id="84" name="Group 83">
              <a:extLst>
                <a:ext uri="{FF2B5EF4-FFF2-40B4-BE49-F238E27FC236}">
                  <a16:creationId xmlns:a16="http://schemas.microsoft.com/office/drawing/2014/main" id="{0FD06247-D670-4F9F-B6BF-45B0E1349370}"/>
                </a:ext>
              </a:extLst>
            </p:cNvPr>
            <p:cNvGrpSpPr/>
            <p:nvPr/>
          </p:nvGrpSpPr>
          <p:grpSpPr>
            <a:xfrm>
              <a:off x="1923273" y="5167998"/>
              <a:ext cx="1472434" cy="334902"/>
              <a:chOff x="2030619" y="4390181"/>
              <a:chExt cx="1472434" cy="334902"/>
            </a:xfrm>
          </p:grpSpPr>
          <p:sp>
            <p:nvSpPr>
              <p:cNvPr id="88" name="TextBox 87">
                <a:extLst>
                  <a:ext uri="{FF2B5EF4-FFF2-40B4-BE49-F238E27FC236}">
                    <a16:creationId xmlns:a16="http://schemas.microsoft.com/office/drawing/2014/main" id="{194AA904-ADCA-4BD8-8724-FCC52B570479}"/>
                  </a:ext>
                </a:extLst>
              </p:cNvPr>
              <p:cNvSpPr txBox="1"/>
              <p:nvPr/>
            </p:nvSpPr>
            <p:spPr>
              <a:xfrm>
                <a:off x="2222893" y="4412195"/>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Safety</a:t>
                </a:r>
              </a:p>
            </p:txBody>
          </p:sp>
          <p:pic>
            <p:nvPicPr>
              <p:cNvPr id="89" name="Graphic 88" descr="Life jacket outline">
                <a:extLst>
                  <a:ext uri="{FF2B5EF4-FFF2-40B4-BE49-F238E27FC236}">
                    <a16:creationId xmlns:a16="http://schemas.microsoft.com/office/drawing/2014/main" id="{3E4EE611-6F54-4B0B-8B2C-8FFBEEF8B09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30619" y="4390181"/>
                <a:ext cx="334902" cy="334902"/>
              </a:xfrm>
              <a:prstGeom prst="rect">
                <a:avLst/>
              </a:prstGeom>
            </p:spPr>
          </p:pic>
        </p:grpSp>
        <p:grpSp>
          <p:nvGrpSpPr>
            <p:cNvPr id="85" name="Group 84">
              <a:extLst>
                <a:ext uri="{FF2B5EF4-FFF2-40B4-BE49-F238E27FC236}">
                  <a16:creationId xmlns:a16="http://schemas.microsoft.com/office/drawing/2014/main" id="{9CA82942-5207-41C1-806F-B2F792786543}"/>
                </a:ext>
              </a:extLst>
            </p:cNvPr>
            <p:cNvGrpSpPr/>
            <p:nvPr/>
          </p:nvGrpSpPr>
          <p:grpSpPr>
            <a:xfrm>
              <a:off x="1020250" y="4079137"/>
              <a:ext cx="1419332" cy="307777"/>
              <a:chOff x="927313" y="3944556"/>
              <a:chExt cx="1419332" cy="307777"/>
            </a:xfrm>
          </p:grpSpPr>
          <p:sp>
            <p:nvSpPr>
              <p:cNvPr id="86" name="TextBox 85">
                <a:extLst>
                  <a:ext uri="{FF2B5EF4-FFF2-40B4-BE49-F238E27FC236}">
                    <a16:creationId xmlns:a16="http://schemas.microsoft.com/office/drawing/2014/main" id="{A16B13E0-7C19-490D-B97B-BE21FD18FF36}"/>
                  </a:ext>
                </a:extLst>
              </p:cNvPr>
              <p:cNvSpPr txBox="1"/>
              <p:nvPr/>
            </p:nvSpPr>
            <p:spPr>
              <a:xfrm>
                <a:off x="1066485" y="394455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Energy</a:t>
                </a:r>
              </a:p>
            </p:txBody>
          </p:sp>
          <p:pic>
            <p:nvPicPr>
              <p:cNvPr id="87" name="Graphic 86" descr="Battery charging with solid fill">
                <a:extLst>
                  <a:ext uri="{FF2B5EF4-FFF2-40B4-BE49-F238E27FC236}">
                    <a16:creationId xmlns:a16="http://schemas.microsoft.com/office/drawing/2014/main" id="{61C07924-F629-48BF-8A92-9FF2623EC2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7313" y="3973858"/>
                <a:ext cx="274321" cy="274321"/>
              </a:xfrm>
              <a:prstGeom prst="rect">
                <a:avLst/>
              </a:prstGeom>
            </p:spPr>
          </p:pic>
        </p:grpSp>
      </p:grpSp>
      <p:grpSp>
        <p:nvGrpSpPr>
          <p:cNvPr id="8" name="Group 7">
            <a:extLst>
              <a:ext uri="{FF2B5EF4-FFF2-40B4-BE49-F238E27FC236}">
                <a16:creationId xmlns:a16="http://schemas.microsoft.com/office/drawing/2014/main" id="{B1657B73-ECE3-4681-805D-91D87177AE18}"/>
              </a:ext>
            </a:extLst>
          </p:cNvPr>
          <p:cNvGrpSpPr/>
          <p:nvPr/>
        </p:nvGrpSpPr>
        <p:grpSpPr>
          <a:xfrm>
            <a:off x="9360190" y="1838703"/>
            <a:ext cx="2560320" cy="3968028"/>
            <a:chOff x="9360190" y="1838703"/>
            <a:chExt cx="2560320" cy="3968028"/>
          </a:xfrm>
        </p:grpSpPr>
        <p:sp>
          <p:nvSpPr>
            <p:cNvPr id="105" name="Rectangle 104">
              <a:extLst>
                <a:ext uri="{FF2B5EF4-FFF2-40B4-BE49-F238E27FC236}">
                  <a16:creationId xmlns:a16="http://schemas.microsoft.com/office/drawing/2014/main" id="{469AC385-B836-4A1F-9F0E-339A681D0AC9}"/>
                </a:ext>
              </a:extLst>
            </p:cNvPr>
            <p:cNvSpPr/>
            <p:nvPr/>
          </p:nvSpPr>
          <p:spPr>
            <a:xfrm>
              <a:off x="9360190" y="1838703"/>
              <a:ext cx="2560320" cy="3968028"/>
            </a:xfrm>
            <a:prstGeom prst="rect">
              <a:avLst/>
            </a:prstGeom>
            <a:solidFill>
              <a:srgbClr val="E2F0D9"/>
            </a:solidFill>
            <a:ln w="57150" cap="flat" cmpd="sng" algn="ctr">
              <a:solidFill>
                <a:srgbClr val="3C3C41">
                  <a:lumMod val="85000"/>
                  <a:lumOff val="15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Using IoT Data</a:t>
              </a:r>
            </a:p>
          </p:txBody>
        </p:sp>
        <p:pic>
          <p:nvPicPr>
            <p:cNvPr id="7" name="Graphic 6" descr="Pot of gold outline">
              <a:extLst>
                <a:ext uri="{FF2B5EF4-FFF2-40B4-BE49-F238E27FC236}">
                  <a16:creationId xmlns:a16="http://schemas.microsoft.com/office/drawing/2014/main" id="{1ACD4BA2-0ED9-4F36-9202-45604763322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105063" y="3004728"/>
              <a:ext cx="1059169" cy="1059169"/>
            </a:xfrm>
            <a:prstGeom prst="rect">
              <a:avLst/>
            </a:prstGeom>
          </p:spPr>
        </p:pic>
      </p:grpSp>
    </p:spTree>
    <p:extLst>
      <p:ext uri="{BB962C8B-B14F-4D97-AF65-F5344CB8AC3E}">
        <p14:creationId xmlns:p14="http://schemas.microsoft.com/office/powerpoint/2010/main" val="31973857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F37512A1-4959-4E17-B783-A8139616A19F}"/>
              </a:ext>
            </a:extLst>
          </p:cNvPr>
          <p:cNvSpPr/>
          <p:nvPr/>
        </p:nvSpPr>
        <p:spPr bwMode="auto">
          <a:xfrm>
            <a:off x="3209141" y="1613248"/>
            <a:ext cx="5773719" cy="4520851"/>
          </a:xfrm>
          <a:prstGeom prst="rect">
            <a:avLst/>
          </a:prstGeom>
          <a:solidFill>
            <a:schemeClr val="tx1"/>
          </a:solidFill>
          <a:ln w="57150" cap="flat" cmpd="sng" algn="ctr">
            <a:solidFill>
              <a:srgbClr val="32BED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097A847A-98FB-4C8F-885B-E58CF0C94BC2}"/>
              </a:ext>
            </a:extLst>
          </p:cNvPr>
          <p:cNvSpPr>
            <a:spLocks noGrp="1"/>
          </p:cNvSpPr>
          <p:nvPr>
            <p:ph type="title"/>
          </p:nvPr>
        </p:nvSpPr>
        <p:spPr/>
        <p:txBody>
          <a:bodyPr/>
          <a:lstStyle/>
          <a:p>
            <a:r>
              <a:rPr lang="en-US"/>
              <a:t>Complexity Emerges Quickly</a:t>
            </a:r>
          </a:p>
        </p:txBody>
      </p:sp>
      <p:sp>
        <p:nvSpPr>
          <p:cNvPr id="4" name="Oval 3">
            <a:extLst>
              <a:ext uri="{FF2B5EF4-FFF2-40B4-BE49-F238E27FC236}">
                <a16:creationId xmlns:a16="http://schemas.microsoft.com/office/drawing/2014/main" id="{35122B68-B662-4771-9CA4-79CCEFFD7500}"/>
              </a:ext>
            </a:extLst>
          </p:cNvPr>
          <p:cNvSpPr/>
          <p:nvPr/>
        </p:nvSpPr>
        <p:spPr bwMode="auto">
          <a:xfrm>
            <a:off x="3556256" y="1408310"/>
            <a:ext cx="5848094" cy="4918389"/>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8" name="Graphic 17">
            <a:extLst>
              <a:ext uri="{FF2B5EF4-FFF2-40B4-BE49-F238E27FC236}">
                <a16:creationId xmlns:a16="http://schemas.microsoft.com/office/drawing/2014/main" id="{379A72FA-5604-4617-A1F0-5F4A1991E7A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18123" y="2031970"/>
            <a:ext cx="329231" cy="329231"/>
          </a:xfrm>
          <a:prstGeom prst="rect">
            <a:avLst/>
          </a:prstGeom>
        </p:spPr>
      </p:pic>
      <p:sp>
        <p:nvSpPr>
          <p:cNvPr id="41" name="TextBox 40">
            <a:extLst>
              <a:ext uri="{FF2B5EF4-FFF2-40B4-BE49-F238E27FC236}">
                <a16:creationId xmlns:a16="http://schemas.microsoft.com/office/drawing/2014/main" id="{C4D11BF6-7355-4D4B-8E6F-54603099E9F5}"/>
              </a:ext>
            </a:extLst>
          </p:cNvPr>
          <p:cNvSpPr txBox="1"/>
          <p:nvPr/>
        </p:nvSpPr>
        <p:spPr>
          <a:xfrm>
            <a:off x="3582550" y="2267066"/>
            <a:ext cx="5218549" cy="2954655"/>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w do I ensure this </a:t>
            </a:r>
            <a:r>
              <a:rPr kumimoji="0" lang="en-US" sz="1600" b="1" i="0" u="none" strike="noStrike" kern="1200" cap="none" spc="0" normalizeH="0" baseline="0" noProof="0">
                <a:ln>
                  <a:noFill/>
                </a:ln>
                <a:solidFill>
                  <a:srgbClr val="000000"/>
                </a:solidFill>
                <a:effectLst/>
                <a:uLnTx/>
                <a:uFillTx/>
                <a:latin typeface="Segoe UI"/>
                <a:ea typeface="+mn-ea"/>
                <a:cs typeface="+mn-cs"/>
              </a:rPr>
              <a:t>scales</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hat about </a:t>
            </a:r>
            <a:r>
              <a:rPr kumimoji="0" lang="en-US" sz="1600" b="1" i="0" u="none" strike="noStrike" kern="1200" cap="none" spc="0" normalizeH="0" baseline="0" noProof="0">
                <a:ln>
                  <a:noFill/>
                </a:ln>
                <a:solidFill>
                  <a:srgbClr val="000000"/>
                </a:solidFill>
                <a:effectLst/>
                <a:uLnTx/>
                <a:uFillTx/>
                <a:latin typeface="Segoe UI"/>
                <a:ea typeface="+mn-ea"/>
                <a:cs typeface="+mn-cs"/>
              </a:rPr>
              <a:t>HA/DR</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w do I </a:t>
            </a:r>
            <a:r>
              <a:rPr kumimoji="0" lang="en-US" sz="1600" b="1" i="0" u="none" strike="noStrike" kern="1200" cap="none" spc="0" normalizeH="0" baseline="0" noProof="0">
                <a:ln>
                  <a:noFill/>
                </a:ln>
                <a:solidFill>
                  <a:srgbClr val="000000"/>
                </a:solidFill>
                <a:effectLst/>
                <a:uLnTx/>
                <a:uFillTx/>
                <a:latin typeface="Segoe UI"/>
                <a:ea typeface="+mn-ea"/>
                <a:cs typeface="+mn-cs"/>
              </a:rPr>
              <a:t>model</a:t>
            </a:r>
            <a:r>
              <a:rPr kumimoji="0" lang="en-US" sz="1600" b="0" i="0" u="none" strike="noStrike" kern="1200" cap="none" spc="0" normalizeH="0" baseline="0" noProof="0">
                <a:ln>
                  <a:noFill/>
                </a:ln>
                <a:solidFill>
                  <a:srgbClr val="000000"/>
                </a:solidFill>
                <a:effectLst/>
                <a:uLnTx/>
                <a:uFillTx/>
                <a:latin typeface="Segoe UI"/>
                <a:ea typeface="+mn-ea"/>
                <a:cs typeface="+mn-cs"/>
              </a:rPr>
              <a:t> my IoT data?</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here do I </a:t>
            </a:r>
            <a:r>
              <a:rPr kumimoji="0" lang="en-US" sz="1600" b="1" i="0" u="none" strike="noStrike" kern="1200" cap="none" spc="0" normalizeH="0" baseline="0" noProof="0">
                <a:ln>
                  <a:noFill/>
                </a:ln>
                <a:solidFill>
                  <a:srgbClr val="000000"/>
                </a:solidFill>
                <a:effectLst/>
                <a:uLnTx/>
                <a:uFillTx/>
                <a:latin typeface="Segoe UI"/>
                <a:ea typeface="+mn-ea"/>
                <a:cs typeface="+mn-cs"/>
              </a:rPr>
              <a:t>manage</a:t>
            </a:r>
            <a:r>
              <a:rPr kumimoji="0" lang="en-US" sz="1600" b="0" i="0" u="none" strike="noStrike" kern="1200" cap="none" spc="0" normalizeH="0" baseline="0" noProof="0">
                <a:ln>
                  <a:noFill/>
                </a:ln>
                <a:solidFill>
                  <a:srgbClr val="000000"/>
                </a:solidFill>
                <a:effectLst/>
                <a:uLnTx/>
                <a:uFillTx/>
                <a:latin typeface="Segoe UI"/>
                <a:ea typeface="+mn-ea"/>
                <a:cs typeface="+mn-cs"/>
              </a:rPr>
              <a:t> </a:t>
            </a:r>
            <a:r>
              <a:rPr kumimoji="0" lang="en-US" sz="1600" b="1" i="0" u="none" strike="noStrike" kern="1200" cap="none" spc="0" normalizeH="0" baseline="0" noProof="0">
                <a:ln>
                  <a:noFill/>
                </a:ln>
                <a:solidFill>
                  <a:srgbClr val="000000"/>
                </a:solidFill>
                <a:effectLst/>
                <a:uLnTx/>
                <a:uFillTx/>
                <a:latin typeface="Segoe UI"/>
                <a:ea typeface="+mn-ea"/>
                <a:cs typeface="+mn-cs"/>
              </a:rPr>
              <a:t>devices</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w can I manage </a:t>
            </a:r>
            <a:r>
              <a:rPr kumimoji="0" lang="en-US" sz="1600" b="1" i="0" u="none" strike="noStrike" kern="1200" cap="none" spc="0" normalizeH="0" baseline="0" noProof="0">
                <a:ln>
                  <a:noFill/>
                </a:ln>
                <a:solidFill>
                  <a:srgbClr val="000000"/>
                </a:solidFill>
                <a:effectLst/>
                <a:uLnTx/>
                <a:uFillTx/>
                <a:latin typeface="Segoe UI"/>
                <a:ea typeface="+mn-ea"/>
                <a:cs typeface="+mn-cs"/>
              </a:rPr>
              <a:t>user access</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hat about hot, warm, and cold </a:t>
            </a:r>
            <a:r>
              <a:rPr kumimoji="0" lang="en-US" sz="1600" b="1" i="0" u="none" strike="noStrike" kern="1200" cap="none" spc="0" normalizeH="0" baseline="0" noProof="0">
                <a:ln>
                  <a:noFill/>
                </a:ln>
                <a:solidFill>
                  <a:srgbClr val="000000"/>
                </a:solidFill>
                <a:effectLst/>
                <a:uLnTx/>
                <a:uFillTx/>
                <a:latin typeface="Segoe UI"/>
                <a:ea typeface="+mn-ea"/>
                <a:cs typeface="+mn-cs"/>
              </a:rPr>
              <a:t>storag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w do I know if my fleet is </a:t>
            </a:r>
            <a:r>
              <a:rPr kumimoji="0" lang="en-US" sz="1600" b="1" i="0" u="none" strike="noStrike" kern="1200" cap="none" spc="0" normalizeH="0" baseline="0" noProof="0">
                <a:ln>
                  <a:noFill/>
                </a:ln>
                <a:solidFill>
                  <a:srgbClr val="000000"/>
                </a:solidFill>
                <a:effectLst/>
                <a:uLnTx/>
                <a:uFillTx/>
                <a:latin typeface="Segoe UI"/>
                <a:ea typeface="+mn-ea"/>
                <a:cs typeface="+mn-cs"/>
              </a:rPr>
              <a:t>connected</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w can I get support for </a:t>
            </a:r>
            <a:r>
              <a:rPr kumimoji="0" lang="en-US" sz="1600" b="1" i="0" u="none" strike="noStrike" kern="1200" cap="none" spc="0" normalizeH="0" baseline="0" noProof="0">
                <a:ln>
                  <a:noFill/>
                </a:ln>
                <a:solidFill>
                  <a:srgbClr val="000000"/>
                </a:solidFill>
                <a:effectLst/>
                <a:uLnTx/>
                <a:uFillTx/>
                <a:latin typeface="Segoe UI"/>
                <a:ea typeface="+mn-ea"/>
                <a:cs typeface="+mn-cs"/>
              </a:rPr>
              <a:t>multi-tenancy</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w can I run </a:t>
            </a:r>
            <a:r>
              <a:rPr kumimoji="0" lang="en-US" sz="1600" b="1" i="0" u="none" strike="noStrike" kern="1200" cap="none" spc="0" normalizeH="0" baseline="0" noProof="0">
                <a:ln>
                  <a:noFill/>
                </a:ln>
                <a:solidFill>
                  <a:srgbClr val="000000"/>
                </a:solidFill>
                <a:effectLst/>
                <a:uLnTx/>
                <a:uFillTx/>
                <a:latin typeface="Segoe UI"/>
                <a:ea typeface="+mn-ea"/>
                <a:cs typeface="+mn-cs"/>
              </a:rPr>
              <a:t>commands</a:t>
            </a:r>
            <a:r>
              <a:rPr kumimoji="0" lang="en-US" sz="1600" b="0" i="0" u="none" strike="noStrike" kern="1200" cap="none" spc="0" normalizeH="0" baseline="0" noProof="0">
                <a:ln>
                  <a:noFill/>
                </a:ln>
                <a:solidFill>
                  <a:srgbClr val="000000"/>
                </a:solidFill>
                <a:effectLst/>
                <a:uLnTx/>
                <a:uFillTx/>
                <a:latin typeface="Segoe UI"/>
                <a:ea typeface="+mn-ea"/>
                <a:cs typeface="+mn-cs"/>
              </a:rPr>
              <a:t> against my devic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hat about APIs to </a:t>
            </a:r>
            <a:r>
              <a:rPr kumimoji="0" lang="en-US" sz="1600" b="1" i="0" u="none" strike="noStrike" kern="1200" cap="none" spc="0" normalizeH="0" baseline="0" noProof="0">
                <a:ln>
                  <a:noFill/>
                </a:ln>
                <a:solidFill>
                  <a:srgbClr val="000000"/>
                </a:solidFill>
                <a:effectLst/>
                <a:uLnTx/>
                <a:uFillTx/>
                <a:latin typeface="Segoe UI"/>
                <a:ea typeface="+mn-ea"/>
                <a:cs typeface="+mn-cs"/>
              </a:rPr>
              <a:t>access my data </a:t>
            </a:r>
            <a:r>
              <a:rPr kumimoji="0" lang="en-US" sz="1600" b="0" i="0" u="none" strike="noStrike" kern="1200" cap="none" spc="0" normalizeH="0" baseline="0" noProof="0">
                <a:ln>
                  <a:noFill/>
                </a:ln>
                <a:solidFill>
                  <a:srgbClr val="000000"/>
                </a:solidFill>
                <a:effectLst/>
                <a:uLnTx/>
                <a:uFillTx/>
                <a:latin typeface="Segoe UI"/>
                <a:ea typeface="+mn-ea"/>
                <a:cs typeface="+mn-cs"/>
              </a:rPr>
              <a:t>from other app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w can I </a:t>
            </a:r>
            <a:r>
              <a:rPr kumimoji="0" lang="en-US" sz="1600" b="1" i="0" u="none" strike="noStrike" kern="1200" cap="none" spc="0" normalizeH="0" baseline="0" noProof="0">
                <a:ln>
                  <a:noFill/>
                </a:ln>
                <a:solidFill>
                  <a:srgbClr val="000000"/>
                </a:solidFill>
                <a:effectLst/>
                <a:uLnTx/>
                <a:uFillTx/>
                <a:latin typeface="Segoe UI"/>
                <a:ea typeface="+mn-ea"/>
                <a:cs typeface="+mn-cs"/>
              </a:rPr>
              <a:t>transform data </a:t>
            </a:r>
            <a:r>
              <a:rPr kumimoji="0" lang="en-US" sz="1600" b="0" i="0" u="none" strike="noStrike" kern="1200" cap="none" spc="0" normalizeH="0" baseline="0" noProof="0">
                <a:ln>
                  <a:noFill/>
                </a:ln>
                <a:solidFill>
                  <a:srgbClr val="000000"/>
                </a:solidFill>
                <a:effectLst/>
                <a:uLnTx/>
                <a:uFillTx/>
                <a:latin typeface="Segoe UI"/>
                <a:ea typeface="+mn-ea"/>
                <a:cs typeface="+mn-cs"/>
              </a:rPr>
              <a:t>on ingress and egres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a:t>
            </a:r>
          </a:p>
        </p:txBody>
      </p:sp>
      <p:grpSp>
        <p:nvGrpSpPr>
          <p:cNvPr id="93" name="Group 92">
            <a:extLst>
              <a:ext uri="{FF2B5EF4-FFF2-40B4-BE49-F238E27FC236}">
                <a16:creationId xmlns:a16="http://schemas.microsoft.com/office/drawing/2014/main" id="{47326AA0-1D06-4554-836D-18B7D48A2467}"/>
              </a:ext>
            </a:extLst>
          </p:cNvPr>
          <p:cNvGrpSpPr/>
          <p:nvPr/>
        </p:nvGrpSpPr>
        <p:grpSpPr>
          <a:xfrm>
            <a:off x="321757" y="1838703"/>
            <a:ext cx="2560320" cy="3968028"/>
            <a:chOff x="734899" y="1899663"/>
            <a:chExt cx="2668689" cy="3968028"/>
          </a:xfrm>
        </p:grpSpPr>
        <p:sp>
          <p:nvSpPr>
            <p:cNvPr id="94" name="Rectangle 93">
              <a:extLst>
                <a:ext uri="{FF2B5EF4-FFF2-40B4-BE49-F238E27FC236}">
                  <a16:creationId xmlns:a16="http://schemas.microsoft.com/office/drawing/2014/main" id="{323501EC-1B72-4623-BDE4-497C350EB03F}"/>
                </a:ext>
              </a:extLst>
            </p:cNvPr>
            <p:cNvSpPr/>
            <p:nvPr/>
          </p:nvSpPr>
          <p:spPr>
            <a:xfrm>
              <a:off x="734899" y="1899663"/>
              <a:ext cx="2668689" cy="3968028"/>
            </a:xfrm>
            <a:prstGeom prst="rect">
              <a:avLst/>
            </a:prstGeom>
            <a:solidFill>
              <a:schemeClr val="tx1">
                <a:lumMod val="95000"/>
              </a:schemeClr>
            </a:solidFill>
            <a:ln w="57150" cap="flat" cmpd="sng" algn="ctr">
              <a:solidFill>
                <a:srgbClr val="3C3C41">
                  <a:lumMod val="85000"/>
                  <a:lumOff val="15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p:txBody>
        </p:sp>
        <p:grpSp>
          <p:nvGrpSpPr>
            <p:cNvPr id="95" name="Group 94">
              <a:extLst>
                <a:ext uri="{FF2B5EF4-FFF2-40B4-BE49-F238E27FC236}">
                  <a16:creationId xmlns:a16="http://schemas.microsoft.com/office/drawing/2014/main" id="{0702016A-B88F-45B8-A424-84730EF24AE0}"/>
                </a:ext>
              </a:extLst>
            </p:cNvPr>
            <p:cNvGrpSpPr/>
            <p:nvPr/>
          </p:nvGrpSpPr>
          <p:grpSpPr>
            <a:xfrm>
              <a:off x="1951590" y="2257686"/>
              <a:ext cx="1377327" cy="326760"/>
              <a:chOff x="969318" y="1083096"/>
              <a:chExt cx="1377327" cy="326760"/>
            </a:xfrm>
          </p:grpSpPr>
          <p:sp>
            <p:nvSpPr>
              <p:cNvPr id="120" name="TextBox 119">
                <a:extLst>
                  <a:ext uri="{FF2B5EF4-FFF2-40B4-BE49-F238E27FC236}">
                    <a16:creationId xmlns:a16="http://schemas.microsoft.com/office/drawing/2014/main" id="{11676340-3D69-4CE3-A8AA-EC5975C224A7}"/>
                  </a:ext>
                </a:extLst>
              </p:cNvPr>
              <p:cNvSpPr txBox="1"/>
              <p:nvPr/>
            </p:nvSpPr>
            <p:spPr>
              <a:xfrm>
                <a:off x="1066485" y="1083096"/>
                <a:ext cx="1280160" cy="307777"/>
              </a:xfrm>
              <a:prstGeom prst="rect">
                <a:avLst/>
              </a:prstGeom>
              <a:noFill/>
            </p:spPr>
            <p:txBody>
              <a:bodyPr wrap="square">
                <a:spAutoFit/>
              </a:bodyPr>
              <a:lstStyle>
                <a:defPPr>
                  <a:defRPr lang="en-US"/>
                </a:defPPr>
                <a:lvl1pPr marL="111125"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rgbClr val="0072C6"/>
                    </a:solidFill>
                    <a:effectLst/>
                    <a:uLnTx/>
                    <a:uFillTx/>
                    <a:latin typeface="Segoe UI Semibold" panose="020B0702040204020203" pitchFamily="34" charset="0"/>
                    <a:cs typeface="Segoe UI Semibold" panose="020B0702040204020203" pitchFamily="34" charset="0"/>
                  </a:defRPr>
                </a:lvl1p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Agriculture</a:t>
                </a:r>
              </a:p>
            </p:txBody>
          </p:sp>
          <p:sp>
            <p:nvSpPr>
              <p:cNvPr id="121" name="Leaf" title="Icon of a leaf">
                <a:extLst>
                  <a:ext uri="{FF2B5EF4-FFF2-40B4-BE49-F238E27FC236}">
                    <a16:creationId xmlns:a16="http://schemas.microsoft.com/office/drawing/2014/main" id="{19771718-5217-47B9-86F1-0A4A0253B157}"/>
                  </a:ext>
                </a:extLst>
              </p:cNvPr>
              <p:cNvSpPr>
                <a:spLocks noChangeAspect="1" noEditPoints="1"/>
              </p:cNvSpPr>
              <p:nvPr/>
            </p:nvSpPr>
            <p:spPr bwMode="auto">
              <a:xfrm>
                <a:off x="969318" y="1134504"/>
                <a:ext cx="182880" cy="275352"/>
              </a:xfrm>
              <a:custGeom>
                <a:avLst/>
                <a:gdLst>
                  <a:gd name="T0" fmla="*/ 497 w 2487"/>
                  <a:gd name="T1" fmla="*/ 2737 h 3743"/>
                  <a:gd name="T2" fmla="*/ 249 w 2487"/>
                  <a:gd name="T3" fmla="*/ 1990 h 3743"/>
                  <a:gd name="T4" fmla="*/ 995 w 2487"/>
                  <a:gd name="T5" fmla="*/ 995 h 3743"/>
                  <a:gd name="T6" fmla="*/ 1741 w 2487"/>
                  <a:gd name="T7" fmla="*/ 0 h 3743"/>
                  <a:gd name="T8" fmla="*/ 2487 w 2487"/>
                  <a:gd name="T9" fmla="*/ 1617 h 3743"/>
                  <a:gd name="T10" fmla="*/ 871 w 2487"/>
                  <a:gd name="T11" fmla="*/ 3234 h 3743"/>
                  <a:gd name="T12" fmla="*/ 746 w 2487"/>
                  <a:gd name="T13" fmla="*/ 3234 h 3743"/>
                  <a:gd name="T14" fmla="*/ 0 w 2487"/>
                  <a:gd name="T15" fmla="*/ 3743 h 3743"/>
                  <a:gd name="T16" fmla="*/ 357 w 2487"/>
                  <a:gd name="T17" fmla="*/ 3527 h 3743"/>
                  <a:gd name="T18" fmla="*/ 997 w 2487"/>
                  <a:gd name="T19" fmla="*/ 2999 h 3743"/>
                  <a:gd name="T20" fmla="*/ 1525 w 2487"/>
                  <a:gd name="T21" fmla="*/ 2358 h 3743"/>
                  <a:gd name="T22" fmla="*/ 1741 w 2487"/>
                  <a:gd name="T23" fmla="*/ 2002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7" h="3743">
                    <a:moveTo>
                      <a:pt x="497" y="2737"/>
                    </a:moveTo>
                    <a:cubicBezTo>
                      <a:pt x="344" y="2546"/>
                      <a:pt x="249" y="2282"/>
                      <a:pt x="249" y="1990"/>
                    </a:cubicBezTo>
                    <a:cubicBezTo>
                      <a:pt x="249" y="1602"/>
                      <a:pt x="534" y="1250"/>
                      <a:pt x="995" y="995"/>
                    </a:cubicBezTo>
                    <a:cubicBezTo>
                      <a:pt x="1456" y="741"/>
                      <a:pt x="1741" y="389"/>
                      <a:pt x="1741" y="0"/>
                    </a:cubicBezTo>
                    <a:cubicBezTo>
                      <a:pt x="2202" y="414"/>
                      <a:pt x="2487" y="985"/>
                      <a:pt x="2487" y="1617"/>
                    </a:cubicBezTo>
                    <a:cubicBezTo>
                      <a:pt x="2487" y="2511"/>
                      <a:pt x="1764" y="3234"/>
                      <a:pt x="871" y="3234"/>
                    </a:cubicBezTo>
                    <a:cubicBezTo>
                      <a:pt x="746" y="3234"/>
                      <a:pt x="746" y="3234"/>
                      <a:pt x="746" y="3234"/>
                    </a:cubicBezTo>
                    <a:moveTo>
                      <a:pt x="0" y="3743"/>
                    </a:moveTo>
                    <a:cubicBezTo>
                      <a:pt x="122" y="3677"/>
                      <a:pt x="241" y="3604"/>
                      <a:pt x="357" y="3527"/>
                    </a:cubicBezTo>
                    <a:cubicBezTo>
                      <a:pt x="587" y="3371"/>
                      <a:pt x="801" y="3194"/>
                      <a:pt x="997" y="2999"/>
                    </a:cubicBezTo>
                    <a:cubicBezTo>
                      <a:pt x="1192" y="2803"/>
                      <a:pt x="1369" y="2589"/>
                      <a:pt x="1525" y="2358"/>
                    </a:cubicBezTo>
                    <a:cubicBezTo>
                      <a:pt x="1602" y="2243"/>
                      <a:pt x="1675" y="2124"/>
                      <a:pt x="1741" y="2002"/>
                    </a:cubicBezTo>
                  </a:path>
                </a:pathLst>
              </a:custGeom>
              <a:noFill/>
              <a:ln w="19050"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96" name="Group 95">
              <a:extLst>
                <a:ext uri="{FF2B5EF4-FFF2-40B4-BE49-F238E27FC236}">
                  <a16:creationId xmlns:a16="http://schemas.microsoft.com/office/drawing/2014/main" id="{927CEFDC-1487-4FED-8360-0080D45FEC69}"/>
                </a:ext>
              </a:extLst>
            </p:cNvPr>
            <p:cNvGrpSpPr/>
            <p:nvPr/>
          </p:nvGrpSpPr>
          <p:grpSpPr>
            <a:xfrm>
              <a:off x="1941414" y="2998914"/>
              <a:ext cx="1450561" cy="314066"/>
              <a:chOff x="896084" y="1713107"/>
              <a:chExt cx="1450561" cy="314066"/>
            </a:xfrm>
          </p:grpSpPr>
          <p:sp>
            <p:nvSpPr>
              <p:cNvPr id="118" name="TextBox 117">
                <a:extLst>
                  <a:ext uri="{FF2B5EF4-FFF2-40B4-BE49-F238E27FC236}">
                    <a16:creationId xmlns:a16="http://schemas.microsoft.com/office/drawing/2014/main" id="{13AAACEB-0E5E-4738-8F6C-D2529E9DB2FC}"/>
                  </a:ext>
                </a:extLst>
              </p:cNvPr>
              <p:cNvSpPr txBox="1"/>
              <p:nvPr/>
            </p:nvSpPr>
            <p:spPr>
              <a:xfrm>
                <a:off x="1066485" y="17193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Consumer</a:t>
                </a:r>
              </a:p>
            </p:txBody>
          </p:sp>
          <p:sp>
            <p:nvSpPr>
              <p:cNvPr id="119" name="people_2" title="Icon of three people with an arrow above them pointing down">
                <a:extLst>
                  <a:ext uri="{FF2B5EF4-FFF2-40B4-BE49-F238E27FC236}">
                    <a16:creationId xmlns:a16="http://schemas.microsoft.com/office/drawing/2014/main" id="{B766B77A-D975-4461-AA79-A12FFE5AAED7}"/>
                  </a:ext>
                </a:extLst>
              </p:cNvPr>
              <p:cNvSpPr>
                <a:spLocks noChangeAspect="1" noEditPoints="1"/>
              </p:cNvSpPr>
              <p:nvPr/>
            </p:nvSpPr>
            <p:spPr bwMode="auto">
              <a:xfrm>
                <a:off x="896084" y="1713107"/>
                <a:ext cx="274320" cy="301235"/>
              </a:xfrm>
              <a:custGeom>
                <a:avLst/>
                <a:gdLst>
                  <a:gd name="T0" fmla="*/ 95 w 298"/>
                  <a:gd name="T1" fmla="*/ 198 h 328"/>
                  <a:gd name="T2" fmla="*/ 149 w 298"/>
                  <a:gd name="T3" fmla="*/ 143 h 328"/>
                  <a:gd name="T4" fmla="*/ 203 w 298"/>
                  <a:gd name="T5" fmla="*/ 198 h 328"/>
                  <a:gd name="T6" fmla="*/ 149 w 298"/>
                  <a:gd name="T7" fmla="*/ 252 h 328"/>
                  <a:gd name="T8" fmla="*/ 95 w 298"/>
                  <a:gd name="T9" fmla="*/ 198 h 328"/>
                  <a:gd name="T10" fmla="*/ 225 w 298"/>
                  <a:gd name="T11" fmla="*/ 328 h 328"/>
                  <a:gd name="T12" fmla="*/ 149 w 298"/>
                  <a:gd name="T13" fmla="*/ 252 h 328"/>
                  <a:gd name="T14" fmla="*/ 73 w 298"/>
                  <a:gd name="T15" fmla="*/ 328 h 328"/>
                  <a:gd name="T16" fmla="*/ 47 w 298"/>
                  <a:gd name="T17" fmla="*/ 146 h 328"/>
                  <a:gd name="T18" fmla="*/ 81 w 298"/>
                  <a:gd name="T19" fmla="*/ 112 h 328"/>
                  <a:gd name="T20" fmla="*/ 47 w 298"/>
                  <a:gd name="T21" fmla="*/ 78 h 328"/>
                  <a:gd name="T22" fmla="*/ 13 w 298"/>
                  <a:gd name="T23" fmla="*/ 112 h 328"/>
                  <a:gd name="T24" fmla="*/ 47 w 298"/>
                  <a:gd name="T25" fmla="*/ 146 h 328"/>
                  <a:gd name="T26" fmla="*/ 95 w 298"/>
                  <a:gd name="T27" fmla="*/ 193 h 328"/>
                  <a:gd name="T28" fmla="*/ 47 w 298"/>
                  <a:gd name="T29" fmla="*/ 146 h 328"/>
                  <a:gd name="T30" fmla="*/ 0 w 298"/>
                  <a:gd name="T31" fmla="*/ 193 h 328"/>
                  <a:gd name="T32" fmla="*/ 251 w 298"/>
                  <a:gd name="T33" fmla="*/ 146 h 328"/>
                  <a:gd name="T34" fmla="*/ 285 w 298"/>
                  <a:gd name="T35" fmla="*/ 112 h 328"/>
                  <a:gd name="T36" fmla="*/ 251 w 298"/>
                  <a:gd name="T37" fmla="*/ 78 h 328"/>
                  <a:gd name="T38" fmla="*/ 217 w 298"/>
                  <a:gd name="T39" fmla="*/ 112 h 328"/>
                  <a:gd name="T40" fmla="*/ 251 w 298"/>
                  <a:gd name="T41" fmla="*/ 146 h 328"/>
                  <a:gd name="T42" fmla="*/ 298 w 298"/>
                  <a:gd name="T43" fmla="*/ 193 h 328"/>
                  <a:gd name="T44" fmla="*/ 251 w 298"/>
                  <a:gd name="T45" fmla="*/ 146 h 328"/>
                  <a:gd name="T46" fmla="*/ 203 w 298"/>
                  <a:gd name="T47" fmla="*/ 193 h 328"/>
                  <a:gd name="T48" fmla="*/ 149 w 298"/>
                  <a:gd name="T49" fmla="*/ 0 h 328"/>
                  <a:gd name="T50" fmla="*/ 149 w 298"/>
                  <a:gd name="T51" fmla="*/ 80 h 328"/>
                  <a:gd name="T52" fmla="*/ 104 w 298"/>
                  <a:gd name="T53" fmla="*/ 35 h 328"/>
                  <a:gd name="T54" fmla="*/ 149 w 298"/>
                  <a:gd name="T55" fmla="*/ 80 h 328"/>
                  <a:gd name="T56" fmla="*/ 194 w 298"/>
                  <a:gd name="T57" fmla="*/ 3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328">
                    <a:moveTo>
                      <a:pt x="95" y="198"/>
                    </a:moveTo>
                    <a:cubicBezTo>
                      <a:pt x="95" y="168"/>
                      <a:pt x="119" y="143"/>
                      <a:pt x="149" y="143"/>
                    </a:cubicBezTo>
                    <a:cubicBezTo>
                      <a:pt x="179" y="143"/>
                      <a:pt x="203" y="168"/>
                      <a:pt x="203" y="198"/>
                    </a:cubicBezTo>
                    <a:cubicBezTo>
                      <a:pt x="203" y="228"/>
                      <a:pt x="179" y="252"/>
                      <a:pt x="149" y="252"/>
                    </a:cubicBezTo>
                    <a:cubicBezTo>
                      <a:pt x="119" y="252"/>
                      <a:pt x="95" y="228"/>
                      <a:pt x="95" y="198"/>
                    </a:cubicBezTo>
                    <a:close/>
                    <a:moveTo>
                      <a:pt x="225" y="328"/>
                    </a:moveTo>
                    <a:cubicBezTo>
                      <a:pt x="225" y="286"/>
                      <a:pt x="191" y="252"/>
                      <a:pt x="149" y="252"/>
                    </a:cubicBezTo>
                    <a:cubicBezTo>
                      <a:pt x="107" y="252"/>
                      <a:pt x="73" y="286"/>
                      <a:pt x="73" y="328"/>
                    </a:cubicBezTo>
                    <a:moveTo>
                      <a:pt x="47" y="146"/>
                    </a:moveTo>
                    <a:cubicBezTo>
                      <a:pt x="66" y="146"/>
                      <a:pt x="81" y="131"/>
                      <a:pt x="81" y="112"/>
                    </a:cubicBezTo>
                    <a:cubicBezTo>
                      <a:pt x="81" y="93"/>
                      <a:pt x="66" y="78"/>
                      <a:pt x="47" y="78"/>
                    </a:cubicBezTo>
                    <a:cubicBezTo>
                      <a:pt x="28" y="78"/>
                      <a:pt x="13" y="93"/>
                      <a:pt x="13" y="112"/>
                    </a:cubicBezTo>
                    <a:cubicBezTo>
                      <a:pt x="13" y="131"/>
                      <a:pt x="28" y="146"/>
                      <a:pt x="47" y="146"/>
                    </a:cubicBezTo>
                    <a:close/>
                    <a:moveTo>
                      <a:pt x="95" y="193"/>
                    </a:moveTo>
                    <a:cubicBezTo>
                      <a:pt x="95" y="167"/>
                      <a:pt x="73" y="146"/>
                      <a:pt x="47" y="146"/>
                    </a:cubicBezTo>
                    <a:cubicBezTo>
                      <a:pt x="21" y="146"/>
                      <a:pt x="0" y="167"/>
                      <a:pt x="0" y="193"/>
                    </a:cubicBezTo>
                    <a:moveTo>
                      <a:pt x="251" y="146"/>
                    </a:moveTo>
                    <a:cubicBezTo>
                      <a:pt x="270" y="146"/>
                      <a:pt x="285" y="131"/>
                      <a:pt x="285" y="112"/>
                    </a:cubicBezTo>
                    <a:cubicBezTo>
                      <a:pt x="285" y="93"/>
                      <a:pt x="270" y="78"/>
                      <a:pt x="251" y="78"/>
                    </a:cubicBezTo>
                    <a:cubicBezTo>
                      <a:pt x="232" y="78"/>
                      <a:pt x="217" y="93"/>
                      <a:pt x="217" y="112"/>
                    </a:cubicBezTo>
                    <a:cubicBezTo>
                      <a:pt x="217" y="131"/>
                      <a:pt x="232" y="146"/>
                      <a:pt x="251" y="146"/>
                    </a:cubicBezTo>
                    <a:close/>
                    <a:moveTo>
                      <a:pt x="298" y="193"/>
                    </a:moveTo>
                    <a:cubicBezTo>
                      <a:pt x="298" y="167"/>
                      <a:pt x="277" y="146"/>
                      <a:pt x="251" y="146"/>
                    </a:cubicBezTo>
                    <a:cubicBezTo>
                      <a:pt x="225" y="146"/>
                      <a:pt x="203" y="167"/>
                      <a:pt x="203" y="193"/>
                    </a:cubicBezTo>
                    <a:moveTo>
                      <a:pt x="149" y="0"/>
                    </a:moveTo>
                    <a:cubicBezTo>
                      <a:pt x="149" y="80"/>
                      <a:pt x="149" y="80"/>
                      <a:pt x="149" y="80"/>
                    </a:cubicBezTo>
                    <a:moveTo>
                      <a:pt x="104" y="35"/>
                    </a:moveTo>
                    <a:cubicBezTo>
                      <a:pt x="149" y="80"/>
                      <a:pt x="149" y="80"/>
                      <a:pt x="149" y="80"/>
                    </a:cubicBezTo>
                    <a:cubicBezTo>
                      <a:pt x="194" y="35"/>
                      <a:pt x="194" y="35"/>
                      <a:pt x="194" y="35"/>
                    </a:cubicBezTo>
                  </a:path>
                </a:pathLst>
              </a:custGeom>
              <a:noFill/>
              <a:ln w="1905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12D47A-D31D-4C2D-A672-659D0D28059B}"/>
                </a:ext>
              </a:extLst>
            </p:cNvPr>
            <p:cNvGrpSpPr/>
            <p:nvPr/>
          </p:nvGrpSpPr>
          <p:grpSpPr>
            <a:xfrm>
              <a:off x="1049542" y="2634647"/>
              <a:ext cx="1413605" cy="314066"/>
              <a:chOff x="933040" y="2355696"/>
              <a:chExt cx="1413605" cy="314066"/>
            </a:xfrm>
          </p:grpSpPr>
          <p:pic>
            <p:nvPicPr>
              <p:cNvPr id="116" name="Picture 115">
                <a:extLst>
                  <a:ext uri="{FF2B5EF4-FFF2-40B4-BE49-F238E27FC236}">
                    <a16:creationId xmlns:a16="http://schemas.microsoft.com/office/drawing/2014/main" id="{9305174B-2F29-4A41-8C16-3E0D890E133E}"/>
                  </a:ext>
                </a:extLst>
              </p:cNvPr>
              <p:cNvPicPr>
                <a:picLocks noChangeAspect="1"/>
              </p:cNvPicPr>
              <p:nvPr/>
            </p:nvPicPr>
            <p:blipFill>
              <a:blip r:embed="rId5">
                <a:biLevel thresh="50000"/>
                <a:extLst>
                  <a:ext uri="{BEBA8EAE-BF5A-486C-A8C5-ECC9F3942E4B}">
                    <a14:imgProps xmlns:a14="http://schemas.microsoft.com/office/drawing/2010/main">
                      <a14:imgLayer r:embed="rId6">
                        <a14:imgEffect>
                          <a14:brightnessContrast contrast="-20000"/>
                        </a14:imgEffect>
                      </a14:imgLayer>
                    </a14:imgProps>
                  </a:ext>
                </a:extLst>
              </a:blip>
              <a:stretch>
                <a:fillRect/>
              </a:stretch>
            </p:blipFill>
            <p:spPr>
              <a:xfrm>
                <a:off x="933040" y="2369317"/>
                <a:ext cx="182880" cy="300445"/>
              </a:xfrm>
              <a:prstGeom prst="rect">
                <a:avLst/>
              </a:prstGeom>
            </p:spPr>
          </p:pic>
          <p:sp>
            <p:nvSpPr>
              <p:cNvPr id="117" name="TextBox 116">
                <a:extLst>
                  <a:ext uri="{FF2B5EF4-FFF2-40B4-BE49-F238E27FC236}">
                    <a16:creationId xmlns:a16="http://schemas.microsoft.com/office/drawing/2014/main" id="{38264AE0-85D1-44FC-9EB0-3F0594CA8A67}"/>
                  </a:ext>
                </a:extLst>
              </p:cNvPr>
              <p:cNvSpPr txBox="1"/>
              <p:nvPr/>
            </p:nvSpPr>
            <p:spPr>
              <a:xfrm>
                <a:off x="1066485" y="23556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Appliances</a:t>
                </a:r>
              </a:p>
            </p:txBody>
          </p:sp>
        </p:grpSp>
        <p:grpSp>
          <p:nvGrpSpPr>
            <p:cNvPr id="98" name="Group 97">
              <a:extLst>
                <a:ext uri="{FF2B5EF4-FFF2-40B4-BE49-F238E27FC236}">
                  <a16:creationId xmlns:a16="http://schemas.microsoft.com/office/drawing/2014/main" id="{57BF8189-F4FB-41EC-8EE1-73D09D9F62C8}"/>
                </a:ext>
              </a:extLst>
            </p:cNvPr>
            <p:cNvGrpSpPr/>
            <p:nvPr/>
          </p:nvGrpSpPr>
          <p:grpSpPr>
            <a:xfrm>
              <a:off x="1019096" y="3363181"/>
              <a:ext cx="1444051" cy="307777"/>
              <a:chOff x="902594" y="2991996"/>
              <a:chExt cx="1444051" cy="307777"/>
            </a:xfrm>
          </p:grpSpPr>
          <p:sp>
            <p:nvSpPr>
              <p:cNvPr id="114" name="SecurityCamera_EB35" title="Icon of a security camera">
                <a:extLst>
                  <a:ext uri="{FF2B5EF4-FFF2-40B4-BE49-F238E27FC236}">
                    <a16:creationId xmlns:a16="http://schemas.microsoft.com/office/drawing/2014/main" id="{0240F591-BCAD-4DE8-B507-7561716690BA}"/>
                  </a:ext>
                </a:extLst>
              </p:cNvPr>
              <p:cNvSpPr>
                <a:spLocks noChangeAspect="1" noEditPoints="1"/>
              </p:cNvSpPr>
              <p:nvPr/>
            </p:nvSpPr>
            <p:spPr bwMode="auto">
              <a:xfrm>
                <a:off x="902594" y="3017959"/>
                <a:ext cx="274320" cy="236828"/>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24B3F839-66E6-4BF6-A1D5-81D4A4C6B46D}"/>
                  </a:ext>
                </a:extLst>
              </p:cNvPr>
              <p:cNvSpPr txBox="1"/>
              <p:nvPr/>
            </p:nvSpPr>
            <p:spPr>
              <a:xfrm>
                <a:off x="1066485" y="29919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Security</a:t>
                </a:r>
              </a:p>
            </p:txBody>
          </p:sp>
        </p:grpSp>
        <p:grpSp>
          <p:nvGrpSpPr>
            <p:cNvPr id="99" name="Group 98">
              <a:extLst>
                <a:ext uri="{FF2B5EF4-FFF2-40B4-BE49-F238E27FC236}">
                  <a16:creationId xmlns:a16="http://schemas.microsoft.com/office/drawing/2014/main" id="{367AFD6E-0666-4E80-A05F-73FD44E2F512}"/>
                </a:ext>
              </a:extLst>
            </p:cNvPr>
            <p:cNvGrpSpPr/>
            <p:nvPr/>
          </p:nvGrpSpPr>
          <p:grpSpPr>
            <a:xfrm>
              <a:off x="1912553" y="3721159"/>
              <a:ext cx="1469410" cy="307777"/>
              <a:chOff x="877235" y="3308256"/>
              <a:chExt cx="1469410" cy="307777"/>
            </a:xfrm>
          </p:grpSpPr>
          <p:pic>
            <p:nvPicPr>
              <p:cNvPr id="112" name="Picture 2" descr="Image result for elevator icon PNG">
                <a:extLst>
                  <a:ext uri="{FF2B5EF4-FFF2-40B4-BE49-F238E27FC236}">
                    <a16:creationId xmlns:a16="http://schemas.microsoft.com/office/drawing/2014/main" id="{042BE7FA-F62D-4841-A21E-5694615768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7235" y="3329028"/>
                <a:ext cx="274320" cy="274320"/>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a:extLst>
                  <a:ext uri="{FF2B5EF4-FFF2-40B4-BE49-F238E27FC236}">
                    <a16:creationId xmlns:a16="http://schemas.microsoft.com/office/drawing/2014/main" id="{6C5AA80E-8272-4E62-9D5E-5D65451BB1F9}"/>
                  </a:ext>
                </a:extLst>
              </p:cNvPr>
              <p:cNvSpPr txBox="1"/>
              <p:nvPr/>
            </p:nvSpPr>
            <p:spPr>
              <a:xfrm>
                <a:off x="1066485" y="330825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Buildings</a:t>
                </a:r>
              </a:p>
            </p:txBody>
          </p:sp>
        </p:grpSp>
        <p:grpSp>
          <p:nvGrpSpPr>
            <p:cNvPr id="100" name="Group 99">
              <a:extLst>
                <a:ext uri="{FF2B5EF4-FFF2-40B4-BE49-F238E27FC236}">
                  <a16:creationId xmlns:a16="http://schemas.microsoft.com/office/drawing/2014/main" id="{CA37966A-03C3-43DA-819E-9B267B3895D5}"/>
                </a:ext>
              </a:extLst>
            </p:cNvPr>
            <p:cNvGrpSpPr/>
            <p:nvPr/>
          </p:nvGrpSpPr>
          <p:grpSpPr>
            <a:xfrm>
              <a:off x="998985" y="4810016"/>
              <a:ext cx="1384892" cy="307777"/>
              <a:chOff x="961753" y="5537196"/>
              <a:chExt cx="1384892" cy="307777"/>
            </a:xfrm>
          </p:grpSpPr>
          <p:sp>
            <p:nvSpPr>
              <p:cNvPr id="110" name="light" title="Icon of a lightbulb">
                <a:extLst>
                  <a:ext uri="{FF2B5EF4-FFF2-40B4-BE49-F238E27FC236}">
                    <a16:creationId xmlns:a16="http://schemas.microsoft.com/office/drawing/2014/main" id="{7F0D298D-8EAE-41E3-9244-1B8D3B10F819}"/>
                  </a:ext>
                </a:extLst>
              </p:cNvPr>
              <p:cNvSpPr>
                <a:spLocks noChangeAspect="1" noEditPoints="1"/>
              </p:cNvSpPr>
              <p:nvPr/>
            </p:nvSpPr>
            <p:spPr bwMode="auto">
              <a:xfrm>
                <a:off x="961753" y="5575200"/>
                <a:ext cx="169090" cy="25104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 name="TextBox 110">
                <a:extLst>
                  <a:ext uri="{FF2B5EF4-FFF2-40B4-BE49-F238E27FC236}">
                    <a16:creationId xmlns:a16="http://schemas.microsoft.com/office/drawing/2014/main" id="{83DFCEAF-9BB8-4CF7-B5F6-803892B252F5}"/>
                  </a:ext>
                </a:extLst>
              </p:cNvPr>
              <p:cNvSpPr txBox="1"/>
              <p:nvPr/>
            </p:nvSpPr>
            <p:spPr>
              <a:xfrm>
                <a:off x="1066485" y="55371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Lighting</a:t>
                </a:r>
              </a:p>
            </p:txBody>
          </p:sp>
        </p:grpSp>
        <p:grpSp>
          <p:nvGrpSpPr>
            <p:cNvPr id="101" name="Group 100">
              <a:extLst>
                <a:ext uri="{FF2B5EF4-FFF2-40B4-BE49-F238E27FC236}">
                  <a16:creationId xmlns:a16="http://schemas.microsoft.com/office/drawing/2014/main" id="{590A1E99-97EA-4242-A220-5D55A6C3D083}"/>
                </a:ext>
              </a:extLst>
            </p:cNvPr>
            <p:cNvGrpSpPr/>
            <p:nvPr/>
          </p:nvGrpSpPr>
          <p:grpSpPr>
            <a:xfrm>
              <a:off x="1907493" y="4437115"/>
              <a:ext cx="1431610" cy="322700"/>
              <a:chOff x="915035" y="4885973"/>
              <a:chExt cx="1431610" cy="322700"/>
            </a:xfrm>
          </p:grpSpPr>
          <p:sp>
            <p:nvSpPr>
              <p:cNvPr id="108" name="TextBox 107">
                <a:extLst>
                  <a:ext uri="{FF2B5EF4-FFF2-40B4-BE49-F238E27FC236}">
                    <a16:creationId xmlns:a16="http://schemas.microsoft.com/office/drawing/2014/main" id="{9247627F-5B9D-4756-A5C2-A1B644B1C5B6}"/>
                  </a:ext>
                </a:extLst>
              </p:cNvPr>
              <p:cNvSpPr txBox="1"/>
              <p:nvPr/>
            </p:nvSpPr>
            <p:spPr>
              <a:xfrm>
                <a:off x="1066485" y="4900896"/>
                <a:ext cx="1280160" cy="307777"/>
              </a:xfrm>
              <a:prstGeom prst="rect">
                <a:avLst/>
              </a:prstGeom>
              <a:noFill/>
            </p:spPr>
            <p:txBody>
              <a:bodyPr wrap="square">
                <a:spAutoFit/>
              </a:bodyPr>
              <a:lstStyle>
                <a:defPPr>
                  <a:defRPr lang="en-US"/>
                </a:defPPr>
                <a:lvl1pPr marL="111125" marR="0" lvl="0" indent="0" defTabSz="914400" fontAlgn="auto">
                  <a:lnSpc>
                    <a:spcPct val="100000"/>
                  </a:lnSpc>
                  <a:spcBef>
                    <a:spcPts val="0"/>
                  </a:spcBef>
                  <a:spcAft>
                    <a:spcPts val="0"/>
                  </a:spcAft>
                  <a:buClrTx/>
                  <a:buSzTx/>
                  <a:buFontTx/>
                  <a:buNone/>
                  <a:tabLst/>
                  <a:defRPr kumimoji="0" sz="1400" b="0" i="0" u="none" strike="noStrike" cap="none" spc="0" normalizeH="0" baseline="0">
                    <a:ln>
                      <a:noFill/>
                    </a:ln>
                    <a:solidFill>
                      <a:srgbClr val="3C3C41"/>
                    </a:solidFill>
                    <a:effectLst/>
                    <a:uLnTx/>
                    <a:uFillTx/>
                    <a:latin typeface="Segoe UI Semibold" panose="020B0702040204020203" pitchFamily="34" charset="0"/>
                    <a:cs typeface="Segoe UI Semibold" panose="020B0702040204020203" pitchFamily="34" charset="0"/>
                  </a:defRPr>
                </a:lvl1p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Industrial</a:t>
                </a:r>
              </a:p>
            </p:txBody>
          </p:sp>
          <p:pic>
            <p:nvPicPr>
              <p:cNvPr id="109" name="Graphic 108" descr="Factory outline">
                <a:extLst>
                  <a:ext uri="{FF2B5EF4-FFF2-40B4-BE49-F238E27FC236}">
                    <a16:creationId xmlns:a16="http://schemas.microsoft.com/office/drawing/2014/main" id="{0BD1903E-E01A-4DD4-908F-35FFEC2FCF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5035" y="4885973"/>
                <a:ext cx="274320" cy="274320"/>
              </a:xfrm>
              <a:prstGeom prst="rect">
                <a:avLst/>
              </a:prstGeom>
            </p:spPr>
          </p:pic>
        </p:grpSp>
        <p:grpSp>
          <p:nvGrpSpPr>
            <p:cNvPr id="102" name="Group 101">
              <a:extLst>
                <a:ext uri="{FF2B5EF4-FFF2-40B4-BE49-F238E27FC236}">
                  <a16:creationId xmlns:a16="http://schemas.microsoft.com/office/drawing/2014/main" id="{00B3F3A7-5072-4BF9-9DDC-A4887ADFB627}"/>
                </a:ext>
              </a:extLst>
            </p:cNvPr>
            <p:cNvGrpSpPr/>
            <p:nvPr/>
          </p:nvGrpSpPr>
          <p:grpSpPr>
            <a:xfrm>
              <a:off x="1923273" y="5167998"/>
              <a:ext cx="1472434" cy="334902"/>
              <a:chOff x="2030619" y="4390181"/>
              <a:chExt cx="1472434" cy="334902"/>
            </a:xfrm>
          </p:grpSpPr>
          <p:sp>
            <p:nvSpPr>
              <p:cNvPr id="106" name="TextBox 105">
                <a:extLst>
                  <a:ext uri="{FF2B5EF4-FFF2-40B4-BE49-F238E27FC236}">
                    <a16:creationId xmlns:a16="http://schemas.microsoft.com/office/drawing/2014/main" id="{CB1738AD-A151-44F8-950D-256D3693BAA3}"/>
                  </a:ext>
                </a:extLst>
              </p:cNvPr>
              <p:cNvSpPr txBox="1"/>
              <p:nvPr/>
            </p:nvSpPr>
            <p:spPr>
              <a:xfrm>
                <a:off x="2222893" y="4412195"/>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Safety</a:t>
                </a:r>
              </a:p>
            </p:txBody>
          </p:sp>
          <p:pic>
            <p:nvPicPr>
              <p:cNvPr id="107" name="Graphic 106" descr="Life jacket outline">
                <a:extLst>
                  <a:ext uri="{FF2B5EF4-FFF2-40B4-BE49-F238E27FC236}">
                    <a16:creationId xmlns:a16="http://schemas.microsoft.com/office/drawing/2014/main" id="{D9CF4E74-2A36-4B6E-BDBD-E035A6F1EE8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30619" y="4390181"/>
                <a:ext cx="334902" cy="334902"/>
              </a:xfrm>
              <a:prstGeom prst="rect">
                <a:avLst/>
              </a:prstGeom>
            </p:spPr>
          </p:pic>
        </p:grpSp>
        <p:grpSp>
          <p:nvGrpSpPr>
            <p:cNvPr id="103" name="Group 102">
              <a:extLst>
                <a:ext uri="{FF2B5EF4-FFF2-40B4-BE49-F238E27FC236}">
                  <a16:creationId xmlns:a16="http://schemas.microsoft.com/office/drawing/2014/main" id="{36085D06-2019-4115-92F0-166023CE7564}"/>
                </a:ext>
              </a:extLst>
            </p:cNvPr>
            <p:cNvGrpSpPr/>
            <p:nvPr/>
          </p:nvGrpSpPr>
          <p:grpSpPr>
            <a:xfrm>
              <a:off x="1020250" y="4079137"/>
              <a:ext cx="1419332" cy="307777"/>
              <a:chOff x="927313" y="3944556"/>
              <a:chExt cx="1419332" cy="307777"/>
            </a:xfrm>
          </p:grpSpPr>
          <p:sp>
            <p:nvSpPr>
              <p:cNvPr id="104" name="TextBox 103">
                <a:extLst>
                  <a:ext uri="{FF2B5EF4-FFF2-40B4-BE49-F238E27FC236}">
                    <a16:creationId xmlns:a16="http://schemas.microsoft.com/office/drawing/2014/main" id="{C204A6C6-6357-45EA-81EA-D6CEA019AAE1}"/>
                  </a:ext>
                </a:extLst>
              </p:cNvPr>
              <p:cNvSpPr txBox="1"/>
              <p:nvPr/>
            </p:nvSpPr>
            <p:spPr>
              <a:xfrm>
                <a:off x="1066485" y="394455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Energy</a:t>
                </a:r>
              </a:p>
            </p:txBody>
          </p:sp>
          <p:pic>
            <p:nvPicPr>
              <p:cNvPr id="105" name="Graphic 104" descr="Battery charging with solid fill">
                <a:extLst>
                  <a:ext uri="{FF2B5EF4-FFF2-40B4-BE49-F238E27FC236}">
                    <a16:creationId xmlns:a16="http://schemas.microsoft.com/office/drawing/2014/main" id="{5EDEDEAF-1E09-40B4-ACBB-33205F99DAB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7313" y="3973858"/>
                <a:ext cx="274321" cy="274321"/>
              </a:xfrm>
              <a:prstGeom prst="rect">
                <a:avLst/>
              </a:prstGeom>
            </p:spPr>
          </p:pic>
        </p:grpSp>
      </p:grpSp>
      <p:sp>
        <p:nvSpPr>
          <p:cNvPr id="126" name="TextBox 125">
            <a:extLst>
              <a:ext uri="{FF2B5EF4-FFF2-40B4-BE49-F238E27FC236}">
                <a16:creationId xmlns:a16="http://schemas.microsoft.com/office/drawing/2014/main" id="{12FE0326-F2FE-4659-9650-2FC1AE488A1A}"/>
              </a:ext>
            </a:extLst>
          </p:cNvPr>
          <p:cNvSpPr txBox="1"/>
          <p:nvPr/>
        </p:nvSpPr>
        <p:spPr>
          <a:xfrm>
            <a:off x="853477" y="6246471"/>
            <a:ext cx="13937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hings</a:t>
            </a:r>
          </a:p>
        </p:txBody>
      </p:sp>
      <p:sp>
        <p:nvSpPr>
          <p:cNvPr id="128" name="TextBox 127">
            <a:extLst>
              <a:ext uri="{FF2B5EF4-FFF2-40B4-BE49-F238E27FC236}">
                <a16:creationId xmlns:a16="http://schemas.microsoft.com/office/drawing/2014/main" id="{389BFCD1-4243-4762-8631-A2D9DD45D920}"/>
              </a:ext>
            </a:extLst>
          </p:cNvPr>
          <p:cNvSpPr txBox="1"/>
          <p:nvPr/>
        </p:nvSpPr>
        <p:spPr>
          <a:xfrm>
            <a:off x="9702548" y="6246471"/>
            <a:ext cx="186419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ransformation</a:t>
            </a:r>
          </a:p>
        </p:txBody>
      </p:sp>
      <p:sp>
        <p:nvSpPr>
          <p:cNvPr id="130" name="TextBox 129">
            <a:extLst>
              <a:ext uri="{FF2B5EF4-FFF2-40B4-BE49-F238E27FC236}">
                <a16:creationId xmlns:a16="http://schemas.microsoft.com/office/drawing/2014/main" id="{08A5A599-3575-4893-971C-31B731FD1FBC}"/>
              </a:ext>
            </a:extLst>
          </p:cNvPr>
          <p:cNvSpPr txBox="1"/>
          <p:nvPr/>
        </p:nvSpPr>
        <p:spPr>
          <a:xfrm>
            <a:off x="5223493" y="6250702"/>
            <a:ext cx="13937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Cloud</a:t>
            </a:r>
          </a:p>
        </p:txBody>
      </p:sp>
      <p:grpSp>
        <p:nvGrpSpPr>
          <p:cNvPr id="135" name="Group 134">
            <a:extLst>
              <a:ext uri="{FF2B5EF4-FFF2-40B4-BE49-F238E27FC236}">
                <a16:creationId xmlns:a16="http://schemas.microsoft.com/office/drawing/2014/main" id="{52249640-A3A1-411A-BC04-A38F36DC52C0}"/>
              </a:ext>
            </a:extLst>
          </p:cNvPr>
          <p:cNvGrpSpPr/>
          <p:nvPr/>
        </p:nvGrpSpPr>
        <p:grpSpPr>
          <a:xfrm>
            <a:off x="9360190" y="1838703"/>
            <a:ext cx="2560320" cy="3968028"/>
            <a:chOff x="9360190" y="1838703"/>
            <a:chExt cx="2560320" cy="3968028"/>
          </a:xfrm>
        </p:grpSpPr>
        <p:sp>
          <p:nvSpPr>
            <p:cNvPr id="136" name="Rectangle 135">
              <a:extLst>
                <a:ext uri="{FF2B5EF4-FFF2-40B4-BE49-F238E27FC236}">
                  <a16:creationId xmlns:a16="http://schemas.microsoft.com/office/drawing/2014/main" id="{DD549B5E-1274-4763-9EC7-A99D27B9B6AE}"/>
                </a:ext>
              </a:extLst>
            </p:cNvPr>
            <p:cNvSpPr/>
            <p:nvPr/>
          </p:nvSpPr>
          <p:spPr>
            <a:xfrm>
              <a:off x="9360190" y="1838703"/>
              <a:ext cx="2560320" cy="3968028"/>
            </a:xfrm>
            <a:prstGeom prst="rect">
              <a:avLst/>
            </a:prstGeom>
            <a:solidFill>
              <a:srgbClr val="E2F0D9"/>
            </a:solidFill>
            <a:ln w="57150" cap="flat" cmpd="sng" algn="ctr">
              <a:solidFill>
                <a:srgbClr val="3C3C41">
                  <a:lumMod val="85000"/>
                  <a:lumOff val="15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Using IoT Data</a:t>
              </a:r>
            </a:p>
          </p:txBody>
        </p:sp>
        <p:pic>
          <p:nvPicPr>
            <p:cNvPr id="137" name="Graphic 136" descr="Pot of gold outline">
              <a:extLst>
                <a:ext uri="{FF2B5EF4-FFF2-40B4-BE49-F238E27FC236}">
                  <a16:creationId xmlns:a16="http://schemas.microsoft.com/office/drawing/2014/main" id="{4C2F5AA6-01BE-47B5-BB0C-605F88F3B97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105063" y="3004728"/>
              <a:ext cx="1059169" cy="1059169"/>
            </a:xfrm>
            <a:prstGeom prst="rect">
              <a:avLst/>
            </a:prstGeom>
          </p:spPr>
        </p:pic>
      </p:grpSp>
      <p:cxnSp>
        <p:nvCxnSpPr>
          <p:cNvPr id="139" name="Straight Arrow Connector 138">
            <a:extLst>
              <a:ext uri="{FF2B5EF4-FFF2-40B4-BE49-F238E27FC236}">
                <a16:creationId xmlns:a16="http://schemas.microsoft.com/office/drawing/2014/main" id="{A7AD82B2-12D5-4716-A6D2-86F3C865798A}"/>
              </a:ext>
            </a:extLst>
          </p:cNvPr>
          <p:cNvCxnSpPr>
            <a:cxnSpLocks/>
          </p:cNvCxnSpPr>
          <p:nvPr/>
        </p:nvCxnSpPr>
        <p:spPr>
          <a:xfrm>
            <a:off x="2882077" y="6423197"/>
            <a:ext cx="514659" cy="0"/>
          </a:xfrm>
          <a:prstGeom prst="straightConnector1">
            <a:avLst/>
          </a:prstGeom>
          <a:noFill/>
          <a:ln w="38100" cap="flat" cmpd="sng" algn="ctr">
            <a:solidFill>
              <a:srgbClr val="32BEDD"/>
            </a:solidFill>
            <a:prstDash val="solid"/>
            <a:tailEnd type="triangle" w="lg" len="lg"/>
          </a:ln>
          <a:effectLst/>
        </p:spPr>
      </p:cxnSp>
      <p:cxnSp>
        <p:nvCxnSpPr>
          <p:cNvPr id="141" name="Straight Arrow Connector 140">
            <a:extLst>
              <a:ext uri="{FF2B5EF4-FFF2-40B4-BE49-F238E27FC236}">
                <a16:creationId xmlns:a16="http://schemas.microsoft.com/office/drawing/2014/main" id="{4804B32A-05D7-409E-8526-DBC14E272A42}"/>
              </a:ext>
            </a:extLst>
          </p:cNvPr>
          <p:cNvCxnSpPr>
            <a:cxnSpLocks/>
          </p:cNvCxnSpPr>
          <p:nvPr/>
        </p:nvCxnSpPr>
        <p:spPr>
          <a:xfrm>
            <a:off x="8670419" y="6423197"/>
            <a:ext cx="514659" cy="0"/>
          </a:xfrm>
          <a:prstGeom prst="straightConnector1">
            <a:avLst/>
          </a:prstGeom>
          <a:noFill/>
          <a:ln w="38100" cap="flat" cmpd="sng" algn="ctr">
            <a:solidFill>
              <a:srgbClr val="32BEDD"/>
            </a:solidFill>
            <a:prstDash val="solid"/>
            <a:tailEnd type="triangle" w="lg" len="lg"/>
          </a:ln>
          <a:effectLst/>
        </p:spPr>
      </p:cxnSp>
    </p:spTree>
    <p:extLst>
      <p:ext uri="{BB962C8B-B14F-4D97-AF65-F5344CB8AC3E}">
        <p14:creationId xmlns:p14="http://schemas.microsoft.com/office/powerpoint/2010/main" val="527741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C0BC52F-EE83-4ED0-986F-7EE086118B63}"/>
              </a:ext>
            </a:extLst>
          </p:cNvPr>
          <p:cNvSpPr/>
          <p:nvPr/>
        </p:nvSpPr>
        <p:spPr bwMode="auto">
          <a:xfrm>
            <a:off x="3209141" y="1613248"/>
            <a:ext cx="5773719" cy="4520851"/>
          </a:xfrm>
          <a:prstGeom prst="rect">
            <a:avLst/>
          </a:prstGeom>
          <a:solidFill>
            <a:schemeClr val="tx1"/>
          </a:solidFill>
          <a:ln w="57150" cap="flat" cmpd="sng" algn="ctr">
            <a:solidFill>
              <a:srgbClr val="32BED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097A847A-98FB-4C8F-885B-E58CF0C94BC2}"/>
              </a:ext>
            </a:extLst>
          </p:cNvPr>
          <p:cNvSpPr>
            <a:spLocks noGrp="1"/>
          </p:cNvSpPr>
          <p:nvPr>
            <p:ph type="title"/>
          </p:nvPr>
        </p:nvSpPr>
        <p:spPr/>
        <p:txBody>
          <a:bodyPr/>
          <a:lstStyle/>
          <a:p>
            <a:r>
              <a:rPr lang="en-US"/>
              <a:t>Removing Complexity</a:t>
            </a:r>
          </a:p>
        </p:txBody>
      </p:sp>
      <p:grpSp>
        <p:nvGrpSpPr>
          <p:cNvPr id="273" name="Group 272">
            <a:extLst>
              <a:ext uri="{FF2B5EF4-FFF2-40B4-BE49-F238E27FC236}">
                <a16:creationId xmlns:a16="http://schemas.microsoft.com/office/drawing/2014/main" id="{06360986-D4D6-479A-86E4-61FF6D52E2FD}"/>
              </a:ext>
            </a:extLst>
          </p:cNvPr>
          <p:cNvGrpSpPr/>
          <p:nvPr/>
        </p:nvGrpSpPr>
        <p:grpSpPr>
          <a:xfrm>
            <a:off x="3407783" y="1743223"/>
            <a:ext cx="5345953" cy="4192757"/>
            <a:chOff x="3344996" y="2128988"/>
            <a:chExt cx="5606442" cy="4396577"/>
          </a:xfrm>
        </p:grpSpPr>
        <p:sp>
          <p:nvSpPr>
            <p:cNvPr id="274" name="Rounded Rectangle 234">
              <a:extLst>
                <a:ext uri="{FF2B5EF4-FFF2-40B4-BE49-F238E27FC236}">
                  <a16:creationId xmlns:a16="http://schemas.microsoft.com/office/drawing/2014/main" id="{699FF469-7686-4E56-A0E0-0F67852F2D61}"/>
                </a:ext>
              </a:extLst>
            </p:cNvPr>
            <p:cNvSpPr/>
            <p:nvPr/>
          </p:nvSpPr>
          <p:spPr>
            <a:xfrm>
              <a:off x="3344996" y="2131727"/>
              <a:ext cx="777016" cy="215713"/>
            </a:xfrm>
            <a:prstGeom prst="roundRect">
              <a:avLst>
                <a:gd name="adj" fmla="val 50000"/>
              </a:avLst>
            </a:prstGeom>
            <a:solidFill>
              <a:srgbClr val="D9ECEE"/>
            </a:solidFill>
            <a:ln w="10795" cap="flat" cmpd="sng" algn="ctr">
              <a:noFill/>
              <a:prstDash val="solid"/>
            </a:ln>
            <a:effectLst/>
          </p:spPr>
          <p:txBody>
            <a:bodyPr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105E7D"/>
                  </a:solidFill>
                  <a:effectLst/>
                  <a:uLnTx/>
                  <a:uFillTx/>
                  <a:latin typeface="Segoe UI Semibold" pitchFamily="34" charset="0"/>
                  <a:ea typeface="Segoe UI Semibold" pitchFamily="34" charset="-122"/>
                  <a:cs typeface="Segoe UI Semibold" pitchFamily="34" charset="-120"/>
                </a:rPr>
                <a:t>Ingestion &amp; provisioning</a:t>
              </a:r>
              <a:endParaRPr kumimoji="0" lang="en-US" sz="6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275" name="Group 274">
              <a:extLst>
                <a:ext uri="{FF2B5EF4-FFF2-40B4-BE49-F238E27FC236}">
                  <a16:creationId xmlns:a16="http://schemas.microsoft.com/office/drawing/2014/main" id="{CCADB9FF-E5F0-4441-8697-9F6C7B0E3D74}"/>
                </a:ext>
              </a:extLst>
            </p:cNvPr>
            <p:cNvGrpSpPr/>
            <p:nvPr/>
          </p:nvGrpSpPr>
          <p:grpSpPr>
            <a:xfrm>
              <a:off x="3352484" y="2387642"/>
              <a:ext cx="777017" cy="1847820"/>
              <a:chOff x="2496780" y="2380536"/>
              <a:chExt cx="777017" cy="1847820"/>
            </a:xfrm>
          </p:grpSpPr>
          <p:sp>
            <p:nvSpPr>
              <p:cNvPr id="359" name="Object22">
                <a:extLst>
                  <a:ext uri="{FF2B5EF4-FFF2-40B4-BE49-F238E27FC236}">
                    <a16:creationId xmlns:a16="http://schemas.microsoft.com/office/drawing/2014/main" id="{03574EF9-25A2-42E5-9CB4-DDEF2A8966F4}"/>
                  </a:ext>
                </a:extLst>
              </p:cNvPr>
              <p:cNvSpPr/>
              <p:nvPr/>
            </p:nvSpPr>
            <p:spPr>
              <a:xfrm>
                <a:off x="2597264" y="2898969"/>
                <a:ext cx="601473" cy="188027"/>
              </a:xfrm>
              <a:prstGeom prst="rect">
                <a:avLst/>
              </a:prstGeom>
              <a:noFill/>
              <a:ln/>
            </p:spPr>
            <p:txBody>
              <a:bodyPr wrap="square" lIns="0" tIns="0" rIns="0" bIns="0"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IoT Hub</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0" name="Object23">
                <a:extLst>
                  <a:ext uri="{FF2B5EF4-FFF2-40B4-BE49-F238E27FC236}">
                    <a16:creationId xmlns:a16="http://schemas.microsoft.com/office/drawing/2014/main" id="{4B02317D-D930-4D28-95A4-371384B47EED}"/>
                  </a:ext>
                </a:extLst>
              </p:cNvPr>
              <p:cNvSpPr/>
              <p:nvPr/>
            </p:nvSpPr>
            <p:spPr>
              <a:xfrm>
                <a:off x="2597264" y="3692790"/>
                <a:ext cx="601473" cy="188027"/>
              </a:xfrm>
              <a:prstGeom prst="rect">
                <a:avLst/>
              </a:prstGeom>
              <a:noFill/>
              <a:ln/>
            </p:spPr>
            <p:txBody>
              <a:bodyPr wrap="square" lIns="0" tIns="0" rIns="0" bIns="0"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DPS</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1" name="Rounded Rectangle 259">
                <a:extLst>
                  <a:ext uri="{FF2B5EF4-FFF2-40B4-BE49-F238E27FC236}">
                    <a16:creationId xmlns:a16="http://schemas.microsoft.com/office/drawing/2014/main" id="{CD73E26E-6F4B-4058-BDFF-E26F987B5FC4}"/>
                  </a:ext>
                </a:extLst>
              </p:cNvPr>
              <p:cNvSpPr/>
              <p:nvPr/>
            </p:nvSpPr>
            <p:spPr>
              <a:xfrm>
                <a:off x="2496780" y="2380536"/>
                <a:ext cx="777017" cy="1847820"/>
              </a:xfrm>
              <a:prstGeom prst="roundRect">
                <a:avLst>
                  <a:gd name="adj" fmla="val 2525"/>
                </a:avLst>
              </a:prstGeom>
              <a:solidFill>
                <a:srgbClr val="FFFFFF"/>
              </a:solidFill>
              <a:ln w="25400" cap="flat" cmpd="sng" algn="ctr">
                <a:solidFill>
                  <a:srgbClr val="FFFFFF">
                    <a:lumMod val="85000"/>
                  </a:srgbClr>
                </a:solidFill>
                <a:prstDash val="sysDot"/>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362" name="Group 361">
                <a:extLst>
                  <a:ext uri="{FF2B5EF4-FFF2-40B4-BE49-F238E27FC236}">
                    <a16:creationId xmlns:a16="http://schemas.microsoft.com/office/drawing/2014/main" id="{7462E0E7-C667-4EEA-B07A-BBDC1AADC838}"/>
                  </a:ext>
                </a:extLst>
              </p:cNvPr>
              <p:cNvGrpSpPr/>
              <p:nvPr/>
            </p:nvGrpSpPr>
            <p:grpSpPr>
              <a:xfrm>
                <a:off x="2570355" y="2484197"/>
                <a:ext cx="629867" cy="1617958"/>
                <a:chOff x="4573811" y="4898777"/>
                <a:chExt cx="944801" cy="2426937"/>
              </a:xfrm>
            </p:grpSpPr>
            <p:sp>
              <p:nvSpPr>
                <p:cNvPr id="366" name="Rounded Rectangle 264">
                  <a:extLst>
                    <a:ext uri="{FF2B5EF4-FFF2-40B4-BE49-F238E27FC236}">
                      <a16:creationId xmlns:a16="http://schemas.microsoft.com/office/drawing/2014/main" id="{76E44F25-8E9E-4D3D-8ED8-D43B8CB757C6}"/>
                    </a:ext>
                  </a:extLst>
                </p:cNvPr>
                <p:cNvSpPr/>
                <p:nvPr/>
              </p:nvSpPr>
              <p:spPr>
                <a:xfrm>
                  <a:off x="4573811" y="4898777"/>
                  <a:ext cx="944801" cy="1065497"/>
                </a:xfrm>
                <a:prstGeom prst="roundRect">
                  <a:avLst>
                    <a:gd name="adj" fmla="val 9744"/>
                  </a:avLst>
                </a:prstGeom>
                <a:solidFill>
                  <a:srgbClr val="FFFFFF">
                    <a:lumMod val="95000"/>
                    <a:alpha val="70000"/>
                  </a:srgbClr>
                </a:solidFill>
                <a:ln w="28575" cap="flat" cmpd="sng" algn="ctr">
                  <a:no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7" name="Object21">
                  <a:extLst>
                    <a:ext uri="{FF2B5EF4-FFF2-40B4-BE49-F238E27FC236}">
                      <a16:creationId xmlns:a16="http://schemas.microsoft.com/office/drawing/2014/main" id="{F00DD22D-5507-4347-B28B-37E7C8912964}"/>
                    </a:ext>
                  </a:extLst>
                </p:cNvPr>
                <p:cNvSpPr/>
                <p:nvPr/>
              </p:nvSpPr>
              <p:spPr>
                <a:xfrm>
                  <a:off x="4595106" y="5521445"/>
                  <a:ext cx="902211" cy="374860"/>
                </a:xfrm>
                <a:prstGeom prst="rect">
                  <a:avLst/>
                </a:prstGeom>
                <a:noFill/>
                <a:ln/>
              </p:spPr>
              <p:txBody>
                <a:bodyPr wrap="square" lIns="0" tIns="0" rIns="0" bIns="0" rtlCol="0" anchor="ctr"/>
                <a:lstStyle/>
                <a:p>
                  <a:pPr marL="0" marR="0" lvl="0" indent="0" algn="ctr" defTabSz="609660" rtl="0" eaLnBrk="1" fontAlgn="auto" latinLnBrk="0" hangingPunct="1">
                    <a:lnSpc>
                      <a:spcPts val="1129"/>
                    </a:lnSpc>
                    <a:spcBef>
                      <a:spcPts val="0"/>
                    </a:spcBef>
                    <a:spcAft>
                      <a:spcPts val="0"/>
                    </a:spcAft>
                    <a:buClrTx/>
                    <a:buSzTx/>
                    <a:buFontTx/>
                    <a:buNone/>
                    <a:tabLst/>
                    <a:defRPr/>
                  </a:pPr>
                  <a:r>
                    <a:rPr kumimoji="0" lang="en-US" sz="7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IoT Hub</a:t>
                  </a:r>
                  <a:endParaRPr kumimoji="0" lang="en-US" sz="7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368" name="Picture 367">
                  <a:extLst>
                    <a:ext uri="{FF2B5EF4-FFF2-40B4-BE49-F238E27FC236}">
                      <a16:creationId xmlns:a16="http://schemas.microsoft.com/office/drawing/2014/main" id="{B12F5269-EC03-4F9B-9E63-F1CA70B55C9D}"/>
                    </a:ext>
                  </a:extLst>
                </p:cNvPr>
                <p:cNvPicPr>
                  <a:picLocks noChangeAspect="1"/>
                </p:cNvPicPr>
                <p:nvPr/>
              </p:nvPicPr>
              <p:blipFill>
                <a:blip r:embed="rId2"/>
                <a:stretch>
                  <a:fillRect/>
                </a:stretch>
              </p:blipFill>
              <p:spPr>
                <a:xfrm>
                  <a:off x="4862790" y="5028465"/>
                  <a:ext cx="366842" cy="366842"/>
                </a:xfrm>
                <a:prstGeom prst="rect">
                  <a:avLst/>
                </a:prstGeom>
              </p:spPr>
            </p:pic>
            <p:sp>
              <p:nvSpPr>
                <p:cNvPr id="369" name="Rounded Rectangle 276">
                  <a:extLst>
                    <a:ext uri="{FF2B5EF4-FFF2-40B4-BE49-F238E27FC236}">
                      <a16:creationId xmlns:a16="http://schemas.microsoft.com/office/drawing/2014/main" id="{AB5F99C9-62BA-4861-8C2E-1C1651E07A24}"/>
                    </a:ext>
                  </a:extLst>
                </p:cNvPr>
                <p:cNvSpPr/>
                <p:nvPr/>
              </p:nvSpPr>
              <p:spPr>
                <a:xfrm>
                  <a:off x="4573811" y="6260217"/>
                  <a:ext cx="944801" cy="1065497"/>
                </a:xfrm>
                <a:prstGeom prst="roundRect">
                  <a:avLst>
                    <a:gd name="adj" fmla="val 9744"/>
                  </a:avLst>
                </a:prstGeom>
                <a:solidFill>
                  <a:srgbClr val="FFFFFF">
                    <a:lumMod val="95000"/>
                    <a:alpha val="70000"/>
                  </a:srgbClr>
                </a:solidFill>
                <a:ln w="28575" cap="flat" cmpd="sng" algn="ctr">
                  <a:no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363" name="Group 362">
                <a:extLst>
                  <a:ext uri="{FF2B5EF4-FFF2-40B4-BE49-F238E27FC236}">
                    <a16:creationId xmlns:a16="http://schemas.microsoft.com/office/drawing/2014/main" id="{FE09BD30-5B97-4D4E-9E8F-51C8EA3029DC}"/>
                  </a:ext>
                </a:extLst>
              </p:cNvPr>
              <p:cNvGrpSpPr/>
              <p:nvPr/>
            </p:nvGrpSpPr>
            <p:grpSpPr>
              <a:xfrm>
                <a:off x="2584552" y="3511084"/>
                <a:ext cx="601474" cy="545758"/>
                <a:chOff x="4595106" y="6439108"/>
                <a:chExt cx="902211" cy="818637"/>
              </a:xfrm>
            </p:grpSpPr>
            <p:sp>
              <p:nvSpPr>
                <p:cNvPr id="364" name="Object21">
                  <a:extLst>
                    <a:ext uri="{FF2B5EF4-FFF2-40B4-BE49-F238E27FC236}">
                      <a16:creationId xmlns:a16="http://schemas.microsoft.com/office/drawing/2014/main" id="{5080DD42-8CD8-4108-9ACC-593630649279}"/>
                    </a:ext>
                  </a:extLst>
                </p:cNvPr>
                <p:cNvSpPr/>
                <p:nvPr/>
              </p:nvSpPr>
              <p:spPr>
                <a:xfrm>
                  <a:off x="4595106" y="6882885"/>
                  <a:ext cx="902211" cy="374860"/>
                </a:xfrm>
                <a:prstGeom prst="rect">
                  <a:avLst/>
                </a:prstGeom>
                <a:noFill/>
                <a:ln/>
              </p:spPr>
              <p:txBody>
                <a:bodyPr wrap="square" lIns="0" tIns="0" rIns="0" bIns="0" rtlCol="0" anchor="ctr"/>
                <a:lstStyle/>
                <a:p>
                  <a:pPr marL="0" marR="0" lvl="0" indent="0" algn="ctr" defTabSz="609660" rtl="0" eaLnBrk="1" fontAlgn="auto" latinLnBrk="0" hangingPunct="1">
                    <a:lnSpc>
                      <a:spcPts val="1129"/>
                    </a:lnSpc>
                    <a:spcBef>
                      <a:spcPts val="0"/>
                    </a:spcBef>
                    <a:spcAft>
                      <a:spcPts val="0"/>
                    </a:spcAft>
                    <a:buClrTx/>
                    <a:buSzTx/>
                    <a:buFontTx/>
                    <a:buNone/>
                    <a:tabLst/>
                    <a:defRPr/>
                  </a:pPr>
                  <a:r>
                    <a:rPr kumimoji="0" lang="en-US" sz="7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DPS</a:t>
                  </a:r>
                  <a:endParaRPr kumimoji="0" lang="en-US" sz="7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365" name="Picture 364">
                  <a:extLst>
                    <a:ext uri="{FF2B5EF4-FFF2-40B4-BE49-F238E27FC236}">
                      <a16:creationId xmlns:a16="http://schemas.microsoft.com/office/drawing/2014/main" id="{414343FC-E36C-4E00-8531-8D069D2C5050}"/>
                    </a:ext>
                  </a:extLst>
                </p:cNvPr>
                <p:cNvPicPr>
                  <a:picLocks noChangeAspect="1"/>
                </p:cNvPicPr>
                <p:nvPr/>
              </p:nvPicPr>
              <p:blipFill>
                <a:blip r:embed="rId3"/>
                <a:stretch>
                  <a:fillRect/>
                </a:stretch>
              </p:blipFill>
              <p:spPr>
                <a:xfrm>
                  <a:off x="4862791" y="6439108"/>
                  <a:ext cx="366841" cy="369839"/>
                </a:xfrm>
                <a:prstGeom prst="rect">
                  <a:avLst/>
                </a:prstGeom>
              </p:spPr>
            </p:pic>
          </p:grpSp>
        </p:grpSp>
        <p:grpSp>
          <p:nvGrpSpPr>
            <p:cNvPr id="276" name="Group 275">
              <a:extLst>
                <a:ext uri="{FF2B5EF4-FFF2-40B4-BE49-F238E27FC236}">
                  <a16:creationId xmlns:a16="http://schemas.microsoft.com/office/drawing/2014/main" id="{F667335F-A776-4402-ABDE-19B1ACDF4FB6}"/>
                </a:ext>
              </a:extLst>
            </p:cNvPr>
            <p:cNvGrpSpPr/>
            <p:nvPr/>
          </p:nvGrpSpPr>
          <p:grpSpPr>
            <a:xfrm>
              <a:off x="4507959" y="2128988"/>
              <a:ext cx="767670" cy="2377480"/>
              <a:chOff x="3956981" y="2054058"/>
              <a:chExt cx="767670" cy="2377480"/>
            </a:xfrm>
          </p:grpSpPr>
          <p:sp>
            <p:nvSpPr>
              <p:cNvPr id="343" name="Object55">
                <a:extLst>
                  <a:ext uri="{FF2B5EF4-FFF2-40B4-BE49-F238E27FC236}">
                    <a16:creationId xmlns:a16="http://schemas.microsoft.com/office/drawing/2014/main" id="{FA6A846A-9727-4470-99C0-149458A2D351}"/>
                  </a:ext>
                </a:extLst>
              </p:cNvPr>
              <p:cNvSpPr/>
              <p:nvPr/>
            </p:nvSpPr>
            <p:spPr>
              <a:xfrm>
                <a:off x="4032251" y="3988213"/>
                <a:ext cx="601473" cy="215713"/>
              </a:xfrm>
              <a:prstGeom prst="rect">
                <a:avLst/>
              </a:prstGeom>
              <a:noFill/>
              <a:ln/>
            </p:spPr>
            <p:txBody>
              <a:bodyPr wrap="square" lIns="0" tIns="0" rIns="0" bIns="0"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Azure Data
Explorer</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4" name="Object21">
                <a:extLst>
                  <a:ext uri="{FF2B5EF4-FFF2-40B4-BE49-F238E27FC236}">
                    <a16:creationId xmlns:a16="http://schemas.microsoft.com/office/drawing/2014/main" id="{FF690DD2-1F9A-4183-8960-024333359223}"/>
                  </a:ext>
                </a:extLst>
              </p:cNvPr>
              <p:cNvSpPr/>
              <p:nvPr/>
            </p:nvSpPr>
            <p:spPr>
              <a:xfrm>
                <a:off x="4034856" y="2812852"/>
                <a:ext cx="601474" cy="249907"/>
              </a:xfrm>
              <a:prstGeom prst="rect">
                <a:avLst/>
              </a:prstGeom>
              <a:noFill/>
              <a:ln/>
            </p:spPr>
            <p:txBody>
              <a:bodyPr wrap="square" lIns="0" tIns="0" rIns="0" bIns="0" rtlCol="0" anchor="ctr"/>
              <a:lstStyle/>
              <a:p>
                <a:pPr marL="0" marR="0" lvl="0" indent="0" algn="ctr" defTabSz="609660" rtl="0" eaLnBrk="1" fontAlgn="auto" latinLnBrk="0" hangingPunct="1">
                  <a:lnSpc>
                    <a:spcPts val="1129"/>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345" name="Group 344">
                <a:extLst>
                  <a:ext uri="{FF2B5EF4-FFF2-40B4-BE49-F238E27FC236}">
                    <a16:creationId xmlns:a16="http://schemas.microsoft.com/office/drawing/2014/main" id="{9C81BC0E-CB4D-4348-B3A7-AF7C42A6DF97}"/>
                  </a:ext>
                </a:extLst>
              </p:cNvPr>
              <p:cNvGrpSpPr/>
              <p:nvPr/>
            </p:nvGrpSpPr>
            <p:grpSpPr>
              <a:xfrm>
                <a:off x="3956981" y="2054058"/>
                <a:ext cx="767670" cy="1113864"/>
                <a:chOff x="5935468" y="1895802"/>
                <a:chExt cx="1151505" cy="1670794"/>
              </a:xfrm>
            </p:grpSpPr>
            <p:sp>
              <p:nvSpPr>
                <p:cNvPr id="353" name="Rounded Rectangle 260">
                  <a:extLst>
                    <a:ext uri="{FF2B5EF4-FFF2-40B4-BE49-F238E27FC236}">
                      <a16:creationId xmlns:a16="http://schemas.microsoft.com/office/drawing/2014/main" id="{6BEDD331-886E-4393-8B38-1F588C7F6B9B}"/>
                    </a:ext>
                  </a:extLst>
                </p:cNvPr>
                <p:cNvSpPr/>
                <p:nvPr/>
              </p:nvSpPr>
              <p:spPr>
                <a:xfrm>
                  <a:off x="5935468" y="2269066"/>
                  <a:ext cx="1151505" cy="1297530"/>
                </a:xfrm>
                <a:prstGeom prst="roundRect">
                  <a:avLst>
                    <a:gd name="adj" fmla="val 2525"/>
                  </a:avLst>
                </a:prstGeom>
                <a:solidFill>
                  <a:srgbClr val="FFFFFF"/>
                </a:solidFill>
                <a:ln w="25400" cap="flat" cmpd="sng" algn="ctr">
                  <a:solidFill>
                    <a:srgbClr val="FFFFFF">
                      <a:lumMod val="85000"/>
                    </a:srgbClr>
                  </a:solidFill>
                  <a:prstDash val="sysDot"/>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4" name="Rounded Rectangle 278">
                  <a:extLst>
                    <a:ext uri="{FF2B5EF4-FFF2-40B4-BE49-F238E27FC236}">
                      <a16:creationId xmlns:a16="http://schemas.microsoft.com/office/drawing/2014/main" id="{DDD54730-4199-4DC6-8D7C-C1D785A38BE1}"/>
                    </a:ext>
                  </a:extLst>
                </p:cNvPr>
                <p:cNvSpPr/>
                <p:nvPr/>
              </p:nvSpPr>
              <p:spPr>
                <a:xfrm>
                  <a:off x="6045829" y="2389852"/>
                  <a:ext cx="944801" cy="1065497"/>
                </a:xfrm>
                <a:prstGeom prst="roundRect">
                  <a:avLst>
                    <a:gd name="adj" fmla="val 9744"/>
                  </a:avLst>
                </a:prstGeom>
                <a:solidFill>
                  <a:srgbClr val="FFFFFF">
                    <a:lumMod val="95000"/>
                    <a:alpha val="70000"/>
                  </a:srgbClr>
                </a:solidFill>
                <a:ln w="28575" cap="flat" cmpd="sng" algn="ctr">
                  <a:no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355" name="Group 354">
                  <a:extLst>
                    <a:ext uri="{FF2B5EF4-FFF2-40B4-BE49-F238E27FC236}">
                      <a16:creationId xmlns:a16="http://schemas.microsoft.com/office/drawing/2014/main" id="{D54C89E2-ADB0-4AAF-8063-C35E07D39EE1}"/>
                    </a:ext>
                  </a:extLst>
                </p:cNvPr>
                <p:cNvGrpSpPr/>
                <p:nvPr/>
              </p:nvGrpSpPr>
              <p:grpSpPr>
                <a:xfrm>
                  <a:off x="6038655" y="1895802"/>
                  <a:ext cx="946129" cy="1414835"/>
                  <a:chOff x="6047970" y="1895802"/>
                  <a:chExt cx="946129" cy="1414835"/>
                </a:xfrm>
              </p:grpSpPr>
              <p:sp>
                <p:nvSpPr>
                  <p:cNvPr id="357" name="Object57">
                    <a:extLst>
                      <a:ext uri="{FF2B5EF4-FFF2-40B4-BE49-F238E27FC236}">
                        <a16:creationId xmlns:a16="http://schemas.microsoft.com/office/drawing/2014/main" id="{81B3594C-5CAF-4F54-94E2-818884B53DC0}"/>
                      </a:ext>
                    </a:extLst>
                  </p:cNvPr>
                  <p:cNvSpPr/>
                  <p:nvPr/>
                </p:nvSpPr>
                <p:spPr>
                  <a:xfrm>
                    <a:off x="6091889" y="3028596"/>
                    <a:ext cx="902210" cy="282041"/>
                  </a:xfrm>
                  <a:prstGeom prst="rect">
                    <a:avLst/>
                  </a:prstGeom>
                  <a:noFill/>
                  <a:ln/>
                </p:spPr>
                <p:txBody>
                  <a:bodyPr wrap="square" lIns="0" tIns="0" rIns="0" bIns="0"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Azure Stream Analytics</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8" name="Rounded Rectangle 177">
                    <a:extLst>
                      <a:ext uri="{FF2B5EF4-FFF2-40B4-BE49-F238E27FC236}">
                        <a16:creationId xmlns:a16="http://schemas.microsoft.com/office/drawing/2014/main" id="{1E51592C-2F3D-4954-9782-42FFB1D4199B}"/>
                      </a:ext>
                    </a:extLst>
                  </p:cNvPr>
                  <p:cNvSpPr/>
                  <p:nvPr/>
                </p:nvSpPr>
                <p:spPr>
                  <a:xfrm>
                    <a:off x="6047970" y="1895802"/>
                    <a:ext cx="938349" cy="329184"/>
                  </a:xfrm>
                  <a:prstGeom prst="roundRect">
                    <a:avLst>
                      <a:gd name="adj" fmla="val 50000"/>
                    </a:avLst>
                  </a:prstGeom>
                  <a:solidFill>
                    <a:srgbClr val="D9ECEE"/>
                  </a:solidFill>
                  <a:ln w="10795" cap="flat" cmpd="sng" algn="ctr">
                    <a:no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105E7D"/>
                        </a:solidFill>
                        <a:effectLst/>
                        <a:uLnTx/>
                        <a:uFillTx/>
                        <a:latin typeface="Segoe UI Semibold" pitchFamily="34" charset="0"/>
                        <a:ea typeface="Segoe UI Semibold" pitchFamily="34" charset="-122"/>
                        <a:cs typeface="Segoe UI Semibold" pitchFamily="34" charset="-120"/>
                      </a:rPr>
                      <a:t>Hot Path</a:t>
                    </a:r>
                    <a:endParaRPr kumimoji="0" lang="en-US" sz="6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pic>
              <p:nvPicPr>
                <p:cNvPr id="356" name="Picture 355">
                  <a:extLst>
                    <a:ext uri="{FF2B5EF4-FFF2-40B4-BE49-F238E27FC236}">
                      <a16:creationId xmlns:a16="http://schemas.microsoft.com/office/drawing/2014/main" id="{87FCF626-AA4A-4BBA-91A2-609A0023A29A}"/>
                    </a:ext>
                  </a:extLst>
                </p:cNvPr>
                <p:cNvPicPr>
                  <a:picLocks noChangeAspect="1"/>
                </p:cNvPicPr>
                <p:nvPr/>
              </p:nvPicPr>
              <p:blipFill>
                <a:blip r:embed="rId4"/>
                <a:stretch>
                  <a:fillRect/>
                </a:stretch>
              </p:blipFill>
              <p:spPr>
                <a:xfrm>
                  <a:off x="6346469" y="2548129"/>
                  <a:ext cx="343520" cy="343520"/>
                </a:xfrm>
                <a:prstGeom prst="rect">
                  <a:avLst/>
                </a:prstGeom>
              </p:spPr>
            </p:pic>
          </p:grpSp>
          <p:grpSp>
            <p:nvGrpSpPr>
              <p:cNvPr id="346" name="Group 345">
                <a:extLst>
                  <a:ext uri="{FF2B5EF4-FFF2-40B4-BE49-F238E27FC236}">
                    <a16:creationId xmlns:a16="http://schemas.microsoft.com/office/drawing/2014/main" id="{E2C5A5D6-6B51-4799-A9A3-4DE30107F1C0}"/>
                  </a:ext>
                </a:extLst>
              </p:cNvPr>
              <p:cNvGrpSpPr/>
              <p:nvPr/>
            </p:nvGrpSpPr>
            <p:grpSpPr>
              <a:xfrm>
                <a:off x="3956981" y="3309120"/>
                <a:ext cx="767670" cy="1122418"/>
                <a:chOff x="5935468" y="1882976"/>
                <a:chExt cx="1151505" cy="1683623"/>
              </a:xfrm>
            </p:grpSpPr>
            <p:sp>
              <p:nvSpPr>
                <p:cNvPr id="348" name="Rounded Rectangle 292">
                  <a:extLst>
                    <a:ext uri="{FF2B5EF4-FFF2-40B4-BE49-F238E27FC236}">
                      <a16:creationId xmlns:a16="http://schemas.microsoft.com/office/drawing/2014/main" id="{3C1A9C44-A9DD-4D8B-BEF6-D0E4AD8F61BE}"/>
                    </a:ext>
                  </a:extLst>
                </p:cNvPr>
                <p:cNvSpPr/>
                <p:nvPr/>
              </p:nvSpPr>
              <p:spPr>
                <a:xfrm>
                  <a:off x="5935468" y="2266974"/>
                  <a:ext cx="1151505" cy="1299625"/>
                </a:xfrm>
                <a:prstGeom prst="roundRect">
                  <a:avLst>
                    <a:gd name="adj" fmla="val 2525"/>
                  </a:avLst>
                </a:prstGeom>
                <a:solidFill>
                  <a:srgbClr val="FFFFFF"/>
                </a:solidFill>
                <a:ln w="25400" cap="flat" cmpd="sng" algn="ctr">
                  <a:solidFill>
                    <a:srgbClr val="FFFFFF">
                      <a:lumMod val="85000"/>
                    </a:srgbClr>
                  </a:solidFill>
                  <a:prstDash val="sysDot"/>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9" name="Rounded Rectangle 293">
                  <a:extLst>
                    <a:ext uri="{FF2B5EF4-FFF2-40B4-BE49-F238E27FC236}">
                      <a16:creationId xmlns:a16="http://schemas.microsoft.com/office/drawing/2014/main" id="{0B06DF8C-332C-479D-A22C-E33E656AFFA2}"/>
                    </a:ext>
                  </a:extLst>
                </p:cNvPr>
                <p:cNvSpPr/>
                <p:nvPr/>
              </p:nvSpPr>
              <p:spPr>
                <a:xfrm>
                  <a:off x="6045829" y="2389852"/>
                  <a:ext cx="944801" cy="1065497"/>
                </a:xfrm>
                <a:prstGeom prst="roundRect">
                  <a:avLst>
                    <a:gd name="adj" fmla="val 9744"/>
                  </a:avLst>
                </a:prstGeom>
                <a:solidFill>
                  <a:srgbClr val="FFFFFF">
                    <a:lumMod val="95000"/>
                    <a:alpha val="70000"/>
                  </a:srgbClr>
                </a:solidFill>
                <a:ln w="28575" cap="flat" cmpd="sng" algn="ctr">
                  <a:no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350" name="Group 349">
                  <a:extLst>
                    <a:ext uri="{FF2B5EF4-FFF2-40B4-BE49-F238E27FC236}">
                      <a16:creationId xmlns:a16="http://schemas.microsoft.com/office/drawing/2014/main" id="{441CC512-5DA4-455E-97B7-14CADD4FD1C8}"/>
                    </a:ext>
                  </a:extLst>
                </p:cNvPr>
                <p:cNvGrpSpPr/>
                <p:nvPr/>
              </p:nvGrpSpPr>
              <p:grpSpPr>
                <a:xfrm>
                  <a:off x="5975954" y="1882976"/>
                  <a:ext cx="1111017" cy="1427661"/>
                  <a:chOff x="5985269" y="1882976"/>
                  <a:chExt cx="1111017" cy="1427661"/>
                </a:xfrm>
              </p:grpSpPr>
              <p:sp>
                <p:nvSpPr>
                  <p:cNvPr id="351" name="Object57">
                    <a:extLst>
                      <a:ext uri="{FF2B5EF4-FFF2-40B4-BE49-F238E27FC236}">
                        <a16:creationId xmlns:a16="http://schemas.microsoft.com/office/drawing/2014/main" id="{F21FEDFF-3E25-4DF0-935E-38DA57738293}"/>
                      </a:ext>
                    </a:extLst>
                  </p:cNvPr>
                  <p:cNvSpPr/>
                  <p:nvPr/>
                </p:nvSpPr>
                <p:spPr>
                  <a:xfrm>
                    <a:off x="6091889" y="3028596"/>
                    <a:ext cx="902210" cy="282041"/>
                  </a:xfrm>
                  <a:prstGeom prst="rect">
                    <a:avLst/>
                  </a:prstGeom>
                  <a:noFill/>
                  <a:ln/>
                </p:spPr>
                <p:txBody>
                  <a:bodyPr wrap="square" lIns="0" tIns="0" rIns="0" bIns="0"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Azure Data
Explorer</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2" name="Rounded Rectangle 297">
                    <a:extLst>
                      <a:ext uri="{FF2B5EF4-FFF2-40B4-BE49-F238E27FC236}">
                        <a16:creationId xmlns:a16="http://schemas.microsoft.com/office/drawing/2014/main" id="{27A38207-FB03-4185-AB25-52E6A1650DD5}"/>
                      </a:ext>
                    </a:extLst>
                  </p:cNvPr>
                  <p:cNvSpPr/>
                  <p:nvPr/>
                </p:nvSpPr>
                <p:spPr>
                  <a:xfrm>
                    <a:off x="5985269" y="1882976"/>
                    <a:ext cx="1111017" cy="329183"/>
                  </a:xfrm>
                  <a:prstGeom prst="roundRect">
                    <a:avLst>
                      <a:gd name="adj" fmla="val 50000"/>
                    </a:avLst>
                  </a:prstGeom>
                  <a:solidFill>
                    <a:srgbClr val="D9ECEE"/>
                  </a:solidFill>
                  <a:ln w="10795" cap="flat" cmpd="sng" algn="ctr">
                    <a:noFill/>
                    <a:prstDash val="solid"/>
                  </a:ln>
                  <a:effectLst/>
                </p:spPr>
                <p:txBody>
                  <a:bodyPr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105E7D"/>
                        </a:solidFill>
                        <a:effectLst/>
                        <a:uLnTx/>
                        <a:uFillTx/>
                        <a:latin typeface="Segoe UI Semibold" pitchFamily="34" charset="0"/>
                        <a:ea typeface="Segoe UI Semibold" pitchFamily="34" charset="-122"/>
                        <a:cs typeface="Segoe UI Semibold" pitchFamily="34" charset="-120"/>
                      </a:rPr>
                      <a:t>Warm</a:t>
                    </a:r>
                    <a:r>
                      <a:rPr kumimoji="0" lang="ko-KR" altLang="en-US" sz="600" b="0" i="0" u="none" strike="noStrike" kern="0" cap="none" spc="0" normalizeH="0" baseline="0" noProof="0">
                        <a:ln>
                          <a:noFill/>
                        </a:ln>
                        <a:solidFill>
                          <a:srgbClr val="105E7D"/>
                        </a:solidFill>
                        <a:effectLst/>
                        <a:uLnTx/>
                        <a:uFillTx/>
                        <a:latin typeface="Segoe UI Semibold" pitchFamily="34" charset="0"/>
                        <a:ea typeface="Segoe UI Semibold" pitchFamily="34" charset="-122"/>
                        <a:cs typeface="Segoe UI Semibold" pitchFamily="34" charset="-120"/>
                      </a:rPr>
                      <a:t> </a:t>
                    </a:r>
                    <a:r>
                      <a:rPr kumimoji="0" lang="en-US" sz="600" b="0" i="0" u="none" strike="noStrike" kern="0" cap="none" spc="0" normalizeH="0" baseline="0" noProof="0">
                        <a:ln>
                          <a:noFill/>
                        </a:ln>
                        <a:solidFill>
                          <a:srgbClr val="105E7D"/>
                        </a:solidFill>
                        <a:effectLst/>
                        <a:uLnTx/>
                        <a:uFillTx/>
                        <a:latin typeface="Segoe UI Semibold" pitchFamily="34" charset="0"/>
                        <a:ea typeface="Segoe UI Semibold" pitchFamily="34" charset="-122"/>
                        <a:cs typeface="Segoe UI Semibold" pitchFamily="34" charset="-120"/>
                      </a:rPr>
                      <a:t>Path</a:t>
                    </a:r>
                    <a:endParaRPr kumimoji="0" lang="en-US" sz="6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pic>
            <p:nvPicPr>
              <p:cNvPr id="347" name="Picture 346">
                <a:extLst>
                  <a:ext uri="{FF2B5EF4-FFF2-40B4-BE49-F238E27FC236}">
                    <a16:creationId xmlns:a16="http://schemas.microsoft.com/office/drawing/2014/main" id="{C696BD6A-2903-4A04-8274-49E2411965FE}"/>
                  </a:ext>
                </a:extLst>
              </p:cNvPr>
              <p:cNvPicPr>
                <a:picLocks noChangeAspect="1"/>
              </p:cNvPicPr>
              <p:nvPr/>
            </p:nvPicPr>
            <p:blipFill>
              <a:blip r:embed="rId5"/>
              <a:stretch>
                <a:fillRect/>
              </a:stretch>
            </p:blipFill>
            <p:spPr>
              <a:xfrm>
                <a:off x="4260779" y="3828209"/>
                <a:ext cx="180927" cy="186249"/>
              </a:xfrm>
              <a:prstGeom prst="rect">
                <a:avLst/>
              </a:prstGeom>
            </p:spPr>
          </p:pic>
        </p:grpSp>
        <p:cxnSp>
          <p:nvCxnSpPr>
            <p:cNvPr id="277" name="Straight Arrow Connector 276">
              <a:extLst>
                <a:ext uri="{FF2B5EF4-FFF2-40B4-BE49-F238E27FC236}">
                  <a16:creationId xmlns:a16="http://schemas.microsoft.com/office/drawing/2014/main" id="{DDF0718B-8C7E-4327-92BE-15A167FC0512}"/>
                </a:ext>
              </a:extLst>
            </p:cNvPr>
            <p:cNvCxnSpPr>
              <a:cxnSpLocks/>
            </p:cNvCxnSpPr>
            <p:nvPr/>
          </p:nvCxnSpPr>
          <p:spPr>
            <a:xfrm>
              <a:off x="4182831" y="2810931"/>
              <a:ext cx="274320" cy="766"/>
            </a:xfrm>
            <a:prstGeom prst="straightConnector1">
              <a:avLst/>
            </a:prstGeom>
            <a:noFill/>
            <a:ln w="25400" cap="flat" cmpd="sng" algn="ctr">
              <a:solidFill>
                <a:srgbClr val="FFFFFF">
                  <a:lumMod val="75000"/>
                </a:srgbClr>
              </a:solidFill>
              <a:prstDash val="solid"/>
              <a:headEnd type="triangle" w="lg" len="med"/>
              <a:tailEnd type="triangle" w="lg" len="med"/>
            </a:ln>
            <a:effectLst/>
          </p:spPr>
        </p:cxnSp>
        <p:cxnSp>
          <p:nvCxnSpPr>
            <p:cNvPr id="278" name="Straight Arrow Connector 277">
              <a:extLst>
                <a:ext uri="{FF2B5EF4-FFF2-40B4-BE49-F238E27FC236}">
                  <a16:creationId xmlns:a16="http://schemas.microsoft.com/office/drawing/2014/main" id="{80BC3DDB-3314-47FE-A105-BAC1B77FA72A}"/>
                </a:ext>
              </a:extLst>
            </p:cNvPr>
            <p:cNvCxnSpPr>
              <a:cxnSpLocks/>
            </p:cNvCxnSpPr>
            <p:nvPr/>
          </p:nvCxnSpPr>
          <p:spPr>
            <a:xfrm>
              <a:off x="4180307" y="3801954"/>
              <a:ext cx="274320" cy="766"/>
            </a:xfrm>
            <a:prstGeom prst="straightConnector1">
              <a:avLst/>
            </a:prstGeom>
            <a:noFill/>
            <a:ln w="25400" cap="flat" cmpd="sng" algn="ctr">
              <a:solidFill>
                <a:srgbClr val="FFFFFF">
                  <a:lumMod val="75000"/>
                </a:srgbClr>
              </a:solidFill>
              <a:prstDash val="solid"/>
              <a:headEnd type="triangle" w="lg" len="med"/>
              <a:tailEnd type="triangle" w="lg" len="med"/>
            </a:ln>
            <a:effectLst/>
          </p:spPr>
        </p:cxnSp>
        <p:grpSp>
          <p:nvGrpSpPr>
            <p:cNvPr id="279" name="Group 278">
              <a:extLst>
                <a:ext uri="{FF2B5EF4-FFF2-40B4-BE49-F238E27FC236}">
                  <a16:creationId xmlns:a16="http://schemas.microsoft.com/office/drawing/2014/main" id="{210D525E-E5DC-4012-9C98-963A7017BD2A}"/>
                </a:ext>
              </a:extLst>
            </p:cNvPr>
            <p:cNvGrpSpPr/>
            <p:nvPr/>
          </p:nvGrpSpPr>
          <p:grpSpPr>
            <a:xfrm>
              <a:off x="4513277" y="4883342"/>
              <a:ext cx="769460" cy="1642223"/>
              <a:chOff x="5946810" y="5953316"/>
              <a:chExt cx="1154190" cy="2463335"/>
            </a:xfrm>
          </p:grpSpPr>
          <p:sp>
            <p:nvSpPr>
              <p:cNvPr id="336" name="Rounded Rectangle 262">
                <a:extLst>
                  <a:ext uri="{FF2B5EF4-FFF2-40B4-BE49-F238E27FC236}">
                    <a16:creationId xmlns:a16="http://schemas.microsoft.com/office/drawing/2014/main" id="{13785009-22A4-4ACF-BFDB-6AD05FFCDA93}"/>
                  </a:ext>
                </a:extLst>
              </p:cNvPr>
              <p:cNvSpPr/>
              <p:nvPr/>
            </p:nvSpPr>
            <p:spPr>
              <a:xfrm>
                <a:off x="5946810" y="5953316"/>
                <a:ext cx="1154190" cy="2463335"/>
              </a:xfrm>
              <a:prstGeom prst="roundRect">
                <a:avLst>
                  <a:gd name="adj" fmla="val 2525"/>
                </a:avLst>
              </a:prstGeom>
              <a:solidFill>
                <a:srgbClr val="FFFFFF"/>
              </a:solidFill>
              <a:ln w="28575" cap="flat" cmpd="sng" algn="ctr">
                <a:solidFill>
                  <a:srgbClr val="FFFFFF">
                    <a:lumMod val="85000"/>
                  </a:srgbClr>
                </a:solidFill>
                <a:prstDash val="sysDot"/>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7" name="Rounded Rectangle 307">
                <a:extLst>
                  <a:ext uri="{FF2B5EF4-FFF2-40B4-BE49-F238E27FC236}">
                    <a16:creationId xmlns:a16="http://schemas.microsoft.com/office/drawing/2014/main" id="{74C79484-ADF7-4221-BDED-073C5FC35BDC}"/>
                  </a:ext>
                </a:extLst>
              </p:cNvPr>
              <p:cNvSpPr/>
              <p:nvPr/>
            </p:nvSpPr>
            <p:spPr>
              <a:xfrm>
                <a:off x="6057170" y="6086061"/>
                <a:ext cx="944801" cy="1065497"/>
              </a:xfrm>
              <a:prstGeom prst="roundRect">
                <a:avLst>
                  <a:gd name="adj" fmla="val 9744"/>
                </a:avLst>
              </a:prstGeom>
              <a:solidFill>
                <a:srgbClr val="FFFFFF">
                  <a:lumMod val="95000"/>
                  <a:alpha val="70000"/>
                </a:srgbClr>
              </a:solidFill>
              <a:ln w="28575" cap="flat" cmpd="sng" algn="ctr">
                <a:no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8" name="Object57">
                <a:extLst>
                  <a:ext uri="{FF2B5EF4-FFF2-40B4-BE49-F238E27FC236}">
                    <a16:creationId xmlns:a16="http://schemas.microsoft.com/office/drawing/2014/main" id="{91D7C82C-7C7E-4DA1-8DF7-079607DF6C22}"/>
                  </a:ext>
                </a:extLst>
              </p:cNvPr>
              <p:cNvSpPr/>
              <p:nvPr/>
            </p:nvSpPr>
            <p:spPr>
              <a:xfrm>
                <a:off x="6078466" y="6671016"/>
                <a:ext cx="902210" cy="282041"/>
              </a:xfrm>
              <a:prstGeom prst="rect">
                <a:avLst/>
              </a:prstGeom>
              <a:noFill/>
              <a:ln/>
            </p:spPr>
            <p:txBody>
              <a:bodyPr wrap="square" lIns="0" tIns="0" rIns="0" bIns="0" rtlCol="0" anchor="ctr"/>
              <a:lstStyle/>
              <a:p>
                <a:pPr marL="0" marR="0" lvl="0" indent="0" algn="ctr" defTabSz="609660" rtl="0" eaLnBrk="1" fontAlgn="auto" latinLnBrk="0" hangingPunct="1">
                  <a:lnSpc>
                    <a:spcPts val="1129"/>
                  </a:lnSpc>
                  <a:spcBef>
                    <a:spcPts val="0"/>
                  </a:spcBef>
                  <a:spcAft>
                    <a:spcPts val="0"/>
                  </a:spcAft>
                  <a:buClrTx/>
                  <a:buSzTx/>
                  <a:buFontTx/>
                  <a:buNone/>
                  <a:tabLst/>
                  <a:defRPr/>
                </a:pPr>
                <a:r>
                  <a:rPr kumimoji="0" lang="en-US" sz="6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SQL DB</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9" name="Rounded Rectangle 310">
                <a:extLst>
                  <a:ext uri="{FF2B5EF4-FFF2-40B4-BE49-F238E27FC236}">
                    <a16:creationId xmlns:a16="http://schemas.microsoft.com/office/drawing/2014/main" id="{EBA372E2-5B89-42CB-B611-F12B6513D849}"/>
                  </a:ext>
                </a:extLst>
              </p:cNvPr>
              <p:cNvSpPr/>
              <p:nvPr/>
            </p:nvSpPr>
            <p:spPr>
              <a:xfrm>
                <a:off x="6078466" y="7251362"/>
                <a:ext cx="944801" cy="1065497"/>
              </a:xfrm>
              <a:prstGeom prst="roundRect">
                <a:avLst>
                  <a:gd name="adj" fmla="val 9744"/>
                </a:avLst>
              </a:prstGeom>
              <a:solidFill>
                <a:srgbClr val="FFFFFF">
                  <a:lumMod val="95000"/>
                  <a:alpha val="70000"/>
                </a:srgbClr>
              </a:solidFill>
              <a:ln w="28575" cap="flat" cmpd="sng" algn="ctr">
                <a:no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0" name="Object57">
                <a:extLst>
                  <a:ext uri="{FF2B5EF4-FFF2-40B4-BE49-F238E27FC236}">
                    <a16:creationId xmlns:a16="http://schemas.microsoft.com/office/drawing/2014/main" id="{572AE305-A5B2-46A2-96C8-162C107E56C8}"/>
                  </a:ext>
                </a:extLst>
              </p:cNvPr>
              <p:cNvSpPr/>
              <p:nvPr/>
            </p:nvSpPr>
            <p:spPr>
              <a:xfrm>
                <a:off x="6105491" y="7845076"/>
                <a:ext cx="902210" cy="282041"/>
              </a:xfrm>
              <a:prstGeom prst="rect">
                <a:avLst/>
              </a:prstGeom>
              <a:noFill/>
              <a:ln/>
            </p:spPr>
            <p:txBody>
              <a:bodyPr wrap="square" lIns="0" tIns="0" rIns="0" bIns="0" rtlCol="0" anchor="ctr"/>
              <a:lstStyle/>
              <a:p>
                <a:pPr marL="0" marR="0" lvl="0" indent="0" algn="ctr" defTabSz="609660" rtl="0" eaLnBrk="1" fontAlgn="auto" latinLnBrk="0" hangingPunct="1">
                  <a:lnSpc>
                    <a:spcPts val="1129"/>
                  </a:lnSpc>
                  <a:spcBef>
                    <a:spcPts val="0"/>
                  </a:spcBef>
                  <a:spcAft>
                    <a:spcPts val="0"/>
                  </a:spcAft>
                  <a:buClrTx/>
                  <a:buSzTx/>
                  <a:buFontTx/>
                  <a:buNone/>
                  <a:tabLst/>
                  <a:defRPr/>
                </a:pPr>
                <a:r>
                  <a:rPr kumimoji="0" lang="en-US" sz="6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Cosmos DB</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341" name="Picture 340">
                <a:extLst>
                  <a:ext uri="{FF2B5EF4-FFF2-40B4-BE49-F238E27FC236}">
                    <a16:creationId xmlns:a16="http://schemas.microsoft.com/office/drawing/2014/main" id="{CAF234F2-02E7-409E-BC7C-12486ACC31BE}"/>
                  </a:ext>
                </a:extLst>
              </p:cNvPr>
              <p:cNvPicPr>
                <a:picLocks noChangeAspect="1"/>
              </p:cNvPicPr>
              <p:nvPr/>
            </p:nvPicPr>
            <p:blipFill>
              <a:blip r:embed="rId6"/>
              <a:stretch>
                <a:fillRect/>
              </a:stretch>
            </p:blipFill>
            <p:spPr>
              <a:xfrm>
                <a:off x="6348577" y="6248769"/>
                <a:ext cx="361989" cy="351647"/>
              </a:xfrm>
              <a:prstGeom prst="rect">
                <a:avLst/>
              </a:prstGeom>
            </p:spPr>
          </p:pic>
          <p:pic>
            <p:nvPicPr>
              <p:cNvPr id="342" name="Picture 341">
                <a:extLst>
                  <a:ext uri="{FF2B5EF4-FFF2-40B4-BE49-F238E27FC236}">
                    <a16:creationId xmlns:a16="http://schemas.microsoft.com/office/drawing/2014/main" id="{99BEB088-46C3-4CB3-A25E-B374A15789EC}"/>
                  </a:ext>
                </a:extLst>
              </p:cNvPr>
              <p:cNvPicPr>
                <a:picLocks noChangeAspect="1"/>
              </p:cNvPicPr>
              <p:nvPr/>
            </p:nvPicPr>
            <p:blipFill>
              <a:blip r:embed="rId7"/>
              <a:stretch>
                <a:fillRect/>
              </a:stretch>
            </p:blipFill>
            <p:spPr>
              <a:xfrm>
                <a:off x="6377069" y="7428523"/>
                <a:ext cx="359054" cy="348795"/>
              </a:xfrm>
              <a:prstGeom prst="rect">
                <a:avLst/>
              </a:prstGeom>
            </p:spPr>
          </p:pic>
        </p:grpSp>
        <p:sp>
          <p:nvSpPr>
            <p:cNvPr id="280" name="Rounded Rectangle 179">
              <a:extLst>
                <a:ext uri="{FF2B5EF4-FFF2-40B4-BE49-F238E27FC236}">
                  <a16:creationId xmlns:a16="http://schemas.microsoft.com/office/drawing/2014/main" id="{3F2B615C-2A68-4A58-8BDA-2FCF9C3C90F0}"/>
                </a:ext>
              </a:extLst>
            </p:cNvPr>
            <p:cNvSpPr/>
            <p:nvPr/>
          </p:nvSpPr>
          <p:spPr>
            <a:xfrm>
              <a:off x="4583229" y="4631950"/>
              <a:ext cx="621532" cy="219456"/>
            </a:xfrm>
            <a:prstGeom prst="roundRect">
              <a:avLst>
                <a:gd name="adj" fmla="val 50000"/>
              </a:avLst>
            </a:prstGeom>
            <a:solidFill>
              <a:srgbClr val="D9ECEE"/>
            </a:solidFill>
            <a:ln w="10795" cap="flat" cmpd="sng" algn="ctr">
              <a:noFill/>
              <a:prstDash val="solid"/>
            </a:ln>
            <a:effectLst/>
          </p:spPr>
          <p:txBody>
            <a:bodyPr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105E7D"/>
                  </a:solidFill>
                  <a:effectLst/>
                  <a:uLnTx/>
                  <a:uFillTx/>
                  <a:latin typeface="Segoe UI Semibold" pitchFamily="34" charset="0"/>
                  <a:ea typeface="Segoe UI Semibold" pitchFamily="34" charset="-122"/>
                  <a:cs typeface="Segoe UI Semibold" pitchFamily="34" charset="-120"/>
                </a:rPr>
                <a:t>Cold Path</a:t>
              </a:r>
              <a:endParaRPr kumimoji="0" lang="en-US" sz="6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281" name="Group 280">
              <a:extLst>
                <a:ext uri="{FF2B5EF4-FFF2-40B4-BE49-F238E27FC236}">
                  <a16:creationId xmlns:a16="http://schemas.microsoft.com/office/drawing/2014/main" id="{D8ED0486-3557-4BA7-A45A-00B41D3E0C48}"/>
                </a:ext>
              </a:extLst>
            </p:cNvPr>
            <p:cNvGrpSpPr/>
            <p:nvPr/>
          </p:nvGrpSpPr>
          <p:grpSpPr>
            <a:xfrm>
              <a:off x="5302102" y="2802735"/>
              <a:ext cx="208578" cy="2504982"/>
              <a:chOff x="4741556" y="2741253"/>
              <a:chExt cx="208578" cy="2504982"/>
            </a:xfrm>
          </p:grpSpPr>
          <p:cxnSp>
            <p:nvCxnSpPr>
              <p:cNvPr id="334" name="Straight Arrow Connector 333">
                <a:extLst>
                  <a:ext uri="{FF2B5EF4-FFF2-40B4-BE49-F238E27FC236}">
                    <a16:creationId xmlns:a16="http://schemas.microsoft.com/office/drawing/2014/main" id="{6030E03C-EEE3-4F49-A7B4-88FDD29B48C3}"/>
                  </a:ext>
                </a:extLst>
              </p:cNvPr>
              <p:cNvCxnSpPr>
                <a:cxnSpLocks/>
              </p:cNvCxnSpPr>
              <p:nvPr/>
            </p:nvCxnSpPr>
            <p:spPr>
              <a:xfrm>
                <a:off x="4741556" y="2749588"/>
                <a:ext cx="188407" cy="0"/>
              </a:xfrm>
              <a:prstGeom prst="straightConnector1">
                <a:avLst/>
              </a:prstGeom>
              <a:noFill/>
              <a:ln w="25400" cap="flat" cmpd="sng" algn="ctr">
                <a:solidFill>
                  <a:srgbClr val="059DBF"/>
                </a:solidFill>
                <a:prstDash val="sysDot"/>
                <a:headEnd type="none" w="med" len="sm"/>
                <a:tailEnd type="none" w="lg" len="med"/>
              </a:ln>
              <a:effectLst/>
            </p:spPr>
          </p:cxnSp>
          <p:cxnSp>
            <p:nvCxnSpPr>
              <p:cNvPr id="335" name="Straight Arrow Connector 334">
                <a:extLst>
                  <a:ext uri="{FF2B5EF4-FFF2-40B4-BE49-F238E27FC236}">
                    <a16:creationId xmlns:a16="http://schemas.microsoft.com/office/drawing/2014/main" id="{7E8985CE-D537-48C3-8A36-FC098C391DED}"/>
                  </a:ext>
                </a:extLst>
              </p:cNvPr>
              <p:cNvCxnSpPr>
                <a:cxnSpLocks/>
              </p:cNvCxnSpPr>
              <p:nvPr/>
            </p:nvCxnSpPr>
            <p:spPr>
              <a:xfrm flipV="1">
                <a:off x="4950134" y="2741253"/>
                <a:ext cx="0" cy="2504982"/>
              </a:xfrm>
              <a:prstGeom prst="straightConnector1">
                <a:avLst/>
              </a:prstGeom>
              <a:noFill/>
              <a:ln w="25400" cap="flat" cmpd="sng" algn="ctr">
                <a:solidFill>
                  <a:srgbClr val="059DBF"/>
                </a:solidFill>
                <a:prstDash val="sysDot"/>
                <a:headEnd type="none" w="med" len="sm"/>
                <a:tailEnd type="none" w="lg" len="med"/>
              </a:ln>
              <a:effectLst/>
            </p:spPr>
          </p:cxnSp>
        </p:grpSp>
        <p:cxnSp>
          <p:nvCxnSpPr>
            <p:cNvPr id="282" name="Straight Arrow Connector 281">
              <a:extLst>
                <a:ext uri="{FF2B5EF4-FFF2-40B4-BE49-F238E27FC236}">
                  <a16:creationId xmlns:a16="http://schemas.microsoft.com/office/drawing/2014/main" id="{2815CF61-1E72-4721-9066-E3B27034AA80}"/>
                </a:ext>
              </a:extLst>
            </p:cNvPr>
            <p:cNvCxnSpPr>
              <a:cxnSpLocks/>
            </p:cNvCxnSpPr>
            <p:nvPr/>
          </p:nvCxnSpPr>
          <p:spPr>
            <a:xfrm>
              <a:off x="5391124" y="5707651"/>
              <a:ext cx="461786" cy="0"/>
            </a:xfrm>
            <a:prstGeom prst="straightConnector1">
              <a:avLst/>
            </a:prstGeom>
            <a:noFill/>
            <a:ln w="25400" cap="flat" cmpd="sng" algn="ctr">
              <a:solidFill>
                <a:srgbClr val="059DBF"/>
              </a:solidFill>
              <a:prstDash val="sysDot"/>
              <a:headEnd type="none" w="med" len="sm"/>
              <a:tailEnd type="triangle" w="lg" len="med"/>
            </a:ln>
            <a:effectLst/>
          </p:spPr>
        </p:cxnSp>
        <p:grpSp>
          <p:nvGrpSpPr>
            <p:cNvPr id="283" name="Group 282">
              <a:extLst>
                <a:ext uri="{FF2B5EF4-FFF2-40B4-BE49-F238E27FC236}">
                  <a16:creationId xmlns:a16="http://schemas.microsoft.com/office/drawing/2014/main" id="{389CDA24-DF72-4034-BAB3-883C7F344E11}"/>
                </a:ext>
              </a:extLst>
            </p:cNvPr>
            <p:cNvGrpSpPr/>
            <p:nvPr/>
          </p:nvGrpSpPr>
          <p:grpSpPr>
            <a:xfrm>
              <a:off x="5907594" y="4963566"/>
              <a:ext cx="2995520" cy="1116040"/>
              <a:chOff x="8121344" y="5702689"/>
              <a:chExt cx="4493280" cy="1674060"/>
            </a:xfrm>
          </p:grpSpPr>
          <p:sp>
            <p:nvSpPr>
              <p:cNvPr id="328" name="Rounded Rectangle 170">
                <a:extLst>
                  <a:ext uri="{FF2B5EF4-FFF2-40B4-BE49-F238E27FC236}">
                    <a16:creationId xmlns:a16="http://schemas.microsoft.com/office/drawing/2014/main" id="{5FFC9AA1-E215-43CD-9564-3E06174889DF}"/>
                  </a:ext>
                </a:extLst>
              </p:cNvPr>
              <p:cNvSpPr/>
              <p:nvPr/>
            </p:nvSpPr>
            <p:spPr>
              <a:xfrm>
                <a:off x="8121344" y="5702689"/>
                <a:ext cx="4493280" cy="1674060"/>
              </a:xfrm>
              <a:prstGeom prst="roundRect">
                <a:avLst>
                  <a:gd name="adj" fmla="val 2525"/>
                </a:avLst>
              </a:prstGeom>
              <a:solidFill>
                <a:srgbClr val="D9ECEE"/>
              </a:solidFill>
              <a:ln w="28575" cap="flat" cmpd="sng" algn="ctr">
                <a:noFill/>
                <a:prstDash val="sysDot"/>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329" name="Group 328">
                <a:extLst>
                  <a:ext uri="{FF2B5EF4-FFF2-40B4-BE49-F238E27FC236}">
                    <a16:creationId xmlns:a16="http://schemas.microsoft.com/office/drawing/2014/main" id="{2E112142-00F7-4DF9-8DA9-1344FB7D0AED}"/>
                  </a:ext>
                </a:extLst>
              </p:cNvPr>
              <p:cNvGrpSpPr/>
              <p:nvPr/>
            </p:nvGrpSpPr>
            <p:grpSpPr>
              <a:xfrm>
                <a:off x="8305645" y="6818816"/>
                <a:ext cx="4103030" cy="267975"/>
                <a:chOff x="8179751" y="8042760"/>
                <a:chExt cx="4103030" cy="267975"/>
              </a:xfrm>
            </p:grpSpPr>
            <p:sp>
              <p:nvSpPr>
                <p:cNvPr id="331" name="Rounded Rectangle 171">
                  <a:extLst>
                    <a:ext uri="{FF2B5EF4-FFF2-40B4-BE49-F238E27FC236}">
                      <a16:creationId xmlns:a16="http://schemas.microsoft.com/office/drawing/2014/main" id="{1B9A9F8B-79DC-488D-AE19-B6EC111BF058}"/>
                    </a:ext>
                  </a:extLst>
                </p:cNvPr>
                <p:cNvSpPr/>
                <p:nvPr/>
              </p:nvSpPr>
              <p:spPr>
                <a:xfrm>
                  <a:off x="8179751" y="8042760"/>
                  <a:ext cx="1334195" cy="265326"/>
                </a:xfrm>
                <a:prstGeom prst="roundRect">
                  <a:avLst>
                    <a:gd name="adj" fmla="val 50000"/>
                  </a:avLst>
                </a:prstGeom>
                <a:solidFill>
                  <a:srgbClr val="059DBF"/>
                </a:solidFill>
                <a:ln w="10795" cap="flat" cmpd="sng" algn="ctr">
                  <a:no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Semibold" pitchFamily="34" charset="0"/>
                      <a:ea typeface="Segoe UI Semibold" pitchFamily="34" charset="-122"/>
                      <a:cs typeface="Segoe UI Semibold" pitchFamily="34" charset="-120"/>
                    </a:rPr>
                    <a:t>High Availability</a:t>
                  </a:r>
                  <a:endParaRPr kumimoji="0" lang="en-US" sz="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32" name="Rounded Rectangle 172">
                  <a:extLst>
                    <a:ext uri="{FF2B5EF4-FFF2-40B4-BE49-F238E27FC236}">
                      <a16:creationId xmlns:a16="http://schemas.microsoft.com/office/drawing/2014/main" id="{A46EAEA2-118F-4237-91FB-0BFF6578E2CD}"/>
                    </a:ext>
                  </a:extLst>
                </p:cNvPr>
                <p:cNvSpPr/>
                <p:nvPr/>
              </p:nvSpPr>
              <p:spPr>
                <a:xfrm>
                  <a:off x="9580784" y="8042760"/>
                  <a:ext cx="1250705" cy="265326"/>
                </a:xfrm>
                <a:prstGeom prst="roundRect">
                  <a:avLst>
                    <a:gd name="adj" fmla="val 50000"/>
                  </a:avLst>
                </a:prstGeom>
                <a:solidFill>
                  <a:srgbClr val="059DBF"/>
                </a:solidFill>
                <a:ln w="10795" cap="flat" cmpd="sng" algn="ctr">
                  <a:noFill/>
                  <a:prstDash val="solid"/>
                </a:ln>
                <a:effectLst/>
              </p:spPr>
              <p:txBody>
                <a:bodyPr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Semibold" pitchFamily="34" charset="0"/>
                      <a:ea typeface="Segoe UI Semibold" pitchFamily="34" charset="-122"/>
                      <a:cs typeface="Segoe UI Semibold" pitchFamily="34" charset="-120"/>
                    </a:rPr>
                    <a:t>Elastic Scale</a:t>
                  </a:r>
                  <a:endParaRPr kumimoji="0" lang="en-US" sz="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33" name="Rounded Rectangle 173">
                  <a:extLst>
                    <a:ext uri="{FF2B5EF4-FFF2-40B4-BE49-F238E27FC236}">
                      <a16:creationId xmlns:a16="http://schemas.microsoft.com/office/drawing/2014/main" id="{C28098E1-5608-4B42-AA28-15E688D0F3FC}"/>
                    </a:ext>
                  </a:extLst>
                </p:cNvPr>
                <p:cNvSpPr/>
                <p:nvPr/>
              </p:nvSpPr>
              <p:spPr>
                <a:xfrm>
                  <a:off x="10906823" y="8042760"/>
                  <a:ext cx="1375958" cy="267975"/>
                </a:xfrm>
                <a:prstGeom prst="roundRect">
                  <a:avLst>
                    <a:gd name="adj" fmla="val 50000"/>
                  </a:avLst>
                </a:prstGeom>
                <a:solidFill>
                  <a:srgbClr val="059DBF"/>
                </a:solidFill>
                <a:ln w="10795" cap="flat" cmpd="sng" algn="ctr">
                  <a:noFill/>
                  <a:prstDash val="solid"/>
                </a:ln>
                <a:effectLst/>
              </p:spPr>
              <p:txBody>
                <a:bodyPr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Semibold" pitchFamily="34" charset="0"/>
                      <a:ea typeface="Segoe UI Semibold" pitchFamily="34" charset="-122"/>
                      <a:cs typeface="Segoe UI Semibold" pitchFamily="34" charset="-120"/>
                    </a:rPr>
                    <a:t>Disaster Recovery</a:t>
                  </a:r>
                  <a:endParaRPr kumimoji="0" lang="en-US" sz="6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30" name="Object18">
                <a:extLst>
                  <a:ext uri="{FF2B5EF4-FFF2-40B4-BE49-F238E27FC236}">
                    <a16:creationId xmlns:a16="http://schemas.microsoft.com/office/drawing/2014/main" id="{2EFE551B-371F-4670-B2FF-6DDB52C5092E}"/>
                  </a:ext>
                </a:extLst>
              </p:cNvPr>
              <p:cNvSpPr/>
              <p:nvPr/>
            </p:nvSpPr>
            <p:spPr>
              <a:xfrm>
                <a:off x="8677144" y="6010429"/>
                <a:ext cx="3511802" cy="534593"/>
              </a:xfrm>
              <a:prstGeom prst="rect">
                <a:avLst/>
              </a:prstGeom>
              <a:noFill/>
              <a:ln/>
            </p:spPr>
            <p:txBody>
              <a:bodyPr wrap="square" lIns="0" tIns="0" rIns="0" bIns="0"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Built on a managed multi-tenant PaaS services layer that delivers</a:t>
                </a:r>
                <a:endParaRPr kumimoji="0" lang="en-US" sz="9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cxnSp>
          <p:nvCxnSpPr>
            <p:cNvPr id="284" name="Straight Arrow Connector 283">
              <a:extLst>
                <a:ext uri="{FF2B5EF4-FFF2-40B4-BE49-F238E27FC236}">
                  <a16:creationId xmlns:a16="http://schemas.microsoft.com/office/drawing/2014/main" id="{7488E5A7-CC7E-49D3-886F-F0CA96B2D5BE}"/>
                </a:ext>
              </a:extLst>
            </p:cNvPr>
            <p:cNvCxnSpPr>
              <a:cxnSpLocks/>
              <a:stCxn id="328" idx="0"/>
            </p:cNvCxnSpPr>
            <p:nvPr/>
          </p:nvCxnSpPr>
          <p:spPr>
            <a:xfrm flipV="1">
              <a:off x="7405354" y="4513946"/>
              <a:ext cx="0" cy="449620"/>
            </a:xfrm>
            <a:prstGeom prst="straightConnector1">
              <a:avLst/>
            </a:prstGeom>
            <a:noFill/>
            <a:ln w="25400" cap="flat" cmpd="sng" algn="ctr">
              <a:solidFill>
                <a:srgbClr val="059DBF"/>
              </a:solidFill>
              <a:prstDash val="sysDot"/>
              <a:headEnd type="none" w="med" len="sm"/>
              <a:tailEnd type="triangle" w="lg" len="med"/>
            </a:ln>
            <a:effectLst/>
          </p:spPr>
        </p:cxnSp>
        <p:grpSp>
          <p:nvGrpSpPr>
            <p:cNvPr id="285" name="Group 284">
              <a:extLst>
                <a:ext uri="{FF2B5EF4-FFF2-40B4-BE49-F238E27FC236}">
                  <a16:creationId xmlns:a16="http://schemas.microsoft.com/office/drawing/2014/main" id="{23E7E4BD-5480-4A81-A4A0-BF5973759284}"/>
                </a:ext>
              </a:extLst>
            </p:cNvPr>
            <p:cNvGrpSpPr/>
            <p:nvPr/>
          </p:nvGrpSpPr>
          <p:grpSpPr>
            <a:xfrm>
              <a:off x="5852910" y="2134984"/>
              <a:ext cx="3098528" cy="2347485"/>
              <a:chOff x="5359186" y="2060054"/>
              <a:chExt cx="3098528" cy="2347485"/>
            </a:xfrm>
          </p:grpSpPr>
          <p:grpSp>
            <p:nvGrpSpPr>
              <p:cNvPr id="288" name="Group 287">
                <a:extLst>
                  <a:ext uri="{FF2B5EF4-FFF2-40B4-BE49-F238E27FC236}">
                    <a16:creationId xmlns:a16="http://schemas.microsoft.com/office/drawing/2014/main" id="{1097905E-355F-4D79-A908-B065F892ADC2}"/>
                  </a:ext>
                </a:extLst>
              </p:cNvPr>
              <p:cNvGrpSpPr/>
              <p:nvPr/>
            </p:nvGrpSpPr>
            <p:grpSpPr>
              <a:xfrm>
                <a:off x="5359186" y="2380782"/>
                <a:ext cx="3098528" cy="2026757"/>
                <a:chOff x="4976743" y="2304507"/>
                <a:chExt cx="5378121" cy="2138485"/>
              </a:xfrm>
            </p:grpSpPr>
            <p:sp>
              <p:nvSpPr>
                <p:cNvPr id="323" name="Rounded Rectangle 104">
                  <a:extLst>
                    <a:ext uri="{FF2B5EF4-FFF2-40B4-BE49-F238E27FC236}">
                      <a16:creationId xmlns:a16="http://schemas.microsoft.com/office/drawing/2014/main" id="{AB5FFF61-9AC1-4033-8432-C342E15A92BB}"/>
                    </a:ext>
                  </a:extLst>
                </p:cNvPr>
                <p:cNvSpPr/>
                <p:nvPr/>
              </p:nvSpPr>
              <p:spPr>
                <a:xfrm>
                  <a:off x="4976743" y="2304507"/>
                  <a:ext cx="5378121" cy="2138485"/>
                </a:xfrm>
                <a:prstGeom prst="roundRect">
                  <a:avLst>
                    <a:gd name="adj" fmla="val 1689"/>
                  </a:avLst>
                </a:prstGeom>
                <a:solidFill>
                  <a:srgbClr val="FFFFFF"/>
                </a:solidFill>
                <a:ln w="28575" cap="flat" cmpd="sng" algn="ctr">
                  <a:solidFill>
                    <a:srgbClr val="059DBF"/>
                  </a:solid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324" name="Group 323">
                  <a:extLst>
                    <a:ext uri="{FF2B5EF4-FFF2-40B4-BE49-F238E27FC236}">
                      <a16:creationId xmlns:a16="http://schemas.microsoft.com/office/drawing/2014/main" id="{95631A37-C789-407F-B16B-B1902810DDBF}"/>
                    </a:ext>
                  </a:extLst>
                </p:cNvPr>
                <p:cNvGrpSpPr/>
                <p:nvPr/>
              </p:nvGrpSpPr>
              <p:grpSpPr>
                <a:xfrm>
                  <a:off x="5187229" y="2656002"/>
                  <a:ext cx="4975946" cy="1668027"/>
                  <a:chOff x="5148521" y="2652666"/>
                  <a:chExt cx="4975946" cy="1668027"/>
                </a:xfrm>
              </p:grpSpPr>
              <p:sp>
                <p:nvSpPr>
                  <p:cNvPr id="325" name="Rounded Rectangle 106">
                    <a:extLst>
                      <a:ext uri="{FF2B5EF4-FFF2-40B4-BE49-F238E27FC236}">
                        <a16:creationId xmlns:a16="http://schemas.microsoft.com/office/drawing/2014/main" id="{FA5E3E44-D586-4B6B-9F46-1F1172B2BB18}"/>
                      </a:ext>
                    </a:extLst>
                  </p:cNvPr>
                  <p:cNvSpPr/>
                  <p:nvPr/>
                </p:nvSpPr>
                <p:spPr>
                  <a:xfrm>
                    <a:off x="5148521" y="2652666"/>
                    <a:ext cx="1514288" cy="1656426"/>
                  </a:xfrm>
                  <a:prstGeom prst="roundRect">
                    <a:avLst>
                      <a:gd name="adj" fmla="val 9744"/>
                    </a:avLst>
                  </a:prstGeom>
                  <a:solidFill>
                    <a:srgbClr val="FFFFFF">
                      <a:lumMod val="95000"/>
                      <a:alpha val="70000"/>
                    </a:srgbClr>
                  </a:solidFill>
                  <a:ln w="28575" cap="flat" cmpd="sng" algn="ctr">
                    <a:no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6" name="Rounded Rectangle 107">
                    <a:extLst>
                      <a:ext uri="{FF2B5EF4-FFF2-40B4-BE49-F238E27FC236}">
                        <a16:creationId xmlns:a16="http://schemas.microsoft.com/office/drawing/2014/main" id="{1ECC90D9-EF65-4104-B2BF-A931A9E6796A}"/>
                      </a:ext>
                    </a:extLst>
                  </p:cNvPr>
                  <p:cNvSpPr/>
                  <p:nvPr/>
                </p:nvSpPr>
                <p:spPr>
                  <a:xfrm>
                    <a:off x="6879350" y="2652666"/>
                    <a:ext cx="1514288" cy="1668027"/>
                  </a:xfrm>
                  <a:prstGeom prst="roundRect">
                    <a:avLst>
                      <a:gd name="adj" fmla="val 9744"/>
                    </a:avLst>
                  </a:prstGeom>
                  <a:solidFill>
                    <a:srgbClr val="FFFFFF">
                      <a:lumMod val="95000"/>
                      <a:alpha val="70000"/>
                    </a:srgbClr>
                  </a:solidFill>
                  <a:ln w="28575" cap="flat" cmpd="sng" algn="ctr">
                    <a:no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7" name="Rounded Rectangle 108">
                    <a:extLst>
                      <a:ext uri="{FF2B5EF4-FFF2-40B4-BE49-F238E27FC236}">
                        <a16:creationId xmlns:a16="http://schemas.microsoft.com/office/drawing/2014/main" id="{DBB7890A-2E22-4138-B3A3-27B9BA20C49A}"/>
                      </a:ext>
                    </a:extLst>
                  </p:cNvPr>
                  <p:cNvSpPr/>
                  <p:nvPr/>
                </p:nvSpPr>
                <p:spPr>
                  <a:xfrm>
                    <a:off x="8610179" y="2652666"/>
                    <a:ext cx="1514288" cy="1668027"/>
                  </a:xfrm>
                  <a:prstGeom prst="roundRect">
                    <a:avLst>
                      <a:gd name="adj" fmla="val 9744"/>
                    </a:avLst>
                  </a:prstGeom>
                  <a:solidFill>
                    <a:srgbClr val="FFFFFF">
                      <a:lumMod val="95000"/>
                      <a:alpha val="70000"/>
                    </a:srgbClr>
                  </a:solidFill>
                  <a:ln w="28575" cap="flat" cmpd="sng" algn="ctr">
                    <a:no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pic>
            <p:nvPicPr>
              <p:cNvPr id="289" name="Picture 288">
                <a:extLst>
                  <a:ext uri="{FF2B5EF4-FFF2-40B4-BE49-F238E27FC236}">
                    <a16:creationId xmlns:a16="http://schemas.microsoft.com/office/drawing/2014/main" id="{F45EF809-C74F-4FEB-8B28-97A16CBD8F1B}"/>
                  </a:ext>
                </a:extLst>
              </p:cNvPr>
              <p:cNvPicPr>
                <a:picLocks noChangeAspect="1"/>
              </p:cNvPicPr>
              <p:nvPr/>
            </p:nvPicPr>
            <p:blipFill>
              <a:blip r:embed="rId8"/>
              <a:stretch>
                <a:fillRect/>
              </a:stretch>
            </p:blipFill>
            <p:spPr>
              <a:xfrm>
                <a:off x="5830592" y="2824782"/>
                <a:ext cx="183706" cy="183706"/>
              </a:xfrm>
              <a:prstGeom prst="rect">
                <a:avLst/>
              </a:prstGeom>
            </p:spPr>
          </p:pic>
          <p:pic>
            <p:nvPicPr>
              <p:cNvPr id="290" name="Picture 289">
                <a:extLst>
                  <a:ext uri="{FF2B5EF4-FFF2-40B4-BE49-F238E27FC236}">
                    <a16:creationId xmlns:a16="http://schemas.microsoft.com/office/drawing/2014/main" id="{FC32DB46-0FCC-4332-BAA0-7BEF14A4AABE}"/>
                  </a:ext>
                </a:extLst>
              </p:cNvPr>
              <p:cNvPicPr>
                <a:picLocks noChangeAspect="1"/>
              </p:cNvPicPr>
              <p:nvPr/>
            </p:nvPicPr>
            <p:blipFill>
              <a:blip r:embed="rId9"/>
              <a:stretch>
                <a:fillRect/>
              </a:stretch>
            </p:blipFill>
            <p:spPr>
              <a:xfrm>
                <a:off x="7791273" y="2810093"/>
                <a:ext cx="191241" cy="191241"/>
              </a:xfrm>
              <a:prstGeom prst="rect">
                <a:avLst/>
              </a:prstGeom>
            </p:spPr>
          </p:pic>
          <p:pic>
            <p:nvPicPr>
              <p:cNvPr id="291" name="Picture 290">
                <a:extLst>
                  <a:ext uri="{FF2B5EF4-FFF2-40B4-BE49-F238E27FC236}">
                    <a16:creationId xmlns:a16="http://schemas.microsoft.com/office/drawing/2014/main" id="{338E2073-7F9D-4A52-97A0-664B092A9EA6}"/>
                  </a:ext>
                </a:extLst>
              </p:cNvPr>
              <p:cNvPicPr>
                <a:picLocks noChangeAspect="1"/>
              </p:cNvPicPr>
              <p:nvPr/>
            </p:nvPicPr>
            <p:blipFill>
              <a:blip r:embed="rId10"/>
              <a:stretch>
                <a:fillRect/>
              </a:stretch>
            </p:blipFill>
            <p:spPr>
              <a:xfrm>
                <a:off x="6825596" y="2824784"/>
                <a:ext cx="197819" cy="197819"/>
              </a:xfrm>
              <a:prstGeom prst="rect">
                <a:avLst/>
              </a:prstGeom>
            </p:spPr>
          </p:pic>
          <p:sp>
            <p:nvSpPr>
              <p:cNvPr id="292" name="Object19">
                <a:extLst>
                  <a:ext uri="{FF2B5EF4-FFF2-40B4-BE49-F238E27FC236}">
                    <a16:creationId xmlns:a16="http://schemas.microsoft.com/office/drawing/2014/main" id="{93FFF972-CDF0-410B-BFBA-E8DF419B5596}"/>
                  </a:ext>
                </a:extLst>
              </p:cNvPr>
              <p:cNvSpPr/>
              <p:nvPr/>
            </p:nvSpPr>
            <p:spPr>
              <a:xfrm>
                <a:off x="5496993" y="2962084"/>
                <a:ext cx="850900" cy="425450"/>
              </a:xfrm>
              <a:prstGeom prst="rect">
                <a:avLst/>
              </a:prstGeom>
              <a:noFill/>
              <a:ln/>
            </p:spPr>
            <p:txBody>
              <a:bodyPr wrap="square" lIns="0" tIns="0" rIns="0" bIns="0"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Manage your devices</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3" name="Object21">
                <a:extLst>
                  <a:ext uri="{FF2B5EF4-FFF2-40B4-BE49-F238E27FC236}">
                    <a16:creationId xmlns:a16="http://schemas.microsoft.com/office/drawing/2014/main" id="{EE334154-2B49-4B49-90CE-0EB61F764C1E}"/>
                  </a:ext>
                </a:extLst>
              </p:cNvPr>
              <p:cNvSpPr/>
              <p:nvPr/>
            </p:nvSpPr>
            <p:spPr>
              <a:xfrm>
                <a:off x="6521495" y="2962085"/>
                <a:ext cx="806016" cy="426321"/>
              </a:xfrm>
              <a:prstGeom prst="rect">
                <a:avLst/>
              </a:prstGeom>
              <a:noFill/>
              <a:ln/>
            </p:spPr>
            <p:txBody>
              <a:bodyPr wrap="square" lIns="0" tIns="0" rIns="0" bIns="0"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View and analyze device data</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4" name="Object23">
                <a:extLst>
                  <a:ext uri="{FF2B5EF4-FFF2-40B4-BE49-F238E27FC236}">
                    <a16:creationId xmlns:a16="http://schemas.microsoft.com/office/drawing/2014/main" id="{563BADC6-21AE-4757-A329-E8826A67824B}"/>
                  </a:ext>
                </a:extLst>
              </p:cNvPr>
              <p:cNvSpPr/>
              <p:nvPr/>
            </p:nvSpPr>
            <p:spPr>
              <a:xfrm>
                <a:off x="7532309" y="2954868"/>
                <a:ext cx="774700" cy="425450"/>
              </a:xfrm>
              <a:prstGeom prst="rect">
                <a:avLst/>
              </a:prstGeom>
              <a:noFill/>
              <a:ln/>
            </p:spPr>
            <p:txBody>
              <a:bodyPr wrap="square" lIns="0" tIns="0" rIns="0" bIns="0"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3F3F3F"/>
                    </a:solidFill>
                    <a:effectLst/>
                    <a:uLnTx/>
                    <a:uFillTx/>
                    <a:latin typeface="Segoe UI Semibold" pitchFamily="34" charset="0"/>
                    <a:ea typeface="Segoe UI Semibold" pitchFamily="34" charset="-122"/>
                    <a:cs typeface="Segoe UI Semibold" pitchFamily="34" charset="-120"/>
                  </a:rPr>
                  <a:t>Secure data and devices</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295" name="Group 294">
                <a:extLst>
                  <a:ext uri="{FF2B5EF4-FFF2-40B4-BE49-F238E27FC236}">
                    <a16:creationId xmlns:a16="http://schemas.microsoft.com/office/drawing/2014/main" id="{83C1AD1E-670F-44C0-9BEC-EF0B9E33235B}"/>
                  </a:ext>
                </a:extLst>
              </p:cNvPr>
              <p:cNvGrpSpPr/>
              <p:nvPr/>
            </p:nvGrpSpPr>
            <p:grpSpPr>
              <a:xfrm>
                <a:off x="5524025" y="3413554"/>
                <a:ext cx="804869" cy="731479"/>
                <a:chOff x="9647092" y="4421466"/>
                <a:chExt cx="1258468" cy="1097218"/>
              </a:xfrm>
            </p:grpSpPr>
            <p:sp>
              <p:nvSpPr>
                <p:cNvPr id="315" name="Rounded Rectangle 123">
                  <a:extLst>
                    <a:ext uri="{FF2B5EF4-FFF2-40B4-BE49-F238E27FC236}">
                      <a16:creationId xmlns:a16="http://schemas.microsoft.com/office/drawing/2014/main" id="{CAF74393-9075-4ACD-B4B0-706635645EE3}"/>
                    </a:ext>
                  </a:extLst>
                </p:cNvPr>
                <p:cNvSpPr/>
                <p:nvPr/>
              </p:nvSpPr>
              <p:spPr>
                <a:xfrm>
                  <a:off x="9647092" y="4421466"/>
                  <a:ext cx="1227185" cy="239244"/>
                </a:xfrm>
                <a:prstGeom prst="roundRect">
                  <a:avLst>
                    <a:gd name="adj" fmla="val 50000"/>
                  </a:avLst>
                </a:prstGeom>
                <a:solidFill>
                  <a:srgbClr val="E9F6F9"/>
                </a:solidFill>
                <a:ln w="10795" cap="flat" cmpd="sng" algn="ctr">
                  <a:solidFill>
                    <a:srgbClr val="BDE4EC"/>
                  </a:solid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D9ECEE"/>
                    </a:solidFill>
                    <a:effectLst/>
                    <a:uLnTx/>
                    <a:uFillTx/>
                    <a:latin typeface="Calibri" panose="020F0502020204030204"/>
                    <a:ea typeface="+mn-ea"/>
                    <a:cs typeface="+mn-cs"/>
                  </a:endParaRPr>
                </a:p>
              </p:txBody>
            </p:sp>
            <p:sp>
              <p:nvSpPr>
                <p:cNvPr id="316" name="Object4">
                  <a:extLst>
                    <a:ext uri="{FF2B5EF4-FFF2-40B4-BE49-F238E27FC236}">
                      <a16:creationId xmlns:a16="http://schemas.microsoft.com/office/drawing/2014/main" id="{E47AFADE-4CEA-468C-93C4-EAA8CC316A4E}"/>
                    </a:ext>
                  </a:extLst>
                </p:cNvPr>
                <p:cNvSpPr/>
                <p:nvPr/>
              </p:nvSpPr>
              <p:spPr>
                <a:xfrm>
                  <a:off x="9713752" y="4433124"/>
                  <a:ext cx="1093870" cy="167556"/>
                </a:xfrm>
                <a:prstGeom prst="rect">
                  <a:avLst/>
                </a:prstGeom>
                <a:noFill/>
                <a:ln/>
              </p:spPr>
              <p:txBody>
                <a:bodyPr wrap="square" lIns="0" tIns="0" rIns="0" bIns="0" rtlCol="0" anchor="ctr"/>
                <a:lstStyle/>
                <a:p>
                  <a:pPr marL="0" marR="0" lvl="0" indent="0" algn="ctr" defTabSz="609660" rtl="0" eaLnBrk="1" fontAlgn="auto" latinLnBrk="0" hangingPunct="1">
                    <a:lnSpc>
                      <a:spcPts val="1250"/>
                    </a:lnSpc>
                    <a:spcBef>
                      <a:spcPts val="0"/>
                    </a:spcBef>
                    <a:spcAft>
                      <a:spcPts val="0"/>
                    </a:spcAft>
                    <a:buClrTx/>
                    <a:buSzTx/>
                    <a:buFontTx/>
                    <a:buNone/>
                    <a:tabLst/>
                    <a:defRPr/>
                  </a:pPr>
                  <a:r>
                    <a:rPr kumimoji="0" lang="en-US" sz="600" b="0" i="0" u="none" strike="noStrike" kern="0" cap="none" spc="0" normalizeH="0" baseline="0" noProof="0">
                      <a:ln>
                        <a:noFill/>
                      </a:ln>
                      <a:solidFill>
                        <a:srgbClr val="059DBF"/>
                      </a:solidFill>
                      <a:effectLst/>
                      <a:uLnTx/>
                      <a:uFillTx/>
                      <a:latin typeface="Segoe UI Semibold" pitchFamily="34" charset="0"/>
                      <a:ea typeface="Segoe UI Semibold" pitchFamily="34" charset="-122"/>
                      <a:cs typeface="Segoe UI Semibold" pitchFamily="34" charset="-120"/>
                    </a:rPr>
                    <a:t>Raw Data View</a:t>
                  </a:r>
                  <a:endParaRPr kumimoji="0" lang="en-US" sz="600" b="0" i="0" u="none" strike="noStrike" kern="0" cap="none" spc="0" normalizeH="0" baseline="0" noProof="0">
                    <a:ln>
                      <a:noFill/>
                    </a:ln>
                    <a:solidFill>
                      <a:srgbClr val="059DBF"/>
                    </a:solidFill>
                    <a:effectLst/>
                    <a:uLnTx/>
                    <a:uFillTx/>
                    <a:latin typeface="Calibri" panose="020F0502020204030204"/>
                    <a:ea typeface="+mn-ea"/>
                    <a:cs typeface="+mn-cs"/>
                  </a:endParaRPr>
                </a:p>
              </p:txBody>
            </p:sp>
            <p:sp>
              <p:nvSpPr>
                <p:cNvPr id="317" name="Rounded Rectangle 128">
                  <a:extLst>
                    <a:ext uri="{FF2B5EF4-FFF2-40B4-BE49-F238E27FC236}">
                      <a16:creationId xmlns:a16="http://schemas.microsoft.com/office/drawing/2014/main" id="{CEE7AE12-6875-4173-93AE-0A914E4ED96B}"/>
                    </a:ext>
                  </a:extLst>
                </p:cNvPr>
                <p:cNvSpPr/>
                <p:nvPr/>
              </p:nvSpPr>
              <p:spPr>
                <a:xfrm>
                  <a:off x="9647092" y="4707002"/>
                  <a:ext cx="1227185" cy="239244"/>
                </a:xfrm>
                <a:prstGeom prst="roundRect">
                  <a:avLst>
                    <a:gd name="adj" fmla="val 50000"/>
                  </a:avLst>
                </a:prstGeom>
                <a:solidFill>
                  <a:srgbClr val="E9F6F9"/>
                </a:solidFill>
                <a:ln w="10795" cap="flat" cmpd="sng" algn="ctr">
                  <a:solidFill>
                    <a:srgbClr val="BDE4EC"/>
                  </a:solid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D9ECEE"/>
                    </a:solidFill>
                    <a:effectLst/>
                    <a:uLnTx/>
                    <a:uFillTx/>
                    <a:latin typeface="Calibri" panose="020F0502020204030204"/>
                    <a:ea typeface="+mn-ea"/>
                    <a:cs typeface="+mn-cs"/>
                  </a:endParaRPr>
                </a:p>
              </p:txBody>
            </p:sp>
            <p:sp>
              <p:nvSpPr>
                <p:cNvPr id="318" name="Object4">
                  <a:extLst>
                    <a:ext uri="{FF2B5EF4-FFF2-40B4-BE49-F238E27FC236}">
                      <a16:creationId xmlns:a16="http://schemas.microsoft.com/office/drawing/2014/main" id="{0B41666E-7841-49ED-B47C-9F60D335F7BC}"/>
                    </a:ext>
                  </a:extLst>
                </p:cNvPr>
                <p:cNvSpPr/>
                <p:nvPr/>
              </p:nvSpPr>
              <p:spPr>
                <a:xfrm>
                  <a:off x="9647092" y="4751612"/>
                  <a:ext cx="1258468" cy="156603"/>
                </a:xfrm>
                <a:prstGeom prst="rect">
                  <a:avLst/>
                </a:prstGeom>
                <a:noFill/>
                <a:ln/>
              </p:spPr>
              <p:txBody>
                <a:bodyPr wrap="square" lIns="0" tIns="0" rIns="0" bIns="0"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039DBF"/>
                      </a:solidFill>
                      <a:effectLst/>
                      <a:uLnTx/>
                      <a:uFillTx/>
                      <a:latin typeface="Segoe UI Semibold" pitchFamily="34" charset="0"/>
                      <a:ea typeface="Segoe UI Semibold" pitchFamily="34" charset="-122"/>
                      <a:cs typeface="Segoe UI Semibold" pitchFamily="34" charset="-120"/>
                    </a:rPr>
                    <a:t>Connectivity Status</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9" name="Rounded Rectangle 130">
                  <a:extLst>
                    <a:ext uri="{FF2B5EF4-FFF2-40B4-BE49-F238E27FC236}">
                      <a16:creationId xmlns:a16="http://schemas.microsoft.com/office/drawing/2014/main" id="{3F507CDA-D69C-466A-9F06-968591990220}"/>
                    </a:ext>
                  </a:extLst>
                </p:cNvPr>
                <p:cNvSpPr/>
                <p:nvPr/>
              </p:nvSpPr>
              <p:spPr>
                <a:xfrm>
                  <a:off x="9647092" y="4993903"/>
                  <a:ext cx="1227185" cy="239244"/>
                </a:xfrm>
                <a:prstGeom prst="roundRect">
                  <a:avLst>
                    <a:gd name="adj" fmla="val 50000"/>
                  </a:avLst>
                </a:prstGeom>
                <a:solidFill>
                  <a:srgbClr val="E9F6F9"/>
                </a:solidFill>
                <a:ln w="10795" cap="flat" cmpd="sng" algn="ctr">
                  <a:solidFill>
                    <a:srgbClr val="BDE4EC"/>
                  </a:solid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D9ECEE"/>
                    </a:solidFill>
                    <a:effectLst/>
                    <a:uLnTx/>
                    <a:uFillTx/>
                    <a:latin typeface="Calibri" panose="020F0502020204030204"/>
                    <a:ea typeface="+mn-ea"/>
                    <a:cs typeface="+mn-cs"/>
                  </a:endParaRPr>
                </a:p>
              </p:txBody>
            </p:sp>
            <p:sp>
              <p:nvSpPr>
                <p:cNvPr id="320" name="Object4">
                  <a:extLst>
                    <a:ext uri="{FF2B5EF4-FFF2-40B4-BE49-F238E27FC236}">
                      <a16:creationId xmlns:a16="http://schemas.microsoft.com/office/drawing/2014/main" id="{64332873-B4DA-4764-A454-651C9481AC2B}"/>
                    </a:ext>
                  </a:extLst>
                </p:cNvPr>
                <p:cNvSpPr/>
                <p:nvPr/>
              </p:nvSpPr>
              <p:spPr>
                <a:xfrm>
                  <a:off x="9647092" y="5038513"/>
                  <a:ext cx="1258468" cy="156603"/>
                </a:xfrm>
                <a:prstGeom prst="rect">
                  <a:avLst/>
                </a:prstGeom>
                <a:noFill/>
                <a:ln/>
              </p:spPr>
              <p:txBody>
                <a:bodyPr wrap="square" lIns="0" tIns="0" rIns="0" bIns="0"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039DBF"/>
                      </a:solidFill>
                      <a:effectLst/>
                      <a:uLnTx/>
                      <a:uFillTx/>
                      <a:latin typeface="Segoe UI Semibold" pitchFamily="34" charset="0"/>
                      <a:ea typeface="Segoe UI Semibold" pitchFamily="34" charset="-122"/>
                      <a:cs typeface="Segoe UI Semibold" pitchFamily="34" charset="-120"/>
                    </a:rPr>
                    <a:t>Device Modeling</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1" name="Rounded Rectangle 132">
                  <a:extLst>
                    <a:ext uri="{FF2B5EF4-FFF2-40B4-BE49-F238E27FC236}">
                      <a16:creationId xmlns:a16="http://schemas.microsoft.com/office/drawing/2014/main" id="{BE4CDF8D-68C0-44DD-A475-45F8A7AD92E8}"/>
                    </a:ext>
                  </a:extLst>
                </p:cNvPr>
                <p:cNvSpPr/>
                <p:nvPr/>
              </p:nvSpPr>
              <p:spPr>
                <a:xfrm>
                  <a:off x="9647092" y="5279440"/>
                  <a:ext cx="1227185" cy="239244"/>
                </a:xfrm>
                <a:prstGeom prst="roundRect">
                  <a:avLst>
                    <a:gd name="adj" fmla="val 50000"/>
                  </a:avLst>
                </a:prstGeom>
                <a:solidFill>
                  <a:srgbClr val="E9F6F9"/>
                </a:solidFill>
                <a:ln w="10795" cap="flat" cmpd="sng" algn="ctr">
                  <a:solidFill>
                    <a:srgbClr val="BDE4EC"/>
                  </a:solid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D9ECEE"/>
                    </a:solidFill>
                    <a:effectLst/>
                    <a:uLnTx/>
                    <a:uFillTx/>
                    <a:latin typeface="Calibri" panose="020F0502020204030204"/>
                    <a:ea typeface="+mn-ea"/>
                    <a:cs typeface="+mn-cs"/>
                  </a:endParaRPr>
                </a:p>
              </p:txBody>
            </p:sp>
            <p:sp>
              <p:nvSpPr>
                <p:cNvPr id="322" name="Object4">
                  <a:extLst>
                    <a:ext uri="{FF2B5EF4-FFF2-40B4-BE49-F238E27FC236}">
                      <a16:creationId xmlns:a16="http://schemas.microsoft.com/office/drawing/2014/main" id="{BE5A7DB0-EDE6-40A6-AC77-4F1EB7F427DC}"/>
                    </a:ext>
                  </a:extLst>
                </p:cNvPr>
                <p:cNvSpPr/>
                <p:nvPr/>
              </p:nvSpPr>
              <p:spPr>
                <a:xfrm>
                  <a:off x="9647092" y="5324050"/>
                  <a:ext cx="1258468" cy="156603"/>
                </a:xfrm>
                <a:prstGeom prst="rect">
                  <a:avLst/>
                </a:prstGeom>
                <a:noFill/>
                <a:ln/>
              </p:spPr>
              <p:txBody>
                <a:bodyPr wrap="square" lIns="0" tIns="0" rIns="0" bIns="0"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039DBF"/>
                      </a:solidFill>
                      <a:effectLst/>
                      <a:uLnTx/>
                      <a:uFillTx/>
                      <a:latin typeface="Segoe UI Semibold" pitchFamily="34" charset="0"/>
                      <a:ea typeface="Segoe UI Semibold" pitchFamily="34" charset="-122"/>
                      <a:cs typeface="Segoe UI Semibold" pitchFamily="34" charset="-120"/>
                    </a:rPr>
                    <a:t>Jobs</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96" name="Group 295">
                <a:extLst>
                  <a:ext uri="{FF2B5EF4-FFF2-40B4-BE49-F238E27FC236}">
                    <a16:creationId xmlns:a16="http://schemas.microsoft.com/office/drawing/2014/main" id="{483DD94E-9522-4980-8391-5C28BE29AF5E}"/>
                  </a:ext>
                </a:extLst>
              </p:cNvPr>
              <p:cNvGrpSpPr/>
              <p:nvPr/>
            </p:nvGrpSpPr>
            <p:grpSpPr>
              <a:xfrm>
                <a:off x="6511432" y="3413555"/>
                <a:ext cx="804869" cy="541121"/>
                <a:chOff x="9647092" y="4421466"/>
                <a:chExt cx="1258468" cy="811681"/>
              </a:xfrm>
            </p:grpSpPr>
            <p:sp>
              <p:nvSpPr>
                <p:cNvPr id="309" name="Rounded Rectangle 151">
                  <a:extLst>
                    <a:ext uri="{FF2B5EF4-FFF2-40B4-BE49-F238E27FC236}">
                      <a16:creationId xmlns:a16="http://schemas.microsoft.com/office/drawing/2014/main" id="{1658339D-3A84-486B-8011-F92B012A131F}"/>
                    </a:ext>
                  </a:extLst>
                </p:cNvPr>
                <p:cNvSpPr/>
                <p:nvPr/>
              </p:nvSpPr>
              <p:spPr>
                <a:xfrm>
                  <a:off x="9647092" y="4421466"/>
                  <a:ext cx="1227185" cy="239244"/>
                </a:xfrm>
                <a:prstGeom prst="roundRect">
                  <a:avLst>
                    <a:gd name="adj" fmla="val 50000"/>
                  </a:avLst>
                </a:prstGeom>
                <a:solidFill>
                  <a:srgbClr val="E9F6F9"/>
                </a:solidFill>
                <a:ln w="10795" cap="flat" cmpd="sng" algn="ctr">
                  <a:solidFill>
                    <a:srgbClr val="BDE4EC"/>
                  </a:solid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D9ECEE"/>
                    </a:solidFill>
                    <a:effectLst/>
                    <a:uLnTx/>
                    <a:uFillTx/>
                    <a:latin typeface="Calibri" panose="020F0502020204030204"/>
                    <a:ea typeface="+mn-ea"/>
                    <a:cs typeface="+mn-cs"/>
                  </a:endParaRPr>
                </a:p>
              </p:txBody>
            </p:sp>
            <p:sp>
              <p:nvSpPr>
                <p:cNvPr id="310" name="Object4">
                  <a:extLst>
                    <a:ext uri="{FF2B5EF4-FFF2-40B4-BE49-F238E27FC236}">
                      <a16:creationId xmlns:a16="http://schemas.microsoft.com/office/drawing/2014/main" id="{E9A42D53-F311-48F9-83FF-BC2D46FEF56B}"/>
                    </a:ext>
                  </a:extLst>
                </p:cNvPr>
                <p:cNvSpPr/>
                <p:nvPr/>
              </p:nvSpPr>
              <p:spPr>
                <a:xfrm>
                  <a:off x="9713752" y="4433124"/>
                  <a:ext cx="1093870" cy="167556"/>
                </a:xfrm>
                <a:prstGeom prst="rect">
                  <a:avLst/>
                </a:prstGeom>
                <a:noFill/>
                <a:ln/>
              </p:spPr>
              <p:txBody>
                <a:bodyPr wrap="square" lIns="0" tIns="0" rIns="0" bIns="0" rtlCol="0" anchor="ctr"/>
                <a:lstStyle/>
                <a:p>
                  <a:pPr marL="0" marR="0" lvl="0" indent="0" algn="ctr" defTabSz="609660" rtl="0" eaLnBrk="1" fontAlgn="auto" latinLnBrk="0" hangingPunct="1">
                    <a:lnSpc>
                      <a:spcPts val="1250"/>
                    </a:lnSpc>
                    <a:spcBef>
                      <a:spcPts val="0"/>
                    </a:spcBef>
                    <a:spcAft>
                      <a:spcPts val="0"/>
                    </a:spcAft>
                    <a:buClrTx/>
                    <a:buSzTx/>
                    <a:buFontTx/>
                    <a:buNone/>
                    <a:tabLst/>
                    <a:defRPr/>
                  </a:pPr>
                  <a:r>
                    <a:rPr kumimoji="0" lang="en-US" sz="600" b="0" i="0" u="none" strike="noStrike" kern="0" cap="none" spc="0" normalizeH="0" baseline="0" noProof="0">
                      <a:ln>
                        <a:noFill/>
                      </a:ln>
                      <a:solidFill>
                        <a:srgbClr val="059DBF"/>
                      </a:solidFill>
                      <a:effectLst/>
                      <a:uLnTx/>
                      <a:uFillTx/>
                      <a:latin typeface="Segoe UI Semibold" pitchFamily="34" charset="0"/>
                      <a:ea typeface="Segoe UI Semibold" pitchFamily="34" charset="-122"/>
                      <a:cs typeface="Segoe UI Semibold" pitchFamily="34" charset="-120"/>
                    </a:rPr>
                    <a:t>Dashboards</a:t>
                  </a:r>
                  <a:endParaRPr kumimoji="0" lang="en-US" sz="600" b="0" i="0" u="none" strike="noStrike" kern="0" cap="none" spc="0" normalizeH="0" baseline="0" noProof="0">
                    <a:ln>
                      <a:noFill/>
                    </a:ln>
                    <a:solidFill>
                      <a:srgbClr val="059DBF"/>
                    </a:solidFill>
                    <a:effectLst/>
                    <a:uLnTx/>
                    <a:uFillTx/>
                    <a:latin typeface="Calibri" panose="020F0502020204030204"/>
                    <a:ea typeface="+mn-ea"/>
                    <a:cs typeface="+mn-cs"/>
                  </a:endParaRPr>
                </a:p>
              </p:txBody>
            </p:sp>
            <p:sp>
              <p:nvSpPr>
                <p:cNvPr id="311" name="Rounded Rectangle 153">
                  <a:extLst>
                    <a:ext uri="{FF2B5EF4-FFF2-40B4-BE49-F238E27FC236}">
                      <a16:creationId xmlns:a16="http://schemas.microsoft.com/office/drawing/2014/main" id="{3D579F78-2C4A-4871-8C2D-EF384CC78FDD}"/>
                    </a:ext>
                  </a:extLst>
                </p:cNvPr>
                <p:cNvSpPr/>
                <p:nvPr/>
              </p:nvSpPr>
              <p:spPr>
                <a:xfrm>
                  <a:off x="9647092" y="4707002"/>
                  <a:ext cx="1227185" cy="239244"/>
                </a:xfrm>
                <a:prstGeom prst="roundRect">
                  <a:avLst>
                    <a:gd name="adj" fmla="val 50000"/>
                  </a:avLst>
                </a:prstGeom>
                <a:solidFill>
                  <a:srgbClr val="E9F6F9"/>
                </a:solidFill>
                <a:ln w="10795" cap="flat" cmpd="sng" algn="ctr">
                  <a:solidFill>
                    <a:srgbClr val="BDE4EC"/>
                  </a:solid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D9ECEE"/>
                    </a:solidFill>
                    <a:effectLst/>
                    <a:uLnTx/>
                    <a:uFillTx/>
                    <a:latin typeface="Calibri" panose="020F0502020204030204"/>
                    <a:ea typeface="+mn-ea"/>
                    <a:cs typeface="+mn-cs"/>
                  </a:endParaRPr>
                </a:p>
              </p:txBody>
            </p:sp>
            <p:sp>
              <p:nvSpPr>
                <p:cNvPr id="312" name="Object4">
                  <a:extLst>
                    <a:ext uri="{FF2B5EF4-FFF2-40B4-BE49-F238E27FC236}">
                      <a16:creationId xmlns:a16="http://schemas.microsoft.com/office/drawing/2014/main" id="{451A472C-8383-437A-988C-FF1CB717ECA6}"/>
                    </a:ext>
                  </a:extLst>
                </p:cNvPr>
                <p:cNvSpPr/>
                <p:nvPr/>
              </p:nvSpPr>
              <p:spPr>
                <a:xfrm>
                  <a:off x="9647092" y="4751612"/>
                  <a:ext cx="1258468" cy="156603"/>
                </a:xfrm>
                <a:prstGeom prst="rect">
                  <a:avLst/>
                </a:prstGeom>
                <a:noFill/>
                <a:ln/>
              </p:spPr>
              <p:txBody>
                <a:bodyPr wrap="square" lIns="0" tIns="0" rIns="0" bIns="0"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039DBF"/>
                      </a:solidFill>
                      <a:effectLst/>
                      <a:uLnTx/>
                      <a:uFillTx/>
                      <a:latin typeface="Segoe UI Semibold" pitchFamily="34" charset="0"/>
                      <a:ea typeface="Segoe UI Semibold" pitchFamily="34" charset="-122"/>
                      <a:cs typeface="Segoe UI Semibold" pitchFamily="34" charset="-120"/>
                    </a:rPr>
                    <a:t>Analytics</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3" name="Rounded Rectangle 155">
                  <a:extLst>
                    <a:ext uri="{FF2B5EF4-FFF2-40B4-BE49-F238E27FC236}">
                      <a16:creationId xmlns:a16="http://schemas.microsoft.com/office/drawing/2014/main" id="{496BB86A-2384-4D89-8C93-AD9B2EB55BC0}"/>
                    </a:ext>
                  </a:extLst>
                </p:cNvPr>
                <p:cNvSpPr/>
                <p:nvPr/>
              </p:nvSpPr>
              <p:spPr>
                <a:xfrm>
                  <a:off x="9647092" y="4993903"/>
                  <a:ext cx="1227185" cy="239244"/>
                </a:xfrm>
                <a:prstGeom prst="roundRect">
                  <a:avLst>
                    <a:gd name="adj" fmla="val 50000"/>
                  </a:avLst>
                </a:prstGeom>
                <a:solidFill>
                  <a:srgbClr val="E9F6F9"/>
                </a:solidFill>
                <a:ln w="10795" cap="flat" cmpd="sng" algn="ctr">
                  <a:solidFill>
                    <a:srgbClr val="BDE4EC"/>
                  </a:solid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D9ECEE"/>
                    </a:solidFill>
                    <a:effectLst/>
                    <a:uLnTx/>
                    <a:uFillTx/>
                    <a:latin typeface="Calibri" panose="020F0502020204030204"/>
                    <a:ea typeface="+mn-ea"/>
                    <a:cs typeface="+mn-cs"/>
                  </a:endParaRPr>
                </a:p>
              </p:txBody>
            </p:sp>
            <p:sp>
              <p:nvSpPr>
                <p:cNvPr id="314" name="Object4">
                  <a:extLst>
                    <a:ext uri="{FF2B5EF4-FFF2-40B4-BE49-F238E27FC236}">
                      <a16:creationId xmlns:a16="http://schemas.microsoft.com/office/drawing/2014/main" id="{6931A633-33AA-4A9B-92D7-39B0A169B16E}"/>
                    </a:ext>
                  </a:extLst>
                </p:cNvPr>
                <p:cNvSpPr/>
                <p:nvPr/>
              </p:nvSpPr>
              <p:spPr>
                <a:xfrm>
                  <a:off x="9647092" y="5038513"/>
                  <a:ext cx="1258468" cy="156603"/>
                </a:xfrm>
                <a:prstGeom prst="rect">
                  <a:avLst/>
                </a:prstGeom>
                <a:noFill/>
                <a:ln/>
              </p:spPr>
              <p:txBody>
                <a:bodyPr wrap="square" lIns="0" tIns="0" rIns="0" bIns="0"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039DBF"/>
                      </a:solidFill>
                      <a:effectLst/>
                      <a:uLnTx/>
                      <a:uFillTx/>
                      <a:latin typeface="Segoe UI Semibold" pitchFamily="34" charset="0"/>
                      <a:ea typeface="Segoe UI Semibold" pitchFamily="34" charset="-122"/>
                      <a:cs typeface="Segoe UI Semibold" pitchFamily="34" charset="-120"/>
                    </a:rPr>
                    <a:t>Rules</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97" name="Group 296">
                <a:extLst>
                  <a:ext uri="{FF2B5EF4-FFF2-40B4-BE49-F238E27FC236}">
                    <a16:creationId xmlns:a16="http://schemas.microsoft.com/office/drawing/2014/main" id="{A0F16869-169C-40F9-A544-FE54C7A4B5F1}"/>
                  </a:ext>
                </a:extLst>
              </p:cNvPr>
              <p:cNvGrpSpPr/>
              <p:nvPr/>
            </p:nvGrpSpPr>
            <p:grpSpPr>
              <a:xfrm>
                <a:off x="7508624" y="3419910"/>
                <a:ext cx="804869" cy="349853"/>
                <a:chOff x="9647092" y="4421466"/>
                <a:chExt cx="1258468" cy="524780"/>
              </a:xfrm>
            </p:grpSpPr>
            <p:sp>
              <p:nvSpPr>
                <p:cNvPr id="305" name="Rounded Rectangle 160">
                  <a:extLst>
                    <a:ext uri="{FF2B5EF4-FFF2-40B4-BE49-F238E27FC236}">
                      <a16:creationId xmlns:a16="http://schemas.microsoft.com/office/drawing/2014/main" id="{DD950A8C-A284-4FA7-8806-558E633291FF}"/>
                    </a:ext>
                  </a:extLst>
                </p:cNvPr>
                <p:cNvSpPr/>
                <p:nvPr/>
              </p:nvSpPr>
              <p:spPr>
                <a:xfrm>
                  <a:off x="9647092" y="4421466"/>
                  <a:ext cx="1227185" cy="239244"/>
                </a:xfrm>
                <a:prstGeom prst="roundRect">
                  <a:avLst>
                    <a:gd name="adj" fmla="val 50000"/>
                  </a:avLst>
                </a:prstGeom>
                <a:solidFill>
                  <a:srgbClr val="E9F6F9"/>
                </a:solidFill>
                <a:ln w="10795" cap="flat" cmpd="sng" algn="ctr">
                  <a:solidFill>
                    <a:srgbClr val="BDE4EC"/>
                  </a:solid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D9ECEE"/>
                    </a:solidFill>
                    <a:effectLst/>
                    <a:uLnTx/>
                    <a:uFillTx/>
                    <a:latin typeface="Calibri" panose="020F0502020204030204"/>
                    <a:ea typeface="+mn-ea"/>
                    <a:cs typeface="+mn-cs"/>
                  </a:endParaRPr>
                </a:p>
              </p:txBody>
            </p:sp>
            <p:sp>
              <p:nvSpPr>
                <p:cNvPr id="306" name="Object4">
                  <a:extLst>
                    <a:ext uri="{FF2B5EF4-FFF2-40B4-BE49-F238E27FC236}">
                      <a16:creationId xmlns:a16="http://schemas.microsoft.com/office/drawing/2014/main" id="{44DDEC1D-878E-45A0-B348-7DF711BFE100}"/>
                    </a:ext>
                  </a:extLst>
                </p:cNvPr>
                <p:cNvSpPr/>
                <p:nvPr/>
              </p:nvSpPr>
              <p:spPr>
                <a:xfrm>
                  <a:off x="9713752" y="4433124"/>
                  <a:ext cx="1093870" cy="167556"/>
                </a:xfrm>
                <a:prstGeom prst="rect">
                  <a:avLst/>
                </a:prstGeom>
                <a:noFill/>
                <a:ln/>
              </p:spPr>
              <p:txBody>
                <a:bodyPr wrap="square" lIns="0" tIns="0" rIns="0" bIns="0" rtlCol="0" anchor="ctr"/>
                <a:lstStyle/>
                <a:p>
                  <a:pPr marL="0" marR="0" lvl="0" indent="0" algn="ctr" defTabSz="609660" rtl="0" eaLnBrk="1" fontAlgn="auto" latinLnBrk="0" hangingPunct="1">
                    <a:lnSpc>
                      <a:spcPts val="1250"/>
                    </a:lnSpc>
                    <a:spcBef>
                      <a:spcPts val="0"/>
                    </a:spcBef>
                    <a:spcAft>
                      <a:spcPts val="0"/>
                    </a:spcAft>
                    <a:buClrTx/>
                    <a:buSzTx/>
                    <a:buFontTx/>
                    <a:buNone/>
                    <a:tabLst/>
                    <a:defRPr/>
                  </a:pPr>
                  <a:r>
                    <a:rPr kumimoji="0" lang="en-US" sz="600" b="0" i="0" u="none" strike="noStrike" kern="0" cap="none" spc="0" normalizeH="0" baseline="0" noProof="0">
                      <a:ln>
                        <a:noFill/>
                      </a:ln>
                      <a:solidFill>
                        <a:srgbClr val="039DBF"/>
                      </a:solidFill>
                      <a:effectLst/>
                      <a:uLnTx/>
                      <a:uFillTx/>
                      <a:latin typeface="Segoe UI Semibold" pitchFamily="34" charset="0"/>
                      <a:ea typeface="Segoe UI Semibold" pitchFamily="34" charset="-122"/>
                      <a:cs typeface="Segoe UI Semibold" pitchFamily="34" charset="-120"/>
                    </a:rPr>
                    <a:t>User Mgmt</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 name="Rounded Rectangle 162">
                  <a:extLst>
                    <a:ext uri="{FF2B5EF4-FFF2-40B4-BE49-F238E27FC236}">
                      <a16:creationId xmlns:a16="http://schemas.microsoft.com/office/drawing/2014/main" id="{2F40315C-D41C-4590-8FBC-C6D95BA42AB9}"/>
                    </a:ext>
                  </a:extLst>
                </p:cNvPr>
                <p:cNvSpPr/>
                <p:nvPr/>
              </p:nvSpPr>
              <p:spPr>
                <a:xfrm>
                  <a:off x="9647092" y="4707002"/>
                  <a:ext cx="1227185" cy="239244"/>
                </a:xfrm>
                <a:prstGeom prst="roundRect">
                  <a:avLst>
                    <a:gd name="adj" fmla="val 50000"/>
                  </a:avLst>
                </a:prstGeom>
                <a:solidFill>
                  <a:srgbClr val="E9F6F9"/>
                </a:solidFill>
                <a:ln w="10795" cap="flat" cmpd="sng" algn="ctr">
                  <a:solidFill>
                    <a:srgbClr val="BDE4EC"/>
                  </a:solid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D9ECEE"/>
                    </a:solidFill>
                    <a:effectLst/>
                    <a:uLnTx/>
                    <a:uFillTx/>
                    <a:latin typeface="Calibri" panose="020F0502020204030204"/>
                    <a:ea typeface="+mn-ea"/>
                    <a:cs typeface="+mn-cs"/>
                  </a:endParaRPr>
                </a:p>
              </p:txBody>
            </p:sp>
            <p:sp>
              <p:nvSpPr>
                <p:cNvPr id="308" name="Object4">
                  <a:extLst>
                    <a:ext uri="{FF2B5EF4-FFF2-40B4-BE49-F238E27FC236}">
                      <a16:creationId xmlns:a16="http://schemas.microsoft.com/office/drawing/2014/main" id="{D1440F1A-4E12-4F73-B1BE-FDF7503E1984}"/>
                    </a:ext>
                  </a:extLst>
                </p:cNvPr>
                <p:cNvSpPr/>
                <p:nvPr/>
              </p:nvSpPr>
              <p:spPr>
                <a:xfrm>
                  <a:off x="9647092" y="4751612"/>
                  <a:ext cx="1258468" cy="156603"/>
                </a:xfrm>
                <a:prstGeom prst="rect">
                  <a:avLst/>
                </a:prstGeom>
                <a:noFill/>
                <a:ln/>
              </p:spPr>
              <p:txBody>
                <a:bodyPr wrap="square" lIns="0" tIns="0" rIns="0" bIns="0" rtlCol="0" anchor="ctr"/>
                <a:lstStyle/>
                <a:p>
                  <a:pPr marL="0" marR="0" lvl="0" indent="0" algn="ctr" defTabSz="609660" rtl="0" eaLnBrk="1" fontAlgn="auto" latinLnBrk="0" hangingPunct="1">
                    <a:lnSpc>
                      <a:spcPts val="849"/>
                    </a:lnSpc>
                    <a:spcBef>
                      <a:spcPts val="0"/>
                    </a:spcBef>
                    <a:spcAft>
                      <a:spcPts val="0"/>
                    </a:spcAft>
                    <a:buClrTx/>
                    <a:buSzTx/>
                    <a:buFontTx/>
                    <a:buNone/>
                    <a:tabLst/>
                    <a:defRPr/>
                  </a:pPr>
                  <a:r>
                    <a:rPr kumimoji="0" lang="en-US" sz="600" b="0" i="0" u="none" strike="noStrike" kern="0" cap="none" spc="0" normalizeH="0" baseline="0" noProof="0">
                      <a:ln>
                        <a:noFill/>
                      </a:ln>
                      <a:solidFill>
                        <a:srgbClr val="039DBF"/>
                      </a:solidFill>
                      <a:effectLst/>
                      <a:uLnTx/>
                      <a:uFillTx/>
                      <a:latin typeface="Segoe UI Semibold" pitchFamily="34" charset="0"/>
                      <a:ea typeface="Segoe UI Semibold" pitchFamily="34" charset="-122"/>
                      <a:cs typeface="Segoe UI Semibold" pitchFamily="34" charset="-120"/>
                    </a:rPr>
                    <a:t>Organizations</a:t>
                  </a:r>
                  <a:endParaRPr kumimoji="0" lang="en-US" sz="6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98" name="Rounded Rectangle 104">
                <a:extLst>
                  <a:ext uri="{FF2B5EF4-FFF2-40B4-BE49-F238E27FC236}">
                    <a16:creationId xmlns:a16="http://schemas.microsoft.com/office/drawing/2014/main" id="{DF03A6A3-3420-40DD-B15B-B0205823DBEB}"/>
                  </a:ext>
                </a:extLst>
              </p:cNvPr>
              <p:cNvSpPr/>
              <p:nvPr/>
            </p:nvSpPr>
            <p:spPr>
              <a:xfrm>
                <a:off x="5359186" y="2381658"/>
                <a:ext cx="3098528" cy="207738"/>
              </a:xfrm>
              <a:prstGeom prst="roundRect">
                <a:avLst>
                  <a:gd name="adj" fmla="val 6239"/>
                </a:avLst>
              </a:prstGeom>
              <a:solidFill>
                <a:srgbClr val="059DBF"/>
              </a:solidFill>
              <a:ln w="28575" cap="flat" cmpd="sng" algn="ctr">
                <a:solidFill>
                  <a:srgbClr val="059DBF"/>
                </a:solidFill>
                <a:prstDash val="solid"/>
              </a:ln>
              <a:effectLst/>
            </p:spPr>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Segoe UI Semibold"/>
                    <a:ea typeface="+mn-ea"/>
                    <a:cs typeface="+mn-cs"/>
                  </a:rPr>
                  <a:t>SaaS Environment</a:t>
                </a:r>
              </a:p>
            </p:txBody>
          </p:sp>
          <p:grpSp>
            <p:nvGrpSpPr>
              <p:cNvPr id="299" name="Group 298">
                <a:extLst>
                  <a:ext uri="{FF2B5EF4-FFF2-40B4-BE49-F238E27FC236}">
                    <a16:creationId xmlns:a16="http://schemas.microsoft.com/office/drawing/2014/main" id="{880C15E6-29EA-43FB-AB0F-CD98618C991B}"/>
                  </a:ext>
                </a:extLst>
              </p:cNvPr>
              <p:cNvGrpSpPr/>
              <p:nvPr/>
            </p:nvGrpSpPr>
            <p:grpSpPr>
              <a:xfrm>
                <a:off x="5889670" y="2060054"/>
                <a:ext cx="2048392" cy="272250"/>
                <a:chOff x="5749408" y="2066315"/>
                <a:chExt cx="2048392" cy="272250"/>
              </a:xfrm>
            </p:grpSpPr>
            <p:sp>
              <p:nvSpPr>
                <p:cNvPr id="301" name="Rounded Rectangle 44">
                  <a:extLst>
                    <a:ext uri="{FF2B5EF4-FFF2-40B4-BE49-F238E27FC236}">
                      <a16:creationId xmlns:a16="http://schemas.microsoft.com/office/drawing/2014/main" id="{ED1A00A5-0423-4D95-B33C-A36FCD7E555F}"/>
                    </a:ext>
                  </a:extLst>
                </p:cNvPr>
                <p:cNvSpPr/>
                <p:nvPr/>
              </p:nvSpPr>
              <p:spPr>
                <a:xfrm>
                  <a:off x="6571657" y="2066462"/>
                  <a:ext cx="1226143" cy="272103"/>
                </a:xfrm>
                <a:prstGeom prst="roundRect">
                  <a:avLst>
                    <a:gd name="adj" fmla="val 50000"/>
                  </a:avLst>
                </a:prstGeom>
                <a:solidFill>
                  <a:srgbClr val="D9ECEE"/>
                </a:solidFill>
                <a:ln w="10795" cap="flat" cmpd="sng" algn="ctr">
                  <a:noFill/>
                  <a:prstDash val="solid"/>
                </a:ln>
                <a:effectLst/>
              </p:spPr>
              <p:txBody>
                <a:bodyPr rtlCol="0" anchor="ctr"/>
                <a:lstStyle/>
                <a:p>
                  <a:pPr marL="0" marR="0" lvl="0" indent="0" algn="l" defTabSz="609660" rtl="0" eaLnBrk="1" fontAlgn="auto" latinLnBrk="0" hangingPunct="1">
                    <a:lnSpc>
                      <a:spcPts val="1129"/>
                    </a:lnSpc>
                    <a:spcBef>
                      <a:spcPts val="0"/>
                    </a:spcBef>
                    <a:spcAft>
                      <a:spcPts val="0"/>
                    </a:spcAft>
                    <a:buClrTx/>
                    <a:buSzTx/>
                    <a:buFontTx/>
                    <a:buNone/>
                    <a:tabLst/>
                    <a:defRPr/>
                  </a:pPr>
                  <a:r>
                    <a:rPr kumimoji="0" lang="en-US" sz="900" b="0" i="0" u="none" strike="noStrike" kern="0" cap="none" spc="0" normalizeH="0" baseline="0" noProof="0">
                      <a:ln>
                        <a:noFill/>
                      </a:ln>
                      <a:solidFill>
                        <a:srgbClr val="105E7D"/>
                      </a:solidFill>
                      <a:effectLst/>
                      <a:uLnTx/>
                      <a:uFillTx/>
                      <a:latin typeface="Segoe UI Semibold" pitchFamily="34" charset="0"/>
                      <a:ea typeface="Segoe UI Semibold" pitchFamily="34" charset="-122"/>
                      <a:cs typeface="Segoe UI Semibold" pitchFamily="34" charset="-120"/>
                    </a:rPr>
                    <a:t>  </a:t>
                  </a:r>
                  <a:endParaRPr kumimoji="0" lang="en-US" sz="9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302" name="Group 301">
                  <a:extLst>
                    <a:ext uri="{FF2B5EF4-FFF2-40B4-BE49-F238E27FC236}">
                      <a16:creationId xmlns:a16="http://schemas.microsoft.com/office/drawing/2014/main" id="{3F2CE531-F30A-42DB-8CE6-AE68343CA0C5}"/>
                    </a:ext>
                  </a:extLst>
                </p:cNvPr>
                <p:cNvGrpSpPr/>
                <p:nvPr/>
              </p:nvGrpSpPr>
              <p:grpSpPr>
                <a:xfrm>
                  <a:off x="5749408" y="2066315"/>
                  <a:ext cx="1956546" cy="272103"/>
                  <a:chOff x="5749408" y="2066315"/>
                  <a:chExt cx="1956546" cy="272103"/>
                </a:xfrm>
              </p:grpSpPr>
              <p:sp>
                <p:nvSpPr>
                  <p:cNvPr id="303" name="Rounded Rectangle 44">
                    <a:extLst>
                      <a:ext uri="{FF2B5EF4-FFF2-40B4-BE49-F238E27FC236}">
                        <a16:creationId xmlns:a16="http://schemas.microsoft.com/office/drawing/2014/main" id="{98C9637B-A289-4C71-853D-CA86072B36D1}"/>
                      </a:ext>
                    </a:extLst>
                  </p:cNvPr>
                  <p:cNvSpPr/>
                  <p:nvPr/>
                </p:nvSpPr>
                <p:spPr>
                  <a:xfrm>
                    <a:off x="5749408" y="2066315"/>
                    <a:ext cx="1058303" cy="272103"/>
                  </a:xfrm>
                  <a:prstGeom prst="roundRect">
                    <a:avLst>
                      <a:gd name="adj" fmla="val 50000"/>
                    </a:avLst>
                  </a:prstGeom>
                  <a:solidFill>
                    <a:srgbClr val="D9ECEE"/>
                  </a:solidFill>
                  <a:ln w="10795" cap="flat" cmpd="sng" algn="ctr">
                    <a:noFill/>
                    <a:prstDash val="solid"/>
                  </a:ln>
                  <a:effectLst/>
                </p:spPr>
                <p:txBody>
                  <a:bodyPr rtlCol="0" anchor="ctr"/>
                  <a:lstStyle/>
                  <a:p>
                    <a:pPr marL="0" marR="0" lvl="0" indent="0" algn="r" defTabSz="609660" rtl="0" eaLnBrk="1" fontAlgn="auto" latinLnBrk="0" hangingPunct="1">
                      <a:lnSpc>
                        <a:spcPts val="1129"/>
                      </a:lnSpc>
                      <a:spcBef>
                        <a:spcPts val="0"/>
                      </a:spcBef>
                      <a:spcAft>
                        <a:spcPts val="0"/>
                      </a:spcAft>
                      <a:buClrTx/>
                      <a:buSzTx/>
                      <a:buFontTx/>
                      <a:buNone/>
                      <a:tabLst/>
                      <a:defRPr/>
                    </a:pPr>
                    <a:r>
                      <a:rPr kumimoji="0" lang="en-US" sz="900" b="0" i="0" u="none" strike="noStrike" kern="0" cap="none" spc="0" normalizeH="0" baseline="0" noProof="0">
                        <a:ln>
                          <a:noFill/>
                        </a:ln>
                        <a:solidFill>
                          <a:srgbClr val="105E7D"/>
                        </a:solidFill>
                        <a:effectLst/>
                        <a:uLnTx/>
                        <a:uFillTx/>
                        <a:latin typeface="Segoe UI Semibold" pitchFamily="34" charset="0"/>
                        <a:ea typeface="Segoe UI Semibold" pitchFamily="34" charset="-122"/>
                        <a:cs typeface="Segoe UI Semibold" pitchFamily="34" charset="-120"/>
                      </a:rPr>
                      <a:t>Management</a:t>
                    </a:r>
                    <a:endParaRPr kumimoji="0" lang="en-US" sz="9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4" name="TextBox 303">
                    <a:extLst>
                      <a:ext uri="{FF2B5EF4-FFF2-40B4-BE49-F238E27FC236}">
                        <a16:creationId xmlns:a16="http://schemas.microsoft.com/office/drawing/2014/main" id="{1329EA5D-15C5-4C0E-9BEF-6396C3615061}"/>
                      </a:ext>
                    </a:extLst>
                  </p:cNvPr>
                  <p:cNvSpPr txBox="1"/>
                  <p:nvPr/>
                </p:nvSpPr>
                <p:spPr>
                  <a:xfrm>
                    <a:off x="6647651" y="2081620"/>
                    <a:ext cx="1058303" cy="2358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105E7D"/>
                        </a:solidFill>
                        <a:effectLst/>
                        <a:uLnTx/>
                        <a:uFillTx/>
                        <a:latin typeface="Segoe UI Semibold" pitchFamily="34" charset="0"/>
                        <a:ea typeface="+mn-ea"/>
                        <a:cs typeface="Segoe UI Semibold" pitchFamily="34" charset="-120"/>
                      </a:rPr>
                      <a:t>Web Experience</a:t>
                    </a:r>
                  </a:p>
                </p:txBody>
              </p:sp>
            </p:grpSp>
          </p:grpSp>
          <p:sp>
            <p:nvSpPr>
              <p:cNvPr id="300" name="TextBox 299">
                <a:extLst>
                  <a:ext uri="{FF2B5EF4-FFF2-40B4-BE49-F238E27FC236}">
                    <a16:creationId xmlns:a16="http://schemas.microsoft.com/office/drawing/2014/main" id="{12FC9F5D-4D09-482E-91BE-0357F52AF3D1}"/>
                  </a:ext>
                </a:extLst>
              </p:cNvPr>
              <p:cNvSpPr txBox="1"/>
              <p:nvPr/>
            </p:nvSpPr>
            <p:spPr>
              <a:xfrm>
                <a:off x="6303309" y="2971800"/>
                <a:ext cx="914400" cy="2827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3C3C41"/>
                  </a:solidFill>
                  <a:effectLst/>
                  <a:uLnTx/>
                  <a:uFillTx/>
                  <a:latin typeface="Segoe UI"/>
                  <a:ea typeface="+mn-ea"/>
                  <a:cs typeface="+mn-cs"/>
                </a:endParaRPr>
              </a:p>
            </p:txBody>
          </p:sp>
        </p:grpSp>
        <p:cxnSp>
          <p:nvCxnSpPr>
            <p:cNvPr id="286" name="Straight Arrow Connector 285">
              <a:extLst>
                <a:ext uri="{FF2B5EF4-FFF2-40B4-BE49-F238E27FC236}">
                  <a16:creationId xmlns:a16="http://schemas.microsoft.com/office/drawing/2014/main" id="{D626EE81-9DA4-4DFD-AF41-D558B82349A0}"/>
                </a:ext>
              </a:extLst>
            </p:cNvPr>
            <p:cNvCxnSpPr>
              <a:cxnSpLocks/>
            </p:cNvCxnSpPr>
            <p:nvPr/>
          </p:nvCxnSpPr>
          <p:spPr>
            <a:xfrm>
              <a:off x="5540375" y="5295017"/>
              <a:ext cx="287161" cy="0"/>
            </a:xfrm>
            <a:prstGeom prst="straightConnector1">
              <a:avLst/>
            </a:prstGeom>
            <a:noFill/>
            <a:ln w="25400" cap="flat" cmpd="sng" algn="ctr">
              <a:solidFill>
                <a:srgbClr val="059DBF"/>
              </a:solidFill>
              <a:prstDash val="sysDot"/>
              <a:headEnd type="none" w="med" len="sm"/>
              <a:tailEnd type="triangle" w="lg" len="med"/>
            </a:ln>
            <a:effectLst/>
          </p:spPr>
        </p:cxnSp>
        <p:cxnSp>
          <p:nvCxnSpPr>
            <p:cNvPr id="287" name="Straight Arrow Connector 286">
              <a:extLst>
                <a:ext uri="{FF2B5EF4-FFF2-40B4-BE49-F238E27FC236}">
                  <a16:creationId xmlns:a16="http://schemas.microsoft.com/office/drawing/2014/main" id="{4708343B-700D-4401-A3E1-46A495D69262}"/>
                </a:ext>
              </a:extLst>
            </p:cNvPr>
            <p:cNvCxnSpPr>
              <a:cxnSpLocks/>
            </p:cNvCxnSpPr>
            <p:nvPr/>
          </p:nvCxnSpPr>
          <p:spPr>
            <a:xfrm>
              <a:off x="5296920" y="4054516"/>
              <a:ext cx="188407" cy="0"/>
            </a:xfrm>
            <a:prstGeom prst="straightConnector1">
              <a:avLst/>
            </a:prstGeom>
            <a:noFill/>
            <a:ln w="25400" cap="flat" cmpd="sng" algn="ctr">
              <a:solidFill>
                <a:srgbClr val="059DBF"/>
              </a:solidFill>
              <a:prstDash val="sysDot"/>
              <a:headEnd type="none" w="med" len="sm"/>
              <a:tailEnd type="none" w="lg" len="med"/>
            </a:ln>
            <a:effectLst/>
          </p:spPr>
        </p:cxnSp>
      </p:grpSp>
      <p:grpSp>
        <p:nvGrpSpPr>
          <p:cNvPr id="155" name="Group 154">
            <a:extLst>
              <a:ext uri="{FF2B5EF4-FFF2-40B4-BE49-F238E27FC236}">
                <a16:creationId xmlns:a16="http://schemas.microsoft.com/office/drawing/2014/main" id="{B4E02E89-02A3-4EF2-95A3-B3D7BF0D96C9}"/>
              </a:ext>
            </a:extLst>
          </p:cNvPr>
          <p:cNvGrpSpPr/>
          <p:nvPr/>
        </p:nvGrpSpPr>
        <p:grpSpPr>
          <a:xfrm>
            <a:off x="321757" y="1838703"/>
            <a:ext cx="2560320" cy="3968028"/>
            <a:chOff x="734899" y="1899663"/>
            <a:chExt cx="2668689" cy="3968028"/>
          </a:xfrm>
        </p:grpSpPr>
        <p:sp>
          <p:nvSpPr>
            <p:cNvPr id="156" name="Rectangle 155">
              <a:extLst>
                <a:ext uri="{FF2B5EF4-FFF2-40B4-BE49-F238E27FC236}">
                  <a16:creationId xmlns:a16="http://schemas.microsoft.com/office/drawing/2014/main" id="{2C7A0B22-22ED-43F0-8A5A-1B9178980818}"/>
                </a:ext>
              </a:extLst>
            </p:cNvPr>
            <p:cNvSpPr/>
            <p:nvPr/>
          </p:nvSpPr>
          <p:spPr>
            <a:xfrm>
              <a:off x="734899" y="1899663"/>
              <a:ext cx="2668689" cy="3968028"/>
            </a:xfrm>
            <a:prstGeom prst="rect">
              <a:avLst/>
            </a:prstGeom>
            <a:solidFill>
              <a:schemeClr val="tx1">
                <a:lumMod val="95000"/>
              </a:schemeClr>
            </a:solidFill>
            <a:ln w="57150" cap="flat" cmpd="sng" algn="ctr">
              <a:solidFill>
                <a:srgbClr val="3C3C41">
                  <a:lumMod val="85000"/>
                  <a:lumOff val="15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p:txBody>
        </p:sp>
        <p:grpSp>
          <p:nvGrpSpPr>
            <p:cNvPr id="158" name="Group 157">
              <a:extLst>
                <a:ext uri="{FF2B5EF4-FFF2-40B4-BE49-F238E27FC236}">
                  <a16:creationId xmlns:a16="http://schemas.microsoft.com/office/drawing/2014/main" id="{33448E6B-FC09-43D2-970D-B0FCF82CA74A}"/>
                </a:ext>
              </a:extLst>
            </p:cNvPr>
            <p:cNvGrpSpPr/>
            <p:nvPr/>
          </p:nvGrpSpPr>
          <p:grpSpPr>
            <a:xfrm>
              <a:off x="1951590" y="2257686"/>
              <a:ext cx="1377327" cy="326760"/>
              <a:chOff x="969318" y="1083096"/>
              <a:chExt cx="1377327" cy="326760"/>
            </a:xfrm>
          </p:grpSpPr>
          <p:sp>
            <p:nvSpPr>
              <p:cNvPr id="183" name="TextBox 182">
                <a:extLst>
                  <a:ext uri="{FF2B5EF4-FFF2-40B4-BE49-F238E27FC236}">
                    <a16:creationId xmlns:a16="http://schemas.microsoft.com/office/drawing/2014/main" id="{5DE083A2-EBF1-4AD3-B3EF-AC83C7F6DEC1}"/>
                  </a:ext>
                </a:extLst>
              </p:cNvPr>
              <p:cNvSpPr txBox="1"/>
              <p:nvPr/>
            </p:nvSpPr>
            <p:spPr>
              <a:xfrm>
                <a:off x="1066485" y="1083096"/>
                <a:ext cx="1280160" cy="307777"/>
              </a:xfrm>
              <a:prstGeom prst="rect">
                <a:avLst/>
              </a:prstGeom>
              <a:noFill/>
            </p:spPr>
            <p:txBody>
              <a:bodyPr wrap="square">
                <a:spAutoFit/>
              </a:bodyPr>
              <a:lstStyle>
                <a:defPPr>
                  <a:defRPr lang="en-US"/>
                </a:defPPr>
                <a:lvl1pPr marL="111125"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rgbClr val="0072C6"/>
                    </a:solidFill>
                    <a:effectLst/>
                    <a:uLnTx/>
                    <a:uFillTx/>
                    <a:latin typeface="Segoe UI Semibold" panose="020B0702040204020203" pitchFamily="34" charset="0"/>
                    <a:cs typeface="Segoe UI Semibold" panose="020B0702040204020203" pitchFamily="34" charset="0"/>
                  </a:defRPr>
                </a:lvl1p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Agriculture</a:t>
                </a:r>
              </a:p>
            </p:txBody>
          </p:sp>
          <p:sp>
            <p:nvSpPr>
              <p:cNvPr id="184" name="Leaf" title="Icon of a leaf">
                <a:extLst>
                  <a:ext uri="{FF2B5EF4-FFF2-40B4-BE49-F238E27FC236}">
                    <a16:creationId xmlns:a16="http://schemas.microsoft.com/office/drawing/2014/main" id="{1379394E-A314-4027-B814-8C19AE2BBF00}"/>
                  </a:ext>
                </a:extLst>
              </p:cNvPr>
              <p:cNvSpPr>
                <a:spLocks noChangeAspect="1" noEditPoints="1"/>
              </p:cNvSpPr>
              <p:nvPr/>
            </p:nvSpPr>
            <p:spPr bwMode="auto">
              <a:xfrm>
                <a:off x="969318" y="1134504"/>
                <a:ext cx="182880" cy="275352"/>
              </a:xfrm>
              <a:custGeom>
                <a:avLst/>
                <a:gdLst>
                  <a:gd name="T0" fmla="*/ 497 w 2487"/>
                  <a:gd name="T1" fmla="*/ 2737 h 3743"/>
                  <a:gd name="T2" fmla="*/ 249 w 2487"/>
                  <a:gd name="T3" fmla="*/ 1990 h 3743"/>
                  <a:gd name="T4" fmla="*/ 995 w 2487"/>
                  <a:gd name="T5" fmla="*/ 995 h 3743"/>
                  <a:gd name="T6" fmla="*/ 1741 w 2487"/>
                  <a:gd name="T7" fmla="*/ 0 h 3743"/>
                  <a:gd name="T8" fmla="*/ 2487 w 2487"/>
                  <a:gd name="T9" fmla="*/ 1617 h 3743"/>
                  <a:gd name="T10" fmla="*/ 871 w 2487"/>
                  <a:gd name="T11" fmla="*/ 3234 h 3743"/>
                  <a:gd name="T12" fmla="*/ 746 w 2487"/>
                  <a:gd name="T13" fmla="*/ 3234 h 3743"/>
                  <a:gd name="T14" fmla="*/ 0 w 2487"/>
                  <a:gd name="T15" fmla="*/ 3743 h 3743"/>
                  <a:gd name="T16" fmla="*/ 357 w 2487"/>
                  <a:gd name="T17" fmla="*/ 3527 h 3743"/>
                  <a:gd name="T18" fmla="*/ 997 w 2487"/>
                  <a:gd name="T19" fmla="*/ 2999 h 3743"/>
                  <a:gd name="T20" fmla="*/ 1525 w 2487"/>
                  <a:gd name="T21" fmla="*/ 2358 h 3743"/>
                  <a:gd name="T22" fmla="*/ 1741 w 2487"/>
                  <a:gd name="T23" fmla="*/ 2002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7" h="3743">
                    <a:moveTo>
                      <a:pt x="497" y="2737"/>
                    </a:moveTo>
                    <a:cubicBezTo>
                      <a:pt x="344" y="2546"/>
                      <a:pt x="249" y="2282"/>
                      <a:pt x="249" y="1990"/>
                    </a:cubicBezTo>
                    <a:cubicBezTo>
                      <a:pt x="249" y="1602"/>
                      <a:pt x="534" y="1250"/>
                      <a:pt x="995" y="995"/>
                    </a:cubicBezTo>
                    <a:cubicBezTo>
                      <a:pt x="1456" y="741"/>
                      <a:pt x="1741" y="389"/>
                      <a:pt x="1741" y="0"/>
                    </a:cubicBezTo>
                    <a:cubicBezTo>
                      <a:pt x="2202" y="414"/>
                      <a:pt x="2487" y="985"/>
                      <a:pt x="2487" y="1617"/>
                    </a:cubicBezTo>
                    <a:cubicBezTo>
                      <a:pt x="2487" y="2511"/>
                      <a:pt x="1764" y="3234"/>
                      <a:pt x="871" y="3234"/>
                    </a:cubicBezTo>
                    <a:cubicBezTo>
                      <a:pt x="746" y="3234"/>
                      <a:pt x="746" y="3234"/>
                      <a:pt x="746" y="3234"/>
                    </a:cubicBezTo>
                    <a:moveTo>
                      <a:pt x="0" y="3743"/>
                    </a:moveTo>
                    <a:cubicBezTo>
                      <a:pt x="122" y="3677"/>
                      <a:pt x="241" y="3604"/>
                      <a:pt x="357" y="3527"/>
                    </a:cubicBezTo>
                    <a:cubicBezTo>
                      <a:pt x="587" y="3371"/>
                      <a:pt x="801" y="3194"/>
                      <a:pt x="997" y="2999"/>
                    </a:cubicBezTo>
                    <a:cubicBezTo>
                      <a:pt x="1192" y="2803"/>
                      <a:pt x="1369" y="2589"/>
                      <a:pt x="1525" y="2358"/>
                    </a:cubicBezTo>
                    <a:cubicBezTo>
                      <a:pt x="1602" y="2243"/>
                      <a:pt x="1675" y="2124"/>
                      <a:pt x="1741" y="2002"/>
                    </a:cubicBezTo>
                  </a:path>
                </a:pathLst>
              </a:custGeom>
              <a:noFill/>
              <a:ln w="19050"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59" name="Group 158">
              <a:extLst>
                <a:ext uri="{FF2B5EF4-FFF2-40B4-BE49-F238E27FC236}">
                  <a16:creationId xmlns:a16="http://schemas.microsoft.com/office/drawing/2014/main" id="{1644EA2F-CB8C-4435-A272-F1E0A63EF50B}"/>
                </a:ext>
              </a:extLst>
            </p:cNvPr>
            <p:cNvGrpSpPr/>
            <p:nvPr/>
          </p:nvGrpSpPr>
          <p:grpSpPr>
            <a:xfrm>
              <a:off x="1941414" y="2998914"/>
              <a:ext cx="1450561" cy="314066"/>
              <a:chOff x="896084" y="1713107"/>
              <a:chExt cx="1450561" cy="314066"/>
            </a:xfrm>
          </p:grpSpPr>
          <p:sp>
            <p:nvSpPr>
              <p:cNvPr id="181" name="TextBox 180">
                <a:extLst>
                  <a:ext uri="{FF2B5EF4-FFF2-40B4-BE49-F238E27FC236}">
                    <a16:creationId xmlns:a16="http://schemas.microsoft.com/office/drawing/2014/main" id="{E54B8952-3288-4693-9D30-DD808B9FA520}"/>
                  </a:ext>
                </a:extLst>
              </p:cNvPr>
              <p:cNvSpPr txBox="1"/>
              <p:nvPr/>
            </p:nvSpPr>
            <p:spPr>
              <a:xfrm>
                <a:off x="1066485" y="17193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Consumer</a:t>
                </a:r>
              </a:p>
            </p:txBody>
          </p:sp>
          <p:sp>
            <p:nvSpPr>
              <p:cNvPr id="182" name="people_2" title="Icon of three people with an arrow above them pointing down">
                <a:extLst>
                  <a:ext uri="{FF2B5EF4-FFF2-40B4-BE49-F238E27FC236}">
                    <a16:creationId xmlns:a16="http://schemas.microsoft.com/office/drawing/2014/main" id="{876D525A-EDDD-4B43-BC18-76D3F2FEAC4C}"/>
                  </a:ext>
                </a:extLst>
              </p:cNvPr>
              <p:cNvSpPr>
                <a:spLocks noChangeAspect="1" noEditPoints="1"/>
              </p:cNvSpPr>
              <p:nvPr/>
            </p:nvSpPr>
            <p:spPr bwMode="auto">
              <a:xfrm>
                <a:off x="896084" y="1713107"/>
                <a:ext cx="274320" cy="301235"/>
              </a:xfrm>
              <a:custGeom>
                <a:avLst/>
                <a:gdLst>
                  <a:gd name="T0" fmla="*/ 95 w 298"/>
                  <a:gd name="T1" fmla="*/ 198 h 328"/>
                  <a:gd name="T2" fmla="*/ 149 w 298"/>
                  <a:gd name="T3" fmla="*/ 143 h 328"/>
                  <a:gd name="T4" fmla="*/ 203 w 298"/>
                  <a:gd name="T5" fmla="*/ 198 h 328"/>
                  <a:gd name="T6" fmla="*/ 149 w 298"/>
                  <a:gd name="T7" fmla="*/ 252 h 328"/>
                  <a:gd name="T8" fmla="*/ 95 w 298"/>
                  <a:gd name="T9" fmla="*/ 198 h 328"/>
                  <a:gd name="T10" fmla="*/ 225 w 298"/>
                  <a:gd name="T11" fmla="*/ 328 h 328"/>
                  <a:gd name="T12" fmla="*/ 149 w 298"/>
                  <a:gd name="T13" fmla="*/ 252 h 328"/>
                  <a:gd name="T14" fmla="*/ 73 w 298"/>
                  <a:gd name="T15" fmla="*/ 328 h 328"/>
                  <a:gd name="T16" fmla="*/ 47 w 298"/>
                  <a:gd name="T17" fmla="*/ 146 h 328"/>
                  <a:gd name="T18" fmla="*/ 81 w 298"/>
                  <a:gd name="T19" fmla="*/ 112 h 328"/>
                  <a:gd name="T20" fmla="*/ 47 w 298"/>
                  <a:gd name="T21" fmla="*/ 78 h 328"/>
                  <a:gd name="T22" fmla="*/ 13 w 298"/>
                  <a:gd name="T23" fmla="*/ 112 h 328"/>
                  <a:gd name="T24" fmla="*/ 47 w 298"/>
                  <a:gd name="T25" fmla="*/ 146 h 328"/>
                  <a:gd name="T26" fmla="*/ 95 w 298"/>
                  <a:gd name="T27" fmla="*/ 193 h 328"/>
                  <a:gd name="T28" fmla="*/ 47 w 298"/>
                  <a:gd name="T29" fmla="*/ 146 h 328"/>
                  <a:gd name="T30" fmla="*/ 0 w 298"/>
                  <a:gd name="T31" fmla="*/ 193 h 328"/>
                  <a:gd name="T32" fmla="*/ 251 w 298"/>
                  <a:gd name="T33" fmla="*/ 146 h 328"/>
                  <a:gd name="T34" fmla="*/ 285 w 298"/>
                  <a:gd name="T35" fmla="*/ 112 h 328"/>
                  <a:gd name="T36" fmla="*/ 251 w 298"/>
                  <a:gd name="T37" fmla="*/ 78 h 328"/>
                  <a:gd name="T38" fmla="*/ 217 w 298"/>
                  <a:gd name="T39" fmla="*/ 112 h 328"/>
                  <a:gd name="T40" fmla="*/ 251 w 298"/>
                  <a:gd name="T41" fmla="*/ 146 h 328"/>
                  <a:gd name="T42" fmla="*/ 298 w 298"/>
                  <a:gd name="T43" fmla="*/ 193 h 328"/>
                  <a:gd name="T44" fmla="*/ 251 w 298"/>
                  <a:gd name="T45" fmla="*/ 146 h 328"/>
                  <a:gd name="T46" fmla="*/ 203 w 298"/>
                  <a:gd name="T47" fmla="*/ 193 h 328"/>
                  <a:gd name="T48" fmla="*/ 149 w 298"/>
                  <a:gd name="T49" fmla="*/ 0 h 328"/>
                  <a:gd name="T50" fmla="*/ 149 w 298"/>
                  <a:gd name="T51" fmla="*/ 80 h 328"/>
                  <a:gd name="T52" fmla="*/ 104 w 298"/>
                  <a:gd name="T53" fmla="*/ 35 h 328"/>
                  <a:gd name="T54" fmla="*/ 149 w 298"/>
                  <a:gd name="T55" fmla="*/ 80 h 328"/>
                  <a:gd name="T56" fmla="*/ 194 w 298"/>
                  <a:gd name="T57" fmla="*/ 3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328">
                    <a:moveTo>
                      <a:pt x="95" y="198"/>
                    </a:moveTo>
                    <a:cubicBezTo>
                      <a:pt x="95" y="168"/>
                      <a:pt x="119" y="143"/>
                      <a:pt x="149" y="143"/>
                    </a:cubicBezTo>
                    <a:cubicBezTo>
                      <a:pt x="179" y="143"/>
                      <a:pt x="203" y="168"/>
                      <a:pt x="203" y="198"/>
                    </a:cubicBezTo>
                    <a:cubicBezTo>
                      <a:pt x="203" y="228"/>
                      <a:pt x="179" y="252"/>
                      <a:pt x="149" y="252"/>
                    </a:cubicBezTo>
                    <a:cubicBezTo>
                      <a:pt x="119" y="252"/>
                      <a:pt x="95" y="228"/>
                      <a:pt x="95" y="198"/>
                    </a:cubicBezTo>
                    <a:close/>
                    <a:moveTo>
                      <a:pt x="225" y="328"/>
                    </a:moveTo>
                    <a:cubicBezTo>
                      <a:pt x="225" y="286"/>
                      <a:pt x="191" y="252"/>
                      <a:pt x="149" y="252"/>
                    </a:cubicBezTo>
                    <a:cubicBezTo>
                      <a:pt x="107" y="252"/>
                      <a:pt x="73" y="286"/>
                      <a:pt x="73" y="328"/>
                    </a:cubicBezTo>
                    <a:moveTo>
                      <a:pt x="47" y="146"/>
                    </a:moveTo>
                    <a:cubicBezTo>
                      <a:pt x="66" y="146"/>
                      <a:pt x="81" y="131"/>
                      <a:pt x="81" y="112"/>
                    </a:cubicBezTo>
                    <a:cubicBezTo>
                      <a:pt x="81" y="93"/>
                      <a:pt x="66" y="78"/>
                      <a:pt x="47" y="78"/>
                    </a:cubicBezTo>
                    <a:cubicBezTo>
                      <a:pt x="28" y="78"/>
                      <a:pt x="13" y="93"/>
                      <a:pt x="13" y="112"/>
                    </a:cubicBezTo>
                    <a:cubicBezTo>
                      <a:pt x="13" y="131"/>
                      <a:pt x="28" y="146"/>
                      <a:pt x="47" y="146"/>
                    </a:cubicBezTo>
                    <a:close/>
                    <a:moveTo>
                      <a:pt x="95" y="193"/>
                    </a:moveTo>
                    <a:cubicBezTo>
                      <a:pt x="95" y="167"/>
                      <a:pt x="73" y="146"/>
                      <a:pt x="47" y="146"/>
                    </a:cubicBezTo>
                    <a:cubicBezTo>
                      <a:pt x="21" y="146"/>
                      <a:pt x="0" y="167"/>
                      <a:pt x="0" y="193"/>
                    </a:cubicBezTo>
                    <a:moveTo>
                      <a:pt x="251" y="146"/>
                    </a:moveTo>
                    <a:cubicBezTo>
                      <a:pt x="270" y="146"/>
                      <a:pt x="285" y="131"/>
                      <a:pt x="285" y="112"/>
                    </a:cubicBezTo>
                    <a:cubicBezTo>
                      <a:pt x="285" y="93"/>
                      <a:pt x="270" y="78"/>
                      <a:pt x="251" y="78"/>
                    </a:cubicBezTo>
                    <a:cubicBezTo>
                      <a:pt x="232" y="78"/>
                      <a:pt x="217" y="93"/>
                      <a:pt x="217" y="112"/>
                    </a:cubicBezTo>
                    <a:cubicBezTo>
                      <a:pt x="217" y="131"/>
                      <a:pt x="232" y="146"/>
                      <a:pt x="251" y="146"/>
                    </a:cubicBezTo>
                    <a:close/>
                    <a:moveTo>
                      <a:pt x="298" y="193"/>
                    </a:moveTo>
                    <a:cubicBezTo>
                      <a:pt x="298" y="167"/>
                      <a:pt x="277" y="146"/>
                      <a:pt x="251" y="146"/>
                    </a:cubicBezTo>
                    <a:cubicBezTo>
                      <a:pt x="225" y="146"/>
                      <a:pt x="203" y="167"/>
                      <a:pt x="203" y="193"/>
                    </a:cubicBezTo>
                    <a:moveTo>
                      <a:pt x="149" y="0"/>
                    </a:moveTo>
                    <a:cubicBezTo>
                      <a:pt x="149" y="80"/>
                      <a:pt x="149" y="80"/>
                      <a:pt x="149" y="80"/>
                    </a:cubicBezTo>
                    <a:moveTo>
                      <a:pt x="104" y="35"/>
                    </a:moveTo>
                    <a:cubicBezTo>
                      <a:pt x="149" y="80"/>
                      <a:pt x="149" y="80"/>
                      <a:pt x="149" y="80"/>
                    </a:cubicBezTo>
                    <a:cubicBezTo>
                      <a:pt x="194" y="35"/>
                      <a:pt x="194" y="35"/>
                      <a:pt x="194" y="35"/>
                    </a:cubicBezTo>
                  </a:path>
                </a:pathLst>
              </a:custGeom>
              <a:noFill/>
              <a:ln w="1905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B89DF34E-5518-4780-A8EF-44F45494C2EF}"/>
                </a:ext>
              </a:extLst>
            </p:cNvPr>
            <p:cNvGrpSpPr/>
            <p:nvPr/>
          </p:nvGrpSpPr>
          <p:grpSpPr>
            <a:xfrm>
              <a:off x="1049542" y="2634647"/>
              <a:ext cx="1413605" cy="314066"/>
              <a:chOff x="933040" y="2355696"/>
              <a:chExt cx="1413605" cy="314066"/>
            </a:xfrm>
          </p:grpSpPr>
          <p:pic>
            <p:nvPicPr>
              <p:cNvPr id="179" name="Picture 178">
                <a:extLst>
                  <a:ext uri="{FF2B5EF4-FFF2-40B4-BE49-F238E27FC236}">
                    <a16:creationId xmlns:a16="http://schemas.microsoft.com/office/drawing/2014/main" id="{B033527B-2660-4131-856D-CEAF0E9577D7}"/>
                  </a:ext>
                </a:extLst>
              </p:cNvPr>
              <p:cNvPicPr>
                <a:picLocks noChangeAspect="1"/>
              </p:cNvPicPr>
              <p:nvPr/>
            </p:nvPicPr>
            <p:blipFill>
              <a:blip r:embed="rId11">
                <a:biLevel thresh="50000"/>
                <a:extLst>
                  <a:ext uri="{BEBA8EAE-BF5A-486C-A8C5-ECC9F3942E4B}">
                    <a14:imgProps xmlns:a14="http://schemas.microsoft.com/office/drawing/2010/main">
                      <a14:imgLayer r:embed="rId12">
                        <a14:imgEffect>
                          <a14:brightnessContrast contrast="-20000"/>
                        </a14:imgEffect>
                      </a14:imgLayer>
                    </a14:imgProps>
                  </a:ext>
                </a:extLst>
              </a:blip>
              <a:stretch>
                <a:fillRect/>
              </a:stretch>
            </p:blipFill>
            <p:spPr>
              <a:xfrm>
                <a:off x="933040" y="2369317"/>
                <a:ext cx="182880" cy="300445"/>
              </a:xfrm>
              <a:prstGeom prst="rect">
                <a:avLst/>
              </a:prstGeom>
            </p:spPr>
          </p:pic>
          <p:sp>
            <p:nvSpPr>
              <p:cNvPr id="180" name="TextBox 179">
                <a:extLst>
                  <a:ext uri="{FF2B5EF4-FFF2-40B4-BE49-F238E27FC236}">
                    <a16:creationId xmlns:a16="http://schemas.microsoft.com/office/drawing/2014/main" id="{4807505A-CEA0-4619-AFA7-03FD982CD255}"/>
                  </a:ext>
                </a:extLst>
              </p:cNvPr>
              <p:cNvSpPr txBox="1"/>
              <p:nvPr/>
            </p:nvSpPr>
            <p:spPr>
              <a:xfrm>
                <a:off x="1066485" y="23556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Appliances</a:t>
                </a:r>
              </a:p>
            </p:txBody>
          </p:sp>
        </p:grpSp>
        <p:grpSp>
          <p:nvGrpSpPr>
            <p:cNvPr id="161" name="Group 160">
              <a:extLst>
                <a:ext uri="{FF2B5EF4-FFF2-40B4-BE49-F238E27FC236}">
                  <a16:creationId xmlns:a16="http://schemas.microsoft.com/office/drawing/2014/main" id="{9784E3D6-D170-4C8F-BA4F-6255DEC5839C}"/>
                </a:ext>
              </a:extLst>
            </p:cNvPr>
            <p:cNvGrpSpPr/>
            <p:nvPr/>
          </p:nvGrpSpPr>
          <p:grpSpPr>
            <a:xfrm>
              <a:off x="1019096" y="3363181"/>
              <a:ext cx="1444051" cy="307777"/>
              <a:chOff x="902594" y="2991996"/>
              <a:chExt cx="1444051" cy="307777"/>
            </a:xfrm>
          </p:grpSpPr>
          <p:sp>
            <p:nvSpPr>
              <p:cNvPr id="177" name="SecurityCamera_EB35" title="Icon of a security camera">
                <a:extLst>
                  <a:ext uri="{FF2B5EF4-FFF2-40B4-BE49-F238E27FC236}">
                    <a16:creationId xmlns:a16="http://schemas.microsoft.com/office/drawing/2014/main" id="{C6DE8130-2C2E-4B0C-AD7D-DC6F895B9EE4}"/>
                  </a:ext>
                </a:extLst>
              </p:cNvPr>
              <p:cNvSpPr>
                <a:spLocks noChangeAspect="1" noEditPoints="1"/>
              </p:cNvSpPr>
              <p:nvPr/>
            </p:nvSpPr>
            <p:spPr bwMode="auto">
              <a:xfrm>
                <a:off x="902594" y="3017959"/>
                <a:ext cx="274320" cy="236828"/>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78" name="TextBox 177">
                <a:extLst>
                  <a:ext uri="{FF2B5EF4-FFF2-40B4-BE49-F238E27FC236}">
                    <a16:creationId xmlns:a16="http://schemas.microsoft.com/office/drawing/2014/main" id="{B796F614-9492-4EE8-93A3-AB74162D9F4C}"/>
                  </a:ext>
                </a:extLst>
              </p:cNvPr>
              <p:cNvSpPr txBox="1"/>
              <p:nvPr/>
            </p:nvSpPr>
            <p:spPr>
              <a:xfrm>
                <a:off x="1066485" y="29919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Security</a:t>
                </a:r>
              </a:p>
            </p:txBody>
          </p:sp>
        </p:grpSp>
        <p:grpSp>
          <p:nvGrpSpPr>
            <p:cNvPr id="162" name="Group 161">
              <a:extLst>
                <a:ext uri="{FF2B5EF4-FFF2-40B4-BE49-F238E27FC236}">
                  <a16:creationId xmlns:a16="http://schemas.microsoft.com/office/drawing/2014/main" id="{E8908F7D-5B3B-46C6-BED9-127AF0C28324}"/>
                </a:ext>
              </a:extLst>
            </p:cNvPr>
            <p:cNvGrpSpPr/>
            <p:nvPr/>
          </p:nvGrpSpPr>
          <p:grpSpPr>
            <a:xfrm>
              <a:off x="1912553" y="3721159"/>
              <a:ext cx="1469410" cy="307777"/>
              <a:chOff x="877235" y="3308256"/>
              <a:chExt cx="1469410" cy="307777"/>
            </a:xfrm>
          </p:grpSpPr>
          <p:pic>
            <p:nvPicPr>
              <p:cNvPr id="175" name="Picture 2" descr="Image result for elevator icon PNG">
                <a:extLst>
                  <a:ext uri="{FF2B5EF4-FFF2-40B4-BE49-F238E27FC236}">
                    <a16:creationId xmlns:a16="http://schemas.microsoft.com/office/drawing/2014/main" id="{3FD527DE-4E35-4E50-A3D9-C2C7C309C83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77235" y="3329028"/>
                <a:ext cx="274320" cy="274320"/>
              </a:xfrm>
              <a:prstGeom prst="rect">
                <a:avLst/>
              </a:prstGeom>
              <a:noFill/>
              <a:extLst>
                <a:ext uri="{909E8E84-426E-40DD-AFC4-6F175D3DCCD1}">
                  <a14:hiddenFill xmlns:a14="http://schemas.microsoft.com/office/drawing/2010/main">
                    <a:solidFill>
                      <a:srgbClr val="FFFFFF"/>
                    </a:solidFill>
                  </a14:hiddenFill>
                </a:ext>
              </a:extLst>
            </p:spPr>
          </p:pic>
          <p:sp>
            <p:nvSpPr>
              <p:cNvPr id="176" name="TextBox 175">
                <a:extLst>
                  <a:ext uri="{FF2B5EF4-FFF2-40B4-BE49-F238E27FC236}">
                    <a16:creationId xmlns:a16="http://schemas.microsoft.com/office/drawing/2014/main" id="{9808ADBD-386F-4043-8C77-632CD93E29B8}"/>
                  </a:ext>
                </a:extLst>
              </p:cNvPr>
              <p:cNvSpPr txBox="1"/>
              <p:nvPr/>
            </p:nvSpPr>
            <p:spPr>
              <a:xfrm>
                <a:off x="1066485" y="330825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Buildings</a:t>
                </a:r>
              </a:p>
            </p:txBody>
          </p:sp>
        </p:grpSp>
        <p:grpSp>
          <p:nvGrpSpPr>
            <p:cNvPr id="163" name="Group 162">
              <a:extLst>
                <a:ext uri="{FF2B5EF4-FFF2-40B4-BE49-F238E27FC236}">
                  <a16:creationId xmlns:a16="http://schemas.microsoft.com/office/drawing/2014/main" id="{ECE094AC-E991-41D3-ABDA-8A63E78F4CE8}"/>
                </a:ext>
              </a:extLst>
            </p:cNvPr>
            <p:cNvGrpSpPr/>
            <p:nvPr/>
          </p:nvGrpSpPr>
          <p:grpSpPr>
            <a:xfrm>
              <a:off x="998985" y="4810016"/>
              <a:ext cx="1384892" cy="307777"/>
              <a:chOff x="961753" y="5537196"/>
              <a:chExt cx="1384892" cy="307777"/>
            </a:xfrm>
          </p:grpSpPr>
          <p:sp>
            <p:nvSpPr>
              <p:cNvPr id="173" name="light" title="Icon of a lightbulb">
                <a:extLst>
                  <a:ext uri="{FF2B5EF4-FFF2-40B4-BE49-F238E27FC236}">
                    <a16:creationId xmlns:a16="http://schemas.microsoft.com/office/drawing/2014/main" id="{B9BB598B-8497-4142-A5D1-18B9F70AE8B3}"/>
                  </a:ext>
                </a:extLst>
              </p:cNvPr>
              <p:cNvSpPr>
                <a:spLocks noChangeAspect="1" noEditPoints="1"/>
              </p:cNvSpPr>
              <p:nvPr/>
            </p:nvSpPr>
            <p:spPr bwMode="auto">
              <a:xfrm>
                <a:off x="961753" y="5575200"/>
                <a:ext cx="169090" cy="25104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 name="TextBox 173">
                <a:extLst>
                  <a:ext uri="{FF2B5EF4-FFF2-40B4-BE49-F238E27FC236}">
                    <a16:creationId xmlns:a16="http://schemas.microsoft.com/office/drawing/2014/main" id="{444292BE-C9EC-40C4-BBA7-D40B0A36716F}"/>
                  </a:ext>
                </a:extLst>
              </p:cNvPr>
              <p:cNvSpPr txBox="1"/>
              <p:nvPr/>
            </p:nvSpPr>
            <p:spPr>
              <a:xfrm>
                <a:off x="1066485" y="553719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Lighting</a:t>
                </a:r>
              </a:p>
            </p:txBody>
          </p:sp>
        </p:grpSp>
        <p:grpSp>
          <p:nvGrpSpPr>
            <p:cNvPr id="164" name="Group 163">
              <a:extLst>
                <a:ext uri="{FF2B5EF4-FFF2-40B4-BE49-F238E27FC236}">
                  <a16:creationId xmlns:a16="http://schemas.microsoft.com/office/drawing/2014/main" id="{8EAB8E1E-7152-4D0D-9675-9DFDBE24F410}"/>
                </a:ext>
              </a:extLst>
            </p:cNvPr>
            <p:cNvGrpSpPr/>
            <p:nvPr/>
          </p:nvGrpSpPr>
          <p:grpSpPr>
            <a:xfrm>
              <a:off x="1907493" y="4437115"/>
              <a:ext cx="1431610" cy="322700"/>
              <a:chOff x="915035" y="4885973"/>
              <a:chExt cx="1431610" cy="322700"/>
            </a:xfrm>
          </p:grpSpPr>
          <p:sp>
            <p:nvSpPr>
              <p:cNvPr id="171" name="TextBox 170">
                <a:extLst>
                  <a:ext uri="{FF2B5EF4-FFF2-40B4-BE49-F238E27FC236}">
                    <a16:creationId xmlns:a16="http://schemas.microsoft.com/office/drawing/2014/main" id="{0606805A-6C3B-4E8A-AF86-87C13CF32477}"/>
                  </a:ext>
                </a:extLst>
              </p:cNvPr>
              <p:cNvSpPr txBox="1"/>
              <p:nvPr/>
            </p:nvSpPr>
            <p:spPr>
              <a:xfrm>
                <a:off x="1066485" y="4900896"/>
                <a:ext cx="1280160" cy="307777"/>
              </a:xfrm>
              <a:prstGeom prst="rect">
                <a:avLst/>
              </a:prstGeom>
              <a:noFill/>
            </p:spPr>
            <p:txBody>
              <a:bodyPr wrap="square">
                <a:spAutoFit/>
              </a:bodyPr>
              <a:lstStyle>
                <a:defPPr>
                  <a:defRPr lang="en-US"/>
                </a:defPPr>
                <a:lvl1pPr marL="111125" marR="0" lvl="0" indent="0" defTabSz="914400" fontAlgn="auto">
                  <a:lnSpc>
                    <a:spcPct val="100000"/>
                  </a:lnSpc>
                  <a:spcBef>
                    <a:spcPts val="0"/>
                  </a:spcBef>
                  <a:spcAft>
                    <a:spcPts val="0"/>
                  </a:spcAft>
                  <a:buClrTx/>
                  <a:buSzTx/>
                  <a:buFontTx/>
                  <a:buNone/>
                  <a:tabLst/>
                  <a:defRPr kumimoji="0" sz="1400" b="0" i="0" u="none" strike="noStrike" cap="none" spc="0" normalizeH="0" baseline="0">
                    <a:ln>
                      <a:noFill/>
                    </a:ln>
                    <a:solidFill>
                      <a:srgbClr val="3C3C41"/>
                    </a:solidFill>
                    <a:effectLst/>
                    <a:uLnTx/>
                    <a:uFillTx/>
                    <a:latin typeface="Segoe UI Semibold" panose="020B0702040204020203" pitchFamily="34" charset="0"/>
                    <a:cs typeface="Segoe UI Semibold" panose="020B0702040204020203" pitchFamily="34" charset="0"/>
                  </a:defRPr>
                </a:lvl1p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Industrial</a:t>
                </a:r>
              </a:p>
            </p:txBody>
          </p:sp>
          <p:pic>
            <p:nvPicPr>
              <p:cNvPr id="172" name="Graphic 171" descr="Factory outline">
                <a:extLst>
                  <a:ext uri="{FF2B5EF4-FFF2-40B4-BE49-F238E27FC236}">
                    <a16:creationId xmlns:a16="http://schemas.microsoft.com/office/drawing/2014/main" id="{D9CFADA7-F324-4293-B0DD-AC1B3AD7EBF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15035" y="4885973"/>
                <a:ext cx="274320" cy="274320"/>
              </a:xfrm>
              <a:prstGeom prst="rect">
                <a:avLst/>
              </a:prstGeom>
            </p:spPr>
          </p:pic>
        </p:grpSp>
        <p:grpSp>
          <p:nvGrpSpPr>
            <p:cNvPr id="165" name="Group 164">
              <a:extLst>
                <a:ext uri="{FF2B5EF4-FFF2-40B4-BE49-F238E27FC236}">
                  <a16:creationId xmlns:a16="http://schemas.microsoft.com/office/drawing/2014/main" id="{4DB4A42A-1FC1-4100-8660-2A569652AFB8}"/>
                </a:ext>
              </a:extLst>
            </p:cNvPr>
            <p:cNvGrpSpPr/>
            <p:nvPr/>
          </p:nvGrpSpPr>
          <p:grpSpPr>
            <a:xfrm>
              <a:off x="1923273" y="5167998"/>
              <a:ext cx="1472434" cy="334902"/>
              <a:chOff x="2030619" y="4390181"/>
              <a:chExt cx="1472434" cy="334902"/>
            </a:xfrm>
          </p:grpSpPr>
          <p:sp>
            <p:nvSpPr>
              <p:cNvPr id="169" name="TextBox 168">
                <a:extLst>
                  <a:ext uri="{FF2B5EF4-FFF2-40B4-BE49-F238E27FC236}">
                    <a16:creationId xmlns:a16="http://schemas.microsoft.com/office/drawing/2014/main" id="{D5E8B95B-0A01-4A37-8F73-F3D7927BBC41}"/>
                  </a:ext>
                </a:extLst>
              </p:cNvPr>
              <p:cNvSpPr txBox="1"/>
              <p:nvPr/>
            </p:nvSpPr>
            <p:spPr>
              <a:xfrm>
                <a:off x="2222893" y="4412195"/>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Safety</a:t>
                </a:r>
              </a:p>
            </p:txBody>
          </p:sp>
          <p:pic>
            <p:nvPicPr>
              <p:cNvPr id="170" name="Graphic 169" descr="Life jacket outline">
                <a:extLst>
                  <a:ext uri="{FF2B5EF4-FFF2-40B4-BE49-F238E27FC236}">
                    <a16:creationId xmlns:a16="http://schemas.microsoft.com/office/drawing/2014/main" id="{33BB5DD7-9CFA-4062-A722-D7DC3100960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030619" y="4390181"/>
                <a:ext cx="334902" cy="334902"/>
              </a:xfrm>
              <a:prstGeom prst="rect">
                <a:avLst/>
              </a:prstGeom>
            </p:spPr>
          </p:pic>
        </p:grpSp>
        <p:grpSp>
          <p:nvGrpSpPr>
            <p:cNvPr id="166" name="Group 165">
              <a:extLst>
                <a:ext uri="{FF2B5EF4-FFF2-40B4-BE49-F238E27FC236}">
                  <a16:creationId xmlns:a16="http://schemas.microsoft.com/office/drawing/2014/main" id="{6A61C9A0-79E8-497F-8464-9AA93ED15D3B}"/>
                </a:ext>
              </a:extLst>
            </p:cNvPr>
            <p:cNvGrpSpPr/>
            <p:nvPr/>
          </p:nvGrpSpPr>
          <p:grpSpPr>
            <a:xfrm>
              <a:off x="1020250" y="4079137"/>
              <a:ext cx="1419332" cy="307777"/>
              <a:chOff x="927313" y="3944556"/>
              <a:chExt cx="1419332" cy="307777"/>
            </a:xfrm>
          </p:grpSpPr>
          <p:sp>
            <p:nvSpPr>
              <p:cNvPr id="167" name="TextBox 166">
                <a:extLst>
                  <a:ext uri="{FF2B5EF4-FFF2-40B4-BE49-F238E27FC236}">
                    <a16:creationId xmlns:a16="http://schemas.microsoft.com/office/drawing/2014/main" id="{E418CB01-DDAC-458B-9182-05A2D1130D38}"/>
                  </a:ext>
                </a:extLst>
              </p:cNvPr>
              <p:cNvSpPr txBox="1"/>
              <p:nvPr/>
            </p:nvSpPr>
            <p:spPr>
              <a:xfrm>
                <a:off x="1066485" y="3944556"/>
                <a:ext cx="1280160" cy="307777"/>
              </a:xfrm>
              <a:prstGeom prst="rect">
                <a:avLst/>
              </a:prstGeom>
              <a:noFill/>
            </p:spPr>
            <p:txBody>
              <a:bodyPr wrap="square">
                <a:spAutoFit/>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Energy</a:t>
                </a:r>
              </a:p>
            </p:txBody>
          </p:sp>
          <p:pic>
            <p:nvPicPr>
              <p:cNvPr id="168" name="Graphic 167" descr="Battery charging with solid fill">
                <a:extLst>
                  <a:ext uri="{FF2B5EF4-FFF2-40B4-BE49-F238E27FC236}">
                    <a16:creationId xmlns:a16="http://schemas.microsoft.com/office/drawing/2014/main" id="{30ECEC28-DFD4-4269-A7D9-DE04CD03D48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27313" y="3973858"/>
                <a:ext cx="274321" cy="274321"/>
              </a:xfrm>
              <a:prstGeom prst="rect">
                <a:avLst/>
              </a:prstGeom>
            </p:spPr>
          </p:pic>
        </p:grpSp>
      </p:grpSp>
      <p:sp>
        <p:nvSpPr>
          <p:cNvPr id="14" name="TextBox 13">
            <a:extLst>
              <a:ext uri="{FF2B5EF4-FFF2-40B4-BE49-F238E27FC236}">
                <a16:creationId xmlns:a16="http://schemas.microsoft.com/office/drawing/2014/main" id="{98A79D5C-5E34-4327-A8BC-38D26C811BCB}"/>
              </a:ext>
            </a:extLst>
          </p:cNvPr>
          <p:cNvSpPr txBox="1"/>
          <p:nvPr/>
        </p:nvSpPr>
        <p:spPr>
          <a:xfrm>
            <a:off x="853477" y="6246471"/>
            <a:ext cx="13937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hings</a:t>
            </a:r>
          </a:p>
        </p:txBody>
      </p:sp>
      <p:sp>
        <p:nvSpPr>
          <p:cNvPr id="15" name="TextBox 14">
            <a:extLst>
              <a:ext uri="{FF2B5EF4-FFF2-40B4-BE49-F238E27FC236}">
                <a16:creationId xmlns:a16="http://schemas.microsoft.com/office/drawing/2014/main" id="{3A2B7B72-F200-4C14-AC6C-DD674757477B}"/>
              </a:ext>
            </a:extLst>
          </p:cNvPr>
          <p:cNvSpPr txBox="1"/>
          <p:nvPr/>
        </p:nvSpPr>
        <p:spPr>
          <a:xfrm>
            <a:off x="9702548" y="6246471"/>
            <a:ext cx="186419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Transformation</a:t>
            </a:r>
          </a:p>
        </p:txBody>
      </p:sp>
      <p:sp>
        <p:nvSpPr>
          <p:cNvPr id="16" name="TextBox 15">
            <a:extLst>
              <a:ext uri="{FF2B5EF4-FFF2-40B4-BE49-F238E27FC236}">
                <a16:creationId xmlns:a16="http://schemas.microsoft.com/office/drawing/2014/main" id="{D4F96B5A-1A1C-4546-9578-8199C4DBCD18}"/>
              </a:ext>
            </a:extLst>
          </p:cNvPr>
          <p:cNvSpPr txBox="1"/>
          <p:nvPr/>
        </p:nvSpPr>
        <p:spPr>
          <a:xfrm>
            <a:off x="5223493" y="6250702"/>
            <a:ext cx="13937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Cloud</a:t>
            </a:r>
          </a:p>
        </p:txBody>
      </p:sp>
      <p:grpSp>
        <p:nvGrpSpPr>
          <p:cNvPr id="199" name="Group 198">
            <a:extLst>
              <a:ext uri="{FF2B5EF4-FFF2-40B4-BE49-F238E27FC236}">
                <a16:creationId xmlns:a16="http://schemas.microsoft.com/office/drawing/2014/main" id="{CA314920-8145-42D1-A06C-670A5F9FD68C}"/>
              </a:ext>
            </a:extLst>
          </p:cNvPr>
          <p:cNvGrpSpPr/>
          <p:nvPr/>
        </p:nvGrpSpPr>
        <p:grpSpPr>
          <a:xfrm>
            <a:off x="9360190" y="1838703"/>
            <a:ext cx="2560320" cy="3968028"/>
            <a:chOff x="9360190" y="1838703"/>
            <a:chExt cx="2560320" cy="3968028"/>
          </a:xfrm>
        </p:grpSpPr>
        <p:sp>
          <p:nvSpPr>
            <p:cNvPr id="200" name="Rectangle 199">
              <a:extLst>
                <a:ext uri="{FF2B5EF4-FFF2-40B4-BE49-F238E27FC236}">
                  <a16:creationId xmlns:a16="http://schemas.microsoft.com/office/drawing/2014/main" id="{13EA8975-0C04-4640-9FD5-57E5903B0A4A}"/>
                </a:ext>
              </a:extLst>
            </p:cNvPr>
            <p:cNvSpPr/>
            <p:nvPr/>
          </p:nvSpPr>
          <p:spPr>
            <a:xfrm>
              <a:off x="9360190" y="1838703"/>
              <a:ext cx="2560320" cy="3968028"/>
            </a:xfrm>
            <a:prstGeom prst="rect">
              <a:avLst/>
            </a:prstGeom>
            <a:solidFill>
              <a:srgbClr val="E2F0D9"/>
            </a:solidFill>
            <a:ln w="57150" cap="flat" cmpd="sng" algn="ctr">
              <a:solidFill>
                <a:srgbClr val="3C3C41">
                  <a:lumMod val="85000"/>
                  <a:lumOff val="15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a:ea typeface="+mn-ea"/>
                  <a:cs typeface="+mn-cs"/>
                </a:rPr>
                <a:t>Using IoT Data</a:t>
              </a:r>
            </a:p>
          </p:txBody>
        </p:sp>
        <p:pic>
          <p:nvPicPr>
            <p:cNvPr id="201" name="Graphic 200" descr="Pot of gold outline">
              <a:extLst>
                <a:ext uri="{FF2B5EF4-FFF2-40B4-BE49-F238E27FC236}">
                  <a16:creationId xmlns:a16="http://schemas.microsoft.com/office/drawing/2014/main" id="{EDC13830-6EAC-4297-8C7E-0D81B09A669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105063" y="3004728"/>
              <a:ext cx="1059169" cy="1059169"/>
            </a:xfrm>
            <a:prstGeom prst="rect">
              <a:avLst/>
            </a:prstGeom>
          </p:spPr>
        </p:pic>
      </p:grpSp>
      <p:cxnSp>
        <p:nvCxnSpPr>
          <p:cNvPr id="19" name="Straight Arrow Connector 18">
            <a:extLst>
              <a:ext uri="{FF2B5EF4-FFF2-40B4-BE49-F238E27FC236}">
                <a16:creationId xmlns:a16="http://schemas.microsoft.com/office/drawing/2014/main" id="{EBCCFC83-31F2-4717-B36E-67F06CFD9E56}"/>
              </a:ext>
            </a:extLst>
          </p:cNvPr>
          <p:cNvCxnSpPr>
            <a:cxnSpLocks/>
          </p:cNvCxnSpPr>
          <p:nvPr/>
        </p:nvCxnSpPr>
        <p:spPr>
          <a:xfrm>
            <a:off x="2882077" y="6423197"/>
            <a:ext cx="514659" cy="0"/>
          </a:xfrm>
          <a:prstGeom prst="straightConnector1">
            <a:avLst/>
          </a:prstGeom>
          <a:noFill/>
          <a:ln w="38100" cap="flat" cmpd="sng" algn="ctr">
            <a:solidFill>
              <a:srgbClr val="32BEDD"/>
            </a:solidFill>
            <a:prstDash val="solid"/>
            <a:tailEnd type="triangle" w="lg" len="lg"/>
          </a:ln>
          <a:effectLst/>
        </p:spPr>
      </p:cxnSp>
      <p:cxnSp>
        <p:nvCxnSpPr>
          <p:cNvPr id="20" name="Straight Arrow Connector 19">
            <a:extLst>
              <a:ext uri="{FF2B5EF4-FFF2-40B4-BE49-F238E27FC236}">
                <a16:creationId xmlns:a16="http://schemas.microsoft.com/office/drawing/2014/main" id="{ACCDF197-D76F-4826-962B-0E17FAE3124D}"/>
              </a:ext>
            </a:extLst>
          </p:cNvPr>
          <p:cNvCxnSpPr>
            <a:cxnSpLocks/>
          </p:cNvCxnSpPr>
          <p:nvPr/>
        </p:nvCxnSpPr>
        <p:spPr>
          <a:xfrm>
            <a:off x="8670419" y="6423197"/>
            <a:ext cx="514659" cy="0"/>
          </a:xfrm>
          <a:prstGeom prst="straightConnector1">
            <a:avLst/>
          </a:prstGeom>
          <a:noFill/>
          <a:ln w="38100" cap="flat" cmpd="sng" algn="ctr">
            <a:solidFill>
              <a:srgbClr val="32BEDD"/>
            </a:solidFill>
            <a:prstDash val="solid"/>
            <a:tailEnd type="triangle" w="lg" len="lg"/>
          </a:ln>
          <a:effectLst/>
        </p:spPr>
      </p:cxnSp>
    </p:spTree>
    <p:extLst>
      <p:ext uri="{BB962C8B-B14F-4D97-AF65-F5344CB8AC3E}">
        <p14:creationId xmlns:p14="http://schemas.microsoft.com/office/powerpoint/2010/main" val="65519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XVjEqbrqsCDX6rLOoah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4lpM3PIMY3450cHvWdS5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QDfzVwpqKVATh8jzZCSp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IoT Summit 2022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Azure IoT Summit 2022 PowerPoint Template_v02.potx" id="{F5AB7614-F6A7-42B8-98B7-546C52CE77A0}" vid="{E74EE88C-99F5-4C6C-BE5F-6306E7F7DDC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243</TotalTime>
  <Words>1516</Words>
  <Application>Microsoft Office PowerPoint</Application>
  <PresentationFormat>Widescreen</PresentationFormat>
  <Paragraphs>333</Paragraphs>
  <Slides>18</Slides>
  <Notes>9</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4" baseType="lpstr">
      <vt:lpstr>Arial</vt:lpstr>
      <vt:lpstr>Calibri</vt:lpstr>
      <vt:lpstr>Calibri Light</vt:lpstr>
      <vt:lpstr>Consolas</vt:lpstr>
      <vt:lpstr>Digital-7</vt:lpstr>
      <vt:lpstr>Georgia Pro Black</vt:lpstr>
      <vt:lpstr>Segoe UI</vt:lpstr>
      <vt:lpstr>Segoe UI Light</vt:lpstr>
      <vt:lpstr>Segoe UI Regular</vt:lpstr>
      <vt:lpstr>Segoe UI Semibold</vt:lpstr>
      <vt:lpstr>Segoe UI Semilight</vt:lpstr>
      <vt:lpstr>Univers 57 Condensed</vt:lpstr>
      <vt:lpstr>Wingdings</vt:lpstr>
      <vt:lpstr>Office Theme</vt:lpstr>
      <vt:lpstr>Azure IoT Summit 2022 Template</vt:lpstr>
      <vt:lpstr>think-cell Slide</vt:lpstr>
      <vt:lpstr>Visual Inspection Workshop Emerson &amp; Microsoft</vt:lpstr>
      <vt:lpstr>Visual Inspection Workshop – High Level</vt:lpstr>
      <vt:lpstr>Visual Inspection Workshop - Technologies</vt:lpstr>
      <vt:lpstr>Architecture Diagram</vt:lpstr>
      <vt:lpstr>Workshop Sessions:</vt:lpstr>
      <vt:lpstr>Why is IoT so Challenging?</vt:lpstr>
      <vt:lpstr>Complexity Emerges Quickly</vt:lpstr>
      <vt:lpstr>Complexity Emerges Quickly</vt:lpstr>
      <vt:lpstr>Removing Complexity</vt:lpstr>
      <vt:lpstr>Removing Complexity</vt:lpstr>
      <vt:lpstr>Shifting the Focus to New Differentiated Value</vt:lpstr>
      <vt:lpstr>What is a “ready-made environment”?</vt:lpstr>
      <vt:lpstr>Appendix</vt:lpstr>
      <vt:lpstr>Typical Manufacturing Systems…</vt:lpstr>
      <vt:lpstr>...Requires transformation to unlock the value of data</vt:lpstr>
      <vt:lpstr>First step… get connected through a common communication model</vt:lpstr>
      <vt:lpstr>Second step… develop dashboards to allow global visibility…</vt:lpstr>
      <vt:lpstr>Business Value Optimize the Manufacturing Pla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nela Ramsdell</dc:creator>
  <cp:lastModifiedBy>Marianela Ramsdell</cp:lastModifiedBy>
  <cp:revision>4</cp:revision>
  <dcterms:created xsi:type="dcterms:W3CDTF">2022-04-20T13:46:28Z</dcterms:created>
  <dcterms:modified xsi:type="dcterms:W3CDTF">2022-04-20T17:49:40Z</dcterms:modified>
</cp:coreProperties>
</file>